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68" r:id="rId2"/>
    <p:sldMasterId id="2147483670" r:id="rId3"/>
    <p:sldMasterId id="2147483666" r:id="rId4"/>
  </p:sldMasterIdLst>
  <p:notesMasterIdLst>
    <p:notesMasterId r:id="rId28"/>
  </p:notesMasterIdLst>
  <p:handoutMasterIdLst>
    <p:handoutMasterId r:id="rId29"/>
  </p:handoutMasterIdLst>
  <p:sldIdLst>
    <p:sldId id="278" r:id="rId5"/>
    <p:sldId id="327" r:id="rId6"/>
    <p:sldId id="328" r:id="rId7"/>
    <p:sldId id="313" r:id="rId8"/>
    <p:sldId id="332" r:id="rId9"/>
    <p:sldId id="334" r:id="rId10"/>
    <p:sldId id="339" r:id="rId11"/>
    <p:sldId id="353" r:id="rId12"/>
    <p:sldId id="337" r:id="rId13"/>
    <p:sldId id="350" r:id="rId14"/>
    <p:sldId id="333" r:id="rId15"/>
    <p:sldId id="356" r:id="rId16"/>
    <p:sldId id="343" r:id="rId17"/>
    <p:sldId id="344" r:id="rId18"/>
    <p:sldId id="345" r:id="rId19"/>
    <p:sldId id="357" r:id="rId20"/>
    <p:sldId id="346" r:id="rId21"/>
    <p:sldId id="347" r:id="rId22"/>
    <p:sldId id="349" r:id="rId23"/>
    <p:sldId id="341" r:id="rId24"/>
    <p:sldId id="291" r:id="rId25"/>
    <p:sldId id="326" r:id="rId26"/>
    <p:sldId id="259" r:id="rId27"/>
  </p:sldIdLst>
  <p:sldSz cx="12195175" cy="6859588"/>
  <p:notesSz cx="6858000" cy="9144000"/>
  <p:defaultTex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userDrawn="1">
          <p15:clr>
            <a:srgbClr val="A4A3A4"/>
          </p15:clr>
        </p15:guide>
        <p15:guide id="2" orient="horz" pos="104" userDrawn="1">
          <p15:clr>
            <a:srgbClr val="A4A3A4"/>
          </p15:clr>
        </p15:guide>
        <p15:guide id="3" orient="horz" pos="3976" userDrawn="1">
          <p15:clr>
            <a:srgbClr val="A4A3A4"/>
          </p15:clr>
        </p15:guide>
        <p15:guide id="4" orient="horz" pos="952" userDrawn="1">
          <p15:clr>
            <a:srgbClr val="A4A3A4"/>
          </p15:clr>
        </p15:guide>
        <p15:guide id="5" pos="367" userDrawn="1">
          <p15:clr>
            <a:srgbClr val="A4A3A4"/>
          </p15:clr>
        </p15:guide>
        <p15:guide id="6" pos="733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76" autoAdjust="0"/>
    <p:restoredTop sz="85529" autoAdjust="0"/>
  </p:normalViewPr>
  <p:slideViewPr>
    <p:cSldViewPr snapToObjects="1">
      <p:cViewPr varScale="1">
        <p:scale>
          <a:sx n="67" d="100"/>
          <a:sy n="67" d="100"/>
        </p:scale>
        <p:origin x="816" y="44"/>
      </p:cViewPr>
      <p:guideLst>
        <p:guide orient="horz" pos="776"/>
        <p:guide orient="horz" pos="104"/>
        <p:guide orient="horz" pos="3976"/>
        <p:guide orient="horz" pos="952"/>
        <p:guide pos="367"/>
        <p:guide pos="73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9" d="100"/>
          <a:sy n="89" d="100"/>
        </p:scale>
        <p:origin x="38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E37AC6-CD63-43A6-A8AF-DA6897023C72}" type="datetimeFigureOut">
              <a:rPr lang="zh-CN" altLang="en-US" smtClean="0"/>
              <a:pPr/>
              <a:t>2019/3/2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91B85BE-7573-414C-BEC9-C51CBD1DD4A9}" type="slidenum">
              <a:rPr lang="zh-CN" altLang="en-US" smtClean="0"/>
              <a:pPr/>
              <a:t>‹#›</a:t>
            </a:fld>
            <a:endParaRPr lang="zh-CN" altLang="en-US"/>
          </a:p>
        </p:txBody>
      </p:sp>
    </p:spTree>
    <p:extLst>
      <p:ext uri="{BB962C8B-B14F-4D97-AF65-F5344CB8AC3E}">
        <p14:creationId xmlns:p14="http://schemas.microsoft.com/office/powerpoint/2010/main" val="23668037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1E9AA83-AF13-47A0-BCD5-A17FF41E9A7C}" type="datetimeFigureOut">
              <a:rPr lang="zh-CN" altLang="en-US" smtClean="0"/>
              <a:pPr/>
              <a:t>2019/3/21</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5AF8544-5210-4FB3-BB47-60B9223E8DCF}" type="slidenum">
              <a:rPr lang="zh-CN" altLang="en-US" smtClean="0"/>
              <a:pPr/>
              <a:t>‹#›</a:t>
            </a:fld>
            <a:endParaRPr lang="zh-CN" altLang="en-US"/>
          </a:p>
        </p:txBody>
      </p:sp>
    </p:spTree>
    <p:extLst>
      <p:ext uri="{BB962C8B-B14F-4D97-AF65-F5344CB8AC3E}">
        <p14:creationId xmlns:p14="http://schemas.microsoft.com/office/powerpoint/2010/main" val="1739141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3E4EB-5622-4CCD-9DD1-82743890076D}" type="slidenum">
              <a:rPr lang="zh-CN" altLang="en-US" smtClean="0"/>
              <a:pPr/>
              <a:t>13</a:t>
            </a:fld>
            <a:endParaRPr lang="zh-CN" altLang="en-US"/>
          </a:p>
        </p:txBody>
      </p:sp>
    </p:spTree>
    <p:extLst>
      <p:ext uri="{BB962C8B-B14F-4D97-AF65-F5344CB8AC3E}">
        <p14:creationId xmlns:p14="http://schemas.microsoft.com/office/powerpoint/2010/main" val="3475610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3E4EB-5622-4CCD-9DD1-82743890076D}" type="slidenum">
              <a:rPr lang="zh-CN" altLang="en-US" smtClean="0"/>
              <a:pPr/>
              <a:t>15</a:t>
            </a:fld>
            <a:endParaRPr lang="zh-CN" altLang="en-US"/>
          </a:p>
        </p:txBody>
      </p:sp>
    </p:spTree>
    <p:extLst>
      <p:ext uri="{BB962C8B-B14F-4D97-AF65-F5344CB8AC3E}">
        <p14:creationId xmlns:p14="http://schemas.microsoft.com/office/powerpoint/2010/main" val="3475610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3E4EB-5622-4CCD-9DD1-82743890076D}" type="slidenum">
              <a:rPr lang="zh-CN" altLang="en-US" smtClean="0"/>
              <a:pPr/>
              <a:t>18</a:t>
            </a:fld>
            <a:endParaRPr lang="zh-CN" altLang="en-US"/>
          </a:p>
        </p:txBody>
      </p:sp>
    </p:spTree>
    <p:extLst>
      <p:ext uri="{BB962C8B-B14F-4D97-AF65-F5344CB8AC3E}">
        <p14:creationId xmlns:p14="http://schemas.microsoft.com/office/powerpoint/2010/main" val="3475610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3E4EB-5622-4CCD-9DD1-82743890076D}" type="slidenum">
              <a:rPr lang="zh-CN" altLang="en-US" smtClean="0"/>
              <a:pPr/>
              <a:t>19</a:t>
            </a:fld>
            <a:endParaRPr lang="zh-CN" altLang="en-US"/>
          </a:p>
        </p:txBody>
      </p:sp>
    </p:spTree>
    <p:extLst>
      <p:ext uri="{BB962C8B-B14F-4D97-AF65-F5344CB8AC3E}">
        <p14:creationId xmlns:p14="http://schemas.microsoft.com/office/powerpoint/2010/main" val="34756102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007797" y="1806326"/>
            <a:ext cx="7490717" cy="1325620"/>
          </a:xfrm>
        </p:spPr>
        <p:txBody>
          <a:bodyPr/>
          <a:lstStyle>
            <a:lvl1pPr>
              <a:defRPr sz="4000">
                <a:solidFill>
                  <a:schemeClr val="bg1"/>
                </a:solidFill>
                <a:latin typeface="+mj-lt"/>
                <a:ea typeface="+mj-ea"/>
                <a:cs typeface="Arial" panose="020B0604020202020204" pitchFamily="34" charset="0"/>
              </a:defRPr>
            </a:lvl1pPr>
          </a:lstStyle>
          <a:p>
            <a:r>
              <a:rPr lang="en-US" altLang="zh-CN" dirty="0" smtClean="0"/>
              <a:t>Headline in Arial Regular 40 point</a:t>
            </a:r>
            <a:endParaRPr lang="zh-CN" altLang="en-US" dirty="0"/>
          </a:p>
        </p:txBody>
      </p:sp>
      <p:sp>
        <p:nvSpPr>
          <p:cNvPr id="8" name="副标题 2"/>
          <p:cNvSpPr>
            <a:spLocks noGrp="1"/>
          </p:cNvSpPr>
          <p:nvPr>
            <p:ph type="subTitle" idx="11" hasCustomPrompt="1"/>
          </p:nvPr>
        </p:nvSpPr>
        <p:spPr>
          <a:xfrm>
            <a:off x="1007796" y="3069350"/>
            <a:ext cx="4153688" cy="461665"/>
          </a:xfrm>
          <a:prstGeom prst="rect">
            <a:avLst/>
          </a:prstGeom>
        </p:spPr>
        <p:txBody>
          <a:bodyPr/>
          <a:lstStyle>
            <a:lvl1pPr marL="342969" marR="0" indent="-342969" algn="l" defTabSz="914400" rtl="0" eaLnBrk="1" fontAlgn="base" latinLnBrk="0" hangingPunct="1">
              <a:lnSpc>
                <a:spcPct val="100000"/>
              </a:lnSpc>
              <a:spcBef>
                <a:spcPct val="20000"/>
              </a:spcBef>
              <a:spcAft>
                <a:spcPct val="0"/>
              </a:spcAft>
              <a:buClr>
                <a:srgbClr val="990000"/>
              </a:buClr>
              <a:buSzTx/>
              <a:buFontTx/>
              <a:buNone/>
              <a:tabLst/>
              <a:defRPr>
                <a:solidFill>
                  <a:schemeClr val="bg1"/>
                </a:solidFill>
                <a:latin typeface="+mn-lt"/>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pPr marL="342969" marR="0" lvl="0" indent="-342969" algn="l" defTabSz="914400" rtl="0" eaLnBrk="1" fontAlgn="base" latinLnBrk="0" hangingPunct="1">
              <a:lnSpc>
                <a:spcPct val="100000"/>
              </a:lnSpc>
              <a:spcBef>
                <a:spcPct val="20000"/>
              </a:spcBef>
              <a:spcAft>
                <a:spcPct val="0"/>
              </a:spcAft>
              <a:buClr>
                <a:srgbClr val="990000"/>
              </a:buClr>
              <a:buSzTx/>
              <a:buFontTx/>
              <a:buNone/>
              <a:tabLst/>
              <a:defRPr/>
            </a:pPr>
            <a:r>
              <a:rPr lang="en-US" altLang="zh-CN" dirty="0" smtClean="0"/>
              <a:t>Department name</a:t>
            </a:r>
            <a:endParaRPr lang="zh-CN" altLang="en-US" dirty="0" smtClean="0"/>
          </a:p>
        </p:txBody>
      </p:sp>
    </p:spTree>
    <p:extLst>
      <p:ext uri="{BB962C8B-B14F-4D97-AF65-F5344CB8AC3E}">
        <p14:creationId xmlns:p14="http://schemas.microsoft.com/office/powerpoint/2010/main" val="386834899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913011" y="1154755"/>
            <a:ext cx="9993315" cy="779055"/>
          </a:xfrm>
        </p:spPr>
        <p:txBody>
          <a:bodyPr>
            <a:normAutofit/>
          </a:bodyPr>
          <a:lstStyle>
            <a:lvl1pPr marL="0" marR="0" indent="0" algn="l" defTabSz="1219444" rtl="0" eaLnBrk="1" fontAlgn="auto" latinLnBrk="0" hangingPunct="1">
              <a:lnSpc>
                <a:spcPct val="100000"/>
              </a:lnSpc>
              <a:spcBef>
                <a:spcPct val="0"/>
              </a:spcBef>
              <a:spcAft>
                <a:spcPts val="0"/>
              </a:spcAft>
              <a:buClrTx/>
              <a:buSzTx/>
              <a:buFontTx/>
              <a:buNone/>
              <a:tabLst/>
              <a:defRPr sz="3600" b="0" baseline="0">
                <a:solidFill>
                  <a:schemeClr val="bg1"/>
                </a:solidFill>
                <a:latin typeface="+mj-lt"/>
              </a:defRPr>
            </a:lvl1pPr>
          </a:lstStyle>
          <a:p>
            <a:r>
              <a:rPr lang="en-US" altLang="zh-CN" dirty="0" smtClean="0"/>
              <a:t>Slide Title</a:t>
            </a:r>
          </a:p>
        </p:txBody>
      </p:sp>
      <p:sp>
        <p:nvSpPr>
          <p:cNvPr id="5" name="副标题 2"/>
          <p:cNvSpPr>
            <a:spLocks noGrp="1"/>
          </p:cNvSpPr>
          <p:nvPr>
            <p:ph type="subTitle" idx="1" hasCustomPrompt="1"/>
          </p:nvPr>
        </p:nvSpPr>
        <p:spPr>
          <a:xfrm>
            <a:off x="913011" y="2133650"/>
            <a:ext cx="9993315" cy="4097591"/>
          </a:xfr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solidFill>
                <a:latin typeface="+mn-lt"/>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smtClean="0"/>
              <a:t>Headline in Arial Regular 24 - 32 point</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517588" y="165139"/>
            <a:ext cx="11160000" cy="888392"/>
          </a:xfrm>
        </p:spPr>
        <p:txBody>
          <a:bodyPr>
            <a:noAutofit/>
          </a:bodyPr>
          <a:lstStyle>
            <a:lvl1pPr marL="0" marR="0" indent="0" algn="l" defTabSz="1219444" rtl="0" eaLnBrk="1" fontAlgn="auto" latinLnBrk="0" hangingPunct="1">
              <a:lnSpc>
                <a:spcPct val="100000"/>
              </a:lnSpc>
              <a:spcBef>
                <a:spcPct val="0"/>
              </a:spcBef>
              <a:spcAft>
                <a:spcPts val="0"/>
              </a:spcAft>
              <a:buClrTx/>
              <a:buSzTx/>
              <a:buFontTx/>
              <a:buNone/>
              <a:tabLst/>
              <a:defRPr sz="3600" b="0">
                <a:solidFill>
                  <a:schemeClr val="bg1"/>
                </a:solidFill>
              </a:defRPr>
            </a:lvl1pPr>
          </a:lstStyle>
          <a:p>
            <a:r>
              <a:rPr lang="en-US" altLang="zh-CN" dirty="0" smtClean="0"/>
              <a:t>Headline in Arial Regular 36 point</a:t>
            </a:r>
          </a:p>
        </p:txBody>
      </p:sp>
      <p:sp>
        <p:nvSpPr>
          <p:cNvPr id="3" name="副标题 2"/>
          <p:cNvSpPr>
            <a:spLocks noGrp="1"/>
          </p:cNvSpPr>
          <p:nvPr>
            <p:ph type="subTitle" idx="1" hasCustomPrompt="1"/>
          </p:nvPr>
        </p:nvSpPr>
        <p:spPr>
          <a:xfrm>
            <a:off x="517588" y="1269555"/>
            <a:ext cx="11160000" cy="5032758"/>
          </a:xfr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solidFill>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smtClean="0"/>
              <a:t>Copy text in Arial Regular 20 - 32 point </a:t>
            </a:r>
          </a:p>
        </p:txBody>
      </p:sp>
    </p:spTree>
    <p:extLst>
      <p:ext uri="{BB962C8B-B14F-4D97-AF65-F5344CB8AC3E}">
        <p14:creationId xmlns:p14="http://schemas.microsoft.com/office/powerpoint/2010/main" val="142114495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09760" y="6357825"/>
            <a:ext cx="2845541" cy="366267"/>
          </a:xfrm>
          <a:prstGeom prst="rect">
            <a:avLst/>
          </a:prstGeom>
        </p:spPr>
        <p:txBody>
          <a:bodyPr lIns="91434" tIns="45717" rIns="91434" bIns="45717"/>
          <a:lstStyle>
            <a:lvl1pPr>
              <a:defRPr/>
            </a:lvl1pPr>
          </a:lstStyle>
          <a:p>
            <a:pPr>
              <a:defRPr/>
            </a:pPr>
            <a:fld id="{1BAA1EF8-94E9-4BD1-BF48-264D397695F3}" type="datetimeFigureOut">
              <a:rPr lang="zh-CN" altLang="en-US"/>
              <a:pPr>
                <a:defRPr/>
              </a:pPr>
              <a:t>2019/3/21</a:t>
            </a:fld>
            <a:endParaRPr lang="zh-CN" altLang="en-US"/>
          </a:p>
        </p:txBody>
      </p:sp>
      <p:sp>
        <p:nvSpPr>
          <p:cNvPr id="3" name="页脚占位符 4"/>
          <p:cNvSpPr>
            <a:spLocks noGrp="1"/>
          </p:cNvSpPr>
          <p:nvPr>
            <p:ph type="ftr" sz="quarter" idx="11"/>
          </p:nvPr>
        </p:nvSpPr>
        <p:spPr>
          <a:xfrm>
            <a:off x="4166685" y="6357825"/>
            <a:ext cx="3861805" cy="366267"/>
          </a:xfrm>
          <a:prstGeom prst="rect">
            <a:avLst/>
          </a:prstGeom>
        </p:spPr>
        <p:txBody>
          <a:bodyPr lIns="91434" tIns="45717" rIns="91434" bIns="45717"/>
          <a:lstStyle>
            <a:lvl1pPr>
              <a:defRPr/>
            </a:lvl1pPr>
          </a:lstStyle>
          <a:p>
            <a:pPr>
              <a:defRPr/>
            </a:pPr>
            <a:endParaRPr lang="zh-CN" altLang="en-US"/>
          </a:p>
        </p:txBody>
      </p:sp>
      <p:sp>
        <p:nvSpPr>
          <p:cNvPr id="4" name="灯片编号占位符 5"/>
          <p:cNvSpPr>
            <a:spLocks noGrp="1"/>
          </p:cNvSpPr>
          <p:nvPr>
            <p:ph type="sldNum" sz="quarter" idx="12"/>
          </p:nvPr>
        </p:nvSpPr>
        <p:spPr>
          <a:xfrm>
            <a:off x="8739875" y="6357825"/>
            <a:ext cx="2845541" cy="366267"/>
          </a:xfrm>
          <a:prstGeom prst="rect">
            <a:avLst/>
          </a:prstGeom>
        </p:spPr>
        <p:txBody>
          <a:bodyPr lIns="91434" tIns="45717" rIns="91434" bIns="45717"/>
          <a:lstStyle>
            <a:lvl1pPr>
              <a:defRPr/>
            </a:lvl1pPr>
          </a:lstStyle>
          <a:p>
            <a:pPr>
              <a:defRPr/>
            </a:pPr>
            <a:fld id="{0E96DBB2-EA07-4AF9-8706-6F71A403625E}" type="slidenum">
              <a:rPr lang="zh-CN" altLang="en-US"/>
              <a:pPr>
                <a:defRPr/>
              </a:pPr>
              <a:t>‹#›</a:t>
            </a:fld>
            <a:endParaRPr lang="zh-CN" altLang="en-US"/>
          </a:p>
        </p:txBody>
      </p:sp>
    </p:spTree>
    <p:extLst>
      <p:ext uri="{BB962C8B-B14F-4D97-AF65-F5344CB8AC3E}">
        <p14:creationId xmlns:p14="http://schemas.microsoft.com/office/powerpoint/2010/main" val="919580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449390"/>
            <a:ext cx="10179584" cy="871739"/>
          </a:xfrm>
          <a:prstGeom prst="rect">
            <a:avLst/>
          </a:prstGeom>
        </p:spPr>
        <p:txBody>
          <a:bodyPr lIns="121928" tIns="60964" rIns="121928" bIns="60964"/>
          <a:lstStyle/>
          <a:p>
            <a:r>
              <a:rPr lang="en-US" smtClean="0"/>
              <a:t>Click to edit Master title style</a:t>
            </a:r>
            <a:endParaRPr lang="en-US"/>
          </a:p>
        </p:txBody>
      </p:sp>
      <p:sp>
        <p:nvSpPr>
          <p:cNvPr id="4" name="Content Placeholder 3"/>
          <p:cNvSpPr>
            <a:spLocks noGrp="1"/>
          </p:cNvSpPr>
          <p:nvPr>
            <p:ph sz="quarter" idx="10"/>
          </p:nvPr>
        </p:nvSpPr>
        <p:spPr>
          <a:xfrm>
            <a:off x="1019050" y="1628761"/>
            <a:ext cx="10157076" cy="4585806"/>
          </a:xfrm>
          <a:prstGeom prst="rect">
            <a:avLst/>
          </a:prstGeom>
        </p:spPr>
        <p:txBody>
          <a:bodyPr lIns="121928" tIns="60964" rIns="121928" bIns="60964"/>
          <a:lstStyle>
            <a:lvl1pPr>
              <a:defRPr sz="3200"/>
            </a:lvl1pPr>
            <a:lvl2pPr>
              <a:defRPr sz="27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0100692"/>
      </p:ext>
    </p:extLst>
  </p:cSld>
  <p:clrMapOvr>
    <a:masterClrMapping/>
  </p:clrMapOvr>
  <p:transition advClick="0" advTm="8000">
    <p:fade thruBlk="1"/>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XC">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32113" y="295409"/>
            <a:ext cx="11197542" cy="720445"/>
          </a:xfrm>
          <a:prstGeom prst="rect">
            <a:avLst/>
          </a:prstGeom>
        </p:spPr>
        <p:txBody>
          <a:bodyPr anchor="ctr"/>
          <a:lstStyle>
            <a:lvl1pPr>
              <a:defRPr kumimoji="1" lang="zh-CN" altLang="en-US" sz="3700" b="1" kern="1200" dirty="0">
                <a:gradFill>
                  <a:gsLst>
                    <a:gs pos="49000">
                      <a:srgbClr val="FFFFFF"/>
                    </a:gs>
                    <a:gs pos="100000">
                      <a:srgbClr val="FFFFFF">
                        <a:lumMod val="65000"/>
                      </a:srgbClr>
                    </a:gs>
                  </a:gsLst>
                  <a:lin ang="5400000" scaled="1"/>
                </a:gradFill>
                <a:effectLst>
                  <a:outerShdw blurRad="50800" dist="38100" dir="2700000" algn="tl" rotWithShape="0">
                    <a:prstClr val="black">
                      <a:alpha val="40000"/>
                    </a:prstClr>
                  </a:outerShdw>
                </a:effectLst>
                <a:latin typeface="Arial" pitchFamily="34" charset="0"/>
                <a:cs typeface="Arial" pitchFamily="34" charset="0"/>
              </a:defRPr>
            </a:lvl1pPr>
          </a:lstStyle>
          <a:p>
            <a:pPr marL="0" lvl="0" defTabSz="1219149" latinLnBrk="0">
              <a:buClr>
                <a:schemeClr val="tx1">
                  <a:lumMod val="85000"/>
                </a:schemeClr>
              </a:buClr>
            </a:pPr>
            <a:r>
              <a:rPr lang="zh-CN" altLang="en-US" dirty="0" smtClean="0"/>
              <a:t>单击此处编辑母版标题样式</a:t>
            </a:r>
            <a:endParaRPr lang="zh-CN" altLang="en-US" dirty="0"/>
          </a:p>
        </p:txBody>
      </p:sp>
    </p:spTree>
    <p:extLst>
      <p:ext uri="{BB962C8B-B14F-4D97-AF65-F5344CB8AC3E}">
        <p14:creationId xmlns:p14="http://schemas.microsoft.com/office/powerpoint/2010/main" val="384042014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613" y="643575"/>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bg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184966852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9183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jpe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3.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87" y="794"/>
            <a:ext cx="12192000" cy="6858000"/>
          </a:xfrm>
          <a:prstGeom prst="rect">
            <a:avLst/>
          </a:prstGeom>
        </p:spPr>
      </p:pic>
      <p:sp>
        <p:nvSpPr>
          <p:cNvPr id="1031" name="Rectangle 2"/>
          <p:cNvSpPr>
            <a:spLocks noGrp="1" noChangeArrowheads="1"/>
          </p:cNvSpPr>
          <p:nvPr>
            <p:ph type="title"/>
          </p:nvPr>
        </p:nvSpPr>
        <p:spPr bwMode="auto">
          <a:xfrm>
            <a:off x="1007797" y="1805533"/>
            <a:ext cx="7250029" cy="13256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6800" rIns="91440" bIns="46800" numCol="1" anchor="ctr" anchorCtr="0" compatLnSpc="1">
            <a:prstTxWarp prst="textNoShape">
              <a:avLst/>
            </a:prstTxWarp>
            <a:spAutoFit/>
          </a:bodyPr>
          <a:lstStyle/>
          <a:p>
            <a:pPr lvl="0"/>
            <a:r>
              <a:rPr lang="en-US" altLang="zh-CN" dirty="0" smtClean="0"/>
              <a:t>Headline in Arial Regular 40 point</a:t>
            </a:r>
            <a:endParaRPr lang="zh-CN" altLang="en-US" dirty="0" smtClean="0"/>
          </a:p>
        </p:txBody>
      </p:sp>
      <p:sp>
        <p:nvSpPr>
          <p:cNvPr id="1032" name="Rectangle 3"/>
          <p:cNvSpPr>
            <a:spLocks noGrp="1" noChangeArrowheads="1"/>
          </p:cNvSpPr>
          <p:nvPr>
            <p:ph type="body" idx="1"/>
          </p:nvPr>
        </p:nvSpPr>
        <p:spPr bwMode="auto">
          <a:xfrm>
            <a:off x="1007796" y="3069348"/>
            <a:ext cx="4585735"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marL="342969" marR="0" lvl="0" indent="-342969" algn="l" defTabSz="914400" rtl="0" eaLnBrk="1" fontAlgn="base" latinLnBrk="0" hangingPunct="1">
              <a:lnSpc>
                <a:spcPct val="100000"/>
              </a:lnSpc>
              <a:spcBef>
                <a:spcPct val="20000"/>
              </a:spcBef>
              <a:spcAft>
                <a:spcPct val="0"/>
              </a:spcAft>
              <a:buClr>
                <a:srgbClr val="990000"/>
              </a:buClr>
              <a:buSzTx/>
              <a:buFontTx/>
              <a:buNone/>
              <a:tabLst/>
              <a:defRPr/>
            </a:pPr>
            <a:r>
              <a:rPr lang="en-US" altLang="zh-CN" dirty="0" smtClean="0"/>
              <a:t>Department name</a:t>
            </a:r>
            <a:endParaRPr lang="zh-CN" altLang="en-US" dirty="0" smtClean="0"/>
          </a:p>
        </p:txBody>
      </p:sp>
      <p:sp>
        <p:nvSpPr>
          <p:cNvPr id="6" name="Rectangle 13"/>
          <p:cNvSpPr>
            <a:spLocks noChangeArrowheads="1"/>
          </p:cNvSpPr>
          <p:nvPr userDrawn="1"/>
        </p:nvSpPr>
        <p:spPr bwMode="auto">
          <a:xfrm>
            <a:off x="10322603" y="429698"/>
            <a:ext cx="136815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lIns="0" tIns="0" rIns="0" bIns="0">
            <a:spAutoFit/>
          </a:bodyPr>
          <a:lstStyle/>
          <a:p>
            <a:pPr defTabSz="784225" eaLnBrk="0" hangingPunct="0"/>
            <a:r>
              <a:rPr lang="en-US" altLang="zh-CN" sz="1000" b="1" dirty="0">
                <a:solidFill>
                  <a:schemeClr val="bg1">
                    <a:lumMod val="75000"/>
                  </a:schemeClr>
                </a:solidFill>
                <a:latin typeface="Arial" panose="020B0604020202020204" pitchFamily="34" charset="0"/>
                <a:ea typeface="MS PGothic" pitchFamily="34" charset="-128"/>
                <a:cs typeface="Arial" panose="020B0604020202020204" pitchFamily="34" charset="0"/>
              </a:rPr>
              <a:t>Security Level: </a:t>
            </a:r>
          </a:p>
        </p:txBody>
      </p:sp>
    </p:spTree>
    <p:extLst>
      <p:ext uri="{BB962C8B-B14F-4D97-AF65-F5344CB8AC3E}">
        <p14:creationId xmlns:p14="http://schemas.microsoft.com/office/powerpoint/2010/main" val="606078438"/>
      </p:ext>
    </p:extLst>
  </p:cSld>
  <p:clrMap bg1="lt1" tx1="dk1" bg2="lt2" tx2="dk2" accent1="accent1" accent2="accent2" accent3="accent3" accent4="accent4" accent5="accent5" accent6="accent6" hlink="hlink" folHlink="folHlink"/>
  <p:sldLayoutIdLst>
    <p:sldLayoutId id="2147483673" r:id="rId1"/>
  </p:sldLayoutIdLst>
  <p:transition advClick="0" advTm="8000">
    <p:fade thruBlk="1"/>
  </p:transition>
  <p:timing>
    <p:tnLst>
      <p:par>
        <p:cTn id="1" dur="indefinite" restart="never" nodeType="tmRoot"/>
      </p:par>
    </p:tnLst>
  </p:timing>
  <p:txStyles>
    <p:titleStyle>
      <a:lvl1pPr algn="l" rtl="0" eaLnBrk="1" fontAlgn="base" hangingPunct="1">
        <a:spcBef>
          <a:spcPct val="0"/>
        </a:spcBef>
        <a:spcAft>
          <a:spcPct val="0"/>
        </a:spcAft>
        <a:defRPr lang="zh-CN" altLang="en-US" sz="4000" b="0" dirty="0">
          <a:solidFill>
            <a:schemeClr val="bg1"/>
          </a:solidFill>
          <a:latin typeface="+mj-lt"/>
          <a:ea typeface="Arial Unicode MS" panose="020B0604020202020204" pitchFamily="34" charset="-122"/>
          <a:cs typeface="Arial" panose="020B0604020202020204" pitchFamily="34" charset="0"/>
        </a:defRPr>
      </a:lvl1pPr>
      <a:lvl2pPr algn="l" rtl="0" eaLnBrk="1" fontAlgn="base" hangingPunct="1">
        <a:spcBef>
          <a:spcPct val="0"/>
        </a:spcBef>
        <a:spcAft>
          <a:spcPct val="0"/>
        </a:spcAft>
        <a:defRPr sz="3201" b="1">
          <a:solidFill>
            <a:schemeClr val="bg1"/>
          </a:solidFill>
          <a:latin typeface="黑体" pitchFamily="49" charset="-122"/>
          <a:ea typeface="黑体" pitchFamily="49" charset="-122"/>
          <a:cs typeface="宋体" charset="-122"/>
        </a:defRPr>
      </a:lvl2pPr>
      <a:lvl3pPr algn="l" rtl="0" eaLnBrk="1" fontAlgn="base" hangingPunct="1">
        <a:spcBef>
          <a:spcPct val="0"/>
        </a:spcBef>
        <a:spcAft>
          <a:spcPct val="0"/>
        </a:spcAft>
        <a:defRPr sz="3201" b="1">
          <a:solidFill>
            <a:schemeClr val="bg1"/>
          </a:solidFill>
          <a:latin typeface="黑体" pitchFamily="49" charset="-122"/>
          <a:ea typeface="黑体" pitchFamily="49" charset="-122"/>
          <a:cs typeface="宋体" charset="-122"/>
        </a:defRPr>
      </a:lvl3pPr>
      <a:lvl4pPr algn="l" rtl="0" eaLnBrk="1" fontAlgn="base" hangingPunct="1">
        <a:spcBef>
          <a:spcPct val="0"/>
        </a:spcBef>
        <a:spcAft>
          <a:spcPct val="0"/>
        </a:spcAft>
        <a:defRPr sz="3201" b="1">
          <a:solidFill>
            <a:schemeClr val="bg1"/>
          </a:solidFill>
          <a:latin typeface="黑体" pitchFamily="49" charset="-122"/>
          <a:ea typeface="黑体" pitchFamily="49" charset="-122"/>
          <a:cs typeface="宋体" charset="-122"/>
        </a:defRPr>
      </a:lvl4pPr>
      <a:lvl5pPr algn="l" rtl="0" eaLnBrk="1" fontAlgn="base" hangingPunct="1">
        <a:spcBef>
          <a:spcPct val="0"/>
        </a:spcBef>
        <a:spcAft>
          <a:spcPct val="0"/>
        </a:spcAft>
        <a:defRPr sz="3201" b="1">
          <a:solidFill>
            <a:schemeClr val="bg1"/>
          </a:solidFill>
          <a:latin typeface="黑体" pitchFamily="49" charset="-122"/>
          <a:ea typeface="黑体" pitchFamily="49" charset="-122"/>
          <a:cs typeface="宋体" charset="-122"/>
        </a:defRPr>
      </a:lvl5pPr>
      <a:lvl6pPr marL="457291" algn="l" rtl="0" eaLnBrk="1" fontAlgn="base" hangingPunct="1">
        <a:spcBef>
          <a:spcPct val="0"/>
        </a:spcBef>
        <a:spcAft>
          <a:spcPct val="0"/>
        </a:spcAft>
        <a:defRPr sz="3201" b="1">
          <a:solidFill>
            <a:srgbClr val="990000"/>
          </a:solidFill>
          <a:latin typeface="FrutigerNext LT Medium" pitchFamily="34" charset="0"/>
          <a:ea typeface="华文细黑" pitchFamily="2" charset="-122"/>
          <a:cs typeface="宋体" charset="-122"/>
        </a:defRPr>
      </a:lvl6pPr>
      <a:lvl7pPr marL="914583" algn="l" rtl="0" eaLnBrk="1" fontAlgn="base" hangingPunct="1">
        <a:spcBef>
          <a:spcPct val="0"/>
        </a:spcBef>
        <a:spcAft>
          <a:spcPct val="0"/>
        </a:spcAft>
        <a:defRPr sz="3201" b="1">
          <a:solidFill>
            <a:srgbClr val="990000"/>
          </a:solidFill>
          <a:latin typeface="FrutigerNext LT Medium" pitchFamily="34" charset="0"/>
          <a:ea typeface="华文细黑" pitchFamily="2" charset="-122"/>
          <a:cs typeface="宋体" charset="-122"/>
        </a:defRPr>
      </a:lvl7pPr>
      <a:lvl8pPr marL="1371874" algn="l" rtl="0" eaLnBrk="1" fontAlgn="base" hangingPunct="1">
        <a:spcBef>
          <a:spcPct val="0"/>
        </a:spcBef>
        <a:spcAft>
          <a:spcPct val="0"/>
        </a:spcAft>
        <a:defRPr sz="3201" b="1">
          <a:solidFill>
            <a:srgbClr val="990000"/>
          </a:solidFill>
          <a:latin typeface="FrutigerNext LT Medium" pitchFamily="34" charset="0"/>
          <a:ea typeface="华文细黑" pitchFamily="2" charset="-122"/>
          <a:cs typeface="宋体" charset="-122"/>
        </a:defRPr>
      </a:lvl8pPr>
      <a:lvl9pPr marL="1829166" algn="l" rtl="0" eaLnBrk="1" fontAlgn="base" hangingPunct="1">
        <a:spcBef>
          <a:spcPct val="0"/>
        </a:spcBef>
        <a:spcAft>
          <a:spcPct val="0"/>
        </a:spcAft>
        <a:defRPr sz="3201" b="1">
          <a:solidFill>
            <a:srgbClr val="990000"/>
          </a:solidFill>
          <a:latin typeface="FrutigerNext LT Medium" pitchFamily="34" charset="0"/>
          <a:ea typeface="华文细黑" pitchFamily="2" charset="-122"/>
          <a:cs typeface="宋体" charset="-122"/>
        </a:defRPr>
      </a:lvl9pPr>
    </p:titleStyle>
    <p:bodyStyle>
      <a:lvl1pPr marL="342969" marR="0" indent="-342969" algn="l" defTabSz="914400" rtl="0" eaLnBrk="1" fontAlgn="base" latinLnBrk="0" hangingPunct="1">
        <a:lnSpc>
          <a:spcPct val="100000"/>
        </a:lnSpc>
        <a:spcBef>
          <a:spcPct val="20000"/>
        </a:spcBef>
        <a:spcAft>
          <a:spcPct val="0"/>
        </a:spcAft>
        <a:buClr>
          <a:srgbClr val="990000"/>
        </a:buClr>
        <a:buSzTx/>
        <a:buFontTx/>
        <a:buNone/>
        <a:tabLst/>
        <a:defRPr sz="2400" b="0">
          <a:solidFill>
            <a:schemeClr val="bg1"/>
          </a:solidFill>
          <a:latin typeface="+mn-lt"/>
          <a:ea typeface="+mj-ea"/>
          <a:cs typeface="Arial" panose="020B0604020202020204" pitchFamily="34" charset="0"/>
        </a:defRPr>
      </a:lvl1pPr>
      <a:lvl2pPr marL="743099" indent="-285807"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2pPr>
      <a:lvl3pPr marL="1143229" indent="-228646"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520" indent="-228646" algn="l" rtl="0" eaLnBrk="1" fontAlgn="base" hangingPunct="1">
        <a:spcBef>
          <a:spcPct val="20000"/>
        </a:spcBef>
        <a:spcAft>
          <a:spcPct val="0"/>
        </a:spcAft>
        <a:buChar char="–"/>
        <a:defRPr sz="1600">
          <a:solidFill>
            <a:schemeClr val="tx1"/>
          </a:solidFill>
          <a:latin typeface="+mn-lt"/>
          <a:ea typeface="+mn-ea"/>
          <a:cs typeface="+mn-cs"/>
        </a:defRPr>
      </a:lvl4pPr>
      <a:lvl5pPr marL="2057811" indent="-228646" algn="l" rtl="0" eaLnBrk="1" fontAlgn="base" hangingPunct="1">
        <a:spcBef>
          <a:spcPct val="20000"/>
        </a:spcBef>
        <a:spcAft>
          <a:spcPct val="0"/>
        </a:spcAft>
        <a:buFont typeface="Arial" pitchFamily="34" charset="0"/>
        <a:buChar char="~"/>
        <a:defRPr sz="1600">
          <a:solidFill>
            <a:schemeClr val="tx1"/>
          </a:solidFill>
          <a:latin typeface="+mn-lt"/>
          <a:ea typeface="+mn-ea"/>
          <a:cs typeface="+mn-cs"/>
        </a:defRPr>
      </a:lvl5pPr>
      <a:lvl6pPr marL="2515103" indent="-228646"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2394" indent="-228646"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686" indent="-228646"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977" indent="-228646"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87" y="794"/>
            <a:ext cx="12192000" cy="6858000"/>
          </a:xfrm>
          <a:prstGeom prst="rect">
            <a:avLst/>
          </a:prstGeom>
        </p:spPr>
      </p:pic>
      <p:sp>
        <p:nvSpPr>
          <p:cNvPr id="2" name="标题占位符 1"/>
          <p:cNvSpPr>
            <a:spLocks noGrp="1"/>
          </p:cNvSpPr>
          <p:nvPr>
            <p:ph type="title"/>
          </p:nvPr>
        </p:nvSpPr>
        <p:spPr>
          <a:xfrm>
            <a:off x="609759" y="275231"/>
            <a:ext cx="10975658" cy="1143264"/>
          </a:xfrm>
          <a:prstGeom prst="rect">
            <a:avLst/>
          </a:prstGeom>
        </p:spPr>
        <p:txBody>
          <a:bodyPr vert="horz" lIns="121944" tIns="60972" rIns="121944" bIns="60972"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572"/>
            <a:ext cx="10975658"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59" y="6357824"/>
            <a:ext cx="2845541" cy="366267"/>
          </a:xfrm>
          <a:prstGeom prst="rect">
            <a:avLst/>
          </a:prstGeom>
        </p:spPr>
        <p:txBody>
          <a:bodyPr vert="horz" lIns="121944" tIns="60972" rIns="121944" bIns="60972" rtlCol="0" anchor="ctr"/>
          <a:lstStyle>
            <a:lvl1pPr algn="l">
              <a:defRPr sz="1600">
                <a:solidFill>
                  <a:schemeClr val="tx1"/>
                </a:solidFill>
              </a:defRPr>
            </a:lvl1pPr>
          </a:lstStyle>
          <a:p>
            <a:fld id="{1A5B2B23-E5F0-44D7-A9FF-4B8E82156B39}" type="datetimeFigureOut">
              <a:rPr lang="zh-CN" altLang="en-US" smtClean="0"/>
              <a:pPr/>
              <a:t>2019/3/21</a:t>
            </a:fld>
            <a:endParaRPr lang="zh-CN" altLang="en-US"/>
          </a:p>
        </p:txBody>
      </p:sp>
      <p:sp>
        <p:nvSpPr>
          <p:cNvPr id="5" name="页脚占位符 4"/>
          <p:cNvSpPr>
            <a:spLocks noGrp="1"/>
          </p:cNvSpPr>
          <p:nvPr>
            <p:ph type="ftr" sz="quarter" idx="3"/>
          </p:nvPr>
        </p:nvSpPr>
        <p:spPr>
          <a:xfrm>
            <a:off x="4166685" y="6357824"/>
            <a:ext cx="3861805" cy="366267"/>
          </a:xfrm>
          <a:prstGeom prst="rect">
            <a:avLst/>
          </a:prstGeom>
        </p:spPr>
        <p:txBody>
          <a:bodyPr vert="horz" lIns="121944" tIns="60972" rIns="121944" bIns="60972" rtlCol="0" anchor="ctr"/>
          <a:lstStyle>
            <a:lvl1pPr algn="ctr">
              <a:defRPr sz="1600">
                <a:solidFill>
                  <a:schemeClr val="tx1"/>
                </a:solidFill>
              </a:defRPr>
            </a:lvl1pPr>
          </a:lstStyle>
          <a:p>
            <a:endParaRPr lang="zh-CN" altLang="en-US"/>
          </a:p>
        </p:txBody>
      </p:sp>
      <p:sp>
        <p:nvSpPr>
          <p:cNvPr id="6" name="灯片编号占位符 5"/>
          <p:cNvSpPr>
            <a:spLocks noGrp="1"/>
          </p:cNvSpPr>
          <p:nvPr>
            <p:ph type="sldNum" sz="quarter" idx="4"/>
          </p:nvPr>
        </p:nvSpPr>
        <p:spPr>
          <a:xfrm>
            <a:off x="8739876" y="6357824"/>
            <a:ext cx="2845541" cy="366267"/>
          </a:xfrm>
          <a:prstGeom prst="rect">
            <a:avLst/>
          </a:prstGeom>
        </p:spPr>
        <p:txBody>
          <a:bodyPr vert="horz" lIns="121944" tIns="60972" rIns="121944" bIns="60972" rtlCol="0" anchor="ctr"/>
          <a:lstStyle>
            <a:lvl1pPr algn="r">
              <a:defRPr sz="1600">
                <a:solidFill>
                  <a:schemeClr val="tx1"/>
                </a:solidFill>
              </a:defRPr>
            </a:lvl1pPr>
          </a:lstStyle>
          <a:p>
            <a:fld id="{B2563A90-55EF-4D2C-B954-EDF55F24A661}" type="slidenum">
              <a:rPr lang="zh-CN" altLang="en-US" smtClean="0"/>
              <a:pPr/>
              <a:t>‹#›</a:t>
            </a:fld>
            <a:endParaRPr lang="zh-CN" altLang="en-US"/>
          </a:p>
        </p:txBody>
      </p:sp>
      <p:sp>
        <p:nvSpPr>
          <p:cNvPr id="8" name="Rectangle 86"/>
          <p:cNvSpPr>
            <a:spLocks noChangeArrowheads="1"/>
          </p:cNvSpPr>
          <p:nvPr userDrawn="1"/>
        </p:nvSpPr>
        <p:spPr bwMode="auto">
          <a:xfrm>
            <a:off x="11842256" y="6350438"/>
            <a:ext cx="328279" cy="426162"/>
          </a:xfrm>
          <a:prstGeom prst="rect">
            <a:avLst/>
          </a:prstGeom>
          <a:noFill/>
          <a:ln w="9525">
            <a:noFill/>
            <a:miter lim="800000"/>
            <a:headEnd/>
            <a:tailEnd/>
          </a:ln>
          <a:effectLst/>
        </p:spPr>
        <p:txBody>
          <a:bodyPr lIns="0" tIns="0" rIns="0" bIns="0"/>
          <a:lstStyle/>
          <a:p>
            <a:pPr defTabSz="988112" eaLnBrk="0" hangingPunct="0">
              <a:lnSpc>
                <a:spcPct val="85000"/>
              </a:lnSpc>
              <a:buClrTx/>
              <a:buFontTx/>
              <a:buNone/>
            </a:pPr>
            <a:endParaRPr lang="de-DE" sz="1300" b="0" dirty="0">
              <a:solidFill>
                <a:schemeClr val="tx1"/>
              </a:solidFill>
              <a:latin typeface="FrutigerNext LT Light" pitchFamily="34" charset="0"/>
              <a:ea typeface="MS PGothic" pitchFamily="34" charset="-128"/>
            </a:endParaRPr>
          </a:p>
          <a:p>
            <a:pPr defTabSz="988112" eaLnBrk="0" hangingPunct="0">
              <a:lnSpc>
                <a:spcPct val="85000"/>
              </a:lnSpc>
              <a:buClrTx/>
              <a:buFontTx/>
              <a:buNone/>
            </a:pPr>
            <a:fld id="{E68EC476-442B-4BB7-9603-F1440C241F3D}" type="slidenum">
              <a:rPr lang="de-DE" sz="900" b="0" smtClean="0">
                <a:solidFill>
                  <a:schemeClr val="bg1">
                    <a:lumMod val="50000"/>
                  </a:schemeClr>
                </a:solidFill>
                <a:latin typeface="Arial" panose="020B0604020202020204" pitchFamily="34" charset="0"/>
                <a:ea typeface="MS PGothic" pitchFamily="34" charset="-128"/>
                <a:cs typeface="Arial" panose="020B0604020202020204" pitchFamily="34" charset="0"/>
              </a:rPr>
              <a:pPr defTabSz="988112" eaLnBrk="0" hangingPunct="0">
                <a:lnSpc>
                  <a:spcPct val="85000"/>
                </a:lnSpc>
                <a:buClrTx/>
                <a:buFontTx/>
                <a:buNone/>
              </a:pPr>
              <a:t>‹#›</a:t>
            </a:fld>
            <a:endParaRPr lang="en-GB" sz="900" b="0" dirty="0">
              <a:solidFill>
                <a:schemeClr val="bg1">
                  <a:lumMod val="50000"/>
                </a:schemeClr>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669"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bg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 y="794"/>
            <a:ext cx="12192000" cy="6858000"/>
          </a:xfrm>
          <a:prstGeom prst="rect">
            <a:avLst/>
          </a:prstGeom>
        </p:spPr>
      </p:pic>
      <p:sp>
        <p:nvSpPr>
          <p:cNvPr id="2" name="标题占位符 1"/>
          <p:cNvSpPr>
            <a:spLocks noGrp="1"/>
          </p:cNvSpPr>
          <p:nvPr>
            <p:ph type="title"/>
          </p:nvPr>
        </p:nvSpPr>
        <p:spPr>
          <a:xfrm>
            <a:off x="609759" y="275231"/>
            <a:ext cx="10975658" cy="1143264"/>
          </a:xfrm>
          <a:prstGeom prst="rect">
            <a:avLst/>
          </a:prstGeom>
        </p:spPr>
        <p:txBody>
          <a:bodyPr vert="horz" lIns="121944" tIns="60972" rIns="121944" bIns="60972"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572"/>
            <a:ext cx="10975658"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59" y="6357824"/>
            <a:ext cx="2845541" cy="366267"/>
          </a:xfrm>
          <a:prstGeom prst="rect">
            <a:avLst/>
          </a:prstGeom>
        </p:spPr>
        <p:txBody>
          <a:bodyPr vert="horz" lIns="121944" tIns="60972" rIns="121944" bIns="60972" rtlCol="0" anchor="ctr"/>
          <a:lstStyle>
            <a:lvl1pPr algn="l">
              <a:defRPr sz="1600">
                <a:solidFill>
                  <a:schemeClr val="tx1"/>
                </a:solidFill>
              </a:defRPr>
            </a:lvl1pPr>
          </a:lstStyle>
          <a:p>
            <a:fld id="{1A5B2B23-E5F0-44D7-A9FF-4B8E82156B39}" type="datetimeFigureOut">
              <a:rPr lang="zh-CN" altLang="en-US" smtClean="0"/>
              <a:pPr/>
              <a:t>2019/3/21</a:t>
            </a:fld>
            <a:endParaRPr lang="zh-CN" altLang="en-US"/>
          </a:p>
        </p:txBody>
      </p:sp>
      <p:sp>
        <p:nvSpPr>
          <p:cNvPr id="5" name="页脚占位符 4"/>
          <p:cNvSpPr>
            <a:spLocks noGrp="1"/>
          </p:cNvSpPr>
          <p:nvPr>
            <p:ph type="ftr" sz="quarter" idx="3"/>
          </p:nvPr>
        </p:nvSpPr>
        <p:spPr>
          <a:xfrm>
            <a:off x="4166685" y="6357824"/>
            <a:ext cx="3861805" cy="366267"/>
          </a:xfrm>
          <a:prstGeom prst="rect">
            <a:avLst/>
          </a:prstGeom>
        </p:spPr>
        <p:txBody>
          <a:bodyPr vert="horz" lIns="121944" tIns="60972" rIns="121944" bIns="60972" rtlCol="0" anchor="ctr"/>
          <a:lstStyle>
            <a:lvl1pPr algn="ctr">
              <a:defRPr sz="1600">
                <a:solidFill>
                  <a:schemeClr val="tx1"/>
                </a:solidFill>
              </a:defRPr>
            </a:lvl1pPr>
          </a:lstStyle>
          <a:p>
            <a:endParaRPr lang="zh-CN" altLang="en-US"/>
          </a:p>
        </p:txBody>
      </p:sp>
      <p:sp>
        <p:nvSpPr>
          <p:cNvPr id="6" name="灯片编号占位符 5"/>
          <p:cNvSpPr>
            <a:spLocks noGrp="1"/>
          </p:cNvSpPr>
          <p:nvPr>
            <p:ph type="sldNum" sz="quarter" idx="4"/>
          </p:nvPr>
        </p:nvSpPr>
        <p:spPr>
          <a:xfrm>
            <a:off x="8739876" y="6357824"/>
            <a:ext cx="2845541" cy="366267"/>
          </a:xfrm>
          <a:prstGeom prst="rect">
            <a:avLst/>
          </a:prstGeom>
        </p:spPr>
        <p:txBody>
          <a:bodyPr vert="horz" lIns="121944" tIns="60972" rIns="121944" bIns="60972" rtlCol="0" anchor="ctr"/>
          <a:lstStyle>
            <a:lvl1pPr algn="r">
              <a:defRPr sz="1600">
                <a:solidFill>
                  <a:schemeClr val="tx1"/>
                </a:solidFill>
              </a:defRPr>
            </a:lvl1pPr>
          </a:lstStyle>
          <a:p>
            <a:fld id="{B2563A90-55EF-4D2C-B954-EDF55F24A661}" type="slidenum">
              <a:rPr lang="zh-CN" altLang="en-US" smtClean="0"/>
              <a:pPr/>
              <a:t>‹#›</a:t>
            </a:fld>
            <a:endParaRPr lang="zh-CN" altLang="en-US"/>
          </a:p>
        </p:txBody>
      </p:sp>
      <p:sp>
        <p:nvSpPr>
          <p:cNvPr id="10" name="Rectangle 86"/>
          <p:cNvSpPr>
            <a:spLocks noChangeArrowheads="1"/>
          </p:cNvSpPr>
          <p:nvPr userDrawn="1"/>
        </p:nvSpPr>
        <p:spPr bwMode="auto">
          <a:xfrm>
            <a:off x="11842256" y="6350438"/>
            <a:ext cx="328279" cy="426162"/>
          </a:xfrm>
          <a:prstGeom prst="rect">
            <a:avLst/>
          </a:prstGeom>
          <a:noFill/>
          <a:ln w="9525">
            <a:noFill/>
            <a:miter lim="800000"/>
            <a:headEnd/>
            <a:tailEnd/>
          </a:ln>
          <a:effectLst/>
        </p:spPr>
        <p:txBody>
          <a:bodyPr lIns="0" tIns="0" rIns="0" bIns="0"/>
          <a:lstStyle/>
          <a:p>
            <a:pPr defTabSz="988112" eaLnBrk="0" hangingPunct="0">
              <a:lnSpc>
                <a:spcPct val="85000"/>
              </a:lnSpc>
              <a:buClrTx/>
              <a:buFontTx/>
              <a:buNone/>
            </a:pPr>
            <a:endParaRPr lang="de-DE" sz="1300" b="0" dirty="0">
              <a:solidFill>
                <a:schemeClr val="tx1"/>
              </a:solidFill>
              <a:latin typeface="FrutigerNext LT Light" pitchFamily="34" charset="0"/>
              <a:ea typeface="MS PGothic" pitchFamily="34" charset="-128"/>
            </a:endParaRPr>
          </a:p>
          <a:p>
            <a:pPr defTabSz="988112" eaLnBrk="0" hangingPunct="0">
              <a:lnSpc>
                <a:spcPct val="85000"/>
              </a:lnSpc>
              <a:buClrTx/>
              <a:buFontTx/>
              <a:buNone/>
            </a:pPr>
            <a:fld id="{E68EC476-442B-4BB7-9603-F1440C241F3D}" type="slidenum">
              <a:rPr lang="de-DE" sz="900" b="0" smtClean="0">
                <a:solidFill>
                  <a:schemeClr val="bg1">
                    <a:lumMod val="50000"/>
                  </a:schemeClr>
                </a:solidFill>
                <a:latin typeface="Arial" panose="020B0604020202020204" pitchFamily="34" charset="0"/>
                <a:ea typeface="MS PGothic" pitchFamily="34" charset="-128"/>
                <a:cs typeface="Arial" panose="020B0604020202020204" pitchFamily="34" charset="0"/>
              </a:rPr>
              <a:pPr defTabSz="988112" eaLnBrk="0" hangingPunct="0">
                <a:lnSpc>
                  <a:spcPct val="85000"/>
                </a:lnSpc>
                <a:buClrTx/>
                <a:buFontTx/>
                <a:buNone/>
              </a:pPr>
              <a:t>‹#›</a:t>
            </a:fld>
            <a:endParaRPr lang="en-GB" sz="900" b="0" dirty="0">
              <a:solidFill>
                <a:schemeClr val="bg1">
                  <a:lumMod val="50000"/>
                </a:schemeClr>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2138367102"/>
      </p:ext>
    </p:extLst>
  </p:cSld>
  <p:clrMap bg1="lt1" tx1="dk1" bg2="lt2" tx2="dk2" accent1="accent1" accent2="accent2" accent3="accent3" accent4="accent4" accent5="accent5" accent6="accent6" hlink="hlink" folHlink="folHlink"/>
  <p:sldLayoutIdLst>
    <p:sldLayoutId id="2147483671" r:id="rId1"/>
    <p:sldLayoutId id="2147483674" r:id="rId2"/>
    <p:sldLayoutId id="2147483678" r:id="rId3"/>
    <p:sldLayoutId id="2147483681" r:id="rId4"/>
    <p:sldLayoutId id="2147483682" r:id="rId5"/>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bg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87" y="794"/>
            <a:ext cx="12192000" cy="6858000"/>
          </a:xfrm>
          <a:prstGeom prst="rect">
            <a:avLst/>
          </a:prstGeom>
        </p:spPr>
      </p:pic>
      <p:grpSp>
        <p:nvGrpSpPr>
          <p:cNvPr id="3" name="组合 2"/>
          <p:cNvGrpSpPr/>
          <p:nvPr userDrawn="1"/>
        </p:nvGrpSpPr>
        <p:grpSpPr>
          <a:xfrm>
            <a:off x="737805" y="3518130"/>
            <a:ext cx="4778680" cy="2048106"/>
            <a:chOff x="1896389" y="2298415"/>
            <a:chExt cx="4778680" cy="2048105"/>
          </a:xfrm>
        </p:grpSpPr>
        <p:sp>
          <p:nvSpPr>
            <p:cNvPr id="10" name="TextBox 6"/>
            <p:cNvSpPr txBox="1"/>
            <p:nvPr userDrawn="1"/>
          </p:nvSpPr>
          <p:spPr>
            <a:xfrm>
              <a:off x="2066557" y="3146182"/>
              <a:ext cx="4608512" cy="1200338"/>
            </a:xfrm>
            <a:prstGeom prst="rect">
              <a:avLst/>
            </a:prstGeom>
            <a:noFill/>
          </p:spPr>
          <p:txBody>
            <a:bodyPr wrap="square" lIns="91450" tIns="45725" rIns="91450" bIns="45725">
              <a:spAutoFit/>
            </a:bodyPr>
            <a:lstStyle/>
            <a:p>
              <a:pPr algn="l">
                <a:defRPr/>
              </a:pPr>
              <a:r>
                <a:rPr lang="en-US" altLang="zh-CN" sz="900" b="1" dirty="0" smtClean="0">
                  <a:solidFill>
                    <a:schemeClr val="bg1">
                      <a:lumMod val="75000"/>
                    </a:schemeClr>
                  </a:solidFill>
                </a:rPr>
                <a:t>Copyright©2016 </a:t>
              </a:r>
              <a:r>
                <a:rPr lang="en-US" altLang="zh-CN" sz="900" b="1" dirty="0">
                  <a:solidFill>
                    <a:schemeClr val="bg1">
                      <a:lumMod val="75000"/>
                    </a:schemeClr>
                  </a:solidFill>
                </a:rPr>
                <a:t>Huawei Technologies Co., Ltd. All Rights Reserved</a:t>
              </a:r>
              <a:r>
                <a:rPr lang="en-US" altLang="zh-CN" sz="900" b="1" dirty="0" smtClean="0">
                  <a:solidFill>
                    <a:schemeClr val="bg1">
                      <a:lumMod val="75000"/>
                    </a:schemeClr>
                  </a:solidFill>
                </a:rPr>
                <a:t>.</a:t>
              </a:r>
            </a:p>
            <a:p>
              <a:pPr algn="l">
                <a:defRPr/>
              </a:pPr>
              <a:r>
                <a:rPr lang="en-US" altLang="zh-CN" sz="900" dirty="0" smtClean="0">
                  <a:solidFill>
                    <a:schemeClr val="bg1">
                      <a:lumMod val="75000"/>
                    </a:schemeClr>
                  </a:solidFill>
                </a:rPr>
                <a:t>The </a:t>
              </a:r>
              <a:r>
                <a:rPr lang="en-US" altLang="zh-CN" sz="900" dirty="0">
                  <a:solidFill>
                    <a:schemeClr val="bg1">
                      <a:lumMod val="75000"/>
                    </a:schemeClr>
                  </a:solidFill>
                </a:rPr>
                <a:t>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900" dirty="0">
                <a:solidFill>
                  <a:schemeClr val="bg1">
                    <a:lumMod val="75000"/>
                  </a:schemeClr>
                </a:solidFill>
              </a:endParaRPr>
            </a:p>
          </p:txBody>
        </p:sp>
        <p:sp>
          <p:nvSpPr>
            <p:cNvPr id="11" name="TextBox 6"/>
            <p:cNvSpPr txBox="1"/>
            <p:nvPr userDrawn="1"/>
          </p:nvSpPr>
          <p:spPr>
            <a:xfrm>
              <a:off x="1896389" y="2298415"/>
              <a:ext cx="2873864" cy="677119"/>
            </a:xfrm>
            <a:prstGeom prst="rect">
              <a:avLst/>
            </a:prstGeom>
            <a:noFill/>
          </p:spPr>
          <p:txBody>
            <a:bodyPr wrap="square" lIns="91450" tIns="45725" rIns="91450" bIns="45725">
              <a:spAutoFit/>
            </a:bodyPr>
            <a:lstStyle/>
            <a:p>
              <a:pPr algn="ctr">
                <a:defRPr/>
              </a:pPr>
              <a:r>
                <a:rPr lang="en-US" altLang="zh-CN" sz="3800" dirty="0" smtClean="0">
                  <a:solidFill>
                    <a:schemeClr val="bg1">
                      <a:lumMod val="75000"/>
                    </a:schemeClr>
                  </a:solidFill>
                </a:rPr>
                <a:t>Thank You.</a:t>
              </a:r>
              <a:endParaRPr lang="zh-CN" altLang="zh-CN" sz="3800" dirty="0">
                <a:solidFill>
                  <a:schemeClr val="bg1">
                    <a:lumMod val="75000"/>
                  </a:schemeClr>
                </a:solidFill>
              </a:endParaRPr>
            </a:p>
          </p:txBody>
        </p:sp>
      </p:grpSp>
    </p:spTree>
    <p:extLst>
      <p:ext uri="{BB962C8B-B14F-4D97-AF65-F5344CB8AC3E}">
        <p14:creationId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667"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45.jpeg"/><Relationship Id="rId18" Type="http://schemas.openxmlformats.org/officeDocument/2006/relationships/image" Target="../media/image50.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tags" Target="../tags/tag2.xml"/><Relationship Id="rId16" Type="http://schemas.openxmlformats.org/officeDocument/2006/relationships/image" Target="../media/image48.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3.png"/><Relationship Id="rId5" Type="http://schemas.openxmlformats.org/officeDocument/2006/relationships/tags" Target="../tags/tag5.xml"/><Relationship Id="rId15" Type="http://schemas.openxmlformats.org/officeDocument/2006/relationships/image" Target="../media/image47.png"/><Relationship Id="rId10" Type="http://schemas.openxmlformats.org/officeDocument/2006/relationships/image" Target="../media/image42.jpeg"/><Relationship Id="rId19" Type="http://schemas.openxmlformats.org/officeDocument/2006/relationships/image" Target="../media/image51.png"/><Relationship Id="rId4" Type="http://schemas.openxmlformats.org/officeDocument/2006/relationships/tags" Target="../tags/tag4.xml"/><Relationship Id="rId9" Type="http://schemas.openxmlformats.org/officeDocument/2006/relationships/image" Target="../media/image41.png"/><Relationship Id="rId14" Type="http://schemas.openxmlformats.org/officeDocument/2006/relationships/image" Target="../media/image46.jpeg"/></Relationships>
</file>

<file path=ppt/slides/_rels/slide1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jpeg"/><Relationship Id="rId4" Type="http://schemas.openxmlformats.org/officeDocument/2006/relationships/image" Target="../media/image53.png"/><Relationship Id="rId9" Type="http://schemas.openxmlformats.org/officeDocument/2006/relationships/image" Target="../media/image58.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61.wmf"/><Relationship Id="rId7" Type="http://schemas.openxmlformats.org/officeDocument/2006/relationships/image" Target="../media/image65.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6.png"/><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66.png"/><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png"/><Relationship Id="rId7" Type="http://schemas.openxmlformats.org/officeDocument/2006/relationships/image" Target="../media/image74.emf"/><Relationship Id="rId12" Type="http://schemas.openxmlformats.org/officeDocument/2006/relationships/image" Target="../media/image7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emf"/><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1.png"/><Relationship Id="rId7" Type="http://schemas.openxmlformats.org/officeDocument/2006/relationships/image" Target="../media/image85.png"/><Relationship Id="rId12"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84.wmf"/><Relationship Id="rId11" Type="http://schemas.openxmlformats.org/officeDocument/2006/relationships/image" Target="../media/image87.png"/><Relationship Id="rId5" Type="http://schemas.openxmlformats.org/officeDocument/2006/relationships/image" Target="../media/image83.png"/><Relationship Id="rId10" Type="http://schemas.microsoft.com/office/2007/relationships/hdphoto" Target="../media/hdphoto2.wdp"/><Relationship Id="rId4" Type="http://schemas.openxmlformats.org/officeDocument/2006/relationships/image" Target="../media/image82.png"/><Relationship Id="rId9" Type="http://schemas.openxmlformats.org/officeDocument/2006/relationships/image" Target="../media/image8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xml"/><Relationship Id="rId4" Type="http://schemas.openxmlformats.org/officeDocument/2006/relationships/image" Target="../media/image91.png"/></Relationships>
</file>

<file path=ppt/slides/_rels/slide2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image" Target="../media/image11.png"/><Relationship Id="rId16" Type="http://schemas.openxmlformats.org/officeDocument/2006/relationships/image" Target="../media/image25.png"/><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jpe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41003" y="974779"/>
            <a:ext cx="7560840" cy="3326168"/>
          </a:xfrm>
        </p:spPr>
        <p:txBody>
          <a:bodyPr>
            <a:noAutofit/>
          </a:bodyPr>
          <a:lstStyle/>
          <a:p>
            <a:pPr lvl="0">
              <a:lnSpc>
                <a:spcPct val="150000"/>
              </a:lnSpc>
              <a:defRPr/>
            </a:pPr>
            <a:r>
              <a:rPr lang="zh-CN" altLang="en-US" sz="3600" b="1" dirty="0" smtClean="0">
                <a:effectLst>
                  <a:outerShdw blurRad="38100" dist="38100" dir="2700000" algn="tl">
                    <a:srgbClr val="000000">
                      <a:alpha val="43137"/>
                    </a:srgbClr>
                  </a:outerShdw>
                </a:effectLst>
              </a:rPr>
              <a:t>Build </a:t>
            </a:r>
            <a:r>
              <a:rPr lang="zh-CN" altLang="en-US" sz="3600" b="1" dirty="0" smtClean="0">
                <a:solidFill>
                  <a:srgbClr val="00B050"/>
                </a:solidFill>
                <a:effectLst>
                  <a:outerShdw blurRad="38100" dist="38100" dir="2700000" algn="tl">
                    <a:srgbClr val="000000">
                      <a:alpha val="43137"/>
                    </a:srgbClr>
                  </a:outerShdw>
                </a:effectLst>
              </a:rPr>
              <a:t>Smart City </a:t>
            </a:r>
            <a:r>
              <a:rPr lang="zh-CN" altLang="en-US" sz="3600" b="1" dirty="0">
                <a:solidFill>
                  <a:srgbClr val="00B050"/>
                </a:solidFill>
                <a:effectLst>
                  <a:outerShdw blurRad="38100" dist="38100" dir="2700000" algn="tl">
                    <a:srgbClr val="000000">
                      <a:alpha val="43137"/>
                    </a:srgbClr>
                  </a:outerShdw>
                </a:effectLst>
              </a:rPr>
              <a:t>Neural </a:t>
            </a:r>
            <a:r>
              <a:rPr lang="zh-CN" altLang="en-US" sz="3600" b="1" dirty="0" smtClean="0">
                <a:solidFill>
                  <a:srgbClr val="00B050"/>
                </a:solidFill>
                <a:effectLst>
                  <a:outerShdw blurRad="38100" dist="38100" dir="2700000" algn="tl">
                    <a:srgbClr val="000000">
                      <a:alpha val="43137"/>
                    </a:srgbClr>
                  </a:outerShdw>
                </a:effectLst>
              </a:rPr>
              <a:t>Network</a:t>
            </a:r>
            <a:r>
              <a:rPr lang="en-US" altLang="zh-CN" sz="3600" b="1" dirty="0" smtClean="0">
                <a:solidFill>
                  <a:srgbClr val="00B050"/>
                </a:solidFill>
                <a:effectLst>
                  <a:outerShdw blurRad="38100" dist="38100" dir="2700000" algn="tl">
                    <a:srgbClr val="000000">
                      <a:alpha val="43137"/>
                    </a:srgbClr>
                  </a:outerShdw>
                </a:effectLst>
              </a:rPr>
              <a:t>s</a:t>
            </a:r>
            <a:r>
              <a:rPr lang="zh-CN" altLang="en-US" sz="3600" b="1" dirty="0" smtClean="0">
                <a:solidFill>
                  <a:srgbClr val="00B050"/>
                </a:solidFill>
                <a:effectLst>
                  <a:outerShdw blurRad="38100" dist="38100" dir="2700000" algn="tl">
                    <a:srgbClr val="000000">
                      <a:alpha val="43137"/>
                    </a:srgbClr>
                  </a:outerShdw>
                </a:effectLst>
              </a:rPr>
              <a:t> </a:t>
            </a:r>
            <a:r>
              <a:rPr lang="zh-CN" altLang="en-US" sz="3600" b="1" dirty="0" smtClean="0">
                <a:effectLst>
                  <a:outerShdw blurRad="38100" dist="38100" dir="2700000" algn="tl">
                    <a:srgbClr val="000000">
                      <a:alpha val="43137"/>
                    </a:srgbClr>
                  </a:outerShdw>
                </a:effectLst>
              </a:rPr>
              <a:t>by Using </a:t>
            </a:r>
            <a:r>
              <a:rPr lang="en-US" altLang="zh-CN" sz="3600" b="1" dirty="0" smtClean="0">
                <a:solidFill>
                  <a:srgbClr val="00B050"/>
                </a:solidFill>
                <a:effectLst>
                  <a:outerShdw blurRad="38100" dist="38100" dir="2700000" algn="tl">
                    <a:srgbClr val="000000">
                      <a:alpha val="43137"/>
                    </a:srgbClr>
                  </a:outerShdw>
                </a:effectLst>
              </a:rPr>
              <a:t>a </a:t>
            </a:r>
            <a:r>
              <a:rPr lang="zh-CN" altLang="en-US" sz="3600" b="1" dirty="0" smtClean="0">
                <a:effectLst>
                  <a:outerShdw blurRad="38100" dist="38100" dir="2700000" algn="tl">
                    <a:srgbClr val="000000">
                      <a:alpha val="43137"/>
                    </a:srgbClr>
                  </a:outerShdw>
                </a:effectLst>
              </a:rPr>
              <a:t>Smart Pole as a Node</a:t>
            </a:r>
            <a:r>
              <a:rPr lang="en-US" altLang="zh-CN" sz="3600" b="1" dirty="0" smtClean="0">
                <a:effectLst>
                  <a:outerShdw blurRad="38100" dist="38100" dir="2700000" algn="tl">
                    <a:srgbClr val="000000">
                      <a:alpha val="43137"/>
                    </a:srgbClr>
                  </a:outerShdw>
                </a:effectLst>
              </a:rPr>
              <a:t/>
            </a:r>
            <a:br>
              <a:rPr lang="en-US" altLang="zh-CN" sz="3600" b="1" dirty="0" smtClean="0">
                <a:effectLst>
                  <a:outerShdw blurRad="38100" dist="38100" dir="2700000" algn="tl">
                    <a:srgbClr val="000000">
                      <a:alpha val="43137"/>
                    </a:srgbClr>
                  </a:outerShdw>
                </a:effectLst>
              </a:rPr>
            </a:br>
            <a:r>
              <a:rPr lang="en-US" altLang="zh-CN" sz="2400" b="1" dirty="0" smtClean="0">
                <a:ea typeface="微软雅黑" pitchFamily="34" charset="-122"/>
              </a:rPr>
              <a:t>—</a:t>
            </a:r>
            <a:r>
              <a:rPr lang="zh-CN" altLang="en-US" sz="2400" b="1" dirty="0" smtClean="0">
                <a:ea typeface="微软雅黑" pitchFamily="34" charset="-122"/>
              </a:rPr>
              <a:t> </a:t>
            </a:r>
            <a:r>
              <a:rPr lang="zh-CN" altLang="en-US" sz="2400" b="1" i="1" dirty="0" smtClean="0">
                <a:solidFill>
                  <a:srgbClr val="00B050"/>
                </a:solidFill>
                <a:ea typeface="微软雅黑" pitchFamily="34" charset="-122"/>
              </a:rPr>
              <a:t>Huawei Smart Pole Solution</a:t>
            </a:r>
            <a:endParaRPr lang="en-US" altLang="zh-CN" sz="2800" b="1" i="1" dirty="0">
              <a:solidFill>
                <a:srgbClr val="00B050"/>
              </a:solidFill>
              <a:ea typeface="微软雅黑" pitchFamily="34" charset="-122"/>
            </a:endParaRPr>
          </a:p>
        </p:txBody>
      </p:sp>
      <p:sp>
        <p:nvSpPr>
          <p:cNvPr id="3" name="副标题 2"/>
          <p:cNvSpPr>
            <a:spLocks noGrp="1"/>
          </p:cNvSpPr>
          <p:nvPr>
            <p:ph type="subTitle" idx="11"/>
          </p:nvPr>
        </p:nvSpPr>
        <p:spPr>
          <a:xfrm>
            <a:off x="2375947" y="5013970"/>
            <a:ext cx="4153688" cy="461665"/>
          </a:xfrm>
        </p:spPr>
        <p:txBody>
          <a:bodyPr/>
          <a:lstStyle/>
          <a:p>
            <a:r>
              <a:rPr lang="en-US" altLang="zh-CN" dirty="0" smtClean="0">
                <a:solidFill>
                  <a:schemeClr val="bg1">
                    <a:lumMod val="75000"/>
                  </a:schemeClr>
                </a:solidFill>
              </a:rPr>
              <a:t>Enterprise</a:t>
            </a:r>
            <a:r>
              <a:rPr lang="zh-CN" altLang="en-US" dirty="0" smtClean="0">
                <a:solidFill>
                  <a:schemeClr val="bg1">
                    <a:lumMod val="75000"/>
                  </a:schemeClr>
                </a:solidFill>
              </a:rPr>
              <a:t> </a:t>
            </a:r>
            <a:r>
              <a:rPr lang="en-US" altLang="zh-CN" dirty="0" smtClean="0">
                <a:solidFill>
                  <a:schemeClr val="bg1">
                    <a:lumMod val="75000"/>
                  </a:schemeClr>
                </a:solidFill>
              </a:rPr>
              <a:t>Network SDT</a:t>
            </a:r>
            <a:endParaRPr lang="zh-CN" altLang="en-US" dirty="0">
              <a:solidFill>
                <a:schemeClr val="bg1">
                  <a:lumMod val="75000"/>
                </a:schemeClr>
              </a:solidFill>
            </a:endParaRPr>
          </a:p>
        </p:txBody>
      </p:sp>
    </p:spTree>
    <p:extLst>
      <p:ext uri="{BB962C8B-B14F-4D97-AF65-F5344CB8AC3E}">
        <p14:creationId xmlns:p14="http://schemas.microsoft.com/office/powerpoint/2010/main" val="587714320"/>
      </p:ext>
    </p:extLst>
  </p:cSld>
  <p:clrMapOvr>
    <a:masterClrMapping/>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23092" y="747496"/>
            <a:ext cx="8046894" cy="5364596"/>
          </a:xfrm>
          <a:prstGeom prst="rect">
            <a:avLst/>
          </a:prstGeom>
          <a:noFill/>
          <a:ln w="9525">
            <a:noFill/>
            <a:miter lim="800000"/>
            <a:headEnd/>
            <a:tailEnd/>
          </a:ln>
          <a:effectLst>
            <a:softEdge rad="635000"/>
          </a:effectLst>
        </p:spPr>
      </p:pic>
      <p:sp>
        <p:nvSpPr>
          <p:cNvPr id="5" name="矩形 4"/>
          <p:cNvSpPr/>
          <p:nvPr/>
        </p:nvSpPr>
        <p:spPr>
          <a:xfrm>
            <a:off x="5593531" y="956010"/>
            <a:ext cx="6037987" cy="1846659"/>
          </a:xfrm>
          <a:prstGeom prst="rect">
            <a:avLst/>
          </a:prstGeom>
        </p:spPr>
        <p:txBody>
          <a:bodyPr wrap="square">
            <a:spAutoFit/>
          </a:bodyPr>
          <a:lstStyle/>
          <a:p>
            <a:pPr algn="ctr">
              <a:lnSpc>
                <a:spcPct val="150000"/>
              </a:lnSpc>
            </a:pPr>
            <a:r>
              <a:rPr lang="zh-CN" altLang="en-US" b="1" dirty="0" smtClean="0">
                <a:solidFill>
                  <a:schemeClr val="bg1"/>
                </a:solidFill>
                <a:effectLst>
                  <a:outerShdw blurRad="38100" dist="38100" dir="2700000" algn="tl">
                    <a:srgbClr val="000000">
                      <a:alpha val="43137"/>
                    </a:srgbClr>
                  </a:outerShdw>
                </a:effectLst>
              </a:rPr>
              <a:t>Careful Planning and Reasonable Operation Enable Public Lighting to Be </a:t>
            </a:r>
            <a:r>
              <a:rPr lang="zh-CN" altLang="en-US" sz="2800" b="1" dirty="0" smtClean="0">
                <a:solidFill>
                  <a:srgbClr val="FFC000"/>
                </a:solidFill>
                <a:effectLst>
                  <a:outerShdw blurRad="38100" dist="38100" dir="2700000" algn="tl">
                    <a:srgbClr val="000000">
                      <a:alpha val="43137"/>
                    </a:srgbClr>
                  </a:outerShdw>
                </a:effectLst>
              </a:rPr>
              <a:t>Profitable</a:t>
            </a:r>
            <a:endParaRPr lang="en-US" altLang="en-US"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grpSp>
        <p:nvGrpSpPr>
          <p:cNvPr id="6" name="组合 54"/>
          <p:cNvGrpSpPr>
            <a:grpSpLocks/>
          </p:cNvGrpSpPr>
          <p:nvPr/>
        </p:nvGrpSpPr>
        <p:grpSpPr bwMode="auto">
          <a:xfrm>
            <a:off x="6836940" y="3222627"/>
            <a:ext cx="2212975" cy="1357782"/>
            <a:chOff x="15645604" y="3350466"/>
            <a:chExt cx="3430505" cy="505746"/>
          </a:xfrm>
        </p:grpSpPr>
        <p:sp>
          <p:nvSpPr>
            <p:cNvPr id="7" name="矩形 6"/>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8" name="TextBox 7"/>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9" name="矩形 8"/>
          <p:cNvSpPr/>
          <p:nvPr/>
        </p:nvSpPr>
        <p:spPr>
          <a:xfrm>
            <a:off x="6906602" y="3462893"/>
            <a:ext cx="2088232" cy="830997"/>
          </a:xfrm>
          <a:prstGeom prst="rect">
            <a:avLst/>
          </a:prstGeom>
        </p:spPr>
        <p:txBody>
          <a:bodyPr wrap="square">
            <a:spAutoFit/>
          </a:bodyPr>
          <a:lstStyle/>
          <a:p>
            <a:pPr algn="ctr">
              <a:lnSpc>
                <a:spcPct val="150000"/>
              </a:lnSpc>
            </a:pP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PPP and other Operation Modes</a:t>
            </a:r>
            <a:endParaRPr lang="zh-CN" altLang="en-US" sz="1600" dirty="0"/>
          </a:p>
        </p:txBody>
      </p:sp>
      <p:grpSp>
        <p:nvGrpSpPr>
          <p:cNvPr id="10" name="组合 54"/>
          <p:cNvGrpSpPr>
            <a:grpSpLocks/>
          </p:cNvGrpSpPr>
          <p:nvPr/>
        </p:nvGrpSpPr>
        <p:grpSpPr bwMode="auto">
          <a:xfrm>
            <a:off x="9213204" y="3222627"/>
            <a:ext cx="2212975" cy="1357782"/>
            <a:chOff x="15645604" y="3350466"/>
            <a:chExt cx="3430505" cy="505746"/>
          </a:xfrm>
        </p:grpSpPr>
        <p:sp>
          <p:nvSpPr>
            <p:cNvPr id="11" name="矩形 10"/>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2" name="TextBox 11"/>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3" name="矩形 12"/>
          <p:cNvSpPr/>
          <p:nvPr/>
        </p:nvSpPr>
        <p:spPr>
          <a:xfrm>
            <a:off x="9275575" y="3701463"/>
            <a:ext cx="2088232" cy="338554"/>
          </a:xfrm>
          <a:prstGeom prst="rect">
            <a:avLst/>
          </a:prstGeom>
        </p:spPr>
        <p:txBody>
          <a:bodyPr wrap="square">
            <a:spAutoFit/>
          </a:bodyPr>
          <a:lstStyle/>
          <a:p>
            <a:pPr algn="ct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ED</a:t>
            </a: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d Placement</a:t>
            </a:r>
          </a:p>
        </p:txBody>
      </p:sp>
      <p:grpSp>
        <p:nvGrpSpPr>
          <p:cNvPr id="14" name="组合 54"/>
          <p:cNvGrpSpPr>
            <a:grpSpLocks/>
          </p:cNvGrpSpPr>
          <p:nvPr/>
        </p:nvGrpSpPr>
        <p:grpSpPr bwMode="auto">
          <a:xfrm>
            <a:off x="6836940" y="4665182"/>
            <a:ext cx="2212975" cy="1357782"/>
            <a:chOff x="15645604" y="3350466"/>
            <a:chExt cx="3430505" cy="505746"/>
          </a:xfrm>
        </p:grpSpPr>
        <p:sp>
          <p:nvSpPr>
            <p:cNvPr id="15" name="矩形 14"/>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6" name="TextBox 15"/>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7" name="矩形 16"/>
          <p:cNvSpPr/>
          <p:nvPr/>
        </p:nvSpPr>
        <p:spPr>
          <a:xfrm>
            <a:off x="6899311" y="5113241"/>
            <a:ext cx="2088232" cy="461665"/>
          </a:xfrm>
          <a:prstGeom prst="rect">
            <a:avLst/>
          </a:prstGeom>
        </p:spPr>
        <p:txBody>
          <a:bodyPr wrap="square">
            <a:spAutoFit/>
          </a:bodyPr>
          <a:lstStyle/>
          <a:p>
            <a:pPr algn="ctr">
              <a:lnSpc>
                <a:spcPct val="150000"/>
              </a:lnSpc>
            </a:pPr>
            <a:r>
              <a:rPr lang="zh-CN" altLang="en-US" sz="1600" b="1" dirty="0" smtClean="0">
                <a:solidFill>
                  <a:schemeClr val="bg1"/>
                </a:solidFill>
                <a:effectLst>
                  <a:outerShdw blurRad="38100" dist="38100" dir="2700000" algn="tl">
                    <a:srgbClr val="000000">
                      <a:alpha val="43137"/>
                    </a:srgbClr>
                  </a:outerShdw>
                </a:effectLst>
              </a:rPr>
              <a:t>Wireless Ad Push</a:t>
            </a:r>
            <a:endParaRPr lang="zh-CN" altLang="en-US" sz="1600" b="1" dirty="0">
              <a:solidFill>
                <a:schemeClr val="bg1"/>
              </a:solidFill>
              <a:effectLst>
                <a:outerShdw blurRad="38100" dist="38100" dir="2700000" algn="tl">
                  <a:srgbClr val="000000">
                    <a:alpha val="43137"/>
                  </a:srgbClr>
                </a:outerShdw>
              </a:effectLst>
            </a:endParaRPr>
          </a:p>
        </p:txBody>
      </p:sp>
      <p:grpSp>
        <p:nvGrpSpPr>
          <p:cNvPr id="18" name="组合 54"/>
          <p:cNvGrpSpPr>
            <a:grpSpLocks/>
          </p:cNvGrpSpPr>
          <p:nvPr/>
        </p:nvGrpSpPr>
        <p:grpSpPr bwMode="auto">
          <a:xfrm>
            <a:off x="9213204" y="4665182"/>
            <a:ext cx="2212975" cy="1357782"/>
            <a:chOff x="15645604" y="3350466"/>
            <a:chExt cx="3430505" cy="505746"/>
          </a:xfrm>
        </p:grpSpPr>
        <p:sp>
          <p:nvSpPr>
            <p:cNvPr id="19" name="矩形 18"/>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20" name="TextBox 19"/>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21" name="矩形 20"/>
          <p:cNvSpPr/>
          <p:nvPr/>
        </p:nvSpPr>
        <p:spPr>
          <a:xfrm>
            <a:off x="9275575" y="4941962"/>
            <a:ext cx="2088232" cy="830997"/>
          </a:xfrm>
          <a:prstGeom prst="rect">
            <a:avLst/>
          </a:prstGeom>
        </p:spPr>
        <p:txBody>
          <a:bodyPr wrap="square">
            <a:spAutoFit/>
          </a:bodyPr>
          <a:lstStyle/>
          <a:p>
            <a:pPr algn="ct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Micro Base Station Resource Leasing</a:t>
            </a:r>
            <a:endPar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1"/>
          <p:cNvPicPr>
            <a:picLocks noChangeAspect="1" noChangeArrowheads="1"/>
          </p:cNvPicPr>
          <p:nvPr/>
        </p:nvPicPr>
        <p:blipFill>
          <a:blip r:embed="rId2" cstate="print"/>
          <a:srcRect/>
          <a:stretch>
            <a:fillRect/>
          </a:stretch>
        </p:blipFill>
        <p:spPr bwMode="auto">
          <a:xfrm>
            <a:off x="0" y="0"/>
            <a:ext cx="12195175" cy="6859588"/>
          </a:xfrm>
          <a:prstGeom prst="rect">
            <a:avLst/>
          </a:prstGeom>
          <a:noFill/>
          <a:ln w="9525">
            <a:noFill/>
            <a:miter lim="800000"/>
            <a:headEnd/>
            <a:tailEnd/>
          </a:ln>
        </p:spPr>
      </p:pic>
      <p:grpSp>
        <p:nvGrpSpPr>
          <p:cNvPr id="17" name="组合 16"/>
          <p:cNvGrpSpPr/>
          <p:nvPr/>
        </p:nvGrpSpPr>
        <p:grpSpPr>
          <a:xfrm>
            <a:off x="120923" y="117426"/>
            <a:ext cx="4562475" cy="1411288"/>
            <a:chOff x="7511776" y="117426"/>
            <a:chExt cx="4562475" cy="1411288"/>
          </a:xfrm>
        </p:grpSpPr>
        <p:grpSp>
          <p:nvGrpSpPr>
            <p:cNvPr id="11" name="组合 6"/>
            <p:cNvGrpSpPr/>
            <p:nvPr/>
          </p:nvGrpSpPr>
          <p:grpSpPr>
            <a:xfrm>
              <a:off x="7511776" y="117426"/>
              <a:ext cx="4562475" cy="1411288"/>
              <a:chOff x="-5729287" y="817563"/>
              <a:chExt cx="4562475" cy="1411288"/>
            </a:xfrm>
          </p:grpSpPr>
          <p:sp>
            <p:nvSpPr>
              <p:cNvPr id="14" name="Freeform 6"/>
              <p:cNvSpPr>
                <a:spLocks/>
              </p:cNvSpPr>
              <p:nvPr/>
            </p:nvSpPr>
            <p:spPr bwMode="auto">
              <a:xfrm>
                <a:off x="-5729287" y="817563"/>
                <a:ext cx="952500" cy="1411288"/>
              </a:xfrm>
              <a:custGeom>
                <a:avLst/>
                <a:gdLst>
                  <a:gd name="T0" fmla="*/ 55 w 55"/>
                  <a:gd name="T1" fmla="*/ 68 h 82"/>
                  <a:gd name="T2" fmla="*/ 55 w 55"/>
                  <a:gd name="T3" fmla="*/ 82 h 82"/>
                  <a:gd name="T4" fmla="*/ 0 w 55"/>
                  <a:gd name="T5" fmla="*/ 82 h 82"/>
                  <a:gd name="T6" fmla="*/ 5 w 55"/>
                  <a:gd name="T7" fmla="*/ 66 h 82"/>
                  <a:gd name="T8" fmla="*/ 23 w 55"/>
                  <a:gd name="T9" fmla="*/ 47 h 82"/>
                  <a:gd name="T10" fmla="*/ 36 w 55"/>
                  <a:gd name="T11" fmla="*/ 33 h 82"/>
                  <a:gd name="T12" fmla="*/ 39 w 55"/>
                  <a:gd name="T13" fmla="*/ 24 h 82"/>
                  <a:gd name="T14" fmla="*/ 37 w 55"/>
                  <a:gd name="T15" fmla="*/ 16 h 82"/>
                  <a:gd name="T16" fmla="*/ 29 w 55"/>
                  <a:gd name="T17" fmla="*/ 13 h 82"/>
                  <a:gd name="T18" fmla="*/ 21 w 55"/>
                  <a:gd name="T19" fmla="*/ 16 h 82"/>
                  <a:gd name="T20" fmla="*/ 18 w 55"/>
                  <a:gd name="T21" fmla="*/ 26 h 82"/>
                  <a:gd name="T22" fmla="*/ 2 w 55"/>
                  <a:gd name="T23" fmla="*/ 24 h 82"/>
                  <a:gd name="T24" fmla="*/ 11 w 55"/>
                  <a:gd name="T25" fmla="*/ 6 h 82"/>
                  <a:gd name="T26" fmla="*/ 29 w 55"/>
                  <a:gd name="T27" fmla="*/ 0 h 82"/>
                  <a:gd name="T28" fmla="*/ 48 w 55"/>
                  <a:gd name="T29" fmla="*/ 7 h 82"/>
                  <a:gd name="T30" fmla="*/ 55 w 55"/>
                  <a:gd name="T31" fmla="*/ 23 h 82"/>
                  <a:gd name="T32" fmla="*/ 53 w 55"/>
                  <a:gd name="T33" fmla="*/ 33 h 82"/>
                  <a:gd name="T34" fmla="*/ 47 w 55"/>
                  <a:gd name="T35" fmla="*/ 44 h 82"/>
                  <a:gd name="T36" fmla="*/ 37 w 55"/>
                  <a:gd name="T37" fmla="*/ 54 h 82"/>
                  <a:gd name="T38" fmla="*/ 27 w 55"/>
                  <a:gd name="T39" fmla="*/ 63 h 82"/>
                  <a:gd name="T40" fmla="*/ 24 w 55"/>
                  <a:gd name="T41" fmla="*/ 68 h 82"/>
                  <a:gd name="T42" fmla="*/ 55 w 55"/>
                  <a:gd name="T43"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2">
                    <a:moveTo>
                      <a:pt x="55" y="68"/>
                    </a:moveTo>
                    <a:cubicBezTo>
                      <a:pt x="55" y="82"/>
                      <a:pt x="55" y="82"/>
                      <a:pt x="55" y="82"/>
                    </a:cubicBezTo>
                    <a:cubicBezTo>
                      <a:pt x="0" y="82"/>
                      <a:pt x="0" y="82"/>
                      <a:pt x="0" y="82"/>
                    </a:cubicBezTo>
                    <a:cubicBezTo>
                      <a:pt x="1" y="77"/>
                      <a:pt x="3" y="71"/>
                      <a:pt x="5" y="66"/>
                    </a:cubicBezTo>
                    <a:cubicBezTo>
                      <a:pt x="8" y="62"/>
                      <a:pt x="14" y="55"/>
                      <a:pt x="23" y="47"/>
                    </a:cubicBezTo>
                    <a:cubicBezTo>
                      <a:pt x="30" y="40"/>
                      <a:pt x="34" y="36"/>
                      <a:pt x="36" y="33"/>
                    </a:cubicBezTo>
                    <a:cubicBezTo>
                      <a:pt x="38" y="30"/>
                      <a:pt x="39" y="27"/>
                      <a:pt x="39" y="24"/>
                    </a:cubicBezTo>
                    <a:cubicBezTo>
                      <a:pt x="39" y="20"/>
                      <a:pt x="38" y="18"/>
                      <a:pt x="37" y="16"/>
                    </a:cubicBezTo>
                    <a:cubicBezTo>
                      <a:pt x="35" y="14"/>
                      <a:pt x="32" y="13"/>
                      <a:pt x="29" y="13"/>
                    </a:cubicBezTo>
                    <a:cubicBezTo>
                      <a:pt x="25" y="13"/>
                      <a:pt x="23" y="14"/>
                      <a:pt x="21" y="16"/>
                    </a:cubicBezTo>
                    <a:cubicBezTo>
                      <a:pt x="19" y="18"/>
                      <a:pt x="18" y="21"/>
                      <a:pt x="18" y="26"/>
                    </a:cubicBezTo>
                    <a:cubicBezTo>
                      <a:pt x="2" y="24"/>
                      <a:pt x="2" y="24"/>
                      <a:pt x="2" y="24"/>
                    </a:cubicBezTo>
                    <a:cubicBezTo>
                      <a:pt x="3" y="16"/>
                      <a:pt x="6" y="9"/>
                      <a:pt x="11" y="6"/>
                    </a:cubicBezTo>
                    <a:cubicBezTo>
                      <a:pt x="16" y="2"/>
                      <a:pt x="22" y="0"/>
                      <a:pt x="29" y="0"/>
                    </a:cubicBezTo>
                    <a:cubicBezTo>
                      <a:pt x="37" y="0"/>
                      <a:pt x="44" y="2"/>
                      <a:pt x="48" y="7"/>
                    </a:cubicBezTo>
                    <a:cubicBezTo>
                      <a:pt x="53" y="11"/>
                      <a:pt x="55" y="16"/>
                      <a:pt x="55" y="23"/>
                    </a:cubicBezTo>
                    <a:cubicBezTo>
                      <a:pt x="55" y="26"/>
                      <a:pt x="54" y="30"/>
                      <a:pt x="53" y="33"/>
                    </a:cubicBezTo>
                    <a:cubicBezTo>
                      <a:pt x="52" y="37"/>
                      <a:pt x="50" y="40"/>
                      <a:pt x="47" y="44"/>
                    </a:cubicBezTo>
                    <a:cubicBezTo>
                      <a:pt x="45" y="46"/>
                      <a:pt x="41" y="50"/>
                      <a:pt x="37" y="54"/>
                    </a:cubicBezTo>
                    <a:cubicBezTo>
                      <a:pt x="32" y="59"/>
                      <a:pt x="28" y="62"/>
                      <a:pt x="27" y="63"/>
                    </a:cubicBezTo>
                    <a:cubicBezTo>
                      <a:pt x="26" y="65"/>
                      <a:pt x="25" y="66"/>
                      <a:pt x="24" y="68"/>
                    </a:cubicBezTo>
                    <a:lnTo>
                      <a:pt x="55" y="68"/>
                    </a:ln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9"/>
              <p:cNvSpPr>
                <a:spLocks/>
              </p:cNvSpPr>
              <p:nvPr/>
            </p:nvSpPr>
            <p:spPr bwMode="auto">
              <a:xfrm>
                <a:off x="-5435600" y="817563"/>
                <a:ext cx="4268788" cy="1411288"/>
              </a:xfrm>
              <a:custGeom>
                <a:avLst/>
                <a:gdLst>
                  <a:gd name="T0" fmla="*/ 2551 w 2551"/>
                  <a:gd name="T1" fmla="*/ 889 h 889"/>
                  <a:gd name="T2" fmla="*/ 142 w 2551"/>
                  <a:gd name="T3" fmla="*/ 889 h 889"/>
                  <a:gd name="T4" fmla="*/ 0 w 2551"/>
                  <a:gd name="T5" fmla="*/ 726 h 889"/>
                  <a:gd name="T6" fmla="*/ 306 w 2551"/>
                  <a:gd name="T7" fmla="*/ 293 h 889"/>
                  <a:gd name="T8" fmla="*/ 142 w 2551"/>
                  <a:gd name="T9" fmla="*/ 0 h 889"/>
                  <a:gd name="T10" fmla="*/ 2551 w 2551"/>
                  <a:gd name="T11" fmla="*/ 0 h 889"/>
                  <a:gd name="T12" fmla="*/ 2551 w 2551"/>
                  <a:gd name="T13" fmla="*/ 889 h 889"/>
                </a:gdLst>
                <a:ahLst/>
                <a:cxnLst>
                  <a:cxn ang="0">
                    <a:pos x="T0" y="T1"/>
                  </a:cxn>
                  <a:cxn ang="0">
                    <a:pos x="T2" y="T3"/>
                  </a:cxn>
                  <a:cxn ang="0">
                    <a:pos x="T4" y="T5"/>
                  </a:cxn>
                  <a:cxn ang="0">
                    <a:pos x="T6" y="T7"/>
                  </a:cxn>
                  <a:cxn ang="0">
                    <a:pos x="T8" y="T9"/>
                  </a:cxn>
                  <a:cxn ang="0">
                    <a:pos x="T10" y="T11"/>
                  </a:cxn>
                  <a:cxn ang="0">
                    <a:pos x="T12" y="T13"/>
                  </a:cxn>
                </a:cxnLst>
                <a:rect l="0" t="0" r="r" b="b"/>
                <a:pathLst>
                  <a:path w="2551" h="889">
                    <a:moveTo>
                      <a:pt x="2551" y="889"/>
                    </a:moveTo>
                    <a:lnTo>
                      <a:pt x="142" y="889"/>
                    </a:lnTo>
                    <a:lnTo>
                      <a:pt x="0" y="726"/>
                    </a:lnTo>
                    <a:lnTo>
                      <a:pt x="306" y="293"/>
                    </a:lnTo>
                    <a:lnTo>
                      <a:pt x="142" y="0"/>
                    </a:lnTo>
                    <a:lnTo>
                      <a:pt x="2551" y="0"/>
                    </a:lnTo>
                    <a:lnTo>
                      <a:pt x="2551" y="889"/>
                    </a:ln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2" name="Rectangle 3"/>
            <p:cNvSpPr txBox="1">
              <a:spLocks noChangeArrowheads="1"/>
            </p:cNvSpPr>
            <p:nvPr/>
          </p:nvSpPr>
          <p:spPr>
            <a:xfrm>
              <a:off x="8260471" y="255063"/>
              <a:ext cx="2140109" cy="1107996"/>
            </a:xfrm>
            <a:prstGeom prst="rect">
              <a:avLst/>
            </a:prstGeom>
          </p:spPr>
          <p:txBody>
            <a:bodyPr wrap="square">
              <a:spAutoFit/>
            </a:bodyPr>
            <a:lstStyle/>
            <a:p>
              <a:pPr lvl="0">
                <a:buClr>
                  <a:srgbClr val="777777"/>
                </a:buClr>
                <a:buSzPct val="60000"/>
                <a:defRPr/>
              </a:pPr>
              <a:r>
                <a:rPr lang="en-US" altLang="zh-CN" sz="6600" b="1" kern="0" noProof="0" dirty="0" smtClean="0">
                  <a:solidFill>
                    <a:schemeClr val="bg1"/>
                  </a:solidFill>
                  <a:latin typeface="微软雅黑" pitchFamily="34" charset="-122"/>
                  <a:ea typeface="微软雅黑" pitchFamily="34" charset="-122"/>
                </a:rPr>
                <a:t>Why</a:t>
              </a:r>
              <a:endParaRPr kumimoji="0" lang="en-US" altLang="zh-CN" sz="1400" b="1" i="0" u="none" strike="noStrike" kern="0" cap="none" spc="0" normalizeH="0" baseline="0" noProof="0" dirty="0">
                <a:ln>
                  <a:noFill/>
                </a:ln>
                <a:solidFill>
                  <a:schemeClr val="bg1"/>
                </a:solidFill>
                <a:effectLst/>
                <a:uLnTx/>
                <a:uFillTx/>
                <a:latin typeface="微软雅黑" pitchFamily="34" charset="-122"/>
                <a:ea typeface="微软雅黑" pitchFamily="34" charset="-122"/>
              </a:endParaRPr>
            </a:p>
          </p:txBody>
        </p:sp>
        <p:sp>
          <p:nvSpPr>
            <p:cNvPr id="16" name="TextBox 15"/>
            <p:cNvSpPr txBox="1"/>
            <p:nvPr/>
          </p:nvSpPr>
          <p:spPr>
            <a:xfrm>
              <a:off x="10274051" y="256545"/>
              <a:ext cx="1800200" cy="1200329"/>
            </a:xfrm>
            <a:prstGeom prst="rect">
              <a:avLst/>
            </a:prstGeom>
            <a:noFill/>
          </p:spPr>
          <p:txBody>
            <a:bodyPr wrap="square" rtlCol="0">
              <a:spAutoFit/>
            </a:bodyPr>
            <a:lstStyle/>
            <a:p>
              <a:r>
                <a:rPr lang="zh-CN" altLang="en-US" sz="1800" b="1" dirty="0" smtClean="0">
                  <a:solidFill>
                    <a:schemeClr val="bg1"/>
                  </a:solidFill>
                  <a:effectLst>
                    <a:outerShdw blurRad="38100" dist="38100" dir="2700000" algn="tl">
                      <a:srgbClr val="000000">
                        <a:alpha val="43137"/>
                      </a:srgbClr>
                    </a:outerShdw>
                  </a:effectLst>
                </a:rPr>
                <a:t>What are </a:t>
              </a:r>
              <a:r>
                <a:rPr lang="zh-CN" altLang="en-US" sz="1800" b="1" dirty="0" smtClean="0">
                  <a:solidFill>
                    <a:srgbClr val="00B050"/>
                  </a:solidFill>
                  <a:effectLst>
                    <a:outerShdw blurRad="38100" dist="38100" dir="2700000" algn="tl">
                      <a:srgbClr val="000000">
                        <a:alpha val="43137"/>
                      </a:srgbClr>
                    </a:outerShdw>
                  </a:effectLst>
                </a:rPr>
                <a:t>Huawei</a:t>
              </a:r>
              <a:r>
                <a:rPr lang="en-US" altLang="zh-CN" sz="1800" b="1" dirty="0" smtClean="0">
                  <a:solidFill>
                    <a:srgbClr val="00B050"/>
                  </a:solidFill>
                  <a:effectLst>
                    <a:outerShdw blurRad="38100" dist="38100" dir="2700000" algn="tl">
                      <a:srgbClr val="000000">
                        <a:alpha val="43137"/>
                      </a:srgbClr>
                    </a:outerShdw>
                  </a:effectLst>
                </a:rPr>
                <a:t>’</a:t>
              </a:r>
              <a:r>
                <a:rPr lang="zh-CN" altLang="en-US" sz="1800" b="1" dirty="0" smtClean="0">
                  <a:solidFill>
                    <a:srgbClr val="00B050"/>
                  </a:solidFill>
                  <a:effectLst>
                    <a:outerShdw blurRad="38100" dist="38100" dir="2700000" algn="tl">
                      <a:srgbClr val="000000">
                        <a:alpha val="43137"/>
                      </a:srgbClr>
                    </a:outerShdw>
                  </a:effectLst>
                </a:rPr>
                <a:t>s </a:t>
              </a:r>
              <a:r>
                <a:rPr lang="zh-CN" altLang="en-US" sz="1800" b="1" dirty="0" smtClean="0">
                  <a:solidFill>
                    <a:schemeClr val="bg1"/>
                  </a:solidFill>
                  <a:effectLst>
                    <a:outerShdw blurRad="38100" dist="38100" dir="2700000" algn="tl">
                      <a:srgbClr val="000000">
                        <a:alpha val="43137"/>
                      </a:srgbClr>
                    </a:outerShdw>
                  </a:effectLst>
                </a:rPr>
                <a:t>advantages in the industry?</a:t>
              </a:r>
              <a:endParaRPr lang="zh-CN" altLang="en-US" sz="1800" b="1" dirty="0">
                <a:solidFill>
                  <a:schemeClr val="bg1"/>
                </a:solidFill>
                <a:effectLst>
                  <a:outerShdw blurRad="38100" dist="38100" dir="2700000" algn="tl">
                    <a:srgbClr val="000000">
                      <a:alpha val="43137"/>
                    </a:srgbClr>
                  </a:outerShdw>
                </a:effectLst>
              </a:endParaRPr>
            </a:p>
          </p:txBody>
        </p:sp>
      </p:grpSp>
    </p:spTree>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454"/>
          <p:cNvGrpSpPr/>
          <p:nvPr/>
        </p:nvGrpSpPr>
        <p:grpSpPr>
          <a:xfrm>
            <a:off x="4602651" y="5025771"/>
            <a:ext cx="1292240" cy="1059846"/>
            <a:chOff x="4555706" y="5074154"/>
            <a:chExt cx="1292240" cy="1059846"/>
          </a:xfrm>
        </p:grpSpPr>
        <p:sp>
          <p:nvSpPr>
            <p:cNvPr id="456" name="201497223"/>
            <p:cNvSpPr>
              <a:spLocks noChangeAspect="1"/>
            </p:cNvSpPr>
            <p:nvPr/>
          </p:nvSpPr>
          <p:spPr bwMode="auto">
            <a:xfrm>
              <a:off x="4685822" y="5074154"/>
              <a:ext cx="1008000" cy="1059846"/>
            </a:xfrm>
            <a:custGeom>
              <a:avLst/>
              <a:gdLst/>
              <a:ahLst/>
              <a:cxnLst>
                <a:cxn ang="0">
                  <a:pos x="397" y="15"/>
                </a:cxn>
                <a:cxn ang="0">
                  <a:pos x="523" y="88"/>
                </a:cxn>
                <a:cxn ang="0">
                  <a:pos x="652" y="162"/>
                </a:cxn>
                <a:cxn ang="0">
                  <a:pos x="652" y="162"/>
                </a:cxn>
                <a:cxn ang="0">
                  <a:pos x="685" y="195"/>
                </a:cxn>
                <a:cxn ang="0">
                  <a:pos x="698" y="235"/>
                </a:cxn>
                <a:cxn ang="0">
                  <a:pos x="698" y="390"/>
                </a:cxn>
                <a:cxn ang="0">
                  <a:pos x="698" y="538"/>
                </a:cxn>
                <a:cxn ang="0">
                  <a:pos x="686" y="584"/>
                </a:cxn>
                <a:cxn ang="0">
                  <a:pos x="657" y="615"/>
                </a:cxn>
                <a:cxn ang="0">
                  <a:pos x="523" y="692"/>
                </a:cxn>
                <a:cxn ang="0">
                  <a:pos x="392" y="768"/>
                </a:cxn>
                <a:cxn ang="0">
                  <a:pos x="348" y="779"/>
                </a:cxn>
                <a:cxn ang="0">
                  <a:pos x="306" y="768"/>
                </a:cxn>
                <a:cxn ang="0">
                  <a:pos x="174" y="692"/>
                </a:cxn>
                <a:cxn ang="0">
                  <a:pos x="38" y="614"/>
                </a:cxn>
                <a:cxn ang="0">
                  <a:pos x="9" y="579"/>
                </a:cxn>
                <a:cxn ang="0">
                  <a:pos x="0" y="547"/>
                </a:cxn>
                <a:cxn ang="0">
                  <a:pos x="0" y="390"/>
                </a:cxn>
                <a:cxn ang="0">
                  <a:pos x="0" y="232"/>
                </a:cxn>
                <a:cxn ang="0">
                  <a:pos x="11" y="197"/>
                </a:cxn>
                <a:cxn ang="0">
                  <a:pos x="42" y="164"/>
                </a:cxn>
                <a:cxn ang="0">
                  <a:pos x="174" y="88"/>
                </a:cxn>
                <a:cxn ang="0">
                  <a:pos x="303" y="14"/>
                </a:cxn>
                <a:cxn ang="0">
                  <a:pos x="303" y="14"/>
                </a:cxn>
                <a:cxn ang="0">
                  <a:pos x="352" y="1"/>
                </a:cxn>
                <a:cxn ang="0">
                  <a:pos x="397" y="15"/>
                </a:cxn>
              </a:cxnLst>
              <a:rect l="0" t="0" r="r" b="b"/>
              <a:pathLst>
                <a:path w="698" h="779">
                  <a:moveTo>
                    <a:pt x="397" y="15"/>
                  </a:moveTo>
                  <a:cubicBezTo>
                    <a:pt x="523" y="88"/>
                    <a:pt x="523" y="88"/>
                    <a:pt x="523" y="88"/>
                  </a:cubicBezTo>
                  <a:cubicBezTo>
                    <a:pt x="652" y="162"/>
                    <a:pt x="652" y="162"/>
                    <a:pt x="652" y="162"/>
                  </a:cubicBezTo>
                  <a:cubicBezTo>
                    <a:pt x="652" y="162"/>
                    <a:pt x="652" y="162"/>
                    <a:pt x="652" y="162"/>
                  </a:cubicBezTo>
                  <a:cubicBezTo>
                    <a:pt x="652" y="162"/>
                    <a:pt x="674" y="176"/>
                    <a:pt x="685" y="195"/>
                  </a:cubicBezTo>
                  <a:cubicBezTo>
                    <a:pt x="694" y="210"/>
                    <a:pt x="697" y="225"/>
                    <a:pt x="698" y="235"/>
                  </a:cubicBezTo>
                  <a:cubicBezTo>
                    <a:pt x="698" y="390"/>
                    <a:pt x="698" y="390"/>
                    <a:pt x="698" y="390"/>
                  </a:cubicBezTo>
                  <a:cubicBezTo>
                    <a:pt x="698" y="538"/>
                    <a:pt x="698" y="538"/>
                    <a:pt x="698" y="538"/>
                  </a:cubicBezTo>
                  <a:cubicBezTo>
                    <a:pt x="698" y="545"/>
                    <a:pt x="696" y="569"/>
                    <a:pt x="686" y="584"/>
                  </a:cubicBezTo>
                  <a:cubicBezTo>
                    <a:pt x="676" y="599"/>
                    <a:pt x="662" y="611"/>
                    <a:pt x="657" y="615"/>
                  </a:cubicBezTo>
                  <a:cubicBezTo>
                    <a:pt x="523" y="692"/>
                    <a:pt x="523" y="692"/>
                    <a:pt x="523" y="692"/>
                  </a:cubicBezTo>
                  <a:cubicBezTo>
                    <a:pt x="392" y="768"/>
                    <a:pt x="392" y="768"/>
                    <a:pt x="392" y="768"/>
                  </a:cubicBezTo>
                  <a:cubicBezTo>
                    <a:pt x="385" y="772"/>
                    <a:pt x="368" y="779"/>
                    <a:pt x="348" y="779"/>
                  </a:cubicBezTo>
                  <a:cubicBezTo>
                    <a:pt x="331" y="779"/>
                    <a:pt x="315" y="772"/>
                    <a:pt x="306" y="768"/>
                  </a:cubicBezTo>
                  <a:cubicBezTo>
                    <a:pt x="174" y="692"/>
                    <a:pt x="174" y="692"/>
                    <a:pt x="174" y="692"/>
                  </a:cubicBezTo>
                  <a:cubicBezTo>
                    <a:pt x="38" y="614"/>
                    <a:pt x="38" y="614"/>
                    <a:pt x="38" y="614"/>
                  </a:cubicBezTo>
                  <a:cubicBezTo>
                    <a:pt x="31" y="608"/>
                    <a:pt x="15" y="594"/>
                    <a:pt x="9" y="579"/>
                  </a:cubicBezTo>
                  <a:cubicBezTo>
                    <a:pt x="3" y="566"/>
                    <a:pt x="1" y="554"/>
                    <a:pt x="0" y="547"/>
                  </a:cubicBezTo>
                  <a:cubicBezTo>
                    <a:pt x="0" y="390"/>
                    <a:pt x="0" y="390"/>
                    <a:pt x="0" y="390"/>
                  </a:cubicBezTo>
                  <a:cubicBezTo>
                    <a:pt x="0" y="232"/>
                    <a:pt x="0" y="232"/>
                    <a:pt x="0" y="232"/>
                  </a:cubicBezTo>
                  <a:cubicBezTo>
                    <a:pt x="1" y="223"/>
                    <a:pt x="3" y="210"/>
                    <a:pt x="11" y="197"/>
                  </a:cubicBezTo>
                  <a:cubicBezTo>
                    <a:pt x="23" y="177"/>
                    <a:pt x="38" y="167"/>
                    <a:pt x="42" y="164"/>
                  </a:cubicBezTo>
                  <a:cubicBezTo>
                    <a:pt x="174" y="88"/>
                    <a:pt x="174" y="88"/>
                    <a:pt x="174" y="88"/>
                  </a:cubicBezTo>
                  <a:cubicBezTo>
                    <a:pt x="303" y="14"/>
                    <a:pt x="303" y="14"/>
                    <a:pt x="303" y="14"/>
                  </a:cubicBezTo>
                  <a:cubicBezTo>
                    <a:pt x="303" y="14"/>
                    <a:pt x="303" y="14"/>
                    <a:pt x="303" y="14"/>
                  </a:cubicBezTo>
                  <a:cubicBezTo>
                    <a:pt x="303" y="14"/>
                    <a:pt x="327" y="0"/>
                    <a:pt x="352" y="1"/>
                  </a:cubicBezTo>
                  <a:cubicBezTo>
                    <a:pt x="378" y="3"/>
                    <a:pt x="397" y="15"/>
                    <a:pt x="397" y="15"/>
                  </a:cubicBezTo>
                  <a:close/>
                </a:path>
              </a:pathLst>
            </a:custGeom>
            <a:solidFill>
              <a:srgbClr val="3399FF">
                <a:alpha val="34000"/>
              </a:srgbClr>
            </a:solidFill>
            <a:ln w="127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4" algn="ctr">
                <a:buClr>
                  <a:srgbClr val="CC9900"/>
                </a:buClr>
              </a:pPr>
              <a:endParaRPr lang="zh-CN" altLang="en-US" sz="1400">
                <a:solidFill>
                  <a:prstClr val="white"/>
                </a:solidFill>
              </a:endParaRPr>
            </a:p>
          </p:txBody>
        </p:sp>
        <p:sp>
          <p:nvSpPr>
            <p:cNvPr id="457" name="695205335"/>
            <p:cNvSpPr txBox="1"/>
            <p:nvPr/>
          </p:nvSpPr>
          <p:spPr>
            <a:xfrm>
              <a:off x="4555706" y="5558752"/>
              <a:ext cx="1292240" cy="417413"/>
            </a:xfrm>
            <a:prstGeom prst="rect">
              <a:avLst/>
            </a:prstGeom>
            <a:noFill/>
            <a:effectLst>
              <a:outerShdw blurRad="50800" dist="38100" dir="2700000" algn="tl" rotWithShape="0">
                <a:prstClr val="black">
                  <a:alpha val="40000"/>
                </a:prstClr>
              </a:outerShdw>
            </a:effectLst>
          </p:spPr>
          <p:txBody>
            <a:bodyPr wrap="square" lIns="36000" tIns="36000" rIns="36000" bIns="36000" rtlCol="0">
              <a:spAutoFit/>
            </a:bodyPr>
            <a:lstStyle/>
            <a:p>
              <a:pPr algn="ctr">
                <a:lnSpc>
                  <a:spcPct val="80000"/>
                </a:lnSpc>
              </a:pPr>
              <a:r>
                <a:rPr lang="zh-CN" altLang="en-US" sz="1400" b="1" dirty="0" smtClean="0">
                  <a:solidFill>
                    <a:prstClr val="white"/>
                  </a:solidFill>
                </a:rPr>
                <a:t>Secure </a:t>
              </a:r>
              <a:r>
                <a:rPr lang="en-US" altLang="zh-CN" sz="1400" b="1" dirty="0" smtClean="0">
                  <a:solidFill>
                    <a:srgbClr val="00B050"/>
                  </a:solidFill>
                </a:rPr>
                <a:t>&amp;</a:t>
              </a:r>
              <a:r>
                <a:rPr lang="en-US" altLang="zh-CN" sz="1400" b="1" dirty="0" smtClean="0">
                  <a:solidFill>
                    <a:prstClr val="white"/>
                  </a:solidFill>
                </a:rPr>
                <a:t> </a:t>
              </a:r>
              <a:r>
                <a:rPr lang="en-US" altLang="zh-CN" sz="1400" b="1" dirty="0">
                  <a:solidFill>
                    <a:srgbClr val="00B050"/>
                  </a:solidFill>
                </a:rPr>
                <a:t>R</a:t>
              </a:r>
              <a:r>
                <a:rPr lang="zh-CN" altLang="en-US" sz="1400" b="1" dirty="0" smtClean="0">
                  <a:solidFill>
                    <a:srgbClr val="00B050"/>
                  </a:solidFill>
                </a:rPr>
                <a:t>eliable</a:t>
              </a:r>
              <a:endParaRPr lang="en-US" altLang="zh-CN" sz="1400" b="1" dirty="0" smtClean="0">
                <a:solidFill>
                  <a:srgbClr val="00B050"/>
                </a:solidFill>
              </a:endParaRPr>
            </a:p>
          </p:txBody>
        </p:sp>
        <p:sp>
          <p:nvSpPr>
            <p:cNvPr id="458" name="577228898"/>
            <p:cNvSpPr>
              <a:spLocks noEditPoints="1"/>
            </p:cNvSpPr>
            <p:nvPr/>
          </p:nvSpPr>
          <p:spPr bwMode="auto">
            <a:xfrm rot="975699">
              <a:off x="4989090" y="5191732"/>
              <a:ext cx="484563" cy="409820"/>
            </a:xfrm>
            <a:custGeom>
              <a:avLst/>
              <a:gdLst/>
              <a:ahLst/>
              <a:cxnLst>
                <a:cxn ang="0">
                  <a:pos x="219" y="38"/>
                </a:cxn>
                <a:cxn ang="0">
                  <a:pos x="193" y="65"/>
                </a:cxn>
                <a:cxn ang="0">
                  <a:pos x="194" y="72"/>
                </a:cxn>
                <a:cxn ang="0">
                  <a:pos x="156" y="87"/>
                </a:cxn>
                <a:cxn ang="0">
                  <a:pos x="105" y="53"/>
                </a:cxn>
                <a:cxn ang="0">
                  <a:pos x="69" y="66"/>
                </a:cxn>
                <a:cxn ang="0">
                  <a:pos x="48" y="44"/>
                </a:cxn>
                <a:cxn ang="0">
                  <a:pos x="55" y="26"/>
                </a:cxn>
                <a:cxn ang="0">
                  <a:pos x="28" y="0"/>
                </a:cxn>
                <a:cxn ang="0">
                  <a:pos x="2" y="26"/>
                </a:cxn>
                <a:cxn ang="0">
                  <a:pos x="28" y="53"/>
                </a:cxn>
                <a:cxn ang="0">
                  <a:pos x="44" y="48"/>
                </a:cxn>
                <a:cxn ang="0">
                  <a:pos x="64" y="70"/>
                </a:cxn>
                <a:cxn ang="0">
                  <a:pos x="48" y="110"/>
                </a:cxn>
                <a:cxn ang="0">
                  <a:pos x="64" y="150"/>
                </a:cxn>
                <a:cxn ang="0">
                  <a:pos x="42" y="173"/>
                </a:cxn>
                <a:cxn ang="0">
                  <a:pos x="27" y="168"/>
                </a:cxn>
                <a:cxn ang="0">
                  <a:pos x="0" y="195"/>
                </a:cxn>
                <a:cxn ang="0">
                  <a:pos x="27" y="221"/>
                </a:cxn>
                <a:cxn ang="0">
                  <a:pos x="53" y="195"/>
                </a:cxn>
                <a:cxn ang="0">
                  <a:pos x="47" y="177"/>
                </a:cxn>
                <a:cxn ang="0">
                  <a:pos x="68" y="154"/>
                </a:cxn>
                <a:cxn ang="0">
                  <a:pos x="105" y="167"/>
                </a:cxn>
                <a:cxn ang="0">
                  <a:pos x="162" y="110"/>
                </a:cxn>
                <a:cxn ang="0">
                  <a:pos x="159" y="92"/>
                </a:cxn>
                <a:cxn ang="0">
                  <a:pos x="196" y="78"/>
                </a:cxn>
                <a:cxn ang="0">
                  <a:pos x="219" y="92"/>
                </a:cxn>
                <a:cxn ang="0">
                  <a:pos x="246" y="65"/>
                </a:cxn>
                <a:cxn ang="0">
                  <a:pos x="219" y="38"/>
                </a:cxn>
                <a:cxn ang="0">
                  <a:pos x="8" y="26"/>
                </a:cxn>
                <a:cxn ang="0">
                  <a:pos x="28" y="6"/>
                </a:cxn>
                <a:cxn ang="0">
                  <a:pos x="49" y="26"/>
                </a:cxn>
                <a:cxn ang="0">
                  <a:pos x="28" y="47"/>
                </a:cxn>
                <a:cxn ang="0">
                  <a:pos x="8" y="26"/>
                </a:cxn>
                <a:cxn ang="0">
                  <a:pos x="27" y="215"/>
                </a:cxn>
                <a:cxn ang="0">
                  <a:pos x="6" y="195"/>
                </a:cxn>
                <a:cxn ang="0">
                  <a:pos x="27" y="174"/>
                </a:cxn>
                <a:cxn ang="0">
                  <a:pos x="47" y="195"/>
                </a:cxn>
                <a:cxn ang="0">
                  <a:pos x="27" y="215"/>
                </a:cxn>
                <a:cxn ang="0">
                  <a:pos x="105" y="161"/>
                </a:cxn>
                <a:cxn ang="0">
                  <a:pos x="54" y="110"/>
                </a:cxn>
                <a:cxn ang="0">
                  <a:pos x="105" y="59"/>
                </a:cxn>
                <a:cxn ang="0">
                  <a:pos x="156" y="110"/>
                </a:cxn>
                <a:cxn ang="0">
                  <a:pos x="105" y="161"/>
                </a:cxn>
                <a:cxn ang="0">
                  <a:pos x="219" y="86"/>
                </a:cxn>
                <a:cxn ang="0">
                  <a:pos x="199" y="65"/>
                </a:cxn>
                <a:cxn ang="0">
                  <a:pos x="219" y="44"/>
                </a:cxn>
                <a:cxn ang="0">
                  <a:pos x="240" y="65"/>
                </a:cxn>
                <a:cxn ang="0">
                  <a:pos x="219" y="86"/>
                </a:cxn>
              </a:cxnLst>
              <a:rect l="0" t="0" r="r" b="b"/>
              <a:pathLst>
                <a:path w="246" h="221">
                  <a:moveTo>
                    <a:pt x="219" y="38"/>
                  </a:moveTo>
                  <a:cubicBezTo>
                    <a:pt x="205" y="38"/>
                    <a:pt x="193" y="50"/>
                    <a:pt x="193" y="65"/>
                  </a:cubicBezTo>
                  <a:cubicBezTo>
                    <a:pt x="193" y="67"/>
                    <a:pt x="193" y="70"/>
                    <a:pt x="194" y="72"/>
                  </a:cubicBezTo>
                  <a:cubicBezTo>
                    <a:pt x="156" y="87"/>
                    <a:pt x="156" y="87"/>
                    <a:pt x="156" y="87"/>
                  </a:cubicBezTo>
                  <a:cubicBezTo>
                    <a:pt x="147" y="67"/>
                    <a:pt x="128" y="53"/>
                    <a:pt x="105" y="53"/>
                  </a:cubicBezTo>
                  <a:cubicBezTo>
                    <a:pt x="91" y="53"/>
                    <a:pt x="79" y="58"/>
                    <a:pt x="69" y="66"/>
                  </a:cubicBezTo>
                  <a:cubicBezTo>
                    <a:pt x="48" y="44"/>
                    <a:pt x="48" y="44"/>
                    <a:pt x="48" y="44"/>
                  </a:cubicBezTo>
                  <a:cubicBezTo>
                    <a:pt x="52" y="39"/>
                    <a:pt x="55" y="33"/>
                    <a:pt x="55" y="26"/>
                  </a:cubicBezTo>
                  <a:cubicBezTo>
                    <a:pt x="55" y="12"/>
                    <a:pt x="43" y="0"/>
                    <a:pt x="28" y="0"/>
                  </a:cubicBezTo>
                  <a:cubicBezTo>
                    <a:pt x="14" y="0"/>
                    <a:pt x="2" y="12"/>
                    <a:pt x="2" y="26"/>
                  </a:cubicBezTo>
                  <a:cubicBezTo>
                    <a:pt x="2" y="41"/>
                    <a:pt x="14" y="53"/>
                    <a:pt x="28" y="53"/>
                  </a:cubicBezTo>
                  <a:cubicBezTo>
                    <a:pt x="34" y="53"/>
                    <a:pt x="39" y="51"/>
                    <a:pt x="44" y="48"/>
                  </a:cubicBezTo>
                  <a:cubicBezTo>
                    <a:pt x="64" y="70"/>
                    <a:pt x="64" y="70"/>
                    <a:pt x="64" y="70"/>
                  </a:cubicBezTo>
                  <a:cubicBezTo>
                    <a:pt x="54" y="81"/>
                    <a:pt x="48" y="95"/>
                    <a:pt x="48" y="110"/>
                  </a:cubicBezTo>
                  <a:cubicBezTo>
                    <a:pt x="48" y="126"/>
                    <a:pt x="54" y="140"/>
                    <a:pt x="64" y="150"/>
                  </a:cubicBezTo>
                  <a:cubicBezTo>
                    <a:pt x="42" y="173"/>
                    <a:pt x="42" y="173"/>
                    <a:pt x="42" y="173"/>
                  </a:cubicBezTo>
                  <a:cubicBezTo>
                    <a:pt x="38" y="170"/>
                    <a:pt x="32" y="168"/>
                    <a:pt x="27" y="168"/>
                  </a:cubicBezTo>
                  <a:cubicBezTo>
                    <a:pt x="12" y="168"/>
                    <a:pt x="0" y="180"/>
                    <a:pt x="0" y="195"/>
                  </a:cubicBezTo>
                  <a:cubicBezTo>
                    <a:pt x="0" y="209"/>
                    <a:pt x="12" y="221"/>
                    <a:pt x="27" y="221"/>
                  </a:cubicBezTo>
                  <a:cubicBezTo>
                    <a:pt x="41" y="221"/>
                    <a:pt x="53" y="209"/>
                    <a:pt x="53" y="195"/>
                  </a:cubicBezTo>
                  <a:cubicBezTo>
                    <a:pt x="53" y="188"/>
                    <a:pt x="51" y="182"/>
                    <a:pt x="47" y="177"/>
                  </a:cubicBezTo>
                  <a:cubicBezTo>
                    <a:pt x="68" y="154"/>
                    <a:pt x="68" y="154"/>
                    <a:pt x="68" y="154"/>
                  </a:cubicBezTo>
                  <a:cubicBezTo>
                    <a:pt x="78" y="162"/>
                    <a:pt x="91" y="167"/>
                    <a:pt x="105" y="167"/>
                  </a:cubicBezTo>
                  <a:cubicBezTo>
                    <a:pt x="136" y="167"/>
                    <a:pt x="162" y="142"/>
                    <a:pt x="162" y="110"/>
                  </a:cubicBezTo>
                  <a:cubicBezTo>
                    <a:pt x="162" y="104"/>
                    <a:pt x="161" y="98"/>
                    <a:pt x="159" y="92"/>
                  </a:cubicBezTo>
                  <a:cubicBezTo>
                    <a:pt x="196" y="78"/>
                    <a:pt x="196" y="78"/>
                    <a:pt x="196" y="78"/>
                  </a:cubicBezTo>
                  <a:cubicBezTo>
                    <a:pt x="200" y="86"/>
                    <a:pt x="209" y="92"/>
                    <a:pt x="219" y="92"/>
                  </a:cubicBezTo>
                  <a:cubicBezTo>
                    <a:pt x="234" y="92"/>
                    <a:pt x="246" y="80"/>
                    <a:pt x="246" y="65"/>
                  </a:cubicBezTo>
                  <a:cubicBezTo>
                    <a:pt x="246" y="50"/>
                    <a:pt x="234" y="38"/>
                    <a:pt x="219" y="38"/>
                  </a:cubicBezTo>
                  <a:close/>
                  <a:moveTo>
                    <a:pt x="8" y="26"/>
                  </a:moveTo>
                  <a:cubicBezTo>
                    <a:pt x="8" y="15"/>
                    <a:pt x="17" y="6"/>
                    <a:pt x="28" y="6"/>
                  </a:cubicBezTo>
                  <a:cubicBezTo>
                    <a:pt x="40" y="6"/>
                    <a:pt x="49" y="15"/>
                    <a:pt x="49" y="26"/>
                  </a:cubicBezTo>
                  <a:cubicBezTo>
                    <a:pt x="49" y="38"/>
                    <a:pt x="40" y="47"/>
                    <a:pt x="28" y="47"/>
                  </a:cubicBezTo>
                  <a:cubicBezTo>
                    <a:pt x="17" y="47"/>
                    <a:pt x="8" y="38"/>
                    <a:pt x="8" y="26"/>
                  </a:cubicBezTo>
                  <a:close/>
                  <a:moveTo>
                    <a:pt x="27" y="215"/>
                  </a:moveTo>
                  <a:cubicBezTo>
                    <a:pt x="15" y="215"/>
                    <a:pt x="6" y="206"/>
                    <a:pt x="6" y="195"/>
                  </a:cubicBezTo>
                  <a:cubicBezTo>
                    <a:pt x="6" y="183"/>
                    <a:pt x="15" y="174"/>
                    <a:pt x="27" y="174"/>
                  </a:cubicBezTo>
                  <a:cubicBezTo>
                    <a:pt x="38" y="174"/>
                    <a:pt x="47" y="183"/>
                    <a:pt x="47" y="195"/>
                  </a:cubicBezTo>
                  <a:cubicBezTo>
                    <a:pt x="47" y="206"/>
                    <a:pt x="38" y="215"/>
                    <a:pt x="27" y="215"/>
                  </a:cubicBezTo>
                  <a:close/>
                  <a:moveTo>
                    <a:pt x="105" y="161"/>
                  </a:moveTo>
                  <a:cubicBezTo>
                    <a:pt x="77" y="161"/>
                    <a:pt x="54" y="138"/>
                    <a:pt x="54" y="110"/>
                  </a:cubicBezTo>
                  <a:cubicBezTo>
                    <a:pt x="54" y="82"/>
                    <a:pt x="77" y="59"/>
                    <a:pt x="105" y="59"/>
                  </a:cubicBezTo>
                  <a:cubicBezTo>
                    <a:pt x="133" y="59"/>
                    <a:pt x="156" y="82"/>
                    <a:pt x="156" y="110"/>
                  </a:cubicBezTo>
                  <a:cubicBezTo>
                    <a:pt x="156" y="138"/>
                    <a:pt x="133" y="161"/>
                    <a:pt x="105" y="161"/>
                  </a:cubicBezTo>
                  <a:close/>
                  <a:moveTo>
                    <a:pt x="219" y="86"/>
                  </a:moveTo>
                  <a:cubicBezTo>
                    <a:pt x="208" y="86"/>
                    <a:pt x="199" y="76"/>
                    <a:pt x="199" y="65"/>
                  </a:cubicBezTo>
                  <a:cubicBezTo>
                    <a:pt x="199" y="54"/>
                    <a:pt x="208" y="44"/>
                    <a:pt x="219" y="44"/>
                  </a:cubicBezTo>
                  <a:cubicBezTo>
                    <a:pt x="231" y="44"/>
                    <a:pt x="240" y="54"/>
                    <a:pt x="240" y="65"/>
                  </a:cubicBezTo>
                  <a:cubicBezTo>
                    <a:pt x="240" y="76"/>
                    <a:pt x="231" y="86"/>
                    <a:pt x="219" y="86"/>
                  </a:cubicBez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1400">
                <a:solidFill>
                  <a:prstClr val="black"/>
                </a:solidFill>
              </a:endParaRPr>
            </a:p>
          </p:txBody>
        </p:sp>
      </p:grpSp>
      <p:sp>
        <p:nvSpPr>
          <p:cNvPr id="459" name="Shape 488"/>
          <p:cNvSpPr/>
          <p:nvPr/>
        </p:nvSpPr>
        <p:spPr>
          <a:xfrm>
            <a:off x="1938942" y="4913903"/>
            <a:ext cx="2590324" cy="1159861"/>
          </a:xfrm>
          <a:prstGeom prst="rect">
            <a:avLst/>
          </a:prstGeom>
          <a:ln w="3175">
            <a:miter lim="400000"/>
          </a:ln>
          <a:extLst>
            <a:ext uri="{C572A759-6A51-4108-AA02-DFA0A04FC94B}">
              <ma14:wrappingTextBoxFlag xmlns:ma14="http://schemas.microsoft.com/office/mac/drawingml/2011/main" xmlns="" val="1"/>
            </a:ext>
          </a:extLst>
        </p:spPr>
        <p:txBody>
          <a:bodyPr wrap="square" lIns="25682" tIns="25682" rIns="25682" bIns="25682" anchor="ctr">
            <a:spAutoFit/>
          </a:bodyPr>
          <a:lstStyle/>
          <a:p>
            <a:pPr marL="285750" lvl="0" indent="-285750">
              <a:buFont typeface="Arial" panose="020B0604020202020204" pitchFamily="34" charset="0"/>
              <a:buChar char="•"/>
              <a:defRPr sz="1800">
                <a:solidFill>
                  <a:srgbClr val="000000"/>
                </a:solidFill>
              </a:defRPr>
            </a:pP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rPr>
              <a:t>Multi-level control of street lamps</a:t>
            </a:r>
            <a:endParaRPr lang="en-US" altLang="zh-CN"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endParaRPr>
          </a:p>
          <a:p>
            <a:pPr lvl="0">
              <a:defRPr sz="1800">
                <a:solidFill>
                  <a:srgbClr val="000000"/>
                </a:solidFill>
              </a:defRPr>
            </a:pPr>
            <a:endParaRPr lang="en-US" altLang="zh-CN" sz="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endParaRPr>
          </a:p>
          <a:p>
            <a:pPr marL="285750" lvl="0" indent="-285750">
              <a:buFont typeface="Arial" panose="020B0604020202020204" pitchFamily="34" charset="0"/>
              <a:buChar char="•"/>
              <a:defRPr sz="1800">
                <a:solidFill>
                  <a:srgbClr val="000000"/>
                </a:solidFill>
              </a:defRPr>
            </a:pPr>
            <a:r>
              <a:rPr lang="en-US" altLang="zh-CN"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rPr>
              <a:t>PLC-IoT</a:t>
            </a: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rPr>
              <a:t> coverage</a:t>
            </a:r>
            <a:endParaRPr lang="en-US" altLang="zh-CN"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endParaRPr>
          </a:p>
          <a:p>
            <a:pPr lvl="0">
              <a:defRPr sz="1800">
                <a:solidFill>
                  <a:srgbClr val="000000"/>
                </a:solidFill>
              </a:defRPr>
            </a:pPr>
            <a:endParaRPr lang="en-US" altLang="zh-CN" sz="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endParaRPr>
          </a:p>
          <a:p>
            <a:pPr marL="285750" lvl="0" indent="-285750">
              <a:buFont typeface="Arial" panose="020B0604020202020204" pitchFamily="34" charset="0"/>
              <a:buChar char="•"/>
              <a:defRPr sz="1800">
                <a:solidFill>
                  <a:srgbClr val="000000"/>
                </a:solidFill>
              </a:defRPr>
            </a:pP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rPr>
              <a:t>Open IoT</a:t>
            </a:r>
            <a:endPar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sym typeface="Arial"/>
            </a:endParaRPr>
          </a:p>
        </p:txBody>
      </p:sp>
      <p:grpSp>
        <p:nvGrpSpPr>
          <p:cNvPr id="12" name="组合 461"/>
          <p:cNvGrpSpPr/>
          <p:nvPr/>
        </p:nvGrpSpPr>
        <p:grpSpPr>
          <a:xfrm>
            <a:off x="8477898" y="4913853"/>
            <a:ext cx="1193577" cy="1059846"/>
            <a:chOff x="8346879" y="4962236"/>
            <a:chExt cx="1193577" cy="1059846"/>
          </a:xfrm>
        </p:grpSpPr>
        <p:sp>
          <p:nvSpPr>
            <p:cNvPr id="463" name="222795201"/>
            <p:cNvSpPr>
              <a:spLocks noChangeAspect="1"/>
            </p:cNvSpPr>
            <p:nvPr/>
          </p:nvSpPr>
          <p:spPr bwMode="auto">
            <a:xfrm>
              <a:off x="8463769" y="4962236"/>
              <a:ext cx="1008000" cy="1059846"/>
            </a:xfrm>
            <a:custGeom>
              <a:avLst/>
              <a:gdLst/>
              <a:ahLst/>
              <a:cxnLst>
                <a:cxn ang="0">
                  <a:pos x="397" y="15"/>
                </a:cxn>
                <a:cxn ang="0">
                  <a:pos x="523" y="88"/>
                </a:cxn>
                <a:cxn ang="0">
                  <a:pos x="652" y="162"/>
                </a:cxn>
                <a:cxn ang="0">
                  <a:pos x="652" y="162"/>
                </a:cxn>
                <a:cxn ang="0">
                  <a:pos x="685" y="195"/>
                </a:cxn>
                <a:cxn ang="0">
                  <a:pos x="698" y="235"/>
                </a:cxn>
                <a:cxn ang="0">
                  <a:pos x="698" y="390"/>
                </a:cxn>
                <a:cxn ang="0">
                  <a:pos x="698" y="538"/>
                </a:cxn>
                <a:cxn ang="0">
                  <a:pos x="686" y="584"/>
                </a:cxn>
                <a:cxn ang="0">
                  <a:pos x="657" y="615"/>
                </a:cxn>
                <a:cxn ang="0">
                  <a:pos x="523" y="692"/>
                </a:cxn>
                <a:cxn ang="0">
                  <a:pos x="392" y="768"/>
                </a:cxn>
                <a:cxn ang="0">
                  <a:pos x="348" y="779"/>
                </a:cxn>
                <a:cxn ang="0">
                  <a:pos x="306" y="768"/>
                </a:cxn>
                <a:cxn ang="0">
                  <a:pos x="174" y="692"/>
                </a:cxn>
                <a:cxn ang="0">
                  <a:pos x="38" y="614"/>
                </a:cxn>
                <a:cxn ang="0">
                  <a:pos x="9" y="579"/>
                </a:cxn>
                <a:cxn ang="0">
                  <a:pos x="0" y="547"/>
                </a:cxn>
                <a:cxn ang="0">
                  <a:pos x="0" y="390"/>
                </a:cxn>
                <a:cxn ang="0">
                  <a:pos x="0" y="232"/>
                </a:cxn>
                <a:cxn ang="0">
                  <a:pos x="11" y="197"/>
                </a:cxn>
                <a:cxn ang="0">
                  <a:pos x="42" y="164"/>
                </a:cxn>
                <a:cxn ang="0">
                  <a:pos x="174" y="88"/>
                </a:cxn>
                <a:cxn ang="0">
                  <a:pos x="303" y="14"/>
                </a:cxn>
                <a:cxn ang="0">
                  <a:pos x="303" y="14"/>
                </a:cxn>
                <a:cxn ang="0">
                  <a:pos x="352" y="1"/>
                </a:cxn>
                <a:cxn ang="0">
                  <a:pos x="397" y="15"/>
                </a:cxn>
              </a:cxnLst>
              <a:rect l="0" t="0" r="r" b="b"/>
              <a:pathLst>
                <a:path w="698" h="779">
                  <a:moveTo>
                    <a:pt x="397" y="15"/>
                  </a:moveTo>
                  <a:cubicBezTo>
                    <a:pt x="523" y="88"/>
                    <a:pt x="523" y="88"/>
                    <a:pt x="523" y="88"/>
                  </a:cubicBezTo>
                  <a:cubicBezTo>
                    <a:pt x="652" y="162"/>
                    <a:pt x="652" y="162"/>
                    <a:pt x="652" y="162"/>
                  </a:cubicBezTo>
                  <a:cubicBezTo>
                    <a:pt x="652" y="162"/>
                    <a:pt x="652" y="162"/>
                    <a:pt x="652" y="162"/>
                  </a:cubicBezTo>
                  <a:cubicBezTo>
                    <a:pt x="652" y="162"/>
                    <a:pt x="674" y="176"/>
                    <a:pt x="685" y="195"/>
                  </a:cubicBezTo>
                  <a:cubicBezTo>
                    <a:pt x="694" y="210"/>
                    <a:pt x="697" y="225"/>
                    <a:pt x="698" y="235"/>
                  </a:cubicBezTo>
                  <a:cubicBezTo>
                    <a:pt x="698" y="390"/>
                    <a:pt x="698" y="390"/>
                    <a:pt x="698" y="390"/>
                  </a:cubicBezTo>
                  <a:cubicBezTo>
                    <a:pt x="698" y="538"/>
                    <a:pt x="698" y="538"/>
                    <a:pt x="698" y="538"/>
                  </a:cubicBezTo>
                  <a:cubicBezTo>
                    <a:pt x="698" y="545"/>
                    <a:pt x="696" y="569"/>
                    <a:pt x="686" y="584"/>
                  </a:cubicBezTo>
                  <a:cubicBezTo>
                    <a:pt x="676" y="599"/>
                    <a:pt x="662" y="611"/>
                    <a:pt x="657" y="615"/>
                  </a:cubicBezTo>
                  <a:cubicBezTo>
                    <a:pt x="523" y="692"/>
                    <a:pt x="523" y="692"/>
                    <a:pt x="523" y="692"/>
                  </a:cubicBezTo>
                  <a:cubicBezTo>
                    <a:pt x="392" y="768"/>
                    <a:pt x="392" y="768"/>
                    <a:pt x="392" y="768"/>
                  </a:cubicBezTo>
                  <a:cubicBezTo>
                    <a:pt x="385" y="772"/>
                    <a:pt x="368" y="779"/>
                    <a:pt x="348" y="779"/>
                  </a:cubicBezTo>
                  <a:cubicBezTo>
                    <a:pt x="331" y="779"/>
                    <a:pt x="315" y="772"/>
                    <a:pt x="306" y="768"/>
                  </a:cubicBezTo>
                  <a:cubicBezTo>
                    <a:pt x="174" y="692"/>
                    <a:pt x="174" y="692"/>
                    <a:pt x="174" y="692"/>
                  </a:cubicBezTo>
                  <a:cubicBezTo>
                    <a:pt x="38" y="614"/>
                    <a:pt x="38" y="614"/>
                    <a:pt x="38" y="614"/>
                  </a:cubicBezTo>
                  <a:cubicBezTo>
                    <a:pt x="31" y="608"/>
                    <a:pt x="15" y="594"/>
                    <a:pt x="9" y="579"/>
                  </a:cubicBezTo>
                  <a:cubicBezTo>
                    <a:pt x="3" y="566"/>
                    <a:pt x="1" y="554"/>
                    <a:pt x="0" y="547"/>
                  </a:cubicBezTo>
                  <a:cubicBezTo>
                    <a:pt x="0" y="390"/>
                    <a:pt x="0" y="390"/>
                    <a:pt x="0" y="390"/>
                  </a:cubicBezTo>
                  <a:cubicBezTo>
                    <a:pt x="0" y="232"/>
                    <a:pt x="0" y="232"/>
                    <a:pt x="0" y="232"/>
                  </a:cubicBezTo>
                  <a:cubicBezTo>
                    <a:pt x="1" y="223"/>
                    <a:pt x="3" y="210"/>
                    <a:pt x="11" y="197"/>
                  </a:cubicBezTo>
                  <a:cubicBezTo>
                    <a:pt x="23" y="177"/>
                    <a:pt x="38" y="167"/>
                    <a:pt x="42" y="164"/>
                  </a:cubicBezTo>
                  <a:cubicBezTo>
                    <a:pt x="174" y="88"/>
                    <a:pt x="174" y="88"/>
                    <a:pt x="174" y="88"/>
                  </a:cubicBezTo>
                  <a:cubicBezTo>
                    <a:pt x="303" y="14"/>
                    <a:pt x="303" y="14"/>
                    <a:pt x="303" y="14"/>
                  </a:cubicBezTo>
                  <a:cubicBezTo>
                    <a:pt x="303" y="14"/>
                    <a:pt x="303" y="14"/>
                    <a:pt x="303" y="14"/>
                  </a:cubicBezTo>
                  <a:cubicBezTo>
                    <a:pt x="303" y="14"/>
                    <a:pt x="327" y="0"/>
                    <a:pt x="352" y="1"/>
                  </a:cubicBezTo>
                  <a:cubicBezTo>
                    <a:pt x="378" y="3"/>
                    <a:pt x="397" y="15"/>
                    <a:pt x="397" y="15"/>
                  </a:cubicBezTo>
                  <a:close/>
                </a:path>
              </a:pathLst>
            </a:custGeom>
            <a:solidFill>
              <a:schemeClr val="accent4">
                <a:lumMod val="60000"/>
                <a:lumOff val="40000"/>
                <a:alpha val="34000"/>
              </a:schemeClr>
            </a:solidFill>
            <a:ln w="127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4" algn="ctr">
                <a:buClr>
                  <a:srgbClr val="CC9900"/>
                </a:buClr>
              </a:pPr>
              <a:endParaRPr lang="zh-CN" altLang="en-US" sz="1400">
                <a:solidFill>
                  <a:prstClr val="white"/>
                </a:solidFill>
              </a:endParaRPr>
            </a:p>
          </p:txBody>
        </p:sp>
        <p:sp>
          <p:nvSpPr>
            <p:cNvPr id="464" name="907797442"/>
            <p:cNvSpPr txBox="1"/>
            <p:nvPr/>
          </p:nvSpPr>
          <p:spPr>
            <a:xfrm>
              <a:off x="8346879" y="5503054"/>
              <a:ext cx="1193577" cy="267809"/>
            </a:xfrm>
            <a:prstGeom prst="rect">
              <a:avLst/>
            </a:prstGeom>
            <a:noFill/>
            <a:effectLst>
              <a:outerShdw blurRad="50800" dist="38100" dir="2700000" algn="tl" rotWithShape="0">
                <a:prstClr val="black">
                  <a:alpha val="40000"/>
                </a:prstClr>
              </a:outerShdw>
            </a:effectLst>
          </p:spPr>
          <p:txBody>
            <a:bodyPr wrap="square" lIns="90275" tIns="45138" rIns="90275" bIns="45138" rtlCol="0">
              <a:spAutoFit/>
            </a:bodyPr>
            <a:lstStyle/>
            <a:p>
              <a:pPr algn="ctr">
                <a:lnSpc>
                  <a:spcPct val="80000"/>
                </a:lnSpc>
              </a:pPr>
              <a:r>
                <a:rPr lang="zh-CN" altLang="en-US" sz="1400" b="1" dirty="0">
                  <a:solidFill>
                    <a:prstClr val="white"/>
                  </a:solidFill>
                </a:rPr>
                <a:t> Unified O&amp;M</a:t>
              </a:r>
            </a:p>
          </p:txBody>
        </p:sp>
        <p:sp>
          <p:nvSpPr>
            <p:cNvPr id="465" name="508039104"/>
            <p:cNvSpPr>
              <a:spLocks/>
            </p:cNvSpPr>
            <p:nvPr/>
          </p:nvSpPr>
          <p:spPr bwMode="auto">
            <a:xfrm>
              <a:off x="8579266" y="5410301"/>
              <a:ext cx="690711" cy="109344"/>
            </a:xfrm>
            <a:custGeom>
              <a:avLst/>
              <a:gdLst/>
              <a:ahLst/>
              <a:cxnLst>
                <a:cxn ang="0">
                  <a:pos x="14496" y="160"/>
                </a:cxn>
                <a:cxn ang="0">
                  <a:pos x="15232" y="416"/>
                </a:cxn>
                <a:cxn ang="0">
                  <a:pos x="15488" y="608"/>
                </a:cxn>
                <a:cxn ang="0">
                  <a:pos x="15488" y="832"/>
                </a:cxn>
                <a:cxn ang="0">
                  <a:pos x="15200" y="1088"/>
                </a:cxn>
                <a:cxn ang="0">
                  <a:pos x="14656" y="1312"/>
                </a:cxn>
                <a:cxn ang="0">
                  <a:pos x="13376" y="1600"/>
                </a:cxn>
                <a:cxn ang="0">
                  <a:pos x="11104" y="1920"/>
                </a:cxn>
                <a:cxn ang="0">
                  <a:pos x="8352" y="2016"/>
                </a:cxn>
                <a:cxn ang="0">
                  <a:pos x="5632" y="1920"/>
                </a:cxn>
                <a:cxn ang="0">
                  <a:pos x="3329" y="1600"/>
                </a:cxn>
                <a:cxn ang="0">
                  <a:pos x="2080" y="1312"/>
                </a:cxn>
                <a:cxn ang="0">
                  <a:pos x="1536" y="1088"/>
                </a:cxn>
                <a:cxn ang="0">
                  <a:pos x="1216" y="832"/>
                </a:cxn>
                <a:cxn ang="0">
                  <a:pos x="1216" y="640"/>
                </a:cxn>
                <a:cxn ang="0">
                  <a:pos x="1472" y="448"/>
                </a:cxn>
                <a:cxn ang="0">
                  <a:pos x="2144" y="192"/>
                </a:cxn>
                <a:cxn ang="0">
                  <a:pos x="2112" y="160"/>
                </a:cxn>
                <a:cxn ang="0">
                  <a:pos x="1120" y="416"/>
                </a:cxn>
                <a:cxn ang="0">
                  <a:pos x="416" y="704"/>
                </a:cxn>
                <a:cxn ang="0">
                  <a:pos x="32" y="1024"/>
                </a:cxn>
                <a:cxn ang="0">
                  <a:pos x="0" y="1184"/>
                </a:cxn>
                <a:cxn ang="0">
                  <a:pos x="32" y="1344"/>
                </a:cxn>
                <a:cxn ang="0">
                  <a:pos x="352" y="1664"/>
                </a:cxn>
                <a:cxn ang="0">
                  <a:pos x="992" y="1920"/>
                </a:cxn>
                <a:cxn ang="0">
                  <a:pos x="1920" y="2176"/>
                </a:cxn>
                <a:cxn ang="0">
                  <a:pos x="3680" y="2464"/>
                </a:cxn>
                <a:cxn ang="0">
                  <a:pos x="6689" y="2688"/>
                </a:cxn>
                <a:cxn ang="0">
                  <a:pos x="10080" y="2688"/>
                </a:cxn>
                <a:cxn ang="0">
                  <a:pos x="13088" y="2464"/>
                </a:cxn>
                <a:cxn ang="0">
                  <a:pos x="14880" y="2176"/>
                </a:cxn>
                <a:cxn ang="0">
                  <a:pos x="15776" y="1920"/>
                </a:cxn>
                <a:cxn ang="0">
                  <a:pos x="16416" y="1664"/>
                </a:cxn>
                <a:cxn ang="0">
                  <a:pos x="16769" y="1344"/>
                </a:cxn>
                <a:cxn ang="0">
                  <a:pos x="16800" y="1184"/>
                </a:cxn>
                <a:cxn ang="0">
                  <a:pos x="16736" y="1024"/>
                </a:cxn>
                <a:cxn ang="0">
                  <a:pos x="16608" y="832"/>
                </a:cxn>
                <a:cxn ang="0">
                  <a:pos x="16000" y="544"/>
                </a:cxn>
                <a:cxn ang="0">
                  <a:pos x="15072" y="256"/>
                </a:cxn>
                <a:cxn ang="0">
                  <a:pos x="13856" y="0"/>
                </a:cxn>
              </a:cxnLst>
              <a:rect l="0" t="0" r="r" b="b"/>
              <a:pathLst>
                <a:path w="16800" h="2720">
                  <a:moveTo>
                    <a:pt x="13856" y="0"/>
                  </a:moveTo>
                  <a:lnTo>
                    <a:pt x="14496" y="160"/>
                  </a:lnTo>
                  <a:lnTo>
                    <a:pt x="15040" y="352"/>
                  </a:lnTo>
                  <a:lnTo>
                    <a:pt x="15232" y="416"/>
                  </a:lnTo>
                  <a:lnTo>
                    <a:pt x="15392" y="512"/>
                  </a:lnTo>
                  <a:lnTo>
                    <a:pt x="15488" y="608"/>
                  </a:lnTo>
                  <a:lnTo>
                    <a:pt x="15520" y="704"/>
                  </a:lnTo>
                  <a:lnTo>
                    <a:pt x="15488" y="832"/>
                  </a:lnTo>
                  <a:lnTo>
                    <a:pt x="15392" y="960"/>
                  </a:lnTo>
                  <a:lnTo>
                    <a:pt x="15200" y="1088"/>
                  </a:lnTo>
                  <a:lnTo>
                    <a:pt x="14944" y="1184"/>
                  </a:lnTo>
                  <a:lnTo>
                    <a:pt x="14656" y="1312"/>
                  </a:lnTo>
                  <a:lnTo>
                    <a:pt x="14272" y="1409"/>
                  </a:lnTo>
                  <a:lnTo>
                    <a:pt x="13376" y="1600"/>
                  </a:lnTo>
                  <a:lnTo>
                    <a:pt x="12320" y="1792"/>
                  </a:lnTo>
                  <a:lnTo>
                    <a:pt x="11104" y="1920"/>
                  </a:lnTo>
                  <a:lnTo>
                    <a:pt x="9760" y="1984"/>
                  </a:lnTo>
                  <a:lnTo>
                    <a:pt x="8352" y="2016"/>
                  </a:lnTo>
                  <a:lnTo>
                    <a:pt x="6944" y="1984"/>
                  </a:lnTo>
                  <a:lnTo>
                    <a:pt x="5632" y="1920"/>
                  </a:lnTo>
                  <a:lnTo>
                    <a:pt x="4416" y="1792"/>
                  </a:lnTo>
                  <a:lnTo>
                    <a:pt x="3329" y="1600"/>
                  </a:lnTo>
                  <a:lnTo>
                    <a:pt x="2464" y="1409"/>
                  </a:lnTo>
                  <a:lnTo>
                    <a:pt x="2080" y="1312"/>
                  </a:lnTo>
                  <a:lnTo>
                    <a:pt x="1760" y="1184"/>
                  </a:lnTo>
                  <a:lnTo>
                    <a:pt x="1536" y="1088"/>
                  </a:lnTo>
                  <a:lnTo>
                    <a:pt x="1344" y="960"/>
                  </a:lnTo>
                  <a:lnTo>
                    <a:pt x="1216" y="832"/>
                  </a:lnTo>
                  <a:lnTo>
                    <a:pt x="1184" y="704"/>
                  </a:lnTo>
                  <a:lnTo>
                    <a:pt x="1216" y="640"/>
                  </a:lnTo>
                  <a:lnTo>
                    <a:pt x="1313" y="544"/>
                  </a:lnTo>
                  <a:lnTo>
                    <a:pt x="1472" y="448"/>
                  </a:lnTo>
                  <a:lnTo>
                    <a:pt x="1632" y="352"/>
                  </a:lnTo>
                  <a:lnTo>
                    <a:pt x="2144" y="192"/>
                  </a:lnTo>
                  <a:lnTo>
                    <a:pt x="2721" y="64"/>
                  </a:lnTo>
                  <a:lnTo>
                    <a:pt x="2112" y="160"/>
                  </a:lnTo>
                  <a:lnTo>
                    <a:pt x="1568" y="288"/>
                  </a:lnTo>
                  <a:lnTo>
                    <a:pt x="1120" y="416"/>
                  </a:lnTo>
                  <a:lnTo>
                    <a:pt x="704" y="544"/>
                  </a:lnTo>
                  <a:lnTo>
                    <a:pt x="416" y="704"/>
                  </a:lnTo>
                  <a:lnTo>
                    <a:pt x="160" y="864"/>
                  </a:lnTo>
                  <a:lnTo>
                    <a:pt x="32" y="1024"/>
                  </a:lnTo>
                  <a:lnTo>
                    <a:pt x="0" y="1088"/>
                  </a:lnTo>
                  <a:lnTo>
                    <a:pt x="0" y="1184"/>
                  </a:lnTo>
                  <a:lnTo>
                    <a:pt x="0" y="1280"/>
                  </a:lnTo>
                  <a:lnTo>
                    <a:pt x="32" y="1344"/>
                  </a:lnTo>
                  <a:lnTo>
                    <a:pt x="160" y="1504"/>
                  </a:lnTo>
                  <a:lnTo>
                    <a:pt x="352" y="1664"/>
                  </a:lnTo>
                  <a:lnTo>
                    <a:pt x="641" y="1792"/>
                  </a:lnTo>
                  <a:lnTo>
                    <a:pt x="992" y="1920"/>
                  </a:lnTo>
                  <a:lnTo>
                    <a:pt x="1408" y="2048"/>
                  </a:lnTo>
                  <a:lnTo>
                    <a:pt x="1920" y="2176"/>
                  </a:lnTo>
                  <a:lnTo>
                    <a:pt x="2432" y="2272"/>
                  </a:lnTo>
                  <a:lnTo>
                    <a:pt x="3680" y="2464"/>
                  </a:lnTo>
                  <a:lnTo>
                    <a:pt x="5120" y="2624"/>
                  </a:lnTo>
                  <a:lnTo>
                    <a:pt x="6689" y="2688"/>
                  </a:lnTo>
                  <a:lnTo>
                    <a:pt x="8384" y="2720"/>
                  </a:lnTo>
                  <a:lnTo>
                    <a:pt x="10080" y="2688"/>
                  </a:lnTo>
                  <a:lnTo>
                    <a:pt x="11648" y="2624"/>
                  </a:lnTo>
                  <a:lnTo>
                    <a:pt x="13088" y="2464"/>
                  </a:lnTo>
                  <a:lnTo>
                    <a:pt x="14336" y="2272"/>
                  </a:lnTo>
                  <a:lnTo>
                    <a:pt x="14880" y="2176"/>
                  </a:lnTo>
                  <a:lnTo>
                    <a:pt x="15360" y="2048"/>
                  </a:lnTo>
                  <a:lnTo>
                    <a:pt x="15776" y="1920"/>
                  </a:lnTo>
                  <a:lnTo>
                    <a:pt x="16128" y="1792"/>
                  </a:lnTo>
                  <a:lnTo>
                    <a:pt x="16416" y="1664"/>
                  </a:lnTo>
                  <a:lnTo>
                    <a:pt x="16640" y="1504"/>
                  </a:lnTo>
                  <a:lnTo>
                    <a:pt x="16769" y="1344"/>
                  </a:lnTo>
                  <a:lnTo>
                    <a:pt x="16800" y="1280"/>
                  </a:lnTo>
                  <a:lnTo>
                    <a:pt x="16800" y="1184"/>
                  </a:lnTo>
                  <a:lnTo>
                    <a:pt x="16800" y="1088"/>
                  </a:lnTo>
                  <a:lnTo>
                    <a:pt x="16736" y="1024"/>
                  </a:lnTo>
                  <a:lnTo>
                    <a:pt x="16672" y="928"/>
                  </a:lnTo>
                  <a:lnTo>
                    <a:pt x="16608" y="832"/>
                  </a:lnTo>
                  <a:lnTo>
                    <a:pt x="16352" y="672"/>
                  </a:lnTo>
                  <a:lnTo>
                    <a:pt x="16000" y="544"/>
                  </a:lnTo>
                  <a:lnTo>
                    <a:pt x="15584" y="384"/>
                  </a:lnTo>
                  <a:lnTo>
                    <a:pt x="15072" y="256"/>
                  </a:lnTo>
                  <a:lnTo>
                    <a:pt x="14496" y="129"/>
                  </a:lnTo>
                  <a:lnTo>
                    <a:pt x="1385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400">
                <a:solidFill>
                  <a:prstClr val="black"/>
                </a:solidFill>
              </a:endParaRPr>
            </a:p>
          </p:txBody>
        </p:sp>
        <p:sp>
          <p:nvSpPr>
            <p:cNvPr id="466" name="1498772399"/>
            <p:cNvSpPr>
              <a:spLocks noEditPoints="1"/>
            </p:cNvSpPr>
            <p:nvPr/>
          </p:nvSpPr>
          <p:spPr bwMode="auto">
            <a:xfrm>
              <a:off x="8742709" y="5131822"/>
              <a:ext cx="373243" cy="317533"/>
            </a:xfrm>
            <a:custGeom>
              <a:avLst/>
              <a:gdLst/>
              <a:ahLst/>
              <a:cxnLst>
                <a:cxn ang="0">
                  <a:pos x="394" y="489"/>
                </a:cxn>
                <a:cxn ang="0">
                  <a:pos x="332" y="480"/>
                </a:cxn>
                <a:cxn ang="0">
                  <a:pos x="307" y="489"/>
                </a:cxn>
                <a:cxn ang="0">
                  <a:pos x="243" y="480"/>
                </a:cxn>
                <a:cxn ang="0">
                  <a:pos x="218" y="489"/>
                </a:cxn>
                <a:cxn ang="0">
                  <a:pos x="156" y="480"/>
                </a:cxn>
                <a:cxn ang="0">
                  <a:pos x="394" y="401"/>
                </a:cxn>
                <a:cxn ang="0">
                  <a:pos x="332" y="392"/>
                </a:cxn>
                <a:cxn ang="0">
                  <a:pos x="307" y="401"/>
                </a:cxn>
                <a:cxn ang="0">
                  <a:pos x="156" y="391"/>
                </a:cxn>
                <a:cxn ang="0">
                  <a:pos x="414" y="358"/>
                </a:cxn>
                <a:cxn ang="0">
                  <a:pos x="472" y="338"/>
                </a:cxn>
                <a:cxn ang="0">
                  <a:pos x="513" y="302"/>
                </a:cxn>
                <a:cxn ang="0">
                  <a:pos x="532" y="253"/>
                </a:cxn>
                <a:cxn ang="0">
                  <a:pos x="526" y="205"/>
                </a:cxn>
                <a:cxn ang="0">
                  <a:pos x="501" y="167"/>
                </a:cxn>
                <a:cxn ang="0">
                  <a:pos x="462" y="139"/>
                </a:cxn>
                <a:cxn ang="0">
                  <a:pos x="434" y="103"/>
                </a:cxn>
                <a:cxn ang="0">
                  <a:pos x="407" y="61"/>
                </a:cxn>
                <a:cxn ang="0">
                  <a:pos x="355" y="23"/>
                </a:cxn>
                <a:cxn ang="0">
                  <a:pos x="284" y="8"/>
                </a:cxn>
                <a:cxn ang="0">
                  <a:pos x="217" y="21"/>
                </a:cxn>
                <a:cxn ang="0">
                  <a:pos x="164" y="59"/>
                </a:cxn>
                <a:cxn ang="0">
                  <a:pos x="135" y="112"/>
                </a:cxn>
                <a:cxn ang="0">
                  <a:pos x="97" y="133"/>
                </a:cxn>
                <a:cxn ang="0">
                  <a:pos x="48" y="161"/>
                </a:cxn>
                <a:cxn ang="0">
                  <a:pos x="16" y="205"/>
                </a:cxn>
                <a:cxn ang="0">
                  <a:pos x="10" y="248"/>
                </a:cxn>
                <a:cxn ang="0">
                  <a:pos x="28" y="300"/>
                </a:cxn>
                <a:cxn ang="0">
                  <a:pos x="69" y="338"/>
                </a:cxn>
                <a:cxn ang="0">
                  <a:pos x="128" y="358"/>
                </a:cxn>
                <a:cxn ang="0">
                  <a:pos x="130" y="366"/>
                </a:cxn>
                <a:cxn ang="0">
                  <a:pos x="82" y="355"/>
                </a:cxn>
                <a:cxn ang="0">
                  <a:pos x="31" y="319"/>
                </a:cxn>
                <a:cxn ang="0">
                  <a:pos x="5" y="273"/>
                </a:cxn>
                <a:cxn ang="0">
                  <a:pos x="2" y="223"/>
                </a:cxn>
                <a:cxn ang="0">
                  <a:pos x="21" y="176"/>
                </a:cxn>
                <a:cxn ang="0">
                  <a:pos x="66" y="136"/>
                </a:cxn>
                <a:cxn ang="0">
                  <a:pos x="123" y="118"/>
                </a:cxn>
                <a:cxn ang="0">
                  <a:pos x="143" y="74"/>
                </a:cxn>
                <a:cxn ang="0">
                  <a:pos x="189" y="26"/>
                </a:cxn>
                <a:cxn ang="0">
                  <a:pos x="255" y="1"/>
                </a:cxn>
                <a:cxn ang="0">
                  <a:pos x="330" y="5"/>
                </a:cxn>
                <a:cxn ang="0">
                  <a:pos x="394" y="36"/>
                </a:cxn>
                <a:cxn ang="0">
                  <a:pos x="437" y="89"/>
                </a:cxn>
                <a:cxn ang="0">
                  <a:pos x="455" y="126"/>
                </a:cxn>
                <a:cxn ang="0">
                  <a:pos x="499" y="154"/>
                </a:cxn>
                <a:cxn ang="0">
                  <a:pos x="531" y="194"/>
                </a:cxn>
                <a:cxn ang="0">
                  <a:pos x="541" y="241"/>
                </a:cxn>
                <a:cxn ang="0">
                  <a:pos x="526" y="297"/>
                </a:cxn>
                <a:cxn ang="0">
                  <a:pos x="486" y="340"/>
                </a:cxn>
                <a:cxn ang="0">
                  <a:pos x="430" y="363"/>
                </a:cxn>
                <a:cxn ang="0">
                  <a:pos x="322" y="241"/>
                </a:cxn>
                <a:cxn ang="0">
                  <a:pos x="386" y="250"/>
                </a:cxn>
              </a:cxnLst>
              <a:rect l="0" t="0" r="r" b="b"/>
              <a:pathLst>
                <a:path w="541" h="489">
                  <a:moveTo>
                    <a:pt x="394" y="489"/>
                  </a:moveTo>
                  <a:lnTo>
                    <a:pt x="322" y="489"/>
                  </a:lnTo>
                  <a:lnTo>
                    <a:pt x="322" y="417"/>
                  </a:lnTo>
                  <a:lnTo>
                    <a:pt x="394" y="417"/>
                  </a:lnTo>
                  <a:lnTo>
                    <a:pt x="394" y="489"/>
                  </a:lnTo>
                  <a:close/>
                  <a:moveTo>
                    <a:pt x="332" y="480"/>
                  </a:moveTo>
                  <a:lnTo>
                    <a:pt x="386" y="480"/>
                  </a:lnTo>
                  <a:lnTo>
                    <a:pt x="386" y="427"/>
                  </a:lnTo>
                  <a:lnTo>
                    <a:pt x="332" y="427"/>
                  </a:lnTo>
                  <a:lnTo>
                    <a:pt x="332" y="480"/>
                  </a:lnTo>
                  <a:close/>
                  <a:moveTo>
                    <a:pt x="307" y="489"/>
                  </a:moveTo>
                  <a:lnTo>
                    <a:pt x="235" y="489"/>
                  </a:lnTo>
                  <a:lnTo>
                    <a:pt x="235" y="417"/>
                  </a:lnTo>
                  <a:lnTo>
                    <a:pt x="307" y="417"/>
                  </a:lnTo>
                  <a:lnTo>
                    <a:pt x="307" y="489"/>
                  </a:lnTo>
                  <a:close/>
                  <a:moveTo>
                    <a:pt x="243" y="480"/>
                  </a:moveTo>
                  <a:lnTo>
                    <a:pt x="297" y="480"/>
                  </a:lnTo>
                  <a:lnTo>
                    <a:pt x="297" y="427"/>
                  </a:lnTo>
                  <a:lnTo>
                    <a:pt x="243" y="427"/>
                  </a:lnTo>
                  <a:lnTo>
                    <a:pt x="243" y="480"/>
                  </a:lnTo>
                  <a:close/>
                  <a:moveTo>
                    <a:pt x="218" y="489"/>
                  </a:moveTo>
                  <a:lnTo>
                    <a:pt x="148" y="489"/>
                  </a:lnTo>
                  <a:lnTo>
                    <a:pt x="148" y="417"/>
                  </a:lnTo>
                  <a:lnTo>
                    <a:pt x="218" y="417"/>
                  </a:lnTo>
                  <a:lnTo>
                    <a:pt x="218" y="489"/>
                  </a:lnTo>
                  <a:close/>
                  <a:moveTo>
                    <a:pt x="156" y="480"/>
                  </a:moveTo>
                  <a:lnTo>
                    <a:pt x="210" y="480"/>
                  </a:lnTo>
                  <a:lnTo>
                    <a:pt x="210" y="427"/>
                  </a:lnTo>
                  <a:lnTo>
                    <a:pt x="156" y="427"/>
                  </a:lnTo>
                  <a:lnTo>
                    <a:pt x="156" y="480"/>
                  </a:lnTo>
                  <a:close/>
                  <a:moveTo>
                    <a:pt x="394" y="401"/>
                  </a:moveTo>
                  <a:lnTo>
                    <a:pt x="322" y="401"/>
                  </a:lnTo>
                  <a:lnTo>
                    <a:pt x="322" y="330"/>
                  </a:lnTo>
                  <a:lnTo>
                    <a:pt x="394" y="330"/>
                  </a:lnTo>
                  <a:lnTo>
                    <a:pt x="394" y="401"/>
                  </a:lnTo>
                  <a:close/>
                  <a:moveTo>
                    <a:pt x="332" y="392"/>
                  </a:moveTo>
                  <a:lnTo>
                    <a:pt x="386" y="392"/>
                  </a:lnTo>
                  <a:lnTo>
                    <a:pt x="386" y="338"/>
                  </a:lnTo>
                  <a:lnTo>
                    <a:pt x="332" y="338"/>
                  </a:lnTo>
                  <a:lnTo>
                    <a:pt x="332" y="392"/>
                  </a:lnTo>
                  <a:close/>
                  <a:moveTo>
                    <a:pt x="307" y="401"/>
                  </a:moveTo>
                  <a:lnTo>
                    <a:pt x="148" y="401"/>
                  </a:lnTo>
                  <a:lnTo>
                    <a:pt x="148" y="241"/>
                  </a:lnTo>
                  <a:lnTo>
                    <a:pt x="307" y="241"/>
                  </a:lnTo>
                  <a:lnTo>
                    <a:pt x="307" y="401"/>
                  </a:lnTo>
                  <a:close/>
                  <a:moveTo>
                    <a:pt x="156" y="391"/>
                  </a:moveTo>
                  <a:lnTo>
                    <a:pt x="299" y="391"/>
                  </a:lnTo>
                  <a:lnTo>
                    <a:pt x="299" y="250"/>
                  </a:lnTo>
                  <a:lnTo>
                    <a:pt x="156" y="250"/>
                  </a:lnTo>
                  <a:lnTo>
                    <a:pt x="156" y="391"/>
                  </a:lnTo>
                  <a:close/>
                  <a:moveTo>
                    <a:pt x="416" y="366"/>
                  </a:moveTo>
                  <a:lnTo>
                    <a:pt x="407" y="366"/>
                  </a:lnTo>
                  <a:lnTo>
                    <a:pt x="407" y="358"/>
                  </a:lnTo>
                  <a:lnTo>
                    <a:pt x="414" y="358"/>
                  </a:lnTo>
                  <a:lnTo>
                    <a:pt x="414" y="358"/>
                  </a:lnTo>
                  <a:lnTo>
                    <a:pt x="429" y="355"/>
                  </a:lnTo>
                  <a:lnTo>
                    <a:pt x="440" y="353"/>
                  </a:lnTo>
                  <a:lnTo>
                    <a:pt x="452" y="348"/>
                  </a:lnTo>
                  <a:lnTo>
                    <a:pt x="462" y="345"/>
                  </a:lnTo>
                  <a:lnTo>
                    <a:pt x="472" y="338"/>
                  </a:lnTo>
                  <a:lnTo>
                    <a:pt x="481" y="333"/>
                  </a:lnTo>
                  <a:lnTo>
                    <a:pt x="491" y="327"/>
                  </a:lnTo>
                  <a:lnTo>
                    <a:pt x="499" y="319"/>
                  </a:lnTo>
                  <a:lnTo>
                    <a:pt x="506" y="310"/>
                  </a:lnTo>
                  <a:lnTo>
                    <a:pt x="513" y="302"/>
                  </a:lnTo>
                  <a:lnTo>
                    <a:pt x="519" y="292"/>
                  </a:lnTo>
                  <a:lnTo>
                    <a:pt x="524" y="284"/>
                  </a:lnTo>
                  <a:lnTo>
                    <a:pt x="527" y="274"/>
                  </a:lnTo>
                  <a:lnTo>
                    <a:pt x="531" y="263"/>
                  </a:lnTo>
                  <a:lnTo>
                    <a:pt x="532" y="253"/>
                  </a:lnTo>
                  <a:lnTo>
                    <a:pt x="532" y="241"/>
                  </a:lnTo>
                  <a:lnTo>
                    <a:pt x="532" y="231"/>
                  </a:lnTo>
                  <a:lnTo>
                    <a:pt x="531" y="223"/>
                  </a:lnTo>
                  <a:lnTo>
                    <a:pt x="529" y="213"/>
                  </a:lnTo>
                  <a:lnTo>
                    <a:pt x="526" y="205"/>
                  </a:lnTo>
                  <a:lnTo>
                    <a:pt x="522" y="197"/>
                  </a:lnTo>
                  <a:lnTo>
                    <a:pt x="518" y="189"/>
                  </a:lnTo>
                  <a:lnTo>
                    <a:pt x="513" y="181"/>
                  </a:lnTo>
                  <a:lnTo>
                    <a:pt x="508" y="174"/>
                  </a:lnTo>
                  <a:lnTo>
                    <a:pt x="501" y="167"/>
                  </a:lnTo>
                  <a:lnTo>
                    <a:pt x="495" y="161"/>
                  </a:lnTo>
                  <a:lnTo>
                    <a:pt x="486" y="154"/>
                  </a:lnTo>
                  <a:lnTo>
                    <a:pt x="480" y="149"/>
                  </a:lnTo>
                  <a:lnTo>
                    <a:pt x="470" y="143"/>
                  </a:lnTo>
                  <a:lnTo>
                    <a:pt x="462" y="139"/>
                  </a:lnTo>
                  <a:lnTo>
                    <a:pt x="452" y="135"/>
                  </a:lnTo>
                  <a:lnTo>
                    <a:pt x="440" y="131"/>
                  </a:lnTo>
                  <a:lnTo>
                    <a:pt x="439" y="121"/>
                  </a:lnTo>
                  <a:lnTo>
                    <a:pt x="435" y="110"/>
                  </a:lnTo>
                  <a:lnTo>
                    <a:pt x="434" y="103"/>
                  </a:lnTo>
                  <a:lnTo>
                    <a:pt x="432" y="98"/>
                  </a:lnTo>
                  <a:lnTo>
                    <a:pt x="426" y="87"/>
                  </a:lnTo>
                  <a:lnTo>
                    <a:pt x="419" y="75"/>
                  </a:lnTo>
                  <a:lnTo>
                    <a:pt x="416" y="70"/>
                  </a:lnTo>
                  <a:lnTo>
                    <a:pt x="407" y="61"/>
                  </a:lnTo>
                  <a:lnTo>
                    <a:pt x="399" y="52"/>
                  </a:lnTo>
                  <a:lnTo>
                    <a:pt x="389" y="43"/>
                  </a:lnTo>
                  <a:lnTo>
                    <a:pt x="378" y="36"/>
                  </a:lnTo>
                  <a:lnTo>
                    <a:pt x="366" y="29"/>
                  </a:lnTo>
                  <a:lnTo>
                    <a:pt x="355" y="23"/>
                  </a:lnTo>
                  <a:lnTo>
                    <a:pt x="342" y="18"/>
                  </a:lnTo>
                  <a:lnTo>
                    <a:pt x="329" y="13"/>
                  </a:lnTo>
                  <a:lnTo>
                    <a:pt x="314" y="11"/>
                  </a:lnTo>
                  <a:lnTo>
                    <a:pt x="299" y="10"/>
                  </a:lnTo>
                  <a:lnTo>
                    <a:pt x="284" y="8"/>
                  </a:lnTo>
                  <a:lnTo>
                    <a:pt x="271" y="10"/>
                  </a:lnTo>
                  <a:lnTo>
                    <a:pt x="256" y="11"/>
                  </a:lnTo>
                  <a:lnTo>
                    <a:pt x="243" y="13"/>
                  </a:lnTo>
                  <a:lnTo>
                    <a:pt x="230" y="18"/>
                  </a:lnTo>
                  <a:lnTo>
                    <a:pt x="217" y="21"/>
                  </a:lnTo>
                  <a:lnTo>
                    <a:pt x="205" y="28"/>
                  </a:lnTo>
                  <a:lnTo>
                    <a:pt x="194" y="34"/>
                  </a:lnTo>
                  <a:lnTo>
                    <a:pt x="184" y="41"/>
                  </a:lnTo>
                  <a:lnTo>
                    <a:pt x="174" y="49"/>
                  </a:lnTo>
                  <a:lnTo>
                    <a:pt x="164" y="59"/>
                  </a:lnTo>
                  <a:lnTo>
                    <a:pt x="156" y="67"/>
                  </a:lnTo>
                  <a:lnTo>
                    <a:pt x="149" y="77"/>
                  </a:lnTo>
                  <a:lnTo>
                    <a:pt x="143" y="89"/>
                  </a:lnTo>
                  <a:lnTo>
                    <a:pt x="138" y="100"/>
                  </a:lnTo>
                  <a:lnTo>
                    <a:pt x="135" y="112"/>
                  </a:lnTo>
                  <a:lnTo>
                    <a:pt x="133" y="116"/>
                  </a:lnTo>
                  <a:lnTo>
                    <a:pt x="130" y="126"/>
                  </a:lnTo>
                  <a:lnTo>
                    <a:pt x="122" y="126"/>
                  </a:lnTo>
                  <a:lnTo>
                    <a:pt x="108" y="130"/>
                  </a:lnTo>
                  <a:lnTo>
                    <a:pt x="97" y="133"/>
                  </a:lnTo>
                  <a:lnTo>
                    <a:pt x="85" y="136"/>
                  </a:lnTo>
                  <a:lnTo>
                    <a:pt x="76" y="141"/>
                  </a:lnTo>
                  <a:lnTo>
                    <a:pt x="66" y="146"/>
                  </a:lnTo>
                  <a:lnTo>
                    <a:pt x="56" y="153"/>
                  </a:lnTo>
                  <a:lnTo>
                    <a:pt x="48" y="161"/>
                  </a:lnTo>
                  <a:lnTo>
                    <a:pt x="39" y="167"/>
                  </a:lnTo>
                  <a:lnTo>
                    <a:pt x="33" y="176"/>
                  </a:lnTo>
                  <a:lnTo>
                    <a:pt x="26" y="185"/>
                  </a:lnTo>
                  <a:lnTo>
                    <a:pt x="20" y="195"/>
                  </a:lnTo>
                  <a:lnTo>
                    <a:pt x="16" y="205"/>
                  </a:lnTo>
                  <a:lnTo>
                    <a:pt x="15" y="210"/>
                  </a:lnTo>
                  <a:lnTo>
                    <a:pt x="11" y="220"/>
                  </a:lnTo>
                  <a:lnTo>
                    <a:pt x="10" y="231"/>
                  </a:lnTo>
                  <a:lnTo>
                    <a:pt x="10" y="241"/>
                  </a:lnTo>
                  <a:lnTo>
                    <a:pt x="10" y="248"/>
                  </a:lnTo>
                  <a:lnTo>
                    <a:pt x="10" y="259"/>
                  </a:lnTo>
                  <a:lnTo>
                    <a:pt x="13" y="269"/>
                  </a:lnTo>
                  <a:lnTo>
                    <a:pt x="16" y="281"/>
                  </a:lnTo>
                  <a:lnTo>
                    <a:pt x="21" y="291"/>
                  </a:lnTo>
                  <a:lnTo>
                    <a:pt x="28" y="300"/>
                  </a:lnTo>
                  <a:lnTo>
                    <a:pt x="34" y="309"/>
                  </a:lnTo>
                  <a:lnTo>
                    <a:pt x="41" y="317"/>
                  </a:lnTo>
                  <a:lnTo>
                    <a:pt x="49" y="325"/>
                  </a:lnTo>
                  <a:lnTo>
                    <a:pt x="59" y="333"/>
                  </a:lnTo>
                  <a:lnTo>
                    <a:pt x="69" y="338"/>
                  </a:lnTo>
                  <a:lnTo>
                    <a:pt x="80" y="345"/>
                  </a:lnTo>
                  <a:lnTo>
                    <a:pt x="92" y="350"/>
                  </a:lnTo>
                  <a:lnTo>
                    <a:pt x="103" y="353"/>
                  </a:lnTo>
                  <a:lnTo>
                    <a:pt x="115" y="356"/>
                  </a:lnTo>
                  <a:lnTo>
                    <a:pt x="128" y="358"/>
                  </a:lnTo>
                  <a:lnTo>
                    <a:pt x="140" y="358"/>
                  </a:lnTo>
                  <a:lnTo>
                    <a:pt x="140" y="361"/>
                  </a:lnTo>
                  <a:lnTo>
                    <a:pt x="135" y="363"/>
                  </a:lnTo>
                  <a:lnTo>
                    <a:pt x="135" y="366"/>
                  </a:lnTo>
                  <a:lnTo>
                    <a:pt x="130" y="366"/>
                  </a:lnTo>
                  <a:lnTo>
                    <a:pt x="130" y="366"/>
                  </a:lnTo>
                  <a:lnTo>
                    <a:pt x="122" y="365"/>
                  </a:lnTo>
                  <a:lnTo>
                    <a:pt x="107" y="363"/>
                  </a:lnTo>
                  <a:lnTo>
                    <a:pt x="95" y="360"/>
                  </a:lnTo>
                  <a:lnTo>
                    <a:pt x="82" y="355"/>
                  </a:lnTo>
                  <a:lnTo>
                    <a:pt x="71" y="350"/>
                  </a:lnTo>
                  <a:lnTo>
                    <a:pt x="59" y="343"/>
                  </a:lnTo>
                  <a:lnTo>
                    <a:pt x="49" y="337"/>
                  </a:lnTo>
                  <a:lnTo>
                    <a:pt x="39" y="328"/>
                  </a:lnTo>
                  <a:lnTo>
                    <a:pt x="31" y="319"/>
                  </a:lnTo>
                  <a:lnTo>
                    <a:pt x="23" y="310"/>
                  </a:lnTo>
                  <a:lnTo>
                    <a:pt x="16" y="300"/>
                  </a:lnTo>
                  <a:lnTo>
                    <a:pt x="13" y="294"/>
                  </a:lnTo>
                  <a:lnTo>
                    <a:pt x="8" y="284"/>
                  </a:lnTo>
                  <a:lnTo>
                    <a:pt x="5" y="273"/>
                  </a:lnTo>
                  <a:lnTo>
                    <a:pt x="2" y="261"/>
                  </a:lnTo>
                  <a:lnTo>
                    <a:pt x="0" y="248"/>
                  </a:lnTo>
                  <a:lnTo>
                    <a:pt x="0" y="241"/>
                  </a:lnTo>
                  <a:lnTo>
                    <a:pt x="0" y="236"/>
                  </a:lnTo>
                  <a:lnTo>
                    <a:pt x="2" y="223"/>
                  </a:lnTo>
                  <a:lnTo>
                    <a:pt x="3" y="218"/>
                  </a:lnTo>
                  <a:lnTo>
                    <a:pt x="7" y="207"/>
                  </a:lnTo>
                  <a:lnTo>
                    <a:pt x="10" y="195"/>
                  </a:lnTo>
                  <a:lnTo>
                    <a:pt x="16" y="185"/>
                  </a:lnTo>
                  <a:lnTo>
                    <a:pt x="21" y="176"/>
                  </a:lnTo>
                  <a:lnTo>
                    <a:pt x="30" y="167"/>
                  </a:lnTo>
                  <a:lnTo>
                    <a:pt x="38" y="158"/>
                  </a:lnTo>
                  <a:lnTo>
                    <a:pt x="46" y="149"/>
                  </a:lnTo>
                  <a:lnTo>
                    <a:pt x="56" y="143"/>
                  </a:lnTo>
                  <a:lnTo>
                    <a:pt x="66" y="136"/>
                  </a:lnTo>
                  <a:lnTo>
                    <a:pt x="77" y="131"/>
                  </a:lnTo>
                  <a:lnTo>
                    <a:pt x="89" y="126"/>
                  </a:lnTo>
                  <a:lnTo>
                    <a:pt x="100" y="123"/>
                  </a:lnTo>
                  <a:lnTo>
                    <a:pt x="113" y="120"/>
                  </a:lnTo>
                  <a:lnTo>
                    <a:pt x="123" y="118"/>
                  </a:lnTo>
                  <a:lnTo>
                    <a:pt x="125" y="115"/>
                  </a:lnTo>
                  <a:lnTo>
                    <a:pt x="126" y="108"/>
                  </a:lnTo>
                  <a:lnTo>
                    <a:pt x="130" y="97"/>
                  </a:lnTo>
                  <a:lnTo>
                    <a:pt x="136" y="84"/>
                  </a:lnTo>
                  <a:lnTo>
                    <a:pt x="143" y="74"/>
                  </a:lnTo>
                  <a:lnTo>
                    <a:pt x="149" y="62"/>
                  </a:lnTo>
                  <a:lnTo>
                    <a:pt x="159" y="52"/>
                  </a:lnTo>
                  <a:lnTo>
                    <a:pt x="168" y="43"/>
                  </a:lnTo>
                  <a:lnTo>
                    <a:pt x="179" y="34"/>
                  </a:lnTo>
                  <a:lnTo>
                    <a:pt x="189" y="26"/>
                  </a:lnTo>
                  <a:lnTo>
                    <a:pt x="202" y="20"/>
                  </a:lnTo>
                  <a:lnTo>
                    <a:pt x="214" y="15"/>
                  </a:lnTo>
                  <a:lnTo>
                    <a:pt x="227" y="10"/>
                  </a:lnTo>
                  <a:lnTo>
                    <a:pt x="241" y="5"/>
                  </a:lnTo>
                  <a:lnTo>
                    <a:pt x="255" y="1"/>
                  </a:lnTo>
                  <a:lnTo>
                    <a:pt x="269" y="0"/>
                  </a:lnTo>
                  <a:lnTo>
                    <a:pt x="284" y="0"/>
                  </a:lnTo>
                  <a:lnTo>
                    <a:pt x="301" y="0"/>
                  </a:lnTo>
                  <a:lnTo>
                    <a:pt x="315" y="3"/>
                  </a:lnTo>
                  <a:lnTo>
                    <a:pt x="330" y="5"/>
                  </a:lnTo>
                  <a:lnTo>
                    <a:pt x="345" y="10"/>
                  </a:lnTo>
                  <a:lnTo>
                    <a:pt x="358" y="15"/>
                  </a:lnTo>
                  <a:lnTo>
                    <a:pt x="371" y="21"/>
                  </a:lnTo>
                  <a:lnTo>
                    <a:pt x="383" y="28"/>
                  </a:lnTo>
                  <a:lnTo>
                    <a:pt x="394" y="36"/>
                  </a:lnTo>
                  <a:lnTo>
                    <a:pt x="404" y="46"/>
                  </a:lnTo>
                  <a:lnTo>
                    <a:pt x="414" y="56"/>
                  </a:lnTo>
                  <a:lnTo>
                    <a:pt x="422" y="66"/>
                  </a:lnTo>
                  <a:lnTo>
                    <a:pt x="430" y="77"/>
                  </a:lnTo>
                  <a:lnTo>
                    <a:pt x="437" y="89"/>
                  </a:lnTo>
                  <a:lnTo>
                    <a:pt x="439" y="95"/>
                  </a:lnTo>
                  <a:lnTo>
                    <a:pt x="442" y="102"/>
                  </a:lnTo>
                  <a:lnTo>
                    <a:pt x="445" y="113"/>
                  </a:lnTo>
                  <a:lnTo>
                    <a:pt x="449" y="125"/>
                  </a:lnTo>
                  <a:lnTo>
                    <a:pt x="455" y="126"/>
                  </a:lnTo>
                  <a:lnTo>
                    <a:pt x="465" y="131"/>
                  </a:lnTo>
                  <a:lnTo>
                    <a:pt x="475" y="136"/>
                  </a:lnTo>
                  <a:lnTo>
                    <a:pt x="483" y="141"/>
                  </a:lnTo>
                  <a:lnTo>
                    <a:pt x="493" y="148"/>
                  </a:lnTo>
                  <a:lnTo>
                    <a:pt x="499" y="154"/>
                  </a:lnTo>
                  <a:lnTo>
                    <a:pt x="508" y="161"/>
                  </a:lnTo>
                  <a:lnTo>
                    <a:pt x="514" y="169"/>
                  </a:lnTo>
                  <a:lnTo>
                    <a:pt x="519" y="176"/>
                  </a:lnTo>
                  <a:lnTo>
                    <a:pt x="526" y="184"/>
                  </a:lnTo>
                  <a:lnTo>
                    <a:pt x="531" y="194"/>
                  </a:lnTo>
                  <a:lnTo>
                    <a:pt x="534" y="202"/>
                  </a:lnTo>
                  <a:lnTo>
                    <a:pt x="537" y="212"/>
                  </a:lnTo>
                  <a:lnTo>
                    <a:pt x="539" y="222"/>
                  </a:lnTo>
                  <a:lnTo>
                    <a:pt x="541" y="231"/>
                  </a:lnTo>
                  <a:lnTo>
                    <a:pt x="541" y="241"/>
                  </a:lnTo>
                  <a:lnTo>
                    <a:pt x="541" y="253"/>
                  </a:lnTo>
                  <a:lnTo>
                    <a:pt x="539" y="264"/>
                  </a:lnTo>
                  <a:lnTo>
                    <a:pt x="536" y="276"/>
                  </a:lnTo>
                  <a:lnTo>
                    <a:pt x="531" y="287"/>
                  </a:lnTo>
                  <a:lnTo>
                    <a:pt x="526" y="297"/>
                  </a:lnTo>
                  <a:lnTo>
                    <a:pt x="521" y="307"/>
                  </a:lnTo>
                  <a:lnTo>
                    <a:pt x="513" y="317"/>
                  </a:lnTo>
                  <a:lnTo>
                    <a:pt x="504" y="325"/>
                  </a:lnTo>
                  <a:lnTo>
                    <a:pt x="496" y="333"/>
                  </a:lnTo>
                  <a:lnTo>
                    <a:pt x="486" y="340"/>
                  </a:lnTo>
                  <a:lnTo>
                    <a:pt x="476" y="346"/>
                  </a:lnTo>
                  <a:lnTo>
                    <a:pt x="465" y="351"/>
                  </a:lnTo>
                  <a:lnTo>
                    <a:pt x="453" y="356"/>
                  </a:lnTo>
                  <a:lnTo>
                    <a:pt x="442" y="361"/>
                  </a:lnTo>
                  <a:lnTo>
                    <a:pt x="430" y="363"/>
                  </a:lnTo>
                  <a:lnTo>
                    <a:pt x="417" y="366"/>
                  </a:lnTo>
                  <a:lnTo>
                    <a:pt x="416" y="366"/>
                  </a:lnTo>
                  <a:close/>
                  <a:moveTo>
                    <a:pt x="394" y="312"/>
                  </a:moveTo>
                  <a:lnTo>
                    <a:pt x="322" y="312"/>
                  </a:lnTo>
                  <a:lnTo>
                    <a:pt x="322" y="241"/>
                  </a:lnTo>
                  <a:lnTo>
                    <a:pt x="394" y="241"/>
                  </a:lnTo>
                  <a:lnTo>
                    <a:pt x="394" y="312"/>
                  </a:lnTo>
                  <a:close/>
                  <a:moveTo>
                    <a:pt x="332" y="304"/>
                  </a:moveTo>
                  <a:lnTo>
                    <a:pt x="386" y="304"/>
                  </a:lnTo>
                  <a:lnTo>
                    <a:pt x="386" y="250"/>
                  </a:lnTo>
                  <a:lnTo>
                    <a:pt x="332" y="250"/>
                  </a:lnTo>
                  <a:lnTo>
                    <a:pt x="332" y="304"/>
                  </a:lnTo>
                  <a:close/>
                </a:path>
              </a:pathLst>
            </a:custGeom>
            <a:solidFill>
              <a:schemeClr val="bg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sz="1400">
                <a:solidFill>
                  <a:prstClr val="black"/>
                </a:solidFill>
              </a:endParaRPr>
            </a:p>
          </p:txBody>
        </p:sp>
      </p:grpSp>
      <p:grpSp>
        <p:nvGrpSpPr>
          <p:cNvPr id="13" name="组合 466"/>
          <p:cNvGrpSpPr/>
          <p:nvPr/>
        </p:nvGrpSpPr>
        <p:grpSpPr>
          <a:xfrm>
            <a:off x="700891" y="4913853"/>
            <a:ext cx="1292240" cy="1059846"/>
            <a:chOff x="6429610" y="1462316"/>
            <a:chExt cx="2148485" cy="1872174"/>
          </a:xfrm>
        </p:grpSpPr>
        <p:sp>
          <p:nvSpPr>
            <p:cNvPr id="468" name="1715980703"/>
            <p:cNvSpPr>
              <a:spLocks noChangeAspect="1"/>
            </p:cNvSpPr>
            <p:nvPr/>
          </p:nvSpPr>
          <p:spPr bwMode="auto">
            <a:xfrm>
              <a:off x="6717773" y="1462316"/>
              <a:ext cx="1675906" cy="1872174"/>
            </a:xfrm>
            <a:custGeom>
              <a:avLst/>
              <a:gdLst/>
              <a:ahLst/>
              <a:cxnLst>
                <a:cxn ang="0">
                  <a:pos x="397" y="15"/>
                </a:cxn>
                <a:cxn ang="0">
                  <a:pos x="523" y="88"/>
                </a:cxn>
                <a:cxn ang="0">
                  <a:pos x="652" y="162"/>
                </a:cxn>
                <a:cxn ang="0">
                  <a:pos x="652" y="162"/>
                </a:cxn>
                <a:cxn ang="0">
                  <a:pos x="685" y="195"/>
                </a:cxn>
                <a:cxn ang="0">
                  <a:pos x="698" y="235"/>
                </a:cxn>
                <a:cxn ang="0">
                  <a:pos x="698" y="390"/>
                </a:cxn>
                <a:cxn ang="0">
                  <a:pos x="698" y="538"/>
                </a:cxn>
                <a:cxn ang="0">
                  <a:pos x="686" y="584"/>
                </a:cxn>
                <a:cxn ang="0">
                  <a:pos x="657" y="615"/>
                </a:cxn>
                <a:cxn ang="0">
                  <a:pos x="523" y="692"/>
                </a:cxn>
                <a:cxn ang="0">
                  <a:pos x="392" y="768"/>
                </a:cxn>
                <a:cxn ang="0">
                  <a:pos x="348" y="779"/>
                </a:cxn>
                <a:cxn ang="0">
                  <a:pos x="306" y="768"/>
                </a:cxn>
                <a:cxn ang="0">
                  <a:pos x="174" y="692"/>
                </a:cxn>
                <a:cxn ang="0">
                  <a:pos x="38" y="614"/>
                </a:cxn>
                <a:cxn ang="0">
                  <a:pos x="9" y="579"/>
                </a:cxn>
                <a:cxn ang="0">
                  <a:pos x="0" y="547"/>
                </a:cxn>
                <a:cxn ang="0">
                  <a:pos x="0" y="390"/>
                </a:cxn>
                <a:cxn ang="0">
                  <a:pos x="0" y="232"/>
                </a:cxn>
                <a:cxn ang="0">
                  <a:pos x="11" y="197"/>
                </a:cxn>
                <a:cxn ang="0">
                  <a:pos x="42" y="164"/>
                </a:cxn>
                <a:cxn ang="0">
                  <a:pos x="174" y="88"/>
                </a:cxn>
                <a:cxn ang="0">
                  <a:pos x="303" y="14"/>
                </a:cxn>
                <a:cxn ang="0">
                  <a:pos x="303" y="14"/>
                </a:cxn>
                <a:cxn ang="0">
                  <a:pos x="352" y="1"/>
                </a:cxn>
                <a:cxn ang="0">
                  <a:pos x="397" y="15"/>
                </a:cxn>
              </a:cxnLst>
              <a:rect l="0" t="0" r="r" b="b"/>
              <a:pathLst>
                <a:path w="698" h="779">
                  <a:moveTo>
                    <a:pt x="397" y="15"/>
                  </a:moveTo>
                  <a:cubicBezTo>
                    <a:pt x="523" y="88"/>
                    <a:pt x="523" y="88"/>
                    <a:pt x="523" y="88"/>
                  </a:cubicBezTo>
                  <a:cubicBezTo>
                    <a:pt x="652" y="162"/>
                    <a:pt x="652" y="162"/>
                    <a:pt x="652" y="162"/>
                  </a:cubicBezTo>
                  <a:cubicBezTo>
                    <a:pt x="652" y="162"/>
                    <a:pt x="652" y="162"/>
                    <a:pt x="652" y="162"/>
                  </a:cubicBezTo>
                  <a:cubicBezTo>
                    <a:pt x="652" y="162"/>
                    <a:pt x="674" y="176"/>
                    <a:pt x="685" y="195"/>
                  </a:cubicBezTo>
                  <a:cubicBezTo>
                    <a:pt x="694" y="210"/>
                    <a:pt x="697" y="225"/>
                    <a:pt x="698" y="235"/>
                  </a:cubicBezTo>
                  <a:cubicBezTo>
                    <a:pt x="698" y="390"/>
                    <a:pt x="698" y="390"/>
                    <a:pt x="698" y="390"/>
                  </a:cubicBezTo>
                  <a:cubicBezTo>
                    <a:pt x="698" y="538"/>
                    <a:pt x="698" y="538"/>
                    <a:pt x="698" y="538"/>
                  </a:cubicBezTo>
                  <a:cubicBezTo>
                    <a:pt x="698" y="545"/>
                    <a:pt x="696" y="569"/>
                    <a:pt x="686" y="584"/>
                  </a:cubicBezTo>
                  <a:cubicBezTo>
                    <a:pt x="676" y="599"/>
                    <a:pt x="662" y="611"/>
                    <a:pt x="657" y="615"/>
                  </a:cubicBezTo>
                  <a:cubicBezTo>
                    <a:pt x="523" y="692"/>
                    <a:pt x="523" y="692"/>
                    <a:pt x="523" y="692"/>
                  </a:cubicBezTo>
                  <a:cubicBezTo>
                    <a:pt x="392" y="768"/>
                    <a:pt x="392" y="768"/>
                    <a:pt x="392" y="768"/>
                  </a:cubicBezTo>
                  <a:cubicBezTo>
                    <a:pt x="385" y="772"/>
                    <a:pt x="368" y="779"/>
                    <a:pt x="348" y="779"/>
                  </a:cubicBezTo>
                  <a:cubicBezTo>
                    <a:pt x="331" y="779"/>
                    <a:pt x="315" y="772"/>
                    <a:pt x="306" y="768"/>
                  </a:cubicBezTo>
                  <a:cubicBezTo>
                    <a:pt x="174" y="692"/>
                    <a:pt x="174" y="692"/>
                    <a:pt x="174" y="692"/>
                  </a:cubicBezTo>
                  <a:cubicBezTo>
                    <a:pt x="38" y="614"/>
                    <a:pt x="38" y="614"/>
                    <a:pt x="38" y="614"/>
                  </a:cubicBezTo>
                  <a:cubicBezTo>
                    <a:pt x="31" y="608"/>
                    <a:pt x="15" y="594"/>
                    <a:pt x="9" y="579"/>
                  </a:cubicBezTo>
                  <a:cubicBezTo>
                    <a:pt x="3" y="566"/>
                    <a:pt x="1" y="554"/>
                    <a:pt x="0" y="547"/>
                  </a:cubicBezTo>
                  <a:cubicBezTo>
                    <a:pt x="0" y="390"/>
                    <a:pt x="0" y="390"/>
                    <a:pt x="0" y="390"/>
                  </a:cubicBezTo>
                  <a:cubicBezTo>
                    <a:pt x="0" y="232"/>
                    <a:pt x="0" y="232"/>
                    <a:pt x="0" y="232"/>
                  </a:cubicBezTo>
                  <a:cubicBezTo>
                    <a:pt x="1" y="223"/>
                    <a:pt x="3" y="210"/>
                    <a:pt x="11" y="197"/>
                  </a:cubicBezTo>
                  <a:cubicBezTo>
                    <a:pt x="23" y="177"/>
                    <a:pt x="38" y="167"/>
                    <a:pt x="42" y="164"/>
                  </a:cubicBezTo>
                  <a:cubicBezTo>
                    <a:pt x="174" y="88"/>
                    <a:pt x="174" y="88"/>
                    <a:pt x="174" y="88"/>
                  </a:cubicBezTo>
                  <a:cubicBezTo>
                    <a:pt x="303" y="14"/>
                    <a:pt x="303" y="14"/>
                    <a:pt x="303" y="14"/>
                  </a:cubicBezTo>
                  <a:cubicBezTo>
                    <a:pt x="303" y="14"/>
                    <a:pt x="303" y="14"/>
                    <a:pt x="303" y="14"/>
                  </a:cubicBezTo>
                  <a:cubicBezTo>
                    <a:pt x="303" y="14"/>
                    <a:pt x="327" y="0"/>
                    <a:pt x="352" y="1"/>
                  </a:cubicBezTo>
                  <a:cubicBezTo>
                    <a:pt x="378" y="3"/>
                    <a:pt x="397" y="15"/>
                    <a:pt x="397" y="15"/>
                  </a:cubicBezTo>
                  <a:close/>
                </a:path>
              </a:pathLst>
            </a:custGeom>
            <a:gradFill>
              <a:gsLst>
                <a:gs pos="0">
                  <a:srgbClr val="089CB0"/>
                </a:gs>
                <a:gs pos="100000">
                  <a:srgbClr val="089CB0">
                    <a:alpha val="50000"/>
                  </a:srgbClr>
                </a:gs>
              </a:gsLst>
              <a:lin ang="4200000" scaled="0"/>
            </a:gradFill>
            <a:ln w="12700">
              <a:solidFill>
                <a:schemeClr val="accent5">
                  <a:lumMod val="40000"/>
                  <a:lumOff val="60000"/>
                </a:schemeClr>
              </a:solid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marL="0" lvl="4" algn="ctr" eaLnBrk="0" hangingPunct="0">
                <a:buClr>
                  <a:srgbClr val="CC9900"/>
                </a:buClr>
              </a:pPr>
              <a:endParaRPr lang="zh-CN" altLang="en-US" sz="1400" b="1">
                <a:solidFill>
                  <a:srgbClr val="FFFFFF"/>
                </a:solidFill>
                <a:latin typeface="Arial"/>
              </a:endParaRPr>
            </a:p>
          </p:txBody>
        </p:sp>
        <p:sp>
          <p:nvSpPr>
            <p:cNvPr id="469" name="541613208"/>
            <p:cNvSpPr txBox="1"/>
            <p:nvPr/>
          </p:nvSpPr>
          <p:spPr>
            <a:xfrm>
              <a:off x="6429610" y="2503513"/>
              <a:ext cx="2148485" cy="440475"/>
            </a:xfrm>
            <a:prstGeom prst="rect">
              <a:avLst/>
            </a:prstGeom>
            <a:noFill/>
            <a:effectLst/>
          </p:spPr>
          <p:txBody>
            <a:bodyPr wrap="square" lIns="36000" tIns="36000" rIns="36000" bIns="36000" rtlCol="0">
              <a:spAutoFit/>
            </a:bodyPr>
            <a:lstStyle/>
            <a:p>
              <a:pPr algn="ctr">
                <a:lnSpc>
                  <a:spcPct val="80000"/>
                </a:lnSpc>
              </a:pPr>
              <a:r>
                <a:rPr lang="zh-CN" altLang="en-US" sz="1400" b="1" dirty="0" smtClean="0">
                  <a:solidFill>
                    <a:prstClr val="white"/>
                  </a:solidFill>
                  <a:effectLst>
                    <a:outerShdw blurRad="38100" dist="38100" dir="2700000" algn="tl">
                      <a:srgbClr val="000000">
                        <a:alpha val="43137"/>
                      </a:srgbClr>
                    </a:outerShdw>
                  </a:effectLst>
                </a:rPr>
                <a:t>Smart IoT</a:t>
              </a:r>
              <a:endParaRPr lang="en-US" altLang="zh-CN" sz="1400" b="1" dirty="0" smtClean="0">
                <a:solidFill>
                  <a:prstClr val="white"/>
                </a:solidFill>
                <a:effectLst>
                  <a:outerShdw blurRad="38100" dist="38100" dir="2700000" algn="tl">
                    <a:srgbClr val="000000">
                      <a:alpha val="43137"/>
                    </a:srgbClr>
                  </a:outerShdw>
                </a:effectLst>
              </a:endParaRPr>
            </a:p>
          </p:txBody>
        </p:sp>
        <p:pic>
          <p:nvPicPr>
            <p:cNvPr id="470" name="586184370" descr="C:\Users\z00124665\Desktop\CPU-icon.png"/>
            <p:cNvPicPr>
              <a:picLocks noChangeAspect="1" noChangeArrowheads="1"/>
            </p:cNvPicPr>
            <p:nvPr/>
          </p:nvPicPr>
          <p:blipFill>
            <a:blip r:embed="rId9" cstate="print">
              <a:duotone>
                <a:schemeClr val="bg2">
                  <a:shade val="45000"/>
                  <a:satMod val="135000"/>
                </a:schemeClr>
                <a:prstClr val="white"/>
              </a:duotone>
              <a:lum bright="40000" contrast="40000"/>
            </a:blip>
            <a:srcRect/>
            <a:stretch>
              <a:fillRect/>
            </a:stretch>
          </p:blipFill>
          <p:spPr bwMode="auto">
            <a:xfrm>
              <a:off x="7164281" y="1814761"/>
              <a:ext cx="724043" cy="643169"/>
            </a:xfrm>
            <a:prstGeom prst="rect">
              <a:avLst/>
            </a:prstGeom>
            <a:noFill/>
          </p:spPr>
        </p:pic>
      </p:grpSp>
      <p:sp>
        <p:nvSpPr>
          <p:cNvPr id="471" name="矩形 470"/>
          <p:cNvSpPr/>
          <p:nvPr/>
        </p:nvSpPr>
        <p:spPr>
          <a:xfrm>
            <a:off x="5783521" y="5219259"/>
            <a:ext cx="2211290" cy="944418"/>
          </a:xfrm>
          <a:prstGeom prst="rect">
            <a:avLst/>
          </a:prstGeom>
          <a:ln w="3175">
            <a:miter lim="400000"/>
          </a:ln>
        </p:spPr>
        <p:txBody>
          <a:bodyPr wrap="square" lIns="25682" tIns="25682" rIns="25682" bIns="25682" anchor="ctr">
            <a:spAutoFit/>
          </a:bodyPr>
          <a:lstStyle/>
          <a:p>
            <a:pPr marL="285750" indent="-285750">
              <a:buFont typeface="Arial" panose="020B0604020202020204" pitchFamily="34" charset="0"/>
              <a:buChar char="•"/>
            </a:pPr>
            <a:r>
              <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Trusted </a:t>
            </a: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ccess</a:t>
            </a:r>
            <a:endParaRPr lang="en-US" altLang="zh-CN"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endParaRPr lang="en-US" altLang="zh-CN" sz="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Reliable </a:t>
            </a: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transmission</a:t>
            </a:r>
            <a:endParaRPr lang="en-US" altLang="zh-CN"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endParaRPr lang="zh-CN" altLang="en-US" sz="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72" name="矩形 471"/>
          <p:cNvSpPr/>
          <p:nvPr/>
        </p:nvSpPr>
        <p:spPr>
          <a:xfrm>
            <a:off x="5794796" y="5526287"/>
            <a:ext cx="1833817" cy="267309"/>
          </a:xfrm>
          <a:prstGeom prst="rect">
            <a:avLst/>
          </a:prstGeom>
          <a:ln w="3175">
            <a:miter lim="400000"/>
          </a:ln>
        </p:spPr>
        <p:txBody>
          <a:bodyPr wrap="square" lIns="25682" tIns="25682" rIns="25682" bIns="25682" anchor="ctr">
            <a:spAutoFit/>
          </a:bodyPr>
          <a:lstStyle/>
          <a:p>
            <a:pPr marL="285750" indent="-285750">
              <a:buFont typeface="Arial" panose="020B0604020202020204" pitchFamily="34" charset="0"/>
              <a:buChar char="•"/>
            </a:pPr>
            <a:endParaRPr 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74" name="矩形 473"/>
          <p:cNvSpPr/>
          <p:nvPr/>
        </p:nvSpPr>
        <p:spPr>
          <a:xfrm>
            <a:off x="9654744" y="5111726"/>
            <a:ext cx="2343480" cy="821307"/>
          </a:xfrm>
          <a:prstGeom prst="rect">
            <a:avLst/>
          </a:prstGeom>
          <a:ln w="3175">
            <a:miter lim="400000"/>
          </a:ln>
        </p:spPr>
        <p:txBody>
          <a:bodyPr wrap="square" lIns="25682" tIns="25682" rIns="25682" bIns="25682" anchor="ctr">
            <a:spAutoFit/>
          </a:bodyPr>
          <a:lstStyle/>
          <a:p>
            <a:pPr marL="285750" indent="-285750">
              <a:buFont typeface="Arial" panose="020B0604020202020204" pitchFamily="34" charset="0"/>
              <a:buChar char="•"/>
            </a:pP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Centralized NM</a:t>
            </a:r>
            <a:endParaRPr lang="en-US" altLang="zh-CN"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endParaRPr lang="en-US" altLang="zh-CN" sz="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4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Visualized </a:t>
            </a:r>
            <a:r>
              <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monitoring infrastructure</a:t>
            </a:r>
          </a:p>
        </p:txBody>
      </p:sp>
      <p:sp>
        <p:nvSpPr>
          <p:cNvPr id="172" name="矩形 171"/>
          <p:cNvSpPr/>
          <p:nvPr/>
        </p:nvSpPr>
        <p:spPr>
          <a:xfrm>
            <a:off x="473032" y="405458"/>
            <a:ext cx="11202717" cy="523220"/>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rPr>
              <a:t>Overall Architecture of the City IoT</a:t>
            </a:r>
            <a:r>
              <a:rPr lang="en-US" altLang="zh-CN"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 </a:t>
            </a:r>
            <a:r>
              <a:rPr lang="en-US" altLang="zh-CN"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W</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ith </a:t>
            </a:r>
            <a:r>
              <a:rPr lang="zh-CN" altLang="en-US" sz="28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cs typeface="+mj-cs"/>
              </a:rPr>
              <a:t>Lamp Poles </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a</a:t>
            </a:r>
            <a:r>
              <a:rPr lang="en-US" altLang="zh-CN"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t</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 </a:t>
            </a:r>
            <a:r>
              <a:rPr kumimoji="1" lang="zh-CN" altLang="en-US" sz="2800" b="1" dirty="0" smtClean="0">
                <a:solidFill>
                  <a:srgbClr val="FFC000"/>
                </a:solidFill>
                <a:latin typeface="微软雅黑" panose="020B0503020204020204" pitchFamily="34" charset="-122"/>
                <a:ea typeface="微软雅黑" panose="020B0503020204020204" pitchFamily="34" charset="-122"/>
              </a:rPr>
              <a:t>Entry</a:t>
            </a:r>
            <a:endParaRPr lang="en-US" altLang="en-US" sz="280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grpSp>
        <p:nvGrpSpPr>
          <p:cNvPr id="426" name="组合 425"/>
          <p:cNvGrpSpPr/>
          <p:nvPr/>
        </p:nvGrpSpPr>
        <p:grpSpPr>
          <a:xfrm>
            <a:off x="424633" y="1307834"/>
            <a:ext cx="11251117" cy="3274088"/>
            <a:chOff x="424633" y="1307834"/>
            <a:chExt cx="11251117" cy="3274088"/>
          </a:xfrm>
        </p:grpSpPr>
        <p:sp>
          <p:nvSpPr>
            <p:cNvPr id="161" name="矩形 160"/>
            <p:cNvSpPr/>
            <p:nvPr/>
          </p:nvSpPr>
          <p:spPr>
            <a:xfrm rot="10800000">
              <a:off x="521512" y="1379986"/>
              <a:ext cx="11154238" cy="3150846"/>
            </a:xfrm>
            <a:prstGeom prst="rect">
              <a:avLst/>
            </a:prstGeom>
            <a:gradFill flip="none" rotWithShape="1">
              <a:gsLst>
                <a:gs pos="0">
                  <a:srgbClr val="21DFE9">
                    <a:lumMod val="100000"/>
                    <a:alpha val="0"/>
                  </a:srgbClr>
                </a:gs>
                <a:gs pos="51000">
                  <a:srgbClr val="21DFE9">
                    <a:alpha val="0"/>
                  </a:srgbClr>
                </a:gs>
                <a:gs pos="83000">
                  <a:srgbClr val="21DFE9">
                    <a:alpha val="7000"/>
                  </a:srgbClr>
                </a:gs>
              </a:gsLst>
              <a:lin ang="5400000" scaled="1"/>
              <a:tileRect/>
            </a:gradFill>
            <a:ln w="12700">
              <a:gradFill>
                <a:gsLst>
                  <a:gs pos="0">
                    <a:srgbClr val="4BF0F0">
                      <a:alpha val="0"/>
                    </a:srgbClr>
                  </a:gs>
                  <a:gs pos="50000">
                    <a:srgbClr val="4BF0F0">
                      <a:alpha val="25000"/>
                    </a:srgbClr>
                  </a:gs>
                  <a:gs pos="100000">
                    <a:srgbClr val="4BF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Aft>
                  <a:spcPts val="800"/>
                </a:spcAft>
                <a:buClr>
                  <a:schemeClr val="tx1">
                    <a:lumMod val="50000"/>
                    <a:lumOff val="50000"/>
                  </a:schemeClr>
                </a:buClr>
                <a:buSzPct val="70000"/>
              </a:pPr>
              <a:endParaRPr lang="zh-CN" altLang="en-US" sz="2000" b="1" dirty="0">
                <a:solidFill>
                  <a:srgbClr val="FFC000"/>
                </a:solidFill>
                <a:effectLst>
                  <a:outerShdw blurRad="38100" dist="38100" dir="2700000" algn="tl">
                    <a:srgbClr val="000000">
                      <a:alpha val="43137"/>
                    </a:srgbClr>
                  </a:outerShdw>
                </a:effectLst>
                <a:latin typeface="Arial" pitchFamily="34" charset="0"/>
                <a:cs typeface="Arial" pitchFamily="34" charset="0"/>
                <a:sym typeface="Arial"/>
              </a:endParaRPr>
            </a:p>
          </p:txBody>
        </p:sp>
        <p:sp>
          <p:nvSpPr>
            <p:cNvPr id="162" name="Shape 488"/>
            <p:cNvSpPr/>
            <p:nvPr/>
          </p:nvSpPr>
          <p:spPr>
            <a:xfrm>
              <a:off x="944994" y="1418049"/>
              <a:ext cx="1914574" cy="383448"/>
            </a:xfrm>
            <a:prstGeom prst="rect">
              <a:avLst/>
            </a:prstGeom>
            <a:noFill/>
            <a:ln>
              <a:noFill/>
            </a:ln>
            <a:effectLst/>
            <a:extLst>
              <a:ext uri="{C572A759-6A51-4108-AA02-DFA0A04FC94B}">
                <ma14:wrappingTextBoxFlag xmlns:ma14="http://schemas.microsoft.com/office/mac/drawingml/2011/main" xmlns="" val="1"/>
              </a:ext>
            </a:extLst>
          </p:spPr>
          <p:style>
            <a:lnRef idx="2">
              <a:schemeClr val="accent1">
                <a:shade val="50000"/>
              </a:schemeClr>
            </a:lnRef>
            <a:fillRef idx="1">
              <a:schemeClr val="accent1"/>
            </a:fillRef>
            <a:effectRef idx="0">
              <a:schemeClr val="accent1"/>
            </a:effectRef>
            <a:fontRef idx="minor">
              <a:schemeClr val="lt1"/>
            </a:fontRef>
          </p:style>
          <p:txBody>
            <a:bodyPr wrap="none" lIns="121944" tIns="60972" rIns="121944" bIns="60972" rtlCol="0" anchor="ctr"/>
            <a:lstStyle/>
            <a:p>
              <a:pPr algn="ctr">
                <a:lnSpc>
                  <a:spcPct val="120000"/>
                </a:lnSpc>
                <a:spcBef>
                  <a:spcPct val="20000"/>
                </a:spcBef>
              </a:pPr>
              <a:r>
                <a:rPr lang="en-US" altLang="zh-CN" sz="1400" b="1" dirty="0" smtClean="0">
                  <a:gradFill>
                    <a:gsLst>
                      <a:gs pos="0">
                        <a:srgbClr val="FFC901"/>
                      </a:gs>
                      <a:gs pos="100000">
                        <a:srgbClr val="FEE848"/>
                      </a:gs>
                    </a:gsLst>
                    <a:lin ang="16200000" scaled="1"/>
                  </a:gradFill>
                  <a:effectLst>
                    <a:outerShdw blurRad="38100" dist="38100" dir="2700000" algn="tl">
                      <a:srgbClr val="000000">
                        <a:alpha val="43137"/>
                      </a:srgbClr>
                    </a:outerShdw>
                  </a:effectLst>
                  <a:latin typeface="+mj-lt"/>
                  <a:ea typeface="微软雅黑" pitchFamily="34" charset="-122"/>
                  <a:sym typeface="Arial"/>
                </a:rPr>
                <a:t>Lamp Pole</a:t>
              </a:r>
              <a:endParaRPr lang="zh-CN" altLang="en-US" sz="1400" b="1" dirty="0">
                <a:gradFill>
                  <a:gsLst>
                    <a:gs pos="0">
                      <a:srgbClr val="FFC901"/>
                    </a:gs>
                    <a:gs pos="100000">
                      <a:srgbClr val="FEE848"/>
                    </a:gs>
                  </a:gsLst>
                  <a:lin ang="16200000" scaled="1"/>
                </a:gradFill>
                <a:effectLst>
                  <a:outerShdw blurRad="38100" dist="38100" dir="2700000" algn="tl">
                    <a:srgbClr val="000000">
                      <a:alpha val="43137"/>
                    </a:srgbClr>
                  </a:outerShdw>
                </a:effectLst>
                <a:latin typeface="+mj-lt"/>
                <a:ea typeface="微软雅黑" pitchFamily="34" charset="-122"/>
                <a:sym typeface="Arial"/>
              </a:endParaRPr>
            </a:p>
          </p:txBody>
        </p:sp>
        <p:sp>
          <p:nvSpPr>
            <p:cNvPr id="163" name="Shape 489"/>
            <p:cNvSpPr/>
            <p:nvPr/>
          </p:nvSpPr>
          <p:spPr>
            <a:xfrm>
              <a:off x="5409142" y="1464895"/>
              <a:ext cx="1639116" cy="289756"/>
            </a:xfrm>
            <a:prstGeom prst="rect">
              <a:avLst/>
            </a:prstGeom>
            <a:noFill/>
            <a:ln>
              <a:noFill/>
            </a:ln>
            <a:effectLst/>
            <a:extLst>
              <a:ext uri="{C572A759-6A51-4108-AA02-DFA0A04FC94B}">
                <ma14:wrappingTextBoxFlag xmlns:ma14="http://schemas.microsoft.com/office/mac/drawingml/2011/main" xmlns="" val="1"/>
              </a:ext>
            </a:extLst>
          </p:spPr>
          <p:style>
            <a:lnRef idx="2">
              <a:schemeClr val="accent1">
                <a:shade val="50000"/>
              </a:schemeClr>
            </a:lnRef>
            <a:fillRef idx="1">
              <a:schemeClr val="accent1"/>
            </a:fillRef>
            <a:effectRef idx="0">
              <a:schemeClr val="accent1"/>
            </a:effectRef>
            <a:fontRef idx="minor">
              <a:schemeClr val="lt1"/>
            </a:fontRef>
          </p:style>
          <p:txBody>
            <a:bodyPr wrap="none" lIns="121944" tIns="60972" rIns="121944" bIns="60972" rtlCol="0" anchor="ctr"/>
            <a:lstStyle/>
            <a:p>
              <a:pPr algn="ctr">
                <a:lnSpc>
                  <a:spcPct val="120000"/>
                </a:lnSpc>
                <a:spcBef>
                  <a:spcPct val="20000"/>
                </a:spcBef>
              </a:pPr>
              <a:r>
                <a:rPr lang="en-US" altLang="zh-CN" sz="1400" b="1" dirty="0" smtClean="0">
                  <a:gradFill>
                    <a:gsLst>
                      <a:gs pos="0">
                        <a:srgbClr val="FFC901"/>
                      </a:gs>
                      <a:gs pos="100000">
                        <a:srgbClr val="FEE848"/>
                      </a:gs>
                    </a:gsLst>
                    <a:lin ang="16200000" scaled="1"/>
                  </a:gradFill>
                  <a:effectLst>
                    <a:outerShdw blurRad="38100" dist="38100" dir="2700000" algn="tl">
                      <a:srgbClr val="000000">
                        <a:alpha val="43137"/>
                      </a:srgbClr>
                    </a:outerShdw>
                  </a:effectLst>
                  <a:latin typeface="+mj-lt"/>
                  <a:ea typeface="微软雅黑" pitchFamily="34" charset="-122"/>
                  <a:sym typeface="Arial"/>
                </a:rPr>
                <a:t>Network</a:t>
              </a:r>
              <a:endParaRPr lang="zh-CN" altLang="en-US" sz="1400" b="1" dirty="0">
                <a:gradFill>
                  <a:gsLst>
                    <a:gs pos="0">
                      <a:srgbClr val="FFC901"/>
                    </a:gs>
                    <a:gs pos="100000">
                      <a:srgbClr val="FEE848"/>
                    </a:gs>
                  </a:gsLst>
                  <a:lin ang="16200000" scaled="1"/>
                </a:gradFill>
                <a:effectLst>
                  <a:outerShdw blurRad="38100" dist="38100" dir="2700000" algn="tl">
                    <a:srgbClr val="000000">
                      <a:alpha val="43137"/>
                    </a:srgbClr>
                  </a:outerShdw>
                </a:effectLst>
                <a:latin typeface="+mj-lt"/>
                <a:ea typeface="微软雅黑" pitchFamily="34" charset="-122"/>
                <a:sym typeface="Arial"/>
              </a:endParaRPr>
            </a:p>
          </p:txBody>
        </p:sp>
        <p:sp>
          <p:nvSpPr>
            <p:cNvPr id="164" name="Shape 490"/>
            <p:cNvSpPr/>
            <p:nvPr/>
          </p:nvSpPr>
          <p:spPr>
            <a:xfrm>
              <a:off x="7327506" y="1489130"/>
              <a:ext cx="2186440" cy="241285"/>
            </a:xfrm>
            <a:prstGeom prst="rect">
              <a:avLst/>
            </a:prstGeom>
            <a:noFill/>
            <a:ln>
              <a:noFill/>
            </a:ln>
            <a:effectLst/>
            <a:extLst>
              <a:ext uri="{C572A759-6A51-4108-AA02-DFA0A04FC94B}">
                <ma14:wrappingTextBoxFlag xmlns:ma14="http://schemas.microsoft.com/office/mac/drawingml/2011/main" xmlns="" val="1"/>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120000"/>
                </a:lnSpc>
                <a:spcBef>
                  <a:spcPct val="20000"/>
                </a:spcBef>
              </a:pPr>
              <a:r>
                <a:rPr lang="zh-CN" altLang="en-US" sz="1400" b="1" dirty="0" smtClean="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rPr>
                <a:t>IoT Platform</a:t>
              </a:r>
              <a:endParaRPr lang="en-US" altLang="zh-CN" sz="1400" b="1" dirty="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endParaRPr>
            </a:p>
          </p:txBody>
        </p:sp>
        <p:sp>
          <p:nvSpPr>
            <p:cNvPr id="165" name="Shape 491"/>
            <p:cNvSpPr/>
            <p:nvPr/>
          </p:nvSpPr>
          <p:spPr>
            <a:xfrm>
              <a:off x="9808289" y="1464895"/>
              <a:ext cx="1545355" cy="289756"/>
            </a:xfrm>
            <a:prstGeom prst="rect">
              <a:avLst/>
            </a:prstGeom>
            <a:noFill/>
            <a:ln>
              <a:noFill/>
            </a:ln>
            <a:effectLst/>
            <a:extLst>
              <a:ext uri="{C572A759-6A51-4108-AA02-DFA0A04FC94B}">
                <ma14:wrappingTextBoxFlag xmlns:ma14="http://schemas.microsoft.com/office/mac/drawingml/2011/main" xmlns="" val="1"/>
              </a:ext>
            </a:extLst>
          </p:spPr>
          <p:style>
            <a:lnRef idx="2">
              <a:schemeClr val="accent1">
                <a:shade val="50000"/>
              </a:schemeClr>
            </a:lnRef>
            <a:fillRef idx="1">
              <a:schemeClr val="accent1"/>
            </a:fillRef>
            <a:effectRef idx="0">
              <a:schemeClr val="accent1"/>
            </a:effectRef>
            <a:fontRef idx="minor">
              <a:schemeClr val="lt1"/>
            </a:fontRef>
          </p:style>
          <p:txBody>
            <a:bodyPr wrap="none" lIns="121944" tIns="60972" rIns="121944" bIns="60972" rtlCol="0" anchor="ctr"/>
            <a:lstStyle/>
            <a:p>
              <a:pPr algn="ctr">
                <a:lnSpc>
                  <a:spcPct val="120000"/>
                </a:lnSpc>
                <a:spcBef>
                  <a:spcPct val="20000"/>
                </a:spcBef>
              </a:pPr>
              <a:r>
                <a:rPr lang="zh-CN" altLang="en-US" sz="1400" b="1" dirty="0" smtClean="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rPr>
                <a:t>Application</a:t>
              </a:r>
              <a:endParaRPr lang="zh-CN" altLang="en-US" sz="1400" b="1" dirty="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endParaRPr>
            </a:p>
          </p:txBody>
        </p:sp>
        <p:sp>
          <p:nvSpPr>
            <p:cNvPr id="166" name="Freeform 19"/>
            <p:cNvSpPr>
              <a:spLocks noEditPoints="1"/>
            </p:cNvSpPr>
            <p:nvPr/>
          </p:nvSpPr>
          <p:spPr bwMode="auto">
            <a:xfrm>
              <a:off x="3782702" y="2452739"/>
              <a:ext cx="708100" cy="681872"/>
            </a:xfrm>
            <a:custGeom>
              <a:avLst/>
              <a:gdLst/>
              <a:ahLst/>
              <a:cxnLst>
                <a:cxn ang="0">
                  <a:pos x="206" y="128"/>
                </a:cxn>
                <a:cxn ang="0">
                  <a:pos x="179" y="108"/>
                </a:cxn>
                <a:cxn ang="0">
                  <a:pos x="22" y="221"/>
                </a:cxn>
                <a:cxn ang="0">
                  <a:pos x="22" y="355"/>
                </a:cxn>
                <a:cxn ang="0">
                  <a:pos x="40" y="383"/>
                </a:cxn>
                <a:cxn ang="0">
                  <a:pos x="99" y="383"/>
                </a:cxn>
                <a:cxn ang="0">
                  <a:pos x="298" y="355"/>
                </a:cxn>
                <a:cxn ang="0">
                  <a:pos x="305" y="385"/>
                </a:cxn>
                <a:cxn ang="0">
                  <a:pos x="361" y="379"/>
                </a:cxn>
                <a:cxn ang="0">
                  <a:pos x="400" y="333"/>
                </a:cxn>
                <a:cxn ang="0">
                  <a:pos x="192" y="108"/>
                </a:cxn>
                <a:cxn ang="0">
                  <a:pos x="200" y="116"/>
                </a:cxn>
                <a:cxn ang="0">
                  <a:pos x="192" y="108"/>
                </a:cxn>
                <a:cxn ang="0">
                  <a:pos x="51" y="355"/>
                </a:cxn>
                <a:cxn ang="0">
                  <a:pos x="348" y="373"/>
                </a:cxn>
                <a:cxn ang="0">
                  <a:pos x="348" y="355"/>
                </a:cxn>
                <a:cxn ang="0">
                  <a:pos x="377" y="343"/>
                </a:cxn>
                <a:cxn ang="0">
                  <a:pos x="12" y="243"/>
                </a:cxn>
                <a:cxn ang="0">
                  <a:pos x="387" y="243"/>
                </a:cxn>
                <a:cxn ang="0">
                  <a:pos x="49" y="287"/>
                </a:cxn>
                <a:cxn ang="0">
                  <a:pos x="83" y="253"/>
                </a:cxn>
                <a:cxn ang="0">
                  <a:pos x="83" y="266"/>
                </a:cxn>
                <a:cxn ang="0">
                  <a:pos x="338" y="265"/>
                </a:cxn>
                <a:cxn ang="0">
                  <a:pos x="338" y="252"/>
                </a:cxn>
                <a:cxn ang="0">
                  <a:pos x="223" y="265"/>
                </a:cxn>
                <a:cxn ang="0">
                  <a:pos x="197" y="265"/>
                </a:cxn>
                <a:cxn ang="0">
                  <a:pos x="270" y="252"/>
                </a:cxn>
                <a:cxn ang="0">
                  <a:pos x="291" y="265"/>
                </a:cxn>
                <a:cxn ang="0">
                  <a:pos x="291" y="252"/>
                </a:cxn>
                <a:cxn ang="0">
                  <a:pos x="317" y="303"/>
                </a:cxn>
                <a:cxn ang="0">
                  <a:pos x="291" y="303"/>
                </a:cxn>
                <a:cxn ang="0">
                  <a:pos x="223" y="291"/>
                </a:cxn>
                <a:cxn ang="0">
                  <a:pos x="338" y="303"/>
                </a:cxn>
                <a:cxn ang="0">
                  <a:pos x="338" y="291"/>
                </a:cxn>
                <a:cxn ang="0">
                  <a:pos x="270" y="303"/>
                </a:cxn>
                <a:cxn ang="0">
                  <a:pos x="244" y="303"/>
                </a:cxn>
                <a:cxn ang="0">
                  <a:pos x="255" y="163"/>
                </a:cxn>
                <a:cxn ang="0">
                  <a:pos x="246" y="53"/>
                </a:cxn>
                <a:cxn ang="0">
                  <a:pos x="246" y="154"/>
                </a:cxn>
                <a:cxn ang="0">
                  <a:pos x="271" y="179"/>
                </a:cxn>
                <a:cxn ang="0">
                  <a:pos x="280" y="188"/>
                </a:cxn>
                <a:cxn ang="0">
                  <a:pos x="271" y="28"/>
                </a:cxn>
                <a:cxn ang="0">
                  <a:pos x="296" y="12"/>
                </a:cxn>
                <a:cxn ang="0">
                  <a:pos x="296" y="213"/>
                </a:cxn>
                <a:cxn ang="0">
                  <a:pos x="349" y="108"/>
                </a:cxn>
                <a:cxn ang="0">
                  <a:pos x="296" y="12"/>
                </a:cxn>
                <a:cxn ang="0">
                  <a:pos x="154" y="163"/>
                </a:cxn>
                <a:cxn ang="0">
                  <a:pos x="154" y="62"/>
                </a:cxn>
                <a:cxn ang="0">
                  <a:pos x="122" y="108"/>
                </a:cxn>
                <a:cxn ang="0">
                  <a:pos x="103" y="213"/>
                </a:cxn>
                <a:cxn ang="0">
                  <a:pos x="103" y="12"/>
                </a:cxn>
                <a:cxn ang="0">
                  <a:pos x="51" y="109"/>
                </a:cxn>
                <a:cxn ang="0">
                  <a:pos x="120" y="188"/>
                </a:cxn>
                <a:cxn ang="0">
                  <a:pos x="129" y="179"/>
                </a:cxn>
                <a:cxn ang="0">
                  <a:pos x="129" y="37"/>
                </a:cxn>
                <a:cxn ang="0">
                  <a:pos x="86" y="108"/>
                </a:cxn>
              </a:cxnLst>
              <a:rect l="0" t="0" r="r" b="b"/>
              <a:pathLst>
                <a:path w="400" h="385">
                  <a:moveTo>
                    <a:pt x="377" y="221"/>
                  </a:moveTo>
                  <a:cubicBezTo>
                    <a:pt x="206" y="221"/>
                    <a:pt x="206" y="221"/>
                    <a:pt x="206" y="221"/>
                  </a:cubicBezTo>
                  <a:cubicBezTo>
                    <a:pt x="206" y="128"/>
                    <a:pt x="206" y="128"/>
                    <a:pt x="206" y="128"/>
                  </a:cubicBezTo>
                  <a:cubicBezTo>
                    <a:pt x="215" y="125"/>
                    <a:pt x="221" y="117"/>
                    <a:pt x="221" y="108"/>
                  </a:cubicBezTo>
                  <a:cubicBezTo>
                    <a:pt x="221" y="96"/>
                    <a:pt x="211" y="87"/>
                    <a:pt x="200" y="87"/>
                  </a:cubicBezTo>
                  <a:cubicBezTo>
                    <a:pt x="189" y="87"/>
                    <a:pt x="179" y="96"/>
                    <a:pt x="179" y="108"/>
                  </a:cubicBezTo>
                  <a:cubicBezTo>
                    <a:pt x="179" y="117"/>
                    <a:pt x="185" y="125"/>
                    <a:pt x="194" y="128"/>
                  </a:cubicBezTo>
                  <a:cubicBezTo>
                    <a:pt x="194" y="221"/>
                    <a:pt x="194" y="221"/>
                    <a:pt x="194" y="221"/>
                  </a:cubicBezTo>
                  <a:cubicBezTo>
                    <a:pt x="22" y="221"/>
                    <a:pt x="22" y="221"/>
                    <a:pt x="22" y="221"/>
                  </a:cubicBezTo>
                  <a:cubicBezTo>
                    <a:pt x="10" y="221"/>
                    <a:pt x="0" y="231"/>
                    <a:pt x="0" y="243"/>
                  </a:cubicBezTo>
                  <a:cubicBezTo>
                    <a:pt x="0" y="333"/>
                    <a:pt x="0" y="333"/>
                    <a:pt x="0" y="333"/>
                  </a:cubicBezTo>
                  <a:cubicBezTo>
                    <a:pt x="0" y="345"/>
                    <a:pt x="10" y="355"/>
                    <a:pt x="22" y="355"/>
                  </a:cubicBezTo>
                  <a:cubicBezTo>
                    <a:pt x="38" y="355"/>
                    <a:pt x="38" y="355"/>
                    <a:pt x="38" y="355"/>
                  </a:cubicBezTo>
                  <a:cubicBezTo>
                    <a:pt x="38" y="379"/>
                    <a:pt x="38" y="379"/>
                    <a:pt x="38" y="379"/>
                  </a:cubicBezTo>
                  <a:cubicBezTo>
                    <a:pt x="38" y="381"/>
                    <a:pt x="39" y="382"/>
                    <a:pt x="40" y="383"/>
                  </a:cubicBezTo>
                  <a:cubicBezTo>
                    <a:pt x="41" y="385"/>
                    <a:pt x="43" y="385"/>
                    <a:pt x="44" y="385"/>
                  </a:cubicBezTo>
                  <a:cubicBezTo>
                    <a:pt x="95" y="385"/>
                    <a:pt x="95" y="385"/>
                    <a:pt x="95" y="385"/>
                  </a:cubicBezTo>
                  <a:cubicBezTo>
                    <a:pt x="96" y="385"/>
                    <a:pt x="98" y="385"/>
                    <a:pt x="99" y="383"/>
                  </a:cubicBezTo>
                  <a:cubicBezTo>
                    <a:pt x="100" y="382"/>
                    <a:pt x="101" y="381"/>
                    <a:pt x="101" y="379"/>
                  </a:cubicBezTo>
                  <a:cubicBezTo>
                    <a:pt x="101" y="355"/>
                    <a:pt x="101" y="355"/>
                    <a:pt x="101" y="355"/>
                  </a:cubicBezTo>
                  <a:cubicBezTo>
                    <a:pt x="298" y="355"/>
                    <a:pt x="298" y="355"/>
                    <a:pt x="298" y="355"/>
                  </a:cubicBezTo>
                  <a:cubicBezTo>
                    <a:pt x="298" y="379"/>
                    <a:pt x="298" y="379"/>
                    <a:pt x="298" y="379"/>
                  </a:cubicBezTo>
                  <a:cubicBezTo>
                    <a:pt x="298" y="381"/>
                    <a:pt x="299" y="382"/>
                    <a:pt x="300" y="383"/>
                  </a:cubicBezTo>
                  <a:cubicBezTo>
                    <a:pt x="301" y="385"/>
                    <a:pt x="303" y="385"/>
                    <a:pt x="305" y="385"/>
                  </a:cubicBezTo>
                  <a:cubicBezTo>
                    <a:pt x="355" y="385"/>
                    <a:pt x="355" y="385"/>
                    <a:pt x="355" y="385"/>
                  </a:cubicBezTo>
                  <a:cubicBezTo>
                    <a:pt x="356" y="385"/>
                    <a:pt x="358" y="385"/>
                    <a:pt x="359" y="383"/>
                  </a:cubicBezTo>
                  <a:cubicBezTo>
                    <a:pt x="360" y="382"/>
                    <a:pt x="361" y="381"/>
                    <a:pt x="361" y="379"/>
                  </a:cubicBezTo>
                  <a:cubicBezTo>
                    <a:pt x="361" y="355"/>
                    <a:pt x="361" y="355"/>
                    <a:pt x="361" y="355"/>
                  </a:cubicBezTo>
                  <a:cubicBezTo>
                    <a:pt x="377" y="355"/>
                    <a:pt x="377" y="355"/>
                    <a:pt x="377" y="355"/>
                  </a:cubicBezTo>
                  <a:cubicBezTo>
                    <a:pt x="390" y="355"/>
                    <a:pt x="400" y="345"/>
                    <a:pt x="400" y="333"/>
                  </a:cubicBezTo>
                  <a:cubicBezTo>
                    <a:pt x="400" y="243"/>
                    <a:pt x="400" y="243"/>
                    <a:pt x="400" y="243"/>
                  </a:cubicBezTo>
                  <a:cubicBezTo>
                    <a:pt x="400" y="231"/>
                    <a:pt x="390" y="221"/>
                    <a:pt x="377" y="221"/>
                  </a:cubicBezTo>
                  <a:close/>
                  <a:moveTo>
                    <a:pt x="192" y="108"/>
                  </a:moveTo>
                  <a:cubicBezTo>
                    <a:pt x="192" y="103"/>
                    <a:pt x="196" y="100"/>
                    <a:pt x="200" y="100"/>
                  </a:cubicBezTo>
                  <a:cubicBezTo>
                    <a:pt x="204" y="100"/>
                    <a:pt x="208" y="103"/>
                    <a:pt x="208" y="108"/>
                  </a:cubicBezTo>
                  <a:cubicBezTo>
                    <a:pt x="208" y="112"/>
                    <a:pt x="204" y="116"/>
                    <a:pt x="200" y="116"/>
                  </a:cubicBezTo>
                  <a:cubicBezTo>
                    <a:pt x="200" y="116"/>
                    <a:pt x="200" y="116"/>
                    <a:pt x="200" y="116"/>
                  </a:cubicBezTo>
                  <a:cubicBezTo>
                    <a:pt x="200" y="116"/>
                    <a:pt x="200" y="116"/>
                    <a:pt x="200" y="116"/>
                  </a:cubicBezTo>
                  <a:cubicBezTo>
                    <a:pt x="196" y="116"/>
                    <a:pt x="192" y="112"/>
                    <a:pt x="192" y="108"/>
                  </a:cubicBezTo>
                  <a:close/>
                  <a:moveTo>
                    <a:pt x="88" y="373"/>
                  </a:moveTo>
                  <a:cubicBezTo>
                    <a:pt x="51" y="373"/>
                    <a:pt x="51" y="373"/>
                    <a:pt x="51" y="373"/>
                  </a:cubicBezTo>
                  <a:cubicBezTo>
                    <a:pt x="51" y="355"/>
                    <a:pt x="51" y="355"/>
                    <a:pt x="51" y="355"/>
                  </a:cubicBezTo>
                  <a:cubicBezTo>
                    <a:pt x="88" y="355"/>
                    <a:pt x="88" y="355"/>
                    <a:pt x="88" y="355"/>
                  </a:cubicBezTo>
                  <a:lnTo>
                    <a:pt x="88" y="373"/>
                  </a:lnTo>
                  <a:close/>
                  <a:moveTo>
                    <a:pt x="348" y="373"/>
                  </a:moveTo>
                  <a:cubicBezTo>
                    <a:pt x="311" y="373"/>
                    <a:pt x="311" y="373"/>
                    <a:pt x="311" y="373"/>
                  </a:cubicBezTo>
                  <a:cubicBezTo>
                    <a:pt x="311" y="355"/>
                    <a:pt x="311" y="355"/>
                    <a:pt x="311" y="355"/>
                  </a:cubicBezTo>
                  <a:cubicBezTo>
                    <a:pt x="348" y="355"/>
                    <a:pt x="348" y="355"/>
                    <a:pt x="348" y="355"/>
                  </a:cubicBezTo>
                  <a:lnTo>
                    <a:pt x="348" y="373"/>
                  </a:lnTo>
                  <a:close/>
                  <a:moveTo>
                    <a:pt x="387" y="333"/>
                  </a:moveTo>
                  <a:cubicBezTo>
                    <a:pt x="387" y="338"/>
                    <a:pt x="383" y="343"/>
                    <a:pt x="377" y="343"/>
                  </a:cubicBezTo>
                  <a:cubicBezTo>
                    <a:pt x="22" y="343"/>
                    <a:pt x="22" y="343"/>
                    <a:pt x="22" y="343"/>
                  </a:cubicBezTo>
                  <a:cubicBezTo>
                    <a:pt x="17" y="343"/>
                    <a:pt x="12" y="338"/>
                    <a:pt x="12" y="333"/>
                  </a:cubicBezTo>
                  <a:cubicBezTo>
                    <a:pt x="12" y="243"/>
                    <a:pt x="12" y="243"/>
                    <a:pt x="12" y="243"/>
                  </a:cubicBezTo>
                  <a:cubicBezTo>
                    <a:pt x="12" y="238"/>
                    <a:pt x="17" y="233"/>
                    <a:pt x="22" y="233"/>
                  </a:cubicBezTo>
                  <a:cubicBezTo>
                    <a:pt x="377" y="233"/>
                    <a:pt x="377" y="233"/>
                    <a:pt x="377" y="233"/>
                  </a:cubicBezTo>
                  <a:cubicBezTo>
                    <a:pt x="383" y="233"/>
                    <a:pt x="387" y="238"/>
                    <a:pt x="387" y="243"/>
                  </a:cubicBezTo>
                  <a:lnTo>
                    <a:pt x="387" y="333"/>
                  </a:lnTo>
                  <a:close/>
                  <a:moveTo>
                    <a:pt x="83" y="253"/>
                  </a:moveTo>
                  <a:cubicBezTo>
                    <a:pt x="64" y="253"/>
                    <a:pt x="49" y="268"/>
                    <a:pt x="49" y="287"/>
                  </a:cubicBezTo>
                  <a:cubicBezTo>
                    <a:pt x="49" y="306"/>
                    <a:pt x="64" y="321"/>
                    <a:pt x="83" y="321"/>
                  </a:cubicBezTo>
                  <a:cubicBezTo>
                    <a:pt x="102" y="321"/>
                    <a:pt x="117" y="306"/>
                    <a:pt x="117" y="287"/>
                  </a:cubicBezTo>
                  <a:cubicBezTo>
                    <a:pt x="117" y="268"/>
                    <a:pt x="102" y="253"/>
                    <a:pt x="83" y="253"/>
                  </a:cubicBezTo>
                  <a:close/>
                  <a:moveTo>
                    <a:pt x="83" y="308"/>
                  </a:moveTo>
                  <a:cubicBezTo>
                    <a:pt x="71" y="308"/>
                    <a:pt x="62" y="299"/>
                    <a:pt x="62" y="287"/>
                  </a:cubicBezTo>
                  <a:cubicBezTo>
                    <a:pt x="62" y="275"/>
                    <a:pt x="71" y="266"/>
                    <a:pt x="83" y="266"/>
                  </a:cubicBezTo>
                  <a:cubicBezTo>
                    <a:pt x="95" y="266"/>
                    <a:pt x="104" y="275"/>
                    <a:pt x="104" y="287"/>
                  </a:cubicBezTo>
                  <a:cubicBezTo>
                    <a:pt x="104" y="299"/>
                    <a:pt x="95" y="308"/>
                    <a:pt x="83" y="308"/>
                  </a:cubicBezTo>
                  <a:close/>
                  <a:moveTo>
                    <a:pt x="338" y="265"/>
                  </a:moveTo>
                  <a:cubicBezTo>
                    <a:pt x="364" y="265"/>
                    <a:pt x="364" y="265"/>
                    <a:pt x="364" y="265"/>
                  </a:cubicBezTo>
                  <a:cubicBezTo>
                    <a:pt x="364" y="252"/>
                    <a:pt x="364" y="252"/>
                    <a:pt x="364" y="252"/>
                  </a:cubicBezTo>
                  <a:cubicBezTo>
                    <a:pt x="338" y="252"/>
                    <a:pt x="338" y="252"/>
                    <a:pt x="338" y="252"/>
                  </a:cubicBezTo>
                  <a:lnTo>
                    <a:pt x="338" y="265"/>
                  </a:lnTo>
                  <a:close/>
                  <a:moveTo>
                    <a:pt x="197" y="265"/>
                  </a:moveTo>
                  <a:cubicBezTo>
                    <a:pt x="223" y="265"/>
                    <a:pt x="223" y="265"/>
                    <a:pt x="223" y="265"/>
                  </a:cubicBezTo>
                  <a:cubicBezTo>
                    <a:pt x="223" y="252"/>
                    <a:pt x="223" y="252"/>
                    <a:pt x="223" y="252"/>
                  </a:cubicBezTo>
                  <a:cubicBezTo>
                    <a:pt x="197" y="252"/>
                    <a:pt x="197" y="252"/>
                    <a:pt x="197" y="252"/>
                  </a:cubicBezTo>
                  <a:lnTo>
                    <a:pt x="197" y="265"/>
                  </a:lnTo>
                  <a:close/>
                  <a:moveTo>
                    <a:pt x="244" y="265"/>
                  </a:moveTo>
                  <a:cubicBezTo>
                    <a:pt x="270" y="265"/>
                    <a:pt x="270" y="265"/>
                    <a:pt x="270" y="265"/>
                  </a:cubicBezTo>
                  <a:cubicBezTo>
                    <a:pt x="270" y="252"/>
                    <a:pt x="270" y="252"/>
                    <a:pt x="270" y="252"/>
                  </a:cubicBezTo>
                  <a:cubicBezTo>
                    <a:pt x="244" y="252"/>
                    <a:pt x="244" y="252"/>
                    <a:pt x="244" y="252"/>
                  </a:cubicBezTo>
                  <a:lnTo>
                    <a:pt x="244" y="265"/>
                  </a:lnTo>
                  <a:close/>
                  <a:moveTo>
                    <a:pt x="291" y="265"/>
                  </a:moveTo>
                  <a:cubicBezTo>
                    <a:pt x="317" y="265"/>
                    <a:pt x="317" y="265"/>
                    <a:pt x="317" y="265"/>
                  </a:cubicBezTo>
                  <a:cubicBezTo>
                    <a:pt x="317" y="252"/>
                    <a:pt x="317" y="252"/>
                    <a:pt x="317" y="252"/>
                  </a:cubicBezTo>
                  <a:cubicBezTo>
                    <a:pt x="291" y="252"/>
                    <a:pt x="291" y="252"/>
                    <a:pt x="291" y="252"/>
                  </a:cubicBezTo>
                  <a:lnTo>
                    <a:pt x="291" y="265"/>
                  </a:lnTo>
                  <a:close/>
                  <a:moveTo>
                    <a:pt x="291" y="303"/>
                  </a:moveTo>
                  <a:cubicBezTo>
                    <a:pt x="317" y="303"/>
                    <a:pt x="317" y="303"/>
                    <a:pt x="317" y="303"/>
                  </a:cubicBezTo>
                  <a:cubicBezTo>
                    <a:pt x="317" y="291"/>
                    <a:pt x="317" y="291"/>
                    <a:pt x="317" y="291"/>
                  </a:cubicBezTo>
                  <a:cubicBezTo>
                    <a:pt x="291" y="291"/>
                    <a:pt x="291" y="291"/>
                    <a:pt x="291" y="291"/>
                  </a:cubicBezTo>
                  <a:lnTo>
                    <a:pt x="291" y="303"/>
                  </a:lnTo>
                  <a:close/>
                  <a:moveTo>
                    <a:pt x="197" y="303"/>
                  </a:moveTo>
                  <a:cubicBezTo>
                    <a:pt x="223" y="303"/>
                    <a:pt x="223" y="303"/>
                    <a:pt x="223" y="303"/>
                  </a:cubicBezTo>
                  <a:cubicBezTo>
                    <a:pt x="223" y="291"/>
                    <a:pt x="223" y="291"/>
                    <a:pt x="223" y="291"/>
                  </a:cubicBezTo>
                  <a:cubicBezTo>
                    <a:pt x="197" y="291"/>
                    <a:pt x="197" y="291"/>
                    <a:pt x="197" y="291"/>
                  </a:cubicBezTo>
                  <a:lnTo>
                    <a:pt x="197" y="303"/>
                  </a:lnTo>
                  <a:close/>
                  <a:moveTo>
                    <a:pt x="338" y="303"/>
                  </a:moveTo>
                  <a:cubicBezTo>
                    <a:pt x="364" y="303"/>
                    <a:pt x="364" y="303"/>
                    <a:pt x="364" y="303"/>
                  </a:cubicBezTo>
                  <a:cubicBezTo>
                    <a:pt x="364" y="291"/>
                    <a:pt x="364" y="291"/>
                    <a:pt x="364" y="291"/>
                  </a:cubicBezTo>
                  <a:cubicBezTo>
                    <a:pt x="338" y="291"/>
                    <a:pt x="338" y="291"/>
                    <a:pt x="338" y="291"/>
                  </a:cubicBezTo>
                  <a:lnTo>
                    <a:pt x="338" y="303"/>
                  </a:lnTo>
                  <a:close/>
                  <a:moveTo>
                    <a:pt x="244" y="303"/>
                  </a:moveTo>
                  <a:cubicBezTo>
                    <a:pt x="270" y="303"/>
                    <a:pt x="270" y="303"/>
                    <a:pt x="270" y="303"/>
                  </a:cubicBezTo>
                  <a:cubicBezTo>
                    <a:pt x="270" y="291"/>
                    <a:pt x="270" y="291"/>
                    <a:pt x="270" y="291"/>
                  </a:cubicBezTo>
                  <a:cubicBezTo>
                    <a:pt x="244" y="291"/>
                    <a:pt x="244" y="291"/>
                    <a:pt x="244" y="291"/>
                  </a:cubicBezTo>
                  <a:lnTo>
                    <a:pt x="244" y="303"/>
                  </a:lnTo>
                  <a:close/>
                  <a:moveTo>
                    <a:pt x="246" y="163"/>
                  </a:moveTo>
                  <a:cubicBezTo>
                    <a:pt x="247" y="164"/>
                    <a:pt x="249" y="165"/>
                    <a:pt x="250" y="165"/>
                  </a:cubicBezTo>
                  <a:cubicBezTo>
                    <a:pt x="252" y="165"/>
                    <a:pt x="254" y="164"/>
                    <a:pt x="255" y="163"/>
                  </a:cubicBezTo>
                  <a:cubicBezTo>
                    <a:pt x="270" y="148"/>
                    <a:pt x="278" y="128"/>
                    <a:pt x="278" y="108"/>
                  </a:cubicBezTo>
                  <a:cubicBezTo>
                    <a:pt x="278" y="88"/>
                    <a:pt x="270" y="68"/>
                    <a:pt x="255" y="53"/>
                  </a:cubicBezTo>
                  <a:cubicBezTo>
                    <a:pt x="252" y="51"/>
                    <a:pt x="248" y="51"/>
                    <a:pt x="246" y="53"/>
                  </a:cubicBezTo>
                  <a:cubicBezTo>
                    <a:pt x="244" y="56"/>
                    <a:pt x="244" y="60"/>
                    <a:pt x="246" y="62"/>
                  </a:cubicBezTo>
                  <a:cubicBezTo>
                    <a:pt x="259" y="75"/>
                    <a:pt x="265" y="91"/>
                    <a:pt x="265" y="108"/>
                  </a:cubicBezTo>
                  <a:cubicBezTo>
                    <a:pt x="265" y="125"/>
                    <a:pt x="259" y="141"/>
                    <a:pt x="246" y="154"/>
                  </a:cubicBezTo>
                  <a:cubicBezTo>
                    <a:pt x="244" y="156"/>
                    <a:pt x="244" y="160"/>
                    <a:pt x="246" y="163"/>
                  </a:cubicBezTo>
                  <a:close/>
                  <a:moveTo>
                    <a:pt x="301" y="108"/>
                  </a:moveTo>
                  <a:cubicBezTo>
                    <a:pt x="301" y="134"/>
                    <a:pt x="291" y="159"/>
                    <a:pt x="271" y="179"/>
                  </a:cubicBezTo>
                  <a:cubicBezTo>
                    <a:pt x="269" y="181"/>
                    <a:pt x="269" y="185"/>
                    <a:pt x="271" y="188"/>
                  </a:cubicBezTo>
                  <a:cubicBezTo>
                    <a:pt x="272" y="189"/>
                    <a:pt x="274" y="190"/>
                    <a:pt x="276" y="190"/>
                  </a:cubicBezTo>
                  <a:cubicBezTo>
                    <a:pt x="277" y="190"/>
                    <a:pt x="279" y="189"/>
                    <a:pt x="280" y="188"/>
                  </a:cubicBezTo>
                  <a:cubicBezTo>
                    <a:pt x="302" y="166"/>
                    <a:pt x="313" y="137"/>
                    <a:pt x="313" y="108"/>
                  </a:cubicBezTo>
                  <a:cubicBezTo>
                    <a:pt x="313" y="79"/>
                    <a:pt x="302" y="50"/>
                    <a:pt x="280" y="28"/>
                  </a:cubicBezTo>
                  <a:cubicBezTo>
                    <a:pt x="278" y="25"/>
                    <a:pt x="274" y="25"/>
                    <a:pt x="271" y="28"/>
                  </a:cubicBezTo>
                  <a:cubicBezTo>
                    <a:pt x="269" y="30"/>
                    <a:pt x="269" y="34"/>
                    <a:pt x="271" y="37"/>
                  </a:cubicBezTo>
                  <a:cubicBezTo>
                    <a:pt x="291" y="56"/>
                    <a:pt x="301" y="82"/>
                    <a:pt x="301" y="108"/>
                  </a:cubicBezTo>
                  <a:close/>
                  <a:moveTo>
                    <a:pt x="296" y="12"/>
                  </a:moveTo>
                  <a:cubicBezTo>
                    <a:pt x="323" y="38"/>
                    <a:pt x="336" y="73"/>
                    <a:pt x="336" y="108"/>
                  </a:cubicBezTo>
                  <a:cubicBezTo>
                    <a:pt x="336" y="143"/>
                    <a:pt x="323" y="178"/>
                    <a:pt x="296" y="204"/>
                  </a:cubicBezTo>
                  <a:cubicBezTo>
                    <a:pt x="294" y="207"/>
                    <a:pt x="294" y="211"/>
                    <a:pt x="296" y="213"/>
                  </a:cubicBezTo>
                  <a:cubicBezTo>
                    <a:pt x="298" y="214"/>
                    <a:pt x="299" y="215"/>
                    <a:pt x="301" y="215"/>
                  </a:cubicBezTo>
                  <a:cubicBezTo>
                    <a:pt x="303" y="215"/>
                    <a:pt x="304" y="214"/>
                    <a:pt x="305" y="213"/>
                  </a:cubicBezTo>
                  <a:cubicBezTo>
                    <a:pt x="335" y="184"/>
                    <a:pt x="349" y="146"/>
                    <a:pt x="349" y="108"/>
                  </a:cubicBezTo>
                  <a:cubicBezTo>
                    <a:pt x="349" y="70"/>
                    <a:pt x="335" y="32"/>
                    <a:pt x="305" y="3"/>
                  </a:cubicBezTo>
                  <a:cubicBezTo>
                    <a:pt x="303" y="0"/>
                    <a:pt x="299" y="0"/>
                    <a:pt x="296" y="3"/>
                  </a:cubicBezTo>
                  <a:cubicBezTo>
                    <a:pt x="294" y="5"/>
                    <a:pt x="294" y="9"/>
                    <a:pt x="296" y="12"/>
                  </a:cubicBezTo>
                  <a:close/>
                  <a:moveTo>
                    <a:pt x="145" y="163"/>
                  </a:moveTo>
                  <a:cubicBezTo>
                    <a:pt x="146" y="164"/>
                    <a:pt x="148" y="165"/>
                    <a:pt x="149" y="165"/>
                  </a:cubicBezTo>
                  <a:cubicBezTo>
                    <a:pt x="151" y="165"/>
                    <a:pt x="153" y="164"/>
                    <a:pt x="154" y="163"/>
                  </a:cubicBezTo>
                  <a:cubicBezTo>
                    <a:pt x="156" y="160"/>
                    <a:pt x="156" y="156"/>
                    <a:pt x="154" y="154"/>
                  </a:cubicBezTo>
                  <a:cubicBezTo>
                    <a:pt x="141" y="141"/>
                    <a:pt x="135" y="125"/>
                    <a:pt x="135" y="108"/>
                  </a:cubicBezTo>
                  <a:cubicBezTo>
                    <a:pt x="135" y="92"/>
                    <a:pt x="141" y="75"/>
                    <a:pt x="154" y="62"/>
                  </a:cubicBezTo>
                  <a:cubicBezTo>
                    <a:pt x="156" y="60"/>
                    <a:pt x="156" y="56"/>
                    <a:pt x="154" y="53"/>
                  </a:cubicBezTo>
                  <a:cubicBezTo>
                    <a:pt x="151" y="51"/>
                    <a:pt x="147" y="51"/>
                    <a:pt x="145" y="53"/>
                  </a:cubicBezTo>
                  <a:cubicBezTo>
                    <a:pt x="130" y="68"/>
                    <a:pt x="122" y="88"/>
                    <a:pt x="122" y="108"/>
                  </a:cubicBezTo>
                  <a:cubicBezTo>
                    <a:pt x="122" y="128"/>
                    <a:pt x="130" y="148"/>
                    <a:pt x="145" y="163"/>
                  </a:cubicBezTo>
                  <a:close/>
                  <a:moveTo>
                    <a:pt x="99" y="215"/>
                  </a:moveTo>
                  <a:cubicBezTo>
                    <a:pt x="101" y="215"/>
                    <a:pt x="102" y="214"/>
                    <a:pt x="103" y="213"/>
                  </a:cubicBezTo>
                  <a:cubicBezTo>
                    <a:pt x="106" y="211"/>
                    <a:pt x="106" y="207"/>
                    <a:pt x="103" y="204"/>
                  </a:cubicBezTo>
                  <a:cubicBezTo>
                    <a:pt x="77" y="178"/>
                    <a:pt x="63" y="143"/>
                    <a:pt x="63" y="109"/>
                  </a:cubicBezTo>
                  <a:cubicBezTo>
                    <a:pt x="64" y="73"/>
                    <a:pt x="77" y="38"/>
                    <a:pt x="103" y="12"/>
                  </a:cubicBezTo>
                  <a:cubicBezTo>
                    <a:pt x="106" y="9"/>
                    <a:pt x="106" y="5"/>
                    <a:pt x="103" y="3"/>
                  </a:cubicBezTo>
                  <a:cubicBezTo>
                    <a:pt x="101" y="0"/>
                    <a:pt x="97" y="0"/>
                    <a:pt x="94" y="3"/>
                  </a:cubicBezTo>
                  <a:cubicBezTo>
                    <a:pt x="65" y="32"/>
                    <a:pt x="51" y="70"/>
                    <a:pt x="51" y="109"/>
                  </a:cubicBezTo>
                  <a:cubicBezTo>
                    <a:pt x="51" y="146"/>
                    <a:pt x="66" y="184"/>
                    <a:pt x="94" y="213"/>
                  </a:cubicBezTo>
                  <a:cubicBezTo>
                    <a:pt x="96" y="214"/>
                    <a:pt x="97" y="215"/>
                    <a:pt x="99" y="215"/>
                  </a:cubicBezTo>
                  <a:close/>
                  <a:moveTo>
                    <a:pt x="120" y="188"/>
                  </a:moveTo>
                  <a:cubicBezTo>
                    <a:pt x="121" y="189"/>
                    <a:pt x="123" y="190"/>
                    <a:pt x="124" y="190"/>
                  </a:cubicBezTo>
                  <a:cubicBezTo>
                    <a:pt x="126" y="190"/>
                    <a:pt x="127" y="189"/>
                    <a:pt x="129" y="188"/>
                  </a:cubicBezTo>
                  <a:cubicBezTo>
                    <a:pt x="131" y="185"/>
                    <a:pt x="131" y="181"/>
                    <a:pt x="129" y="179"/>
                  </a:cubicBezTo>
                  <a:cubicBezTo>
                    <a:pt x="129" y="179"/>
                    <a:pt x="129" y="179"/>
                    <a:pt x="129" y="179"/>
                  </a:cubicBezTo>
                  <a:cubicBezTo>
                    <a:pt x="109" y="159"/>
                    <a:pt x="99" y="134"/>
                    <a:pt x="99" y="108"/>
                  </a:cubicBezTo>
                  <a:cubicBezTo>
                    <a:pt x="99" y="82"/>
                    <a:pt x="109" y="56"/>
                    <a:pt x="129" y="37"/>
                  </a:cubicBezTo>
                  <a:cubicBezTo>
                    <a:pt x="131" y="34"/>
                    <a:pt x="131" y="30"/>
                    <a:pt x="129" y="28"/>
                  </a:cubicBezTo>
                  <a:cubicBezTo>
                    <a:pt x="126" y="25"/>
                    <a:pt x="122" y="25"/>
                    <a:pt x="120" y="28"/>
                  </a:cubicBezTo>
                  <a:cubicBezTo>
                    <a:pt x="98" y="50"/>
                    <a:pt x="86" y="79"/>
                    <a:pt x="86" y="108"/>
                  </a:cubicBezTo>
                  <a:cubicBezTo>
                    <a:pt x="86" y="137"/>
                    <a:pt x="98" y="166"/>
                    <a:pt x="120" y="188"/>
                  </a:cubicBez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pic>
          <p:nvPicPr>
            <p:cNvPr id="167" name="Picture 2" descr="http://zt.cqxhw.net/2013/zrbg/attachement/jpg/site81/20130221/002421a6b83212903e8303.jpg"/>
            <p:cNvPicPr>
              <a:picLocks noChangeArrowheads="1"/>
            </p:cNvPicPr>
            <p:nvPr/>
          </p:nvPicPr>
          <p:blipFill>
            <a:blip r:embed="rId10" cstate="screen"/>
            <a:stretch>
              <a:fillRect/>
            </a:stretch>
          </p:blipFill>
          <p:spPr bwMode="auto">
            <a:xfrm>
              <a:off x="9876211" y="2091262"/>
              <a:ext cx="1404829" cy="1404828"/>
            </a:xfrm>
            <a:prstGeom prst="ellipse">
              <a:avLst/>
            </a:prstGeom>
            <a:noFill/>
            <a:ln>
              <a:noFill/>
            </a:ln>
            <a:effectLst/>
          </p:spPr>
        </p:pic>
        <p:cxnSp>
          <p:nvCxnSpPr>
            <p:cNvPr id="168" name="直接连接符 167"/>
            <p:cNvCxnSpPr/>
            <p:nvPr/>
          </p:nvCxnSpPr>
          <p:spPr>
            <a:xfrm flipH="1" flipV="1">
              <a:off x="4797498" y="2793676"/>
              <a:ext cx="576000" cy="0"/>
            </a:xfrm>
            <a:prstGeom prst="line">
              <a:avLst/>
            </a:pr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169" name="直接连接符 168"/>
            <p:cNvCxnSpPr/>
            <p:nvPr/>
          </p:nvCxnSpPr>
          <p:spPr>
            <a:xfrm flipH="1">
              <a:off x="9225914" y="2797274"/>
              <a:ext cx="648000" cy="0"/>
            </a:xfrm>
            <a:prstGeom prst="line">
              <a:avLst/>
            </a:pr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170" name="组合 169"/>
            <p:cNvGrpSpPr>
              <a:grpSpLocks noChangeAspect="1"/>
            </p:cNvGrpSpPr>
            <p:nvPr/>
          </p:nvGrpSpPr>
          <p:grpSpPr>
            <a:xfrm>
              <a:off x="7641738" y="2172795"/>
              <a:ext cx="1548000" cy="982136"/>
              <a:chOff x="7347290" y="2350541"/>
              <a:chExt cx="1666257" cy="1057164"/>
            </a:xfrm>
          </p:grpSpPr>
          <p:grpSp>
            <p:nvGrpSpPr>
              <p:cNvPr id="233" name="组合 215"/>
              <p:cNvGrpSpPr/>
              <p:nvPr/>
            </p:nvGrpSpPr>
            <p:grpSpPr>
              <a:xfrm>
                <a:off x="7806326" y="2731450"/>
                <a:ext cx="688257" cy="583164"/>
                <a:chOff x="9168293" y="1841354"/>
                <a:chExt cx="767581" cy="650376"/>
              </a:xfrm>
              <a:solidFill>
                <a:srgbClr val="77D4F9"/>
              </a:solidFill>
            </p:grpSpPr>
            <p:grpSp>
              <p:nvGrpSpPr>
                <p:cNvPr id="238" name="组合 216"/>
                <p:cNvGrpSpPr/>
                <p:nvPr/>
              </p:nvGrpSpPr>
              <p:grpSpPr>
                <a:xfrm>
                  <a:off x="9168293" y="1841354"/>
                  <a:ext cx="371341" cy="650376"/>
                  <a:chOff x="12966700" y="4162425"/>
                  <a:chExt cx="555625" cy="973138"/>
                </a:xfrm>
                <a:grpFill/>
              </p:grpSpPr>
              <p:sp>
                <p:nvSpPr>
                  <p:cNvPr id="360" name="Freeform 837"/>
                  <p:cNvSpPr>
                    <a:spLocks noEditPoints="1"/>
                  </p:cNvSpPr>
                  <p:nvPr/>
                </p:nvSpPr>
                <p:spPr bwMode="auto">
                  <a:xfrm>
                    <a:off x="12966700" y="4162425"/>
                    <a:ext cx="555625" cy="973138"/>
                  </a:xfrm>
                  <a:custGeom>
                    <a:avLst/>
                    <a:gdLst/>
                    <a:ahLst/>
                    <a:cxnLst>
                      <a:cxn ang="0">
                        <a:pos x="350" y="29"/>
                      </a:cxn>
                      <a:cxn ang="0">
                        <a:pos x="329" y="603"/>
                      </a:cxn>
                      <a:cxn ang="0">
                        <a:pos x="53" y="465"/>
                      </a:cxn>
                      <a:cxn ang="0">
                        <a:pos x="298" y="470"/>
                      </a:cxn>
                      <a:cxn ang="0">
                        <a:pos x="288" y="514"/>
                      </a:cxn>
                      <a:cxn ang="0">
                        <a:pos x="66" y="458"/>
                      </a:cxn>
                      <a:cxn ang="0">
                        <a:pos x="61" y="514"/>
                      </a:cxn>
                      <a:cxn ang="0">
                        <a:pos x="240" y="501"/>
                      </a:cxn>
                      <a:cxn ang="0">
                        <a:pos x="268" y="489"/>
                      </a:cxn>
                      <a:cxn ang="0">
                        <a:pos x="250" y="498"/>
                      </a:cxn>
                      <a:cxn ang="0">
                        <a:pos x="260" y="489"/>
                      </a:cxn>
                      <a:cxn ang="0">
                        <a:pos x="245" y="481"/>
                      </a:cxn>
                      <a:cxn ang="0">
                        <a:pos x="240" y="493"/>
                      </a:cxn>
                      <a:cxn ang="0">
                        <a:pos x="63" y="433"/>
                      </a:cxn>
                      <a:cxn ang="0">
                        <a:pos x="298" y="379"/>
                      </a:cxn>
                      <a:cxn ang="0">
                        <a:pos x="290" y="427"/>
                      </a:cxn>
                      <a:cxn ang="0">
                        <a:pos x="291" y="371"/>
                      </a:cxn>
                      <a:cxn ang="0">
                        <a:pos x="63" y="368"/>
                      </a:cxn>
                      <a:cxn ang="0">
                        <a:pos x="61" y="422"/>
                      </a:cxn>
                      <a:cxn ang="0">
                        <a:pos x="237" y="402"/>
                      </a:cxn>
                      <a:cxn ang="0">
                        <a:pos x="263" y="394"/>
                      </a:cxn>
                      <a:cxn ang="0">
                        <a:pos x="253" y="406"/>
                      </a:cxn>
                      <a:cxn ang="0">
                        <a:pos x="258" y="394"/>
                      </a:cxn>
                      <a:cxn ang="0">
                        <a:pos x="245" y="391"/>
                      </a:cxn>
                      <a:cxn ang="0">
                        <a:pos x="245" y="402"/>
                      </a:cxn>
                      <a:cxn ang="0">
                        <a:pos x="63" y="337"/>
                      </a:cxn>
                      <a:cxn ang="0">
                        <a:pos x="288" y="271"/>
                      </a:cxn>
                      <a:cxn ang="0">
                        <a:pos x="283" y="333"/>
                      </a:cxn>
                      <a:cxn ang="0">
                        <a:pos x="288" y="282"/>
                      </a:cxn>
                      <a:cxn ang="0">
                        <a:pos x="66" y="279"/>
                      </a:cxn>
                      <a:cxn ang="0">
                        <a:pos x="56" y="330"/>
                      </a:cxn>
                      <a:cxn ang="0">
                        <a:pos x="240" y="317"/>
                      </a:cxn>
                      <a:cxn ang="0">
                        <a:pos x="265" y="297"/>
                      </a:cxn>
                      <a:cxn ang="0">
                        <a:pos x="253" y="314"/>
                      </a:cxn>
                      <a:cxn ang="0">
                        <a:pos x="263" y="304"/>
                      </a:cxn>
                      <a:cxn ang="0">
                        <a:pos x="250" y="299"/>
                      </a:cxn>
                      <a:cxn ang="0">
                        <a:pos x="244" y="305"/>
                      </a:cxn>
                      <a:cxn ang="0">
                        <a:pos x="250" y="317"/>
                      </a:cxn>
                      <a:cxn ang="0">
                        <a:pos x="69" y="177"/>
                      </a:cxn>
                      <a:cxn ang="0">
                        <a:pos x="285" y="246"/>
                      </a:cxn>
                      <a:cxn ang="0">
                        <a:pos x="288" y="194"/>
                      </a:cxn>
                      <a:cxn ang="0">
                        <a:pos x="280" y="185"/>
                      </a:cxn>
                      <a:cxn ang="0">
                        <a:pos x="61" y="192"/>
                      </a:cxn>
                      <a:cxn ang="0">
                        <a:pos x="66" y="246"/>
                      </a:cxn>
                      <a:cxn ang="0">
                        <a:pos x="245" y="200"/>
                      </a:cxn>
                      <a:cxn ang="0">
                        <a:pos x="267" y="222"/>
                      </a:cxn>
                      <a:cxn ang="0">
                        <a:pos x="260" y="215"/>
                      </a:cxn>
                      <a:cxn ang="0">
                        <a:pos x="252" y="202"/>
                      </a:cxn>
                      <a:cxn ang="0">
                        <a:pos x="245" y="215"/>
                      </a:cxn>
                      <a:cxn ang="0">
                        <a:pos x="63" y="153"/>
                      </a:cxn>
                      <a:cxn ang="0">
                        <a:pos x="298" y="102"/>
                      </a:cxn>
                      <a:cxn ang="0">
                        <a:pos x="281" y="149"/>
                      </a:cxn>
                      <a:cxn ang="0">
                        <a:pos x="288" y="98"/>
                      </a:cxn>
                      <a:cxn ang="0">
                        <a:pos x="66" y="90"/>
                      </a:cxn>
                      <a:cxn ang="0">
                        <a:pos x="56" y="144"/>
                      </a:cxn>
                      <a:cxn ang="0">
                        <a:pos x="244" y="131"/>
                      </a:cxn>
                      <a:cxn ang="0">
                        <a:pos x="267" y="116"/>
                      </a:cxn>
                      <a:cxn ang="0">
                        <a:pos x="253" y="134"/>
                      </a:cxn>
                      <a:cxn ang="0">
                        <a:pos x="258" y="120"/>
                      </a:cxn>
                      <a:cxn ang="0">
                        <a:pos x="245" y="113"/>
                      </a:cxn>
                      <a:cxn ang="0">
                        <a:pos x="247" y="126"/>
                      </a:cxn>
                    </a:cxnLst>
                    <a:rect l="0" t="0" r="r" b="b"/>
                    <a:pathLst>
                      <a:path w="350" h="613">
                        <a:moveTo>
                          <a:pt x="319" y="613"/>
                        </a:moveTo>
                        <a:lnTo>
                          <a:pt x="25" y="613"/>
                        </a:lnTo>
                        <a:lnTo>
                          <a:pt x="17" y="611"/>
                        </a:lnTo>
                        <a:lnTo>
                          <a:pt x="10" y="606"/>
                        </a:lnTo>
                        <a:lnTo>
                          <a:pt x="5" y="599"/>
                        </a:lnTo>
                        <a:lnTo>
                          <a:pt x="2" y="593"/>
                        </a:lnTo>
                        <a:lnTo>
                          <a:pt x="0" y="588"/>
                        </a:lnTo>
                        <a:lnTo>
                          <a:pt x="0" y="583"/>
                        </a:lnTo>
                        <a:lnTo>
                          <a:pt x="0" y="28"/>
                        </a:lnTo>
                        <a:lnTo>
                          <a:pt x="0" y="21"/>
                        </a:lnTo>
                        <a:lnTo>
                          <a:pt x="4" y="15"/>
                        </a:lnTo>
                        <a:lnTo>
                          <a:pt x="9" y="8"/>
                        </a:lnTo>
                        <a:lnTo>
                          <a:pt x="15" y="3"/>
                        </a:lnTo>
                        <a:lnTo>
                          <a:pt x="25" y="0"/>
                        </a:lnTo>
                        <a:lnTo>
                          <a:pt x="30" y="0"/>
                        </a:lnTo>
                        <a:lnTo>
                          <a:pt x="319" y="0"/>
                        </a:lnTo>
                        <a:lnTo>
                          <a:pt x="324" y="0"/>
                        </a:lnTo>
                        <a:lnTo>
                          <a:pt x="332" y="1"/>
                        </a:lnTo>
                        <a:lnTo>
                          <a:pt x="339" y="6"/>
                        </a:lnTo>
                        <a:lnTo>
                          <a:pt x="344" y="13"/>
                        </a:lnTo>
                        <a:lnTo>
                          <a:pt x="347" y="19"/>
                        </a:lnTo>
                        <a:lnTo>
                          <a:pt x="349" y="24"/>
                        </a:lnTo>
                        <a:lnTo>
                          <a:pt x="350" y="29"/>
                        </a:lnTo>
                        <a:lnTo>
                          <a:pt x="350" y="585"/>
                        </a:lnTo>
                        <a:lnTo>
                          <a:pt x="349" y="591"/>
                        </a:lnTo>
                        <a:lnTo>
                          <a:pt x="345" y="598"/>
                        </a:lnTo>
                        <a:lnTo>
                          <a:pt x="341" y="604"/>
                        </a:lnTo>
                        <a:lnTo>
                          <a:pt x="334" y="609"/>
                        </a:lnTo>
                        <a:lnTo>
                          <a:pt x="327" y="613"/>
                        </a:lnTo>
                        <a:lnTo>
                          <a:pt x="321" y="613"/>
                        </a:lnTo>
                        <a:lnTo>
                          <a:pt x="319" y="613"/>
                        </a:lnTo>
                        <a:close/>
                        <a:moveTo>
                          <a:pt x="319" y="8"/>
                        </a:moveTo>
                        <a:lnTo>
                          <a:pt x="27" y="8"/>
                        </a:lnTo>
                        <a:lnTo>
                          <a:pt x="20" y="11"/>
                        </a:lnTo>
                        <a:lnTo>
                          <a:pt x="14" y="15"/>
                        </a:lnTo>
                        <a:lnTo>
                          <a:pt x="10" y="21"/>
                        </a:lnTo>
                        <a:lnTo>
                          <a:pt x="9" y="26"/>
                        </a:lnTo>
                        <a:lnTo>
                          <a:pt x="9" y="29"/>
                        </a:lnTo>
                        <a:lnTo>
                          <a:pt x="9" y="585"/>
                        </a:lnTo>
                        <a:lnTo>
                          <a:pt x="10" y="591"/>
                        </a:lnTo>
                        <a:lnTo>
                          <a:pt x="14" y="596"/>
                        </a:lnTo>
                        <a:lnTo>
                          <a:pt x="18" y="601"/>
                        </a:lnTo>
                        <a:lnTo>
                          <a:pt x="25" y="604"/>
                        </a:lnTo>
                        <a:lnTo>
                          <a:pt x="32" y="604"/>
                        </a:lnTo>
                        <a:lnTo>
                          <a:pt x="322" y="604"/>
                        </a:lnTo>
                        <a:lnTo>
                          <a:pt x="329" y="603"/>
                        </a:lnTo>
                        <a:lnTo>
                          <a:pt x="336" y="598"/>
                        </a:lnTo>
                        <a:lnTo>
                          <a:pt x="339" y="591"/>
                        </a:lnTo>
                        <a:lnTo>
                          <a:pt x="341" y="585"/>
                        </a:lnTo>
                        <a:lnTo>
                          <a:pt x="341" y="583"/>
                        </a:lnTo>
                        <a:lnTo>
                          <a:pt x="341" y="29"/>
                        </a:lnTo>
                        <a:lnTo>
                          <a:pt x="339" y="21"/>
                        </a:lnTo>
                        <a:lnTo>
                          <a:pt x="336" y="16"/>
                        </a:lnTo>
                        <a:lnTo>
                          <a:pt x="331" y="11"/>
                        </a:lnTo>
                        <a:lnTo>
                          <a:pt x="324" y="8"/>
                        </a:lnTo>
                        <a:lnTo>
                          <a:pt x="319" y="8"/>
                        </a:lnTo>
                        <a:close/>
                        <a:moveTo>
                          <a:pt x="69" y="527"/>
                        </a:moveTo>
                        <a:lnTo>
                          <a:pt x="61" y="525"/>
                        </a:lnTo>
                        <a:lnTo>
                          <a:pt x="63" y="522"/>
                        </a:lnTo>
                        <a:lnTo>
                          <a:pt x="61" y="525"/>
                        </a:lnTo>
                        <a:lnTo>
                          <a:pt x="56" y="522"/>
                        </a:lnTo>
                        <a:lnTo>
                          <a:pt x="60" y="519"/>
                        </a:lnTo>
                        <a:lnTo>
                          <a:pt x="56" y="522"/>
                        </a:lnTo>
                        <a:lnTo>
                          <a:pt x="53" y="516"/>
                        </a:lnTo>
                        <a:lnTo>
                          <a:pt x="53" y="511"/>
                        </a:lnTo>
                        <a:lnTo>
                          <a:pt x="53" y="471"/>
                        </a:lnTo>
                        <a:lnTo>
                          <a:pt x="53" y="466"/>
                        </a:lnTo>
                        <a:lnTo>
                          <a:pt x="58" y="466"/>
                        </a:lnTo>
                        <a:lnTo>
                          <a:pt x="53" y="465"/>
                        </a:lnTo>
                        <a:lnTo>
                          <a:pt x="55" y="463"/>
                        </a:lnTo>
                        <a:lnTo>
                          <a:pt x="58" y="465"/>
                        </a:lnTo>
                        <a:lnTo>
                          <a:pt x="55" y="461"/>
                        </a:lnTo>
                        <a:lnTo>
                          <a:pt x="60" y="456"/>
                        </a:lnTo>
                        <a:lnTo>
                          <a:pt x="63" y="455"/>
                        </a:lnTo>
                        <a:lnTo>
                          <a:pt x="64" y="460"/>
                        </a:lnTo>
                        <a:lnTo>
                          <a:pt x="64" y="455"/>
                        </a:lnTo>
                        <a:lnTo>
                          <a:pt x="64" y="455"/>
                        </a:lnTo>
                        <a:lnTo>
                          <a:pt x="66" y="458"/>
                        </a:lnTo>
                        <a:lnTo>
                          <a:pt x="66" y="455"/>
                        </a:lnTo>
                        <a:lnTo>
                          <a:pt x="69" y="455"/>
                        </a:lnTo>
                        <a:lnTo>
                          <a:pt x="285" y="455"/>
                        </a:lnTo>
                        <a:lnTo>
                          <a:pt x="288" y="456"/>
                        </a:lnTo>
                        <a:lnTo>
                          <a:pt x="286" y="460"/>
                        </a:lnTo>
                        <a:lnTo>
                          <a:pt x="290" y="456"/>
                        </a:lnTo>
                        <a:lnTo>
                          <a:pt x="288" y="460"/>
                        </a:lnTo>
                        <a:lnTo>
                          <a:pt x="290" y="456"/>
                        </a:lnTo>
                        <a:lnTo>
                          <a:pt x="295" y="461"/>
                        </a:lnTo>
                        <a:lnTo>
                          <a:pt x="291" y="465"/>
                        </a:lnTo>
                        <a:lnTo>
                          <a:pt x="295" y="463"/>
                        </a:lnTo>
                        <a:lnTo>
                          <a:pt x="291" y="465"/>
                        </a:lnTo>
                        <a:lnTo>
                          <a:pt x="296" y="463"/>
                        </a:lnTo>
                        <a:lnTo>
                          <a:pt x="298" y="470"/>
                        </a:lnTo>
                        <a:lnTo>
                          <a:pt x="298" y="471"/>
                        </a:lnTo>
                        <a:lnTo>
                          <a:pt x="296" y="517"/>
                        </a:lnTo>
                        <a:lnTo>
                          <a:pt x="293" y="522"/>
                        </a:lnTo>
                        <a:lnTo>
                          <a:pt x="290" y="519"/>
                        </a:lnTo>
                        <a:lnTo>
                          <a:pt x="293" y="522"/>
                        </a:lnTo>
                        <a:lnTo>
                          <a:pt x="288" y="525"/>
                        </a:lnTo>
                        <a:lnTo>
                          <a:pt x="280" y="527"/>
                        </a:lnTo>
                        <a:lnTo>
                          <a:pt x="69" y="527"/>
                        </a:lnTo>
                        <a:close/>
                        <a:moveTo>
                          <a:pt x="281" y="519"/>
                        </a:moveTo>
                        <a:lnTo>
                          <a:pt x="283" y="524"/>
                        </a:lnTo>
                        <a:lnTo>
                          <a:pt x="283" y="519"/>
                        </a:lnTo>
                        <a:lnTo>
                          <a:pt x="285" y="522"/>
                        </a:lnTo>
                        <a:lnTo>
                          <a:pt x="283" y="519"/>
                        </a:lnTo>
                        <a:lnTo>
                          <a:pt x="286" y="522"/>
                        </a:lnTo>
                        <a:lnTo>
                          <a:pt x="285" y="519"/>
                        </a:lnTo>
                        <a:lnTo>
                          <a:pt x="285" y="517"/>
                        </a:lnTo>
                        <a:lnTo>
                          <a:pt x="290" y="521"/>
                        </a:lnTo>
                        <a:lnTo>
                          <a:pt x="286" y="517"/>
                        </a:lnTo>
                        <a:lnTo>
                          <a:pt x="286" y="516"/>
                        </a:lnTo>
                        <a:lnTo>
                          <a:pt x="291" y="519"/>
                        </a:lnTo>
                        <a:lnTo>
                          <a:pt x="288" y="516"/>
                        </a:lnTo>
                        <a:lnTo>
                          <a:pt x="291" y="517"/>
                        </a:lnTo>
                        <a:lnTo>
                          <a:pt x="288" y="514"/>
                        </a:lnTo>
                        <a:lnTo>
                          <a:pt x="291" y="516"/>
                        </a:lnTo>
                        <a:lnTo>
                          <a:pt x="288" y="514"/>
                        </a:lnTo>
                        <a:lnTo>
                          <a:pt x="290" y="511"/>
                        </a:lnTo>
                        <a:lnTo>
                          <a:pt x="288" y="470"/>
                        </a:lnTo>
                        <a:lnTo>
                          <a:pt x="293" y="468"/>
                        </a:lnTo>
                        <a:lnTo>
                          <a:pt x="288" y="468"/>
                        </a:lnTo>
                        <a:lnTo>
                          <a:pt x="293" y="466"/>
                        </a:lnTo>
                        <a:lnTo>
                          <a:pt x="288" y="468"/>
                        </a:lnTo>
                        <a:lnTo>
                          <a:pt x="288" y="466"/>
                        </a:lnTo>
                        <a:lnTo>
                          <a:pt x="291" y="463"/>
                        </a:lnTo>
                        <a:lnTo>
                          <a:pt x="286" y="466"/>
                        </a:lnTo>
                        <a:lnTo>
                          <a:pt x="290" y="461"/>
                        </a:lnTo>
                        <a:lnTo>
                          <a:pt x="286" y="465"/>
                        </a:lnTo>
                        <a:lnTo>
                          <a:pt x="285" y="463"/>
                        </a:lnTo>
                        <a:lnTo>
                          <a:pt x="285" y="460"/>
                        </a:lnTo>
                        <a:lnTo>
                          <a:pt x="283" y="463"/>
                        </a:lnTo>
                        <a:lnTo>
                          <a:pt x="285" y="458"/>
                        </a:lnTo>
                        <a:lnTo>
                          <a:pt x="283" y="463"/>
                        </a:lnTo>
                        <a:lnTo>
                          <a:pt x="283" y="458"/>
                        </a:lnTo>
                        <a:lnTo>
                          <a:pt x="281" y="463"/>
                        </a:lnTo>
                        <a:lnTo>
                          <a:pt x="280" y="463"/>
                        </a:lnTo>
                        <a:lnTo>
                          <a:pt x="68" y="463"/>
                        </a:lnTo>
                        <a:lnTo>
                          <a:pt x="66" y="458"/>
                        </a:lnTo>
                        <a:lnTo>
                          <a:pt x="68" y="463"/>
                        </a:lnTo>
                        <a:lnTo>
                          <a:pt x="66" y="463"/>
                        </a:lnTo>
                        <a:lnTo>
                          <a:pt x="64" y="460"/>
                        </a:lnTo>
                        <a:lnTo>
                          <a:pt x="64" y="463"/>
                        </a:lnTo>
                        <a:lnTo>
                          <a:pt x="64" y="465"/>
                        </a:lnTo>
                        <a:lnTo>
                          <a:pt x="60" y="461"/>
                        </a:lnTo>
                        <a:lnTo>
                          <a:pt x="63" y="465"/>
                        </a:lnTo>
                        <a:lnTo>
                          <a:pt x="60" y="463"/>
                        </a:lnTo>
                        <a:lnTo>
                          <a:pt x="63" y="466"/>
                        </a:lnTo>
                        <a:lnTo>
                          <a:pt x="58" y="465"/>
                        </a:lnTo>
                        <a:lnTo>
                          <a:pt x="63" y="466"/>
                        </a:lnTo>
                        <a:lnTo>
                          <a:pt x="61" y="466"/>
                        </a:lnTo>
                        <a:lnTo>
                          <a:pt x="58" y="466"/>
                        </a:lnTo>
                        <a:lnTo>
                          <a:pt x="61" y="468"/>
                        </a:lnTo>
                        <a:lnTo>
                          <a:pt x="56" y="468"/>
                        </a:lnTo>
                        <a:lnTo>
                          <a:pt x="61" y="468"/>
                        </a:lnTo>
                        <a:lnTo>
                          <a:pt x="56" y="468"/>
                        </a:lnTo>
                        <a:lnTo>
                          <a:pt x="61" y="470"/>
                        </a:lnTo>
                        <a:lnTo>
                          <a:pt x="61" y="471"/>
                        </a:lnTo>
                        <a:lnTo>
                          <a:pt x="61" y="511"/>
                        </a:lnTo>
                        <a:lnTo>
                          <a:pt x="61" y="514"/>
                        </a:lnTo>
                        <a:lnTo>
                          <a:pt x="58" y="516"/>
                        </a:lnTo>
                        <a:lnTo>
                          <a:pt x="61" y="514"/>
                        </a:lnTo>
                        <a:lnTo>
                          <a:pt x="58" y="517"/>
                        </a:lnTo>
                        <a:lnTo>
                          <a:pt x="61" y="516"/>
                        </a:lnTo>
                        <a:lnTo>
                          <a:pt x="60" y="519"/>
                        </a:lnTo>
                        <a:lnTo>
                          <a:pt x="63" y="516"/>
                        </a:lnTo>
                        <a:lnTo>
                          <a:pt x="63" y="517"/>
                        </a:lnTo>
                        <a:lnTo>
                          <a:pt x="61" y="521"/>
                        </a:lnTo>
                        <a:lnTo>
                          <a:pt x="64" y="517"/>
                        </a:lnTo>
                        <a:lnTo>
                          <a:pt x="66" y="519"/>
                        </a:lnTo>
                        <a:lnTo>
                          <a:pt x="66" y="522"/>
                        </a:lnTo>
                        <a:lnTo>
                          <a:pt x="66" y="519"/>
                        </a:lnTo>
                        <a:lnTo>
                          <a:pt x="68" y="519"/>
                        </a:lnTo>
                        <a:lnTo>
                          <a:pt x="66" y="524"/>
                        </a:lnTo>
                        <a:lnTo>
                          <a:pt x="68" y="519"/>
                        </a:lnTo>
                        <a:lnTo>
                          <a:pt x="69" y="519"/>
                        </a:lnTo>
                        <a:lnTo>
                          <a:pt x="281" y="519"/>
                        </a:lnTo>
                        <a:close/>
                        <a:moveTo>
                          <a:pt x="253" y="507"/>
                        </a:moveTo>
                        <a:lnTo>
                          <a:pt x="247" y="506"/>
                        </a:lnTo>
                        <a:lnTo>
                          <a:pt x="249" y="501"/>
                        </a:lnTo>
                        <a:lnTo>
                          <a:pt x="245" y="506"/>
                        </a:lnTo>
                        <a:lnTo>
                          <a:pt x="245" y="504"/>
                        </a:lnTo>
                        <a:lnTo>
                          <a:pt x="247" y="501"/>
                        </a:lnTo>
                        <a:lnTo>
                          <a:pt x="244" y="504"/>
                        </a:lnTo>
                        <a:lnTo>
                          <a:pt x="240" y="501"/>
                        </a:lnTo>
                        <a:lnTo>
                          <a:pt x="244" y="498"/>
                        </a:lnTo>
                        <a:lnTo>
                          <a:pt x="239" y="499"/>
                        </a:lnTo>
                        <a:lnTo>
                          <a:pt x="237" y="498"/>
                        </a:lnTo>
                        <a:lnTo>
                          <a:pt x="237" y="491"/>
                        </a:lnTo>
                        <a:lnTo>
                          <a:pt x="237" y="488"/>
                        </a:lnTo>
                        <a:lnTo>
                          <a:pt x="242" y="488"/>
                        </a:lnTo>
                        <a:lnTo>
                          <a:pt x="237" y="486"/>
                        </a:lnTo>
                        <a:lnTo>
                          <a:pt x="240" y="481"/>
                        </a:lnTo>
                        <a:lnTo>
                          <a:pt x="247" y="476"/>
                        </a:lnTo>
                        <a:lnTo>
                          <a:pt x="250" y="475"/>
                        </a:lnTo>
                        <a:lnTo>
                          <a:pt x="252" y="479"/>
                        </a:lnTo>
                        <a:lnTo>
                          <a:pt x="252" y="475"/>
                        </a:lnTo>
                        <a:lnTo>
                          <a:pt x="253" y="475"/>
                        </a:lnTo>
                        <a:lnTo>
                          <a:pt x="253" y="479"/>
                        </a:lnTo>
                        <a:lnTo>
                          <a:pt x="255" y="475"/>
                        </a:lnTo>
                        <a:lnTo>
                          <a:pt x="260" y="476"/>
                        </a:lnTo>
                        <a:lnTo>
                          <a:pt x="265" y="481"/>
                        </a:lnTo>
                        <a:lnTo>
                          <a:pt x="262" y="484"/>
                        </a:lnTo>
                        <a:lnTo>
                          <a:pt x="265" y="481"/>
                        </a:lnTo>
                        <a:lnTo>
                          <a:pt x="267" y="484"/>
                        </a:lnTo>
                        <a:lnTo>
                          <a:pt x="263" y="488"/>
                        </a:lnTo>
                        <a:lnTo>
                          <a:pt x="268" y="486"/>
                        </a:lnTo>
                        <a:lnTo>
                          <a:pt x="268" y="489"/>
                        </a:lnTo>
                        <a:lnTo>
                          <a:pt x="263" y="491"/>
                        </a:lnTo>
                        <a:lnTo>
                          <a:pt x="268" y="491"/>
                        </a:lnTo>
                        <a:lnTo>
                          <a:pt x="268" y="493"/>
                        </a:lnTo>
                        <a:lnTo>
                          <a:pt x="263" y="493"/>
                        </a:lnTo>
                        <a:lnTo>
                          <a:pt x="268" y="494"/>
                        </a:lnTo>
                        <a:lnTo>
                          <a:pt x="267" y="498"/>
                        </a:lnTo>
                        <a:lnTo>
                          <a:pt x="263" y="496"/>
                        </a:lnTo>
                        <a:lnTo>
                          <a:pt x="267" y="498"/>
                        </a:lnTo>
                        <a:lnTo>
                          <a:pt x="265" y="501"/>
                        </a:lnTo>
                        <a:lnTo>
                          <a:pt x="262" y="498"/>
                        </a:lnTo>
                        <a:lnTo>
                          <a:pt x="265" y="501"/>
                        </a:lnTo>
                        <a:lnTo>
                          <a:pt x="263" y="502"/>
                        </a:lnTo>
                        <a:lnTo>
                          <a:pt x="260" y="499"/>
                        </a:lnTo>
                        <a:lnTo>
                          <a:pt x="263" y="502"/>
                        </a:lnTo>
                        <a:lnTo>
                          <a:pt x="262" y="502"/>
                        </a:lnTo>
                        <a:lnTo>
                          <a:pt x="260" y="501"/>
                        </a:lnTo>
                        <a:lnTo>
                          <a:pt x="262" y="504"/>
                        </a:lnTo>
                        <a:lnTo>
                          <a:pt x="258" y="506"/>
                        </a:lnTo>
                        <a:lnTo>
                          <a:pt x="257" y="501"/>
                        </a:lnTo>
                        <a:lnTo>
                          <a:pt x="258" y="506"/>
                        </a:lnTo>
                        <a:lnTo>
                          <a:pt x="253" y="507"/>
                        </a:lnTo>
                        <a:close/>
                        <a:moveTo>
                          <a:pt x="250" y="498"/>
                        </a:moveTo>
                        <a:lnTo>
                          <a:pt x="250" y="498"/>
                        </a:lnTo>
                        <a:lnTo>
                          <a:pt x="250" y="502"/>
                        </a:lnTo>
                        <a:lnTo>
                          <a:pt x="252" y="498"/>
                        </a:lnTo>
                        <a:lnTo>
                          <a:pt x="253" y="498"/>
                        </a:lnTo>
                        <a:lnTo>
                          <a:pt x="255" y="502"/>
                        </a:lnTo>
                        <a:lnTo>
                          <a:pt x="255" y="498"/>
                        </a:lnTo>
                        <a:lnTo>
                          <a:pt x="257" y="501"/>
                        </a:lnTo>
                        <a:lnTo>
                          <a:pt x="255" y="498"/>
                        </a:lnTo>
                        <a:lnTo>
                          <a:pt x="257" y="496"/>
                        </a:lnTo>
                        <a:lnTo>
                          <a:pt x="260" y="501"/>
                        </a:lnTo>
                        <a:lnTo>
                          <a:pt x="258" y="499"/>
                        </a:lnTo>
                        <a:lnTo>
                          <a:pt x="257" y="496"/>
                        </a:lnTo>
                        <a:lnTo>
                          <a:pt x="258" y="496"/>
                        </a:lnTo>
                        <a:lnTo>
                          <a:pt x="260" y="499"/>
                        </a:lnTo>
                        <a:lnTo>
                          <a:pt x="258" y="496"/>
                        </a:lnTo>
                        <a:lnTo>
                          <a:pt x="260" y="493"/>
                        </a:lnTo>
                        <a:lnTo>
                          <a:pt x="262" y="494"/>
                        </a:lnTo>
                        <a:lnTo>
                          <a:pt x="263" y="494"/>
                        </a:lnTo>
                        <a:lnTo>
                          <a:pt x="260" y="493"/>
                        </a:lnTo>
                        <a:lnTo>
                          <a:pt x="260" y="491"/>
                        </a:lnTo>
                        <a:lnTo>
                          <a:pt x="263" y="489"/>
                        </a:lnTo>
                        <a:lnTo>
                          <a:pt x="260" y="489"/>
                        </a:lnTo>
                        <a:lnTo>
                          <a:pt x="263" y="489"/>
                        </a:lnTo>
                        <a:lnTo>
                          <a:pt x="260" y="489"/>
                        </a:lnTo>
                        <a:lnTo>
                          <a:pt x="258" y="486"/>
                        </a:lnTo>
                        <a:lnTo>
                          <a:pt x="262" y="483"/>
                        </a:lnTo>
                        <a:lnTo>
                          <a:pt x="258" y="486"/>
                        </a:lnTo>
                        <a:lnTo>
                          <a:pt x="257" y="484"/>
                        </a:lnTo>
                        <a:lnTo>
                          <a:pt x="258" y="481"/>
                        </a:lnTo>
                        <a:lnTo>
                          <a:pt x="257" y="484"/>
                        </a:lnTo>
                        <a:lnTo>
                          <a:pt x="258" y="481"/>
                        </a:lnTo>
                        <a:lnTo>
                          <a:pt x="255" y="484"/>
                        </a:lnTo>
                        <a:lnTo>
                          <a:pt x="257" y="481"/>
                        </a:lnTo>
                        <a:lnTo>
                          <a:pt x="255" y="484"/>
                        </a:lnTo>
                        <a:lnTo>
                          <a:pt x="255" y="479"/>
                        </a:lnTo>
                        <a:lnTo>
                          <a:pt x="253" y="484"/>
                        </a:lnTo>
                        <a:lnTo>
                          <a:pt x="252" y="484"/>
                        </a:lnTo>
                        <a:lnTo>
                          <a:pt x="252" y="479"/>
                        </a:lnTo>
                        <a:lnTo>
                          <a:pt x="252" y="484"/>
                        </a:lnTo>
                        <a:lnTo>
                          <a:pt x="250" y="484"/>
                        </a:lnTo>
                        <a:lnTo>
                          <a:pt x="250" y="479"/>
                        </a:lnTo>
                        <a:lnTo>
                          <a:pt x="250" y="484"/>
                        </a:lnTo>
                        <a:lnTo>
                          <a:pt x="249" y="481"/>
                        </a:lnTo>
                        <a:lnTo>
                          <a:pt x="250" y="484"/>
                        </a:lnTo>
                        <a:lnTo>
                          <a:pt x="247" y="481"/>
                        </a:lnTo>
                        <a:lnTo>
                          <a:pt x="249" y="484"/>
                        </a:lnTo>
                        <a:lnTo>
                          <a:pt x="245" y="481"/>
                        </a:lnTo>
                        <a:lnTo>
                          <a:pt x="247" y="483"/>
                        </a:lnTo>
                        <a:lnTo>
                          <a:pt x="249" y="484"/>
                        </a:lnTo>
                        <a:lnTo>
                          <a:pt x="249" y="486"/>
                        </a:lnTo>
                        <a:lnTo>
                          <a:pt x="245" y="483"/>
                        </a:lnTo>
                        <a:lnTo>
                          <a:pt x="247" y="486"/>
                        </a:lnTo>
                        <a:lnTo>
                          <a:pt x="244" y="483"/>
                        </a:lnTo>
                        <a:lnTo>
                          <a:pt x="247" y="486"/>
                        </a:lnTo>
                        <a:lnTo>
                          <a:pt x="244" y="484"/>
                        </a:lnTo>
                        <a:lnTo>
                          <a:pt x="247" y="488"/>
                        </a:lnTo>
                        <a:lnTo>
                          <a:pt x="242" y="486"/>
                        </a:lnTo>
                        <a:lnTo>
                          <a:pt x="245" y="488"/>
                        </a:lnTo>
                        <a:lnTo>
                          <a:pt x="245" y="489"/>
                        </a:lnTo>
                        <a:lnTo>
                          <a:pt x="242" y="488"/>
                        </a:lnTo>
                        <a:lnTo>
                          <a:pt x="244" y="489"/>
                        </a:lnTo>
                        <a:lnTo>
                          <a:pt x="245" y="489"/>
                        </a:lnTo>
                        <a:lnTo>
                          <a:pt x="244" y="489"/>
                        </a:lnTo>
                        <a:lnTo>
                          <a:pt x="245" y="489"/>
                        </a:lnTo>
                        <a:lnTo>
                          <a:pt x="244" y="489"/>
                        </a:lnTo>
                        <a:lnTo>
                          <a:pt x="240" y="489"/>
                        </a:lnTo>
                        <a:lnTo>
                          <a:pt x="245" y="491"/>
                        </a:lnTo>
                        <a:lnTo>
                          <a:pt x="240" y="491"/>
                        </a:lnTo>
                        <a:lnTo>
                          <a:pt x="245" y="491"/>
                        </a:lnTo>
                        <a:lnTo>
                          <a:pt x="240" y="493"/>
                        </a:lnTo>
                        <a:lnTo>
                          <a:pt x="245" y="493"/>
                        </a:lnTo>
                        <a:lnTo>
                          <a:pt x="245" y="493"/>
                        </a:lnTo>
                        <a:lnTo>
                          <a:pt x="242" y="494"/>
                        </a:lnTo>
                        <a:lnTo>
                          <a:pt x="245" y="494"/>
                        </a:lnTo>
                        <a:lnTo>
                          <a:pt x="242" y="496"/>
                        </a:lnTo>
                        <a:lnTo>
                          <a:pt x="247" y="494"/>
                        </a:lnTo>
                        <a:lnTo>
                          <a:pt x="244" y="498"/>
                        </a:lnTo>
                        <a:lnTo>
                          <a:pt x="247" y="496"/>
                        </a:lnTo>
                        <a:lnTo>
                          <a:pt x="244" y="498"/>
                        </a:lnTo>
                        <a:lnTo>
                          <a:pt x="247" y="496"/>
                        </a:lnTo>
                        <a:lnTo>
                          <a:pt x="249" y="496"/>
                        </a:lnTo>
                        <a:lnTo>
                          <a:pt x="245" y="501"/>
                        </a:lnTo>
                        <a:lnTo>
                          <a:pt x="249" y="498"/>
                        </a:lnTo>
                        <a:lnTo>
                          <a:pt x="249" y="498"/>
                        </a:lnTo>
                        <a:lnTo>
                          <a:pt x="249" y="498"/>
                        </a:lnTo>
                        <a:lnTo>
                          <a:pt x="250" y="498"/>
                        </a:lnTo>
                        <a:lnTo>
                          <a:pt x="249" y="499"/>
                        </a:lnTo>
                        <a:lnTo>
                          <a:pt x="247" y="501"/>
                        </a:lnTo>
                        <a:lnTo>
                          <a:pt x="250" y="498"/>
                        </a:lnTo>
                        <a:close/>
                        <a:moveTo>
                          <a:pt x="69" y="435"/>
                        </a:moveTo>
                        <a:lnTo>
                          <a:pt x="63" y="435"/>
                        </a:lnTo>
                        <a:lnTo>
                          <a:pt x="64" y="430"/>
                        </a:lnTo>
                        <a:lnTo>
                          <a:pt x="63" y="433"/>
                        </a:lnTo>
                        <a:lnTo>
                          <a:pt x="61" y="433"/>
                        </a:lnTo>
                        <a:lnTo>
                          <a:pt x="63" y="430"/>
                        </a:lnTo>
                        <a:lnTo>
                          <a:pt x="61" y="433"/>
                        </a:lnTo>
                        <a:lnTo>
                          <a:pt x="60" y="432"/>
                        </a:lnTo>
                        <a:lnTo>
                          <a:pt x="61" y="429"/>
                        </a:lnTo>
                        <a:lnTo>
                          <a:pt x="58" y="432"/>
                        </a:lnTo>
                        <a:lnTo>
                          <a:pt x="53" y="424"/>
                        </a:lnTo>
                        <a:lnTo>
                          <a:pt x="53" y="419"/>
                        </a:lnTo>
                        <a:lnTo>
                          <a:pt x="53" y="373"/>
                        </a:lnTo>
                        <a:lnTo>
                          <a:pt x="56" y="368"/>
                        </a:lnTo>
                        <a:lnTo>
                          <a:pt x="60" y="369"/>
                        </a:lnTo>
                        <a:lnTo>
                          <a:pt x="58" y="366"/>
                        </a:lnTo>
                        <a:lnTo>
                          <a:pt x="66" y="363"/>
                        </a:lnTo>
                        <a:lnTo>
                          <a:pt x="69" y="361"/>
                        </a:lnTo>
                        <a:lnTo>
                          <a:pt x="285" y="363"/>
                        </a:lnTo>
                        <a:lnTo>
                          <a:pt x="290" y="364"/>
                        </a:lnTo>
                        <a:lnTo>
                          <a:pt x="288" y="368"/>
                        </a:lnTo>
                        <a:lnTo>
                          <a:pt x="290" y="364"/>
                        </a:lnTo>
                        <a:lnTo>
                          <a:pt x="291" y="366"/>
                        </a:lnTo>
                        <a:lnTo>
                          <a:pt x="290" y="369"/>
                        </a:lnTo>
                        <a:lnTo>
                          <a:pt x="293" y="368"/>
                        </a:lnTo>
                        <a:lnTo>
                          <a:pt x="296" y="371"/>
                        </a:lnTo>
                        <a:lnTo>
                          <a:pt x="298" y="379"/>
                        </a:lnTo>
                        <a:lnTo>
                          <a:pt x="296" y="425"/>
                        </a:lnTo>
                        <a:lnTo>
                          <a:pt x="291" y="432"/>
                        </a:lnTo>
                        <a:lnTo>
                          <a:pt x="288" y="429"/>
                        </a:lnTo>
                        <a:lnTo>
                          <a:pt x="291" y="432"/>
                        </a:lnTo>
                        <a:lnTo>
                          <a:pt x="290" y="433"/>
                        </a:lnTo>
                        <a:lnTo>
                          <a:pt x="286" y="430"/>
                        </a:lnTo>
                        <a:lnTo>
                          <a:pt x="288" y="433"/>
                        </a:lnTo>
                        <a:lnTo>
                          <a:pt x="285" y="430"/>
                        </a:lnTo>
                        <a:lnTo>
                          <a:pt x="286" y="433"/>
                        </a:lnTo>
                        <a:lnTo>
                          <a:pt x="283" y="435"/>
                        </a:lnTo>
                        <a:lnTo>
                          <a:pt x="280" y="435"/>
                        </a:lnTo>
                        <a:lnTo>
                          <a:pt x="69" y="435"/>
                        </a:lnTo>
                        <a:close/>
                        <a:moveTo>
                          <a:pt x="68" y="427"/>
                        </a:moveTo>
                        <a:lnTo>
                          <a:pt x="68" y="432"/>
                        </a:lnTo>
                        <a:lnTo>
                          <a:pt x="68" y="427"/>
                        </a:lnTo>
                        <a:lnTo>
                          <a:pt x="69" y="427"/>
                        </a:lnTo>
                        <a:lnTo>
                          <a:pt x="281" y="427"/>
                        </a:lnTo>
                        <a:lnTo>
                          <a:pt x="283" y="430"/>
                        </a:lnTo>
                        <a:lnTo>
                          <a:pt x="283" y="427"/>
                        </a:lnTo>
                        <a:lnTo>
                          <a:pt x="285" y="430"/>
                        </a:lnTo>
                        <a:lnTo>
                          <a:pt x="283" y="427"/>
                        </a:lnTo>
                        <a:lnTo>
                          <a:pt x="286" y="425"/>
                        </a:lnTo>
                        <a:lnTo>
                          <a:pt x="290" y="427"/>
                        </a:lnTo>
                        <a:lnTo>
                          <a:pt x="286" y="424"/>
                        </a:lnTo>
                        <a:lnTo>
                          <a:pt x="290" y="427"/>
                        </a:lnTo>
                        <a:lnTo>
                          <a:pt x="288" y="424"/>
                        </a:lnTo>
                        <a:lnTo>
                          <a:pt x="291" y="425"/>
                        </a:lnTo>
                        <a:lnTo>
                          <a:pt x="288" y="422"/>
                        </a:lnTo>
                        <a:lnTo>
                          <a:pt x="291" y="425"/>
                        </a:lnTo>
                        <a:lnTo>
                          <a:pt x="288" y="422"/>
                        </a:lnTo>
                        <a:lnTo>
                          <a:pt x="291" y="424"/>
                        </a:lnTo>
                        <a:lnTo>
                          <a:pt x="288" y="422"/>
                        </a:lnTo>
                        <a:lnTo>
                          <a:pt x="293" y="422"/>
                        </a:lnTo>
                        <a:lnTo>
                          <a:pt x="288" y="420"/>
                        </a:lnTo>
                        <a:lnTo>
                          <a:pt x="293" y="420"/>
                        </a:lnTo>
                        <a:lnTo>
                          <a:pt x="288" y="420"/>
                        </a:lnTo>
                        <a:lnTo>
                          <a:pt x="290" y="419"/>
                        </a:lnTo>
                        <a:lnTo>
                          <a:pt x="288" y="378"/>
                        </a:lnTo>
                        <a:lnTo>
                          <a:pt x="293" y="376"/>
                        </a:lnTo>
                        <a:lnTo>
                          <a:pt x="288" y="376"/>
                        </a:lnTo>
                        <a:lnTo>
                          <a:pt x="293" y="374"/>
                        </a:lnTo>
                        <a:lnTo>
                          <a:pt x="288" y="376"/>
                        </a:lnTo>
                        <a:lnTo>
                          <a:pt x="291" y="374"/>
                        </a:lnTo>
                        <a:lnTo>
                          <a:pt x="288" y="374"/>
                        </a:lnTo>
                        <a:lnTo>
                          <a:pt x="288" y="374"/>
                        </a:lnTo>
                        <a:lnTo>
                          <a:pt x="291" y="371"/>
                        </a:lnTo>
                        <a:lnTo>
                          <a:pt x="286" y="373"/>
                        </a:lnTo>
                        <a:lnTo>
                          <a:pt x="286" y="373"/>
                        </a:lnTo>
                        <a:lnTo>
                          <a:pt x="288" y="369"/>
                        </a:lnTo>
                        <a:lnTo>
                          <a:pt x="286" y="373"/>
                        </a:lnTo>
                        <a:lnTo>
                          <a:pt x="285" y="371"/>
                        </a:lnTo>
                        <a:lnTo>
                          <a:pt x="286" y="368"/>
                        </a:lnTo>
                        <a:lnTo>
                          <a:pt x="285" y="371"/>
                        </a:lnTo>
                        <a:lnTo>
                          <a:pt x="285" y="368"/>
                        </a:lnTo>
                        <a:lnTo>
                          <a:pt x="283" y="371"/>
                        </a:lnTo>
                        <a:lnTo>
                          <a:pt x="285" y="366"/>
                        </a:lnTo>
                        <a:lnTo>
                          <a:pt x="283" y="371"/>
                        </a:lnTo>
                        <a:lnTo>
                          <a:pt x="283" y="366"/>
                        </a:lnTo>
                        <a:lnTo>
                          <a:pt x="281" y="371"/>
                        </a:lnTo>
                        <a:lnTo>
                          <a:pt x="280" y="371"/>
                        </a:lnTo>
                        <a:lnTo>
                          <a:pt x="68" y="371"/>
                        </a:lnTo>
                        <a:lnTo>
                          <a:pt x="66" y="366"/>
                        </a:lnTo>
                        <a:lnTo>
                          <a:pt x="68" y="371"/>
                        </a:lnTo>
                        <a:lnTo>
                          <a:pt x="66" y="371"/>
                        </a:lnTo>
                        <a:lnTo>
                          <a:pt x="64" y="368"/>
                        </a:lnTo>
                        <a:lnTo>
                          <a:pt x="66" y="371"/>
                        </a:lnTo>
                        <a:lnTo>
                          <a:pt x="63" y="368"/>
                        </a:lnTo>
                        <a:lnTo>
                          <a:pt x="64" y="371"/>
                        </a:lnTo>
                        <a:lnTo>
                          <a:pt x="63" y="368"/>
                        </a:lnTo>
                        <a:lnTo>
                          <a:pt x="64" y="373"/>
                        </a:lnTo>
                        <a:lnTo>
                          <a:pt x="61" y="369"/>
                        </a:lnTo>
                        <a:lnTo>
                          <a:pt x="63" y="373"/>
                        </a:lnTo>
                        <a:lnTo>
                          <a:pt x="63" y="373"/>
                        </a:lnTo>
                        <a:lnTo>
                          <a:pt x="60" y="371"/>
                        </a:lnTo>
                        <a:lnTo>
                          <a:pt x="63" y="374"/>
                        </a:lnTo>
                        <a:lnTo>
                          <a:pt x="58" y="371"/>
                        </a:lnTo>
                        <a:lnTo>
                          <a:pt x="61" y="374"/>
                        </a:lnTo>
                        <a:lnTo>
                          <a:pt x="58" y="373"/>
                        </a:lnTo>
                        <a:lnTo>
                          <a:pt x="61" y="374"/>
                        </a:lnTo>
                        <a:lnTo>
                          <a:pt x="58" y="374"/>
                        </a:lnTo>
                        <a:lnTo>
                          <a:pt x="61" y="376"/>
                        </a:lnTo>
                        <a:lnTo>
                          <a:pt x="56" y="374"/>
                        </a:lnTo>
                        <a:lnTo>
                          <a:pt x="61" y="376"/>
                        </a:lnTo>
                        <a:lnTo>
                          <a:pt x="56" y="376"/>
                        </a:lnTo>
                        <a:lnTo>
                          <a:pt x="61" y="378"/>
                        </a:lnTo>
                        <a:lnTo>
                          <a:pt x="61" y="378"/>
                        </a:lnTo>
                        <a:lnTo>
                          <a:pt x="61" y="419"/>
                        </a:lnTo>
                        <a:lnTo>
                          <a:pt x="61" y="420"/>
                        </a:lnTo>
                        <a:lnTo>
                          <a:pt x="56" y="420"/>
                        </a:lnTo>
                        <a:lnTo>
                          <a:pt x="61" y="420"/>
                        </a:lnTo>
                        <a:lnTo>
                          <a:pt x="56" y="422"/>
                        </a:lnTo>
                        <a:lnTo>
                          <a:pt x="61" y="422"/>
                        </a:lnTo>
                        <a:lnTo>
                          <a:pt x="58" y="424"/>
                        </a:lnTo>
                        <a:lnTo>
                          <a:pt x="61" y="422"/>
                        </a:lnTo>
                        <a:lnTo>
                          <a:pt x="58" y="425"/>
                        </a:lnTo>
                        <a:lnTo>
                          <a:pt x="61" y="424"/>
                        </a:lnTo>
                        <a:lnTo>
                          <a:pt x="58" y="425"/>
                        </a:lnTo>
                        <a:lnTo>
                          <a:pt x="63" y="424"/>
                        </a:lnTo>
                        <a:lnTo>
                          <a:pt x="63" y="424"/>
                        </a:lnTo>
                        <a:lnTo>
                          <a:pt x="60" y="427"/>
                        </a:lnTo>
                        <a:lnTo>
                          <a:pt x="63" y="425"/>
                        </a:lnTo>
                        <a:lnTo>
                          <a:pt x="66" y="427"/>
                        </a:lnTo>
                        <a:lnTo>
                          <a:pt x="66" y="430"/>
                        </a:lnTo>
                        <a:lnTo>
                          <a:pt x="68" y="427"/>
                        </a:lnTo>
                        <a:close/>
                        <a:moveTo>
                          <a:pt x="253" y="414"/>
                        </a:moveTo>
                        <a:lnTo>
                          <a:pt x="247" y="414"/>
                        </a:lnTo>
                        <a:lnTo>
                          <a:pt x="247" y="409"/>
                        </a:lnTo>
                        <a:lnTo>
                          <a:pt x="245" y="412"/>
                        </a:lnTo>
                        <a:lnTo>
                          <a:pt x="240" y="409"/>
                        </a:lnTo>
                        <a:lnTo>
                          <a:pt x="240" y="409"/>
                        </a:lnTo>
                        <a:lnTo>
                          <a:pt x="244" y="406"/>
                        </a:lnTo>
                        <a:lnTo>
                          <a:pt x="239" y="407"/>
                        </a:lnTo>
                        <a:lnTo>
                          <a:pt x="237" y="404"/>
                        </a:lnTo>
                        <a:lnTo>
                          <a:pt x="242" y="401"/>
                        </a:lnTo>
                        <a:lnTo>
                          <a:pt x="237" y="402"/>
                        </a:lnTo>
                        <a:lnTo>
                          <a:pt x="237" y="399"/>
                        </a:lnTo>
                        <a:lnTo>
                          <a:pt x="240" y="397"/>
                        </a:lnTo>
                        <a:lnTo>
                          <a:pt x="237" y="397"/>
                        </a:lnTo>
                        <a:lnTo>
                          <a:pt x="237" y="396"/>
                        </a:lnTo>
                        <a:lnTo>
                          <a:pt x="242" y="396"/>
                        </a:lnTo>
                        <a:lnTo>
                          <a:pt x="237" y="394"/>
                        </a:lnTo>
                        <a:lnTo>
                          <a:pt x="239" y="391"/>
                        </a:lnTo>
                        <a:lnTo>
                          <a:pt x="242" y="387"/>
                        </a:lnTo>
                        <a:lnTo>
                          <a:pt x="245" y="389"/>
                        </a:lnTo>
                        <a:lnTo>
                          <a:pt x="244" y="386"/>
                        </a:lnTo>
                        <a:lnTo>
                          <a:pt x="247" y="384"/>
                        </a:lnTo>
                        <a:lnTo>
                          <a:pt x="253" y="383"/>
                        </a:lnTo>
                        <a:lnTo>
                          <a:pt x="258" y="384"/>
                        </a:lnTo>
                        <a:lnTo>
                          <a:pt x="257" y="387"/>
                        </a:lnTo>
                        <a:lnTo>
                          <a:pt x="258" y="384"/>
                        </a:lnTo>
                        <a:lnTo>
                          <a:pt x="262" y="386"/>
                        </a:lnTo>
                        <a:lnTo>
                          <a:pt x="260" y="389"/>
                        </a:lnTo>
                        <a:lnTo>
                          <a:pt x="262" y="386"/>
                        </a:lnTo>
                        <a:lnTo>
                          <a:pt x="265" y="389"/>
                        </a:lnTo>
                        <a:lnTo>
                          <a:pt x="262" y="392"/>
                        </a:lnTo>
                        <a:lnTo>
                          <a:pt x="265" y="389"/>
                        </a:lnTo>
                        <a:lnTo>
                          <a:pt x="267" y="392"/>
                        </a:lnTo>
                        <a:lnTo>
                          <a:pt x="263" y="394"/>
                        </a:lnTo>
                        <a:lnTo>
                          <a:pt x="268" y="394"/>
                        </a:lnTo>
                        <a:lnTo>
                          <a:pt x="268" y="397"/>
                        </a:lnTo>
                        <a:lnTo>
                          <a:pt x="263" y="397"/>
                        </a:lnTo>
                        <a:lnTo>
                          <a:pt x="268" y="399"/>
                        </a:lnTo>
                        <a:lnTo>
                          <a:pt x="268" y="401"/>
                        </a:lnTo>
                        <a:lnTo>
                          <a:pt x="263" y="401"/>
                        </a:lnTo>
                        <a:lnTo>
                          <a:pt x="268" y="402"/>
                        </a:lnTo>
                        <a:lnTo>
                          <a:pt x="267" y="406"/>
                        </a:lnTo>
                        <a:lnTo>
                          <a:pt x="263" y="404"/>
                        </a:lnTo>
                        <a:lnTo>
                          <a:pt x="267" y="406"/>
                        </a:lnTo>
                        <a:lnTo>
                          <a:pt x="265" y="407"/>
                        </a:lnTo>
                        <a:lnTo>
                          <a:pt x="262" y="406"/>
                        </a:lnTo>
                        <a:lnTo>
                          <a:pt x="265" y="409"/>
                        </a:lnTo>
                        <a:lnTo>
                          <a:pt x="262" y="410"/>
                        </a:lnTo>
                        <a:lnTo>
                          <a:pt x="260" y="407"/>
                        </a:lnTo>
                        <a:lnTo>
                          <a:pt x="262" y="412"/>
                        </a:lnTo>
                        <a:lnTo>
                          <a:pt x="258" y="414"/>
                        </a:lnTo>
                        <a:lnTo>
                          <a:pt x="257" y="409"/>
                        </a:lnTo>
                        <a:lnTo>
                          <a:pt x="258" y="414"/>
                        </a:lnTo>
                        <a:lnTo>
                          <a:pt x="253" y="414"/>
                        </a:lnTo>
                        <a:close/>
                        <a:moveTo>
                          <a:pt x="252" y="406"/>
                        </a:moveTo>
                        <a:lnTo>
                          <a:pt x="253" y="410"/>
                        </a:lnTo>
                        <a:lnTo>
                          <a:pt x="253" y="406"/>
                        </a:lnTo>
                        <a:lnTo>
                          <a:pt x="253" y="406"/>
                        </a:lnTo>
                        <a:lnTo>
                          <a:pt x="253" y="410"/>
                        </a:lnTo>
                        <a:lnTo>
                          <a:pt x="253" y="406"/>
                        </a:lnTo>
                        <a:lnTo>
                          <a:pt x="255" y="410"/>
                        </a:lnTo>
                        <a:lnTo>
                          <a:pt x="255" y="406"/>
                        </a:lnTo>
                        <a:lnTo>
                          <a:pt x="257" y="406"/>
                        </a:lnTo>
                        <a:lnTo>
                          <a:pt x="258" y="409"/>
                        </a:lnTo>
                        <a:lnTo>
                          <a:pt x="257" y="404"/>
                        </a:lnTo>
                        <a:lnTo>
                          <a:pt x="257" y="404"/>
                        </a:lnTo>
                        <a:lnTo>
                          <a:pt x="260" y="407"/>
                        </a:lnTo>
                        <a:lnTo>
                          <a:pt x="258" y="404"/>
                        </a:lnTo>
                        <a:lnTo>
                          <a:pt x="258" y="402"/>
                        </a:lnTo>
                        <a:lnTo>
                          <a:pt x="263" y="404"/>
                        </a:lnTo>
                        <a:lnTo>
                          <a:pt x="262" y="402"/>
                        </a:lnTo>
                        <a:lnTo>
                          <a:pt x="260" y="402"/>
                        </a:lnTo>
                        <a:lnTo>
                          <a:pt x="260" y="399"/>
                        </a:lnTo>
                        <a:lnTo>
                          <a:pt x="263" y="397"/>
                        </a:lnTo>
                        <a:lnTo>
                          <a:pt x="260" y="397"/>
                        </a:lnTo>
                        <a:lnTo>
                          <a:pt x="263" y="396"/>
                        </a:lnTo>
                        <a:lnTo>
                          <a:pt x="260" y="397"/>
                        </a:lnTo>
                        <a:lnTo>
                          <a:pt x="258" y="396"/>
                        </a:lnTo>
                        <a:lnTo>
                          <a:pt x="263" y="392"/>
                        </a:lnTo>
                        <a:lnTo>
                          <a:pt x="258" y="394"/>
                        </a:lnTo>
                        <a:lnTo>
                          <a:pt x="257" y="392"/>
                        </a:lnTo>
                        <a:lnTo>
                          <a:pt x="258" y="389"/>
                        </a:lnTo>
                        <a:lnTo>
                          <a:pt x="257" y="392"/>
                        </a:lnTo>
                        <a:lnTo>
                          <a:pt x="258" y="387"/>
                        </a:lnTo>
                        <a:lnTo>
                          <a:pt x="255" y="392"/>
                        </a:lnTo>
                        <a:lnTo>
                          <a:pt x="255" y="392"/>
                        </a:lnTo>
                        <a:lnTo>
                          <a:pt x="255" y="389"/>
                        </a:lnTo>
                        <a:lnTo>
                          <a:pt x="257" y="387"/>
                        </a:lnTo>
                        <a:lnTo>
                          <a:pt x="255" y="392"/>
                        </a:lnTo>
                        <a:lnTo>
                          <a:pt x="255" y="387"/>
                        </a:lnTo>
                        <a:lnTo>
                          <a:pt x="253" y="391"/>
                        </a:lnTo>
                        <a:lnTo>
                          <a:pt x="253" y="387"/>
                        </a:lnTo>
                        <a:lnTo>
                          <a:pt x="253" y="391"/>
                        </a:lnTo>
                        <a:lnTo>
                          <a:pt x="252" y="387"/>
                        </a:lnTo>
                        <a:lnTo>
                          <a:pt x="252" y="391"/>
                        </a:lnTo>
                        <a:lnTo>
                          <a:pt x="252" y="387"/>
                        </a:lnTo>
                        <a:lnTo>
                          <a:pt x="252" y="391"/>
                        </a:lnTo>
                        <a:lnTo>
                          <a:pt x="249" y="392"/>
                        </a:lnTo>
                        <a:lnTo>
                          <a:pt x="247" y="389"/>
                        </a:lnTo>
                        <a:lnTo>
                          <a:pt x="249" y="392"/>
                        </a:lnTo>
                        <a:lnTo>
                          <a:pt x="245" y="389"/>
                        </a:lnTo>
                        <a:lnTo>
                          <a:pt x="249" y="392"/>
                        </a:lnTo>
                        <a:lnTo>
                          <a:pt x="245" y="391"/>
                        </a:lnTo>
                        <a:lnTo>
                          <a:pt x="247" y="394"/>
                        </a:lnTo>
                        <a:lnTo>
                          <a:pt x="244" y="391"/>
                        </a:lnTo>
                        <a:lnTo>
                          <a:pt x="247" y="394"/>
                        </a:lnTo>
                        <a:lnTo>
                          <a:pt x="244" y="392"/>
                        </a:lnTo>
                        <a:lnTo>
                          <a:pt x="247" y="396"/>
                        </a:lnTo>
                        <a:lnTo>
                          <a:pt x="242" y="392"/>
                        </a:lnTo>
                        <a:lnTo>
                          <a:pt x="245" y="396"/>
                        </a:lnTo>
                        <a:lnTo>
                          <a:pt x="245" y="397"/>
                        </a:lnTo>
                        <a:lnTo>
                          <a:pt x="242" y="396"/>
                        </a:lnTo>
                        <a:lnTo>
                          <a:pt x="244" y="396"/>
                        </a:lnTo>
                        <a:lnTo>
                          <a:pt x="245" y="397"/>
                        </a:lnTo>
                        <a:lnTo>
                          <a:pt x="244" y="397"/>
                        </a:lnTo>
                        <a:lnTo>
                          <a:pt x="245" y="397"/>
                        </a:lnTo>
                        <a:lnTo>
                          <a:pt x="244" y="397"/>
                        </a:lnTo>
                        <a:lnTo>
                          <a:pt x="240" y="397"/>
                        </a:lnTo>
                        <a:lnTo>
                          <a:pt x="245" y="397"/>
                        </a:lnTo>
                        <a:lnTo>
                          <a:pt x="240" y="397"/>
                        </a:lnTo>
                        <a:lnTo>
                          <a:pt x="245" y="399"/>
                        </a:lnTo>
                        <a:lnTo>
                          <a:pt x="240" y="399"/>
                        </a:lnTo>
                        <a:lnTo>
                          <a:pt x="245" y="401"/>
                        </a:lnTo>
                        <a:lnTo>
                          <a:pt x="245" y="401"/>
                        </a:lnTo>
                        <a:lnTo>
                          <a:pt x="242" y="402"/>
                        </a:lnTo>
                        <a:lnTo>
                          <a:pt x="245" y="402"/>
                        </a:lnTo>
                        <a:lnTo>
                          <a:pt x="242" y="404"/>
                        </a:lnTo>
                        <a:lnTo>
                          <a:pt x="247" y="402"/>
                        </a:lnTo>
                        <a:lnTo>
                          <a:pt x="247" y="402"/>
                        </a:lnTo>
                        <a:lnTo>
                          <a:pt x="244" y="406"/>
                        </a:lnTo>
                        <a:lnTo>
                          <a:pt x="247" y="404"/>
                        </a:lnTo>
                        <a:lnTo>
                          <a:pt x="245" y="407"/>
                        </a:lnTo>
                        <a:lnTo>
                          <a:pt x="249" y="404"/>
                        </a:lnTo>
                        <a:lnTo>
                          <a:pt x="249" y="406"/>
                        </a:lnTo>
                        <a:lnTo>
                          <a:pt x="247" y="409"/>
                        </a:lnTo>
                        <a:lnTo>
                          <a:pt x="250" y="406"/>
                        </a:lnTo>
                        <a:lnTo>
                          <a:pt x="250" y="406"/>
                        </a:lnTo>
                        <a:lnTo>
                          <a:pt x="250" y="410"/>
                        </a:lnTo>
                        <a:lnTo>
                          <a:pt x="252" y="406"/>
                        </a:lnTo>
                        <a:lnTo>
                          <a:pt x="250" y="410"/>
                        </a:lnTo>
                        <a:lnTo>
                          <a:pt x="252" y="406"/>
                        </a:lnTo>
                        <a:lnTo>
                          <a:pt x="252" y="410"/>
                        </a:lnTo>
                        <a:lnTo>
                          <a:pt x="252" y="406"/>
                        </a:lnTo>
                        <a:close/>
                        <a:moveTo>
                          <a:pt x="69" y="343"/>
                        </a:moveTo>
                        <a:lnTo>
                          <a:pt x="63" y="341"/>
                        </a:lnTo>
                        <a:lnTo>
                          <a:pt x="64" y="338"/>
                        </a:lnTo>
                        <a:lnTo>
                          <a:pt x="63" y="341"/>
                        </a:lnTo>
                        <a:lnTo>
                          <a:pt x="61" y="341"/>
                        </a:lnTo>
                        <a:lnTo>
                          <a:pt x="63" y="337"/>
                        </a:lnTo>
                        <a:lnTo>
                          <a:pt x="61" y="341"/>
                        </a:lnTo>
                        <a:lnTo>
                          <a:pt x="60" y="340"/>
                        </a:lnTo>
                        <a:lnTo>
                          <a:pt x="61" y="337"/>
                        </a:lnTo>
                        <a:lnTo>
                          <a:pt x="58" y="338"/>
                        </a:lnTo>
                        <a:lnTo>
                          <a:pt x="55" y="337"/>
                        </a:lnTo>
                        <a:lnTo>
                          <a:pt x="58" y="333"/>
                        </a:lnTo>
                        <a:lnTo>
                          <a:pt x="55" y="335"/>
                        </a:lnTo>
                        <a:lnTo>
                          <a:pt x="53" y="327"/>
                        </a:lnTo>
                        <a:lnTo>
                          <a:pt x="53" y="327"/>
                        </a:lnTo>
                        <a:lnTo>
                          <a:pt x="53" y="281"/>
                        </a:lnTo>
                        <a:lnTo>
                          <a:pt x="55" y="277"/>
                        </a:lnTo>
                        <a:lnTo>
                          <a:pt x="58" y="279"/>
                        </a:lnTo>
                        <a:lnTo>
                          <a:pt x="55" y="276"/>
                        </a:lnTo>
                        <a:lnTo>
                          <a:pt x="58" y="274"/>
                        </a:lnTo>
                        <a:lnTo>
                          <a:pt x="61" y="277"/>
                        </a:lnTo>
                        <a:lnTo>
                          <a:pt x="60" y="272"/>
                        </a:lnTo>
                        <a:lnTo>
                          <a:pt x="61" y="272"/>
                        </a:lnTo>
                        <a:lnTo>
                          <a:pt x="63" y="276"/>
                        </a:lnTo>
                        <a:lnTo>
                          <a:pt x="61" y="271"/>
                        </a:lnTo>
                        <a:lnTo>
                          <a:pt x="64" y="271"/>
                        </a:lnTo>
                        <a:lnTo>
                          <a:pt x="69" y="269"/>
                        </a:lnTo>
                        <a:lnTo>
                          <a:pt x="283" y="269"/>
                        </a:lnTo>
                        <a:lnTo>
                          <a:pt x="288" y="271"/>
                        </a:lnTo>
                        <a:lnTo>
                          <a:pt x="286" y="276"/>
                        </a:lnTo>
                        <a:lnTo>
                          <a:pt x="290" y="272"/>
                        </a:lnTo>
                        <a:lnTo>
                          <a:pt x="291" y="272"/>
                        </a:lnTo>
                        <a:lnTo>
                          <a:pt x="288" y="277"/>
                        </a:lnTo>
                        <a:lnTo>
                          <a:pt x="291" y="274"/>
                        </a:lnTo>
                        <a:lnTo>
                          <a:pt x="296" y="279"/>
                        </a:lnTo>
                        <a:lnTo>
                          <a:pt x="298" y="286"/>
                        </a:lnTo>
                        <a:lnTo>
                          <a:pt x="296" y="333"/>
                        </a:lnTo>
                        <a:lnTo>
                          <a:pt x="291" y="338"/>
                        </a:lnTo>
                        <a:lnTo>
                          <a:pt x="288" y="337"/>
                        </a:lnTo>
                        <a:lnTo>
                          <a:pt x="291" y="340"/>
                        </a:lnTo>
                        <a:lnTo>
                          <a:pt x="290" y="341"/>
                        </a:lnTo>
                        <a:lnTo>
                          <a:pt x="286" y="337"/>
                        </a:lnTo>
                        <a:lnTo>
                          <a:pt x="288" y="341"/>
                        </a:lnTo>
                        <a:lnTo>
                          <a:pt x="285" y="338"/>
                        </a:lnTo>
                        <a:lnTo>
                          <a:pt x="286" y="341"/>
                        </a:lnTo>
                        <a:lnTo>
                          <a:pt x="280" y="343"/>
                        </a:lnTo>
                        <a:lnTo>
                          <a:pt x="69" y="343"/>
                        </a:lnTo>
                        <a:close/>
                        <a:moveTo>
                          <a:pt x="281" y="335"/>
                        </a:moveTo>
                        <a:lnTo>
                          <a:pt x="283" y="338"/>
                        </a:lnTo>
                        <a:lnTo>
                          <a:pt x="281" y="335"/>
                        </a:lnTo>
                        <a:lnTo>
                          <a:pt x="285" y="338"/>
                        </a:lnTo>
                        <a:lnTo>
                          <a:pt x="283" y="333"/>
                        </a:lnTo>
                        <a:lnTo>
                          <a:pt x="286" y="333"/>
                        </a:lnTo>
                        <a:lnTo>
                          <a:pt x="290" y="335"/>
                        </a:lnTo>
                        <a:lnTo>
                          <a:pt x="286" y="332"/>
                        </a:lnTo>
                        <a:lnTo>
                          <a:pt x="290" y="335"/>
                        </a:lnTo>
                        <a:lnTo>
                          <a:pt x="288" y="332"/>
                        </a:lnTo>
                        <a:lnTo>
                          <a:pt x="291" y="333"/>
                        </a:lnTo>
                        <a:lnTo>
                          <a:pt x="288" y="330"/>
                        </a:lnTo>
                        <a:lnTo>
                          <a:pt x="291" y="332"/>
                        </a:lnTo>
                        <a:lnTo>
                          <a:pt x="288" y="330"/>
                        </a:lnTo>
                        <a:lnTo>
                          <a:pt x="291" y="332"/>
                        </a:lnTo>
                        <a:lnTo>
                          <a:pt x="288" y="328"/>
                        </a:lnTo>
                        <a:lnTo>
                          <a:pt x="293" y="330"/>
                        </a:lnTo>
                        <a:lnTo>
                          <a:pt x="288" y="328"/>
                        </a:lnTo>
                        <a:lnTo>
                          <a:pt x="293" y="328"/>
                        </a:lnTo>
                        <a:lnTo>
                          <a:pt x="288" y="327"/>
                        </a:lnTo>
                        <a:lnTo>
                          <a:pt x="290" y="327"/>
                        </a:lnTo>
                        <a:lnTo>
                          <a:pt x="288" y="286"/>
                        </a:lnTo>
                        <a:lnTo>
                          <a:pt x="293" y="284"/>
                        </a:lnTo>
                        <a:lnTo>
                          <a:pt x="288" y="284"/>
                        </a:lnTo>
                        <a:lnTo>
                          <a:pt x="293" y="282"/>
                        </a:lnTo>
                        <a:lnTo>
                          <a:pt x="288" y="284"/>
                        </a:lnTo>
                        <a:lnTo>
                          <a:pt x="291" y="281"/>
                        </a:lnTo>
                        <a:lnTo>
                          <a:pt x="288" y="282"/>
                        </a:lnTo>
                        <a:lnTo>
                          <a:pt x="291" y="281"/>
                        </a:lnTo>
                        <a:lnTo>
                          <a:pt x="288" y="282"/>
                        </a:lnTo>
                        <a:lnTo>
                          <a:pt x="291" y="279"/>
                        </a:lnTo>
                        <a:lnTo>
                          <a:pt x="286" y="281"/>
                        </a:lnTo>
                        <a:lnTo>
                          <a:pt x="290" y="277"/>
                        </a:lnTo>
                        <a:lnTo>
                          <a:pt x="286" y="281"/>
                        </a:lnTo>
                        <a:lnTo>
                          <a:pt x="285" y="279"/>
                        </a:lnTo>
                        <a:lnTo>
                          <a:pt x="288" y="276"/>
                        </a:lnTo>
                        <a:lnTo>
                          <a:pt x="285" y="279"/>
                        </a:lnTo>
                        <a:lnTo>
                          <a:pt x="283" y="279"/>
                        </a:lnTo>
                        <a:lnTo>
                          <a:pt x="285" y="274"/>
                        </a:lnTo>
                        <a:lnTo>
                          <a:pt x="283" y="279"/>
                        </a:lnTo>
                        <a:lnTo>
                          <a:pt x="283" y="274"/>
                        </a:lnTo>
                        <a:lnTo>
                          <a:pt x="281" y="277"/>
                        </a:lnTo>
                        <a:lnTo>
                          <a:pt x="280" y="277"/>
                        </a:lnTo>
                        <a:lnTo>
                          <a:pt x="68" y="277"/>
                        </a:lnTo>
                        <a:lnTo>
                          <a:pt x="66" y="274"/>
                        </a:lnTo>
                        <a:lnTo>
                          <a:pt x="68" y="277"/>
                        </a:lnTo>
                        <a:lnTo>
                          <a:pt x="66" y="274"/>
                        </a:lnTo>
                        <a:lnTo>
                          <a:pt x="66" y="279"/>
                        </a:lnTo>
                        <a:lnTo>
                          <a:pt x="64" y="274"/>
                        </a:lnTo>
                        <a:lnTo>
                          <a:pt x="64" y="276"/>
                        </a:lnTo>
                        <a:lnTo>
                          <a:pt x="66" y="279"/>
                        </a:lnTo>
                        <a:lnTo>
                          <a:pt x="64" y="279"/>
                        </a:lnTo>
                        <a:lnTo>
                          <a:pt x="63" y="276"/>
                        </a:lnTo>
                        <a:lnTo>
                          <a:pt x="64" y="279"/>
                        </a:lnTo>
                        <a:lnTo>
                          <a:pt x="64" y="281"/>
                        </a:lnTo>
                        <a:lnTo>
                          <a:pt x="60" y="277"/>
                        </a:lnTo>
                        <a:lnTo>
                          <a:pt x="63" y="281"/>
                        </a:lnTo>
                        <a:lnTo>
                          <a:pt x="60" y="279"/>
                        </a:lnTo>
                        <a:lnTo>
                          <a:pt x="63" y="281"/>
                        </a:lnTo>
                        <a:lnTo>
                          <a:pt x="61" y="282"/>
                        </a:lnTo>
                        <a:lnTo>
                          <a:pt x="58" y="281"/>
                        </a:lnTo>
                        <a:lnTo>
                          <a:pt x="61" y="282"/>
                        </a:lnTo>
                        <a:lnTo>
                          <a:pt x="58" y="281"/>
                        </a:lnTo>
                        <a:lnTo>
                          <a:pt x="61" y="284"/>
                        </a:lnTo>
                        <a:lnTo>
                          <a:pt x="56" y="282"/>
                        </a:lnTo>
                        <a:lnTo>
                          <a:pt x="61" y="284"/>
                        </a:lnTo>
                        <a:lnTo>
                          <a:pt x="56" y="284"/>
                        </a:lnTo>
                        <a:lnTo>
                          <a:pt x="61" y="286"/>
                        </a:lnTo>
                        <a:lnTo>
                          <a:pt x="61" y="286"/>
                        </a:lnTo>
                        <a:lnTo>
                          <a:pt x="61" y="327"/>
                        </a:lnTo>
                        <a:lnTo>
                          <a:pt x="61" y="327"/>
                        </a:lnTo>
                        <a:lnTo>
                          <a:pt x="56" y="328"/>
                        </a:lnTo>
                        <a:lnTo>
                          <a:pt x="61" y="328"/>
                        </a:lnTo>
                        <a:lnTo>
                          <a:pt x="56" y="330"/>
                        </a:lnTo>
                        <a:lnTo>
                          <a:pt x="61" y="328"/>
                        </a:lnTo>
                        <a:lnTo>
                          <a:pt x="58" y="332"/>
                        </a:lnTo>
                        <a:lnTo>
                          <a:pt x="61" y="330"/>
                        </a:lnTo>
                        <a:lnTo>
                          <a:pt x="58" y="332"/>
                        </a:lnTo>
                        <a:lnTo>
                          <a:pt x="61" y="330"/>
                        </a:lnTo>
                        <a:lnTo>
                          <a:pt x="63" y="332"/>
                        </a:lnTo>
                        <a:lnTo>
                          <a:pt x="60" y="335"/>
                        </a:lnTo>
                        <a:lnTo>
                          <a:pt x="63" y="333"/>
                        </a:lnTo>
                        <a:lnTo>
                          <a:pt x="68" y="335"/>
                        </a:lnTo>
                        <a:lnTo>
                          <a:pt x="66" y="338"/>
                        </a:lnTo>
                        <a:lnTo>
                          <a:pt x="68" y="335"/>
                        </a:lnTo>
                        <a:lnTo>
                          <a:pt x="69" y="335"/>
                        </a:lnTo>
                        <a:lnTo>
                          <a:pt x="281" y="335"/>
                        </a:lnTo>
                        <a:close/>
                        <a:moveTo>
                          <a:pt x="253" y="322"/>
                        </a:moveTo>
                        <a:lnTo>
                          <a:pt x="247" y="320"/>
                        </a:lnTo>
                        <a:lnTo>
                          <a:pt x="249" y="317"/>
                        </a:lnTo>
                        <a:lnTo>
                          <a:pt x="245" y="320"/>
                        </a:lnTo>
                        <a:lnTo>
                          <a:pt x="244" y="320"/>
                        </a:lnTo>
                        <a:lnTo>
                          <a:pt x="245" y="315"/>
                        </a:lnTo>
                        <a:lnTo>
                          <a:pt x="244" y="318"/>
                        </a:lnTo>
                        <a:lnTo>
                          <a:pt x="242" y="318"/>
                        </a:lnTo>
                        <a:lnTo>
                          <a:pt x="244" y="314"/>
                        </a:lnTo>
                        <a:lnTo>
                          <a:pt x="240" y="317"/>
                        </a:lnTo>
                        <a:lnTo>
                          <a:pt x="237" y="312"/>
                        </a:lnTo>
                        <a:lnTo>
                          <a:pt x="237" y="310"/>
                        </a:lnTo>
                        <a:lnTo>
                          <a:pt x="242" y="309"/>
                        </a:lnTo>
                        <a:lnTo>
                          <a:pt x="237" y="310"/>
                        </a:lnTo>
                        <a:lnTo>
                          <a:pt x="237" y="305"/>
                        </a:lnTo>
                        <a:lnTo>
                          <a:pt x="237" y="302"/>
                        </a:lnTo>
                        <a:lnTo>
                          <a:pt x="242" y="304"/>
                        </a:lnTo>
                        <a:lnTo>
                          <a:pt x="237" y="302"/>
                        </a:lnTo>
                        <a:lnTo>
                          <a:pt x="239" y="297"/>
                        </a:lnTo>
                        <a:lnTo>
                          <a:pt x="244" y="299"/>
                        </a:lnTo>
                        <a:lnTo>
                          <a:pt x="240" y="297"/>
                        </a:lnTo>
                        <a:lnTo>
                          <a:pt x="245" y="292"/>
                        </a:lnTo>
                        <a:lnTo>
                          <a:pt x="247" y="291"/>
                        </a:lnTo>
                        <a:lnTo>
                          <a:pt x="249" y="295"/>
                        </a:lnTo>
                        <a:lnTo>
                          <a:pt x="249" y="291"/>
                        </a:lnTo>
                        <a:lnTo>
                          <a:pt x="252" y="291"/>
                        </a:lnTo>
                        <a:lnTo>
                          <a:pt x="258" y="292"/>
                        </a:lnTo>
                        <a:lnTo>
                          <a:pt x="257" y="295"/>
                        </a:lnTo>
                        <a:lnTo>
                          <a:pt x="258" y="292"/>
                        </a:lnTo>
                        <a:lnTo>
                          <a:pt x="262" y="294"/>
                        </a:lnTo>
                        <a:lnTo>
                          <a:pt x="260" y="297"/>
                        </a:lnTo>
                        <a:lnTo>
                          <a:pt x="262" y="294"/>
                        </a:lnTo>
                        <a:lnTo>
                          <a:pt x="265" y="297"/>
                        </a:lnTo>
                        <a:lnTo>
                          <a:pt x="262" y="299"/>
                        </a:lnTo>
                        <a:lnTo>
                          <a:pt x="265" y="297"/>
                        </a:lnTo>
                        <a:lnTo>
                          <a:pt x="267" y="300"/>
                        </a:lnTo>
                        <a:lnTo>
                          <a:pt x="263" y="302"/>
                        </a:lnTo>
                        <a:lnTo>
                          <a:pt x="268" y="302"/>
                        </a:lnTo>
                        <a:lnTo>
                          <a:pt x="268" y="305"/>
                        </a:lnTo>
                        <a:lnTo>
                          <a:pt x="268" y="307"/>
                        </a:lnTo>
                        <a:lnTo>
                          <a:pt x="267" y="312"/>
                        </a:lnTo>
                        <a:lnTo>
                          <a:pt x="267" y="314"/>
                        </a:lnTo>
                        <a:lnTo>
                          <a:pt x="262" y="312"/>
                        </a:lnTo>
                        <a:lnTo>
                          <a:pt x="267" y="315"/>
                        </a:lnTo>
                        <a:lnTo>
                          <a:pt x="265" y="315"/>
                        </a:lnTo>
                        <a:lnTo>
                          <a:pt x="262" y="314"/>
                        </a:lnTo>
                        <a:lnTo>
                          <a:pt x="265" y="315"/>
                        </a:lnTo>
                        <a:lnTo>
                          <a:pt x="262" y="318"/>
                        </a:lnTo>
                        <a:lnTo>
                          <a:pt x="260" y="315"/>
                        </a:lnTo>
                        <a:lnTo>
                          <a:pt x="262" y="318"/>
                        </a:lnTo>
                        <a:lnTo>
                          <a:pt x="255" y="322"/>
                        </a:lnTo>
                        <a:lnTo>
                          <a:pt x="253" y="322"/>
                        </a:lnTo>
                        <a:close/>
                        <a:moveTo>
                          <a:pt x="252" y="314"/>
                        </a:moveTo>
                        <a:lnTo>
                          <a:pt x="253" y="318"/>
                        </a:lnTo>
                        <a:lnTo>
                          <a:pt x="253" y="314"/>
                        </a:lnTo>
                        <a:lnTo>
                          <a:pt x="253" y="314"/>
                        </a:lnTo>
                        <a:lnTo>
                          <a:pt x="253" y="317"/>
                        </a:lnTo>
                        <a:lnTo>
                          <a:pt x="253" y="314"/>
                        </a:lnTo>
                        <a:lnTo>
                          <a:pt x="255" y="317"/>
                        </a:lnTo>
                        <a:lnTo>
                          <a:pt x="255" y="314"/>
                        </a:lnTo>
                        <a:lnTo>
                          <a:pt x="257" y="312"/>
                        </a:lnTo>
                        <a:lnTo>
                          <a:pt x="258" y="317"/>
                        </a:lnTo>
                        <a:lnTo>
                          <a:pt x="257" y="312"/>
                        </a:lnTo>
                        <a:lnTo>
                          <a:pt x="260" y="315"/>
                        </a:lnTo>
                        <a:lnTo>
                          <a:pt x="257" y="312"/>
                        </a:lnTo>
                        <a:lnTo>
                          <a:pt x="260" y="314"/>
                        </a:lnTo>
                        <a:lnTo>
                          <a:pt x="258" y="310"/>
                        </a:lnTo>
                        <a:lnTo>
                          <a:pt x="260" y="309"/>
                        </a:lnTo>
                        <a:lnTo>
                          <a:pt x="260" y="309"/>
                        </a:lnTo>
                        <a:lnTo>
                          <a:pt x="260" y="309"/>
                        </a:lnTo>
                        <a:lnTo>
                          <a:pt x="260" y="309"/>
                        </a:lnTo>
                        <a:lnTo>
                          <a:pt x="263" y="310"/>
                        </a:lnTo>
                        <a:lnTo>
                          <a:pt x="260" y="309"/>
                        </a:lnTo>
                        <a:lnTo>
                          <a:pt x="263" y="309"/>
                        </a:lnTo>
                        <a:lnTo>
                          <a:pt x="260" y="307"/>
                        </a:lnTo>
                        <a:lnTo>
                          <a:pt x="260" y="305"/>
                        </a:lnTo>
                        <a:lnTo>
                          <a:pt x="263" y="305"/>
                        </a:lnTo>
                        <a:lnTo>
                          <a:pt x="260" y="305"/>
                        </a:lnTo>
                        <a:lnTo>
                          <a:pt x="263" y="304"/>
                        </a:lnTo>
                        <a:lnTo>
                          <a:pt x="260" y="304"/>
                        </a:lnTo>
                        <a:lnTo>
                          <a:pt x="258" y="304"/>
                        </a:lnTo>
                        <a:lnTo>
                          <a:pt x="263" y="300"/>
                        </a:lnTo>
                        <a:lnTo>
                          <a:pt x="258" y="302"/>
                        </a:lnTo>
                        <a:lnTo>
                          <a:pt x="258" y="302"/>
                        </a:lnTo>
                        <a:lnTo>
                          <a:pt x="262" y="299"/>
                        </a:lnTo>
                        <a:lnTo>
                          <a:pt x="258" y="302"/>
                        </a:lnTo>
                        <a:lnTo>
                          <a:pt x="257" y="300"/>
                        </a:lnTo>
                        <a:lnTo>
                          <a:pt x="258" y="297"/>
                        </a:lnTo>
                        <a:lnTo>
                          <a:pt x="257" y="300"/>
                        </a:lnTo>
                        <a:lnTo>
                          <a:pt x="255" y="299"/>
                        </a:lnTo>
                        <a:lnTo>
                          <a:pt x="255" y="299"/>
                        </a:lnTo>
                        <a:lnTo>
                          <a:pt x="255" y="299"/>
                        </a:lnTo>
                        <a:lnTo>
                          <a:pt x="255" y="299"/>
                        </a:lnTo>
                        <a:lnTo>
                          <a:pt x="255" y="295"/>
                        </a:lnTo>
                        <a:lnTo>
                          <a:pt x="253" y="299"/>
                        </a:lnTo>
                        <a:lnTo>
                          <a:pt x="253" y="295"/>
                        </a:lnTo>
                        <a:lnTo>
                          <a:pt x="253" y="299"/>
                        </a:lnTo>
                        <a:lnTo>
                          <a:pt x="252" y="299"/>
                        </a:lnTo>
                        <a:lnTo>
                          <a:pt x="252" y="295"/>
                        </a:lnTo>
                        <a:lnTo>
                          <a:pt x="252" y="299"/>
                        </a:lnTo>
                        <a:lnTo>
                          <a:pt x="250" y="295"/>
                        </a:lnTo>
                        <a:lnTo>
                          <a:pt x="250" y="299"/>
                        </a:lnTo>
                        <a:lnTo>
                          <a:pt x="250" y="299"/>
                        </a:lnTo>
                        <a:lnTo>
                          <a:pt x="250" y="299"/>
                        </a:lnTo>
                        <a:lnTo>
                          <a:pt x="250" y="300"/>
                        </a:lnTo>
                        <a:lnTo>
                          <a:pt x="250" y="300"/>
                        </a:lnTo>
                        <a:lnTo>
                          <a:pt x="250" y="300"/>
                        </a:lnTo>
                        <a:lnTo>
                          <a:pt x="250" y="299"/>
                        </a:lnTo>
                        <a:lnTo>
                          <a:pt x="247" y="295"/>
                        </a:lnTo>
                        <a:lnTo>
                          <a:pt x="249" y="300"/>
                        </a:lnTo>
                        <a:lnTo>
                          <a:pt x="249" y="300"/>
                        </a:lnTo>
                        <a:lnTo>
                          <a:pt x="245" y="297"/>
                        </a:lnTo>
                        <a:lnTo>
                          <a:pt x="247" y="302"/>
                        </a:lnTo>
                        <a:lnTo>
                          <a:pt x="244" y="299"/>
                        </a:lnTo>
                        <a:lnTo>
                          <a:pt x="247" y="302"/>
                        </a:lnTo>
                        <a:lnTo>
                          <a:pt x="247" y="302"/>
                        </a:lnTo>
                        <a:lnTo>
                          <a:pt x="242" y="300"/>
                        </a:lnTo>
                        <a:lnTo>
                          <a:pt x="245" y="304"/>
                        </a:lnTo>
                        <a:lnTo>
                          <a:pt x="245" y="304"/>
                        </a:lnTo>
                        <a:lnTo>
                          <a:pt x="242" y="304"/>
                        </a:lnTo>
                        <a:lnTo>
                          <a:pt x="244" y="304"/>
                        </a:lnTo>
                        <a:lnTo>
                          <a:pt x="245" y="304"/>
                        </a:lnTo>
                        <a:lnTo>
                          <a:pt x="244" y="305"/>
                        </a:lnTo>
                        <a:lnTo>
                          <a:pt x="245" y="305"/>
                        </a:lnTo>
                        <a:lnTo>
                          <a:pt x="244" y="305"/>
                        </a:lnTo>
                        <a:lnTo>
                          <a:pt x="240" y="305"/>
                        </a:lnTo>
                        <a:lnTo>
                          <a:pt x="245" y="305"/>
                        </a:lnTo>
                        <a:lnTo>
                          <a:pt x="240" y="305"/>
                        </a:lnTo>
                        <a:lnTo>
                          <a:pt x="245" y="307"/>
                        </a:lnTo>
                        <a:lnTo>
                          <a:pt x="240" y="307"/>
                        </a:lnTo>
                        <a:lnTo>
                          <a:pt x="245" y="307"/>
                        </a:lnTo>
                        <a:lnTo>
                          <a:pt x="245" y="309"/>
                        </a:lnTo>
                        <a:lnTo>
                          <a:pt x="242" y="310"/>
                        </a:lnTo>
                        <a:lnTo>
                          <a:pt x="245" y="309"/>
                        </a:lnTo>
                        <a:lnTo>
                          <a:pt x="242" y="312"/>
                        </a:lnTo>
                        <a:lnTo>
                          <a:pt x="247" y="310"/>
                        </a:lnTo>
                        <a:lnTo>
                          <a:pt x="247" y="310"/>
                        </a:lnTo>
                        <a:lnTo>
                          <a:pt x="244" y="314"/>
                        </a:lnTo>
                        <a:lnTo>
                          <a:pt x="247" y="312"/>
                        </a:lnTo>
                        <a:lnTo>
                          <a:pt x="245" y="315"/>
                        </a:lnTo>
                        <a:lnTo>
                          <a:pt x="249" y="312"/>
                        </a:lnTo>
                        <a:lnTo>
                          <a:pt x="249" y="312"/>
                        </a:lnTo>
                        <a:lnTo>
                          <a:pt x="247" y="317"/>
                        </a:lnTo>
                        <a:lnTo>
                          <a:pt x="249" y="314"/>
                        </a:lnTo>
                        <a:lnTo>
                          <a:pt x="250" y="314"/>
                        </a:lnTo>
                        <a:lnTo>
                          <a:pt x="249" y="317"/>
                        </a:lnTo>
                        <a:lnTo>
                          <a:pt x="250" y="314"/>
                        </a:lnTo>
                        <a:lnTo>
                          <a:pt x="250" y="317"/>
                        </a:lnTo>
                        <a:lnTo>
                          <a:pt x="252" y="314"/>
                        </a:lnTo>
                        <a:lnTo>
                          <a:pt x="252" y="318"/>
                        </a:lnTo>
                        <a:lnTo>
                          <a:pt x="252" y="314"/>
                        </a:lnTo>
                        <a:close/>
                        <a:moveTo>
                          <a:pt x="69" y="251"/>
                        </a:moveTo>
                        <a:lnTo>
                          <a:pt x="61" y="248"/>
                        </a:lnTo>
                        <a:lnTo>
                          <a:pt x="56" y="246"/>
                        </a:lnTo>
                        <a:lnTo>
                          <a:pt x="55" y="245"/>
                        </a:lnTo>
                        <a:lnTo>
                          <a:pt x="58" y="241"/>
                        </a:lnTo>
                        <a:lnTo>
                          <a:pt x="55" y="243"/>
                        </a:lnTo>
                        <a:lnTo>
                          <a:pt x="53" y="236"/>
                        </a:lnTo>
                        <a:lnTo>
                          <a:pt x="53" y="235"/>
                        </a:lnTo>
                        <a:lnTo>
                          <a:pt x="55" y="187"/>
                        </a:lnTo>
                        <a:lnTo>
                          <a:pt x="55" y="185"/>
                        </a:lnTo>
                        <a:lnTo>
                          <a:pt x="58" y="187"/>
                        </a:lnTo>
                        <a:lnTo>
                          <a:pt x="55" y="184"/>
                        </a:lnTo>
                        <a:lnTo>
                          <a:pt x="58" y="180"/>
                        </a:lnTo>
                        <a:lnTo>
                          <a:pt x="61" y="184"/>
                        </a:lnTo>
                        <a:lnTo>
                          <a:pt x="60" y="180"/>
                        </a:lnTo>
                        <a:lnTo>
                          <a:pt x="61" y="179"/>
                        </a:lnTo>
                        <a:lnTo>
                          <a:pt x="63" y="182"/>
                        </a:lnTo>
                        <a:lnTo>
                          <a:pt x="61" y="179"/>
                        </a:lnTo>
                        <a:lnTo>
                          <a:pt x="63" y="179"/>
                        </a:lnTo>
                        <a:lnTo>
                          <a:pt x="69" y="177"/>
                        </a:lnTo>
                        <a:lnTo>
                          <a:pt x="285" y="177"/>
                        </a:lnTo>
                        <a:lnTo>
                          <a:pt x="288" y="179"/>
                        </a:lnTo>
                        <a:lnTo>
                          <a:pt x="286" y="182"/>
                        </a:lnTo>
                        <a:lnTo>
                          <a:pt x="290" y="179"/>
                        </a:lnTo>
                        <a:lnTo>
                          <a:pt x="291" y="180"/>
                        </a:lnTo>
                        <a:lnTo>
                          <a:pt x="288" y="184"/>
                        </a:lnTo>
                        <a:lnTo>
                          <a:pt x="291" y="180"/>
                        </a:lnTo>
                        <a:lnTo>
                          <a:pt x="296" y="189"/>
                        </a:lnTo>
                        <a:lnTo>
                          <a:pt x="298" y="194"/>
                        </a:lnTo>
                        <a:lnTo>
                          <a:pt x="296" y="241"/>
                        </a:lnTo>
                        <a:lnTo>
                          <a:pt x="293" y="245"/>
                        </a:lnTo>
                        <a:lnTo>
                          <a:pt x="286" y="249"/>
                        </a:lnTo>
                        <a:lnTo>
                          <a:pt x="280" y="251"/>
                        </a:lnTo>
                        <a:lnTo>
                          <a:pt x="69" y="251"/>
                        </a:lnTo>
                        <a:close/>
                        <a:moveTo>
                          <a:pt x="66" y="241"/>
                        </a:moveTo>
                        <a:lnTo>
                          <a:pt x="68" y="241"/>
                        </a:lnTo>
                        <a:lnTo>
                          <a:pt x="68" y="246"/>
                        </a:lnTo>
                        <a:lnTo>
                          <a:pt x="68" y="243"/>
                        </a:lnTo>
                        <a:lnTo>
                          <a:pt x="69" y="243"/>
                        </a:lnTo>
                        <a:lnTo>
                          <a:pt x="281" y="243"/>
                        </a:lnTo>
                        <a:lnTo>
                          <a:pt x="283" y="246"/>
                        </a:lnTo>
                        <a:lnTo>
                          <a:pt x="283" y="241"/>
                        </a:lnTo>
                        <a:lnTo>
                          <a:pt x="285" y="246"/>
                        </a:lnTo>
                        <a:lnTo>
                          <a:pt x="283" y="241"/>
                        </a:lnTo>
                        <a:lnTo>
                          <a:pt x="285" y="246"/>
                        </a:lnTo>
                        <a:lnTo>
                          <a:pt x="285" y="241"/>
                        </a:lnTo>
                        <a:lnTo>
                          <a:pt x="286" y="245"/>
                        </a:lnTo>
                        <a:lnTo>
                          <a:pt x="285" y="241"/>
                        </a:lnTo>
                        <a:lnTo>
                          <a:pt x="288" y="245"/>
                        </a:lnTo>
                        <a:lnTo>
                          <a:pt x="286" y="240"/>
                        </a:lnTo>
                        <a:lnTo>
                          <a:pt x="288" y="243"/>
                        </a:lnTo>
                        <a:lnTo>
                          <a:pt x="286" y="240"/>
                        </a:lnTo>
                        <a:lnTo>
                          <a:pt x="290" y="241"/>
                        </a:lnTo>
                        <a:lnTo>
                          <a:pt x="286" y="240"/>
                        </a:lnTo>
                        <a:lnTo>
                          <a:pt x="291" y="241"/>
                        </a:lnTo>
                        <a:lnTo>
                          <a:pt x="288" y="238"/>
                        </a:lnTo>
                        <a:lnTo>
                          <a:pt x="291" y="240"/>
                        </a:lnTo>
                        <a:lnTo>
                          <a:pt x="288" y="238"/>
                        </a:lnTo>
                        <a:lnTo>
                          <a:pt x="291" y="238"/>
                        </a:lnTo>
                        <a:lnTo>
                          <a:pt x="288" y="236"/>
                        </a:lnTo>
                        <a:lnTo>
                          <a:pt x="293" y="238"/>
                        </a:lnTo>
                        <a:lnTo>
                          <a:pt x="288" y="236"/>
                        </a:lnTo>
                        <a:lnTo>
                          <a:pt x="293" y="236"/>
                        </a:lnTo>
                        <a:lnTo>
                          <a:pt x="288" y="235"/>
                        </a:lnTo>
                        <a:lnTo>
                          <a:pt x="290" y="233"/>
                        </a:lnTo>
                        <a:lnTo>
                          <a:pt x="288" y="194"/>
                        </a:lnTo>
                        <a:lnTo>
                          <a:pt x="293" y="192"/>
                        </a:lnTo>
                        <a:lnTo>
                          <a:pt x="288" y="192"/>
                        </a:lnTo>
                        <a:lnTo>
                          <a:pt x="293" y="190"/>
                        </a:lnTo>
                        <a:lnTo>
                          <a:pt x="288" y="192"/>
                        </a:lnTo>
                        <a:lnTo>
                          <a:pt x="291" y="189"/>
                        </a:lnTo>
                        <a:lnTo>
                          <a:pt x="288" y="190"/>
                        </a:lnTo>
                        <a:lnTo>
                          <a:pt x="291" y="189"/>
                        </a:lnTo>
                        <a:lnTo>
                          <a:pt x="288" y="190"/>
                        </a:lnTo>
                        <a:lnTo>
                          <a:pt x="291" y="187"/>
                        </a:lnTo>
                        <a:lnTo>
                          <a:pt x="286" y="189"/>
                        </a:lnTo>
                        <a:lnTo>
                          <a:pt x="286" y="189"/>
                        </a:lnTo>
                        <a:lnTo>
                          <a:pt x="290" y="185"/>
                        </a:lnTo>
                        <a:lnTo>
                          <a:pt x="286" y="187"/>
                        </a:lnTo>
                        <a:lnTo>
                          <a:pt x="285" y="187"/>
                        </a:lnTo>
                        <a:lnTo>
                          <a:pt x="286" y="185"/>
                        </a:lnTo>
                        <a:lnTo>
                          <a:pt x="288" y="184"/>
                        </a:lnTo>
                        <a:lnTo>
                          <a:pt x="285" y="187"/>
                        </a:lnTo>
                        <a:lnTo>
                          <a:pt x="283" y="187"/>
                        </a:lnTo>
                        <a:lnTo>
                          <a:pt x="285" y="182"/>
                        </a:lnTo>
                        <a:lnTo>
                          <a:pt x="283" y="185"/>
                        </a:lnTo>
                        <a:lnTo>
                          <a:pt x="283" y="182"/>
                        </a:lnTo>
                        <a:lnTo>
                          <a:pt x="281" y="185"/>
                        </a:lnTo>
                        <a:lnTo>
                          <a:pt x="280" y="185"/>
                        </a:lnTo>
                        <a:lnTo>
                          <a:pt x="68" y="185"/>
                        </a:lnTo>
                        <a:lnTo>
                          <a:pt x="66" y="182"/>
                        </a:lnTo>
                        <a:lnTo>
                          <a:pt x="68" y="185"/>
                        </a:lnTo>
                        <a:lnTo>
                          <a:pt x="66" y="182"/>
                        </a:lnTo>
                        <a:lnTo>
                          <a:pt x="66" y="185"/>
                        </a:lnTo>
                        <a:lnTo>
                          <a:pt x="64" y="182"/>
                        </a:lnTo>
                        <a:lnTo>
                          <a:pt x="64" y="184"/>
                        </a:lnTo>
                        <a:lnTo>
                          <a:pt x="66" y="187"/>
                        </a:lnTo>
                        <a:lnTo>
                          <a:pt x="64" y="187"/>
                        </a:lnTo>
                        <a:lnTo>
                          <a:pt x="63" y="184"/>
                        </a:lnTo>
                        <a:lnTo>
                          <a:pt x="64" y="187"/>
                        </a:lnTo>
                        <a:lnTo>
                          <a:pt x="64" y="187"/>
                        </a:lnTo>
                        <a:lnTo>
                          <a:pt x="60" y="185"/>
                        </a:lnTo>
                        <a:lnTo>
                          <a:pt x="63" y="189"/>
                        </a:lnTo>
                        <a:lnTo>
                          <a:pt x="60" y="185"/>
                        </a:lnTo>
                        <a:lnTo>
                          <a:pt x="63" y="189"/>
                        </a:lnTo>
                        <a:lnTo>
                          <a:pt x="61" y="190"/>
                        </a:lnTo>
                        <a:lnTo>
                          <a:pt x="58" y="189"/>
                        </a:lnTo>
                        <a:lnTo>
                          <a:pt x="61" y="190"/>
                        </a:lnTo>
                        <a:lnTo>
                          <a:pt x="58" y="189"/>
                        </a:lnTo>
                        <a:lnTo>
                          <a:pt x="61" y="192"/>
                        </a:lnTo>
                        <a:lnTo>
                          <a:pt x="56" y="190"/>
                        </a:lnTo>
                        <a:lnTo>
                          <a:pt x="61" y="192"/>
                        </a:lnTo>
                        <a:lnTo>
                          <a:pt x="56" y="192"/>
                        </a:lnTo>
                        <a:lnTo>
                          <a:pt x="61" y="194"/>
                        </a:lnTo>
                        <a:lnTo>
                          <a:pt x="61" y="194"/>
                        </a:lnTo>
                        <a:lnTo>
                          <a:pt x="61" y="235"/>
                        </a:lnTo>
                        <a:lnTo>
                          <a:pt x="61" y="235"/>
                        </a:lnTo>
                        <a:lnTo>
                          <a:pt x="56" y="236"/>
                        </a:lnTo>
                        <a:lnTo>
                          <a:pt x="61" y="236"/>
                        </a:lnTo>
                        <a:lnTo>
                          <a:pt x="56" y="238"/>
                        </a:lnTo>
                        <a:lnTo>
                          <a:pt x="61" y="236"/>
                        </a:lnTo>
                        <a:lnTo>
                          <a:pt x="58" y="238"/>
                        </a:lnTo>
                        <a:lnTo>
                          <a:pt x="61" y="238"/>
                        </a:lnTo>
                        <a:lnTo>
                          <a:pt x="63" y="238"/>
                        </a:lnTo>
                        <a:lnTo>
                          <a:pt x="60" y="241"/>
                        </a:lnTo>
                        <a:lnTo>
                          <a:pt x="63" y="240"/>
                        </a:lnTo>
                        <a:lnTo>
                          <a:pt x="60" y="243"/>
                        </a:lnTo>
                        <a:lnTo>
                          <a:pt x="63" y="240"/>
                        </a:lnTo>
                        <a:lnTo>
                          <a:pt x="61" y="243"/>
                        </a:lnTo>
                        <a:lnTo>
                          <a:pt x="64" y="241"/>
                        </a:lnTo>
                        <a:lnTo>
                          <a:pt x="63" y="245"/>
                        </a:lnTo>
                        <a:lnTo>
                          <a:pt x="64" y="241"/>
                        </a:lnTo>
                        <a:lnTo>
                          <a:pt x="63" y="245"/>
                        </a:lnTo>
                        <a:lnTo>
                          <a:pt x="66" y="241"/>
                        </a:lnTo>
                        <a:lnTo>
                          <a:pt x="66" y="246"/>
                        </a:lnTo>
                        <a:lnTo>
                          <a:pt x="66" y="241"/>
                        </a:lnTo>
                        <a:close/>
                        <a:moveTo>
                          <a:pt x="253" y="230"/>
                        </a:moveTo>
                        <a:lnTo>
                          <a:pt x="250" y="230"/>
                        </a:lnTo>
                        <a:lnTo>
                          <a:pt x="250" y="225"/>
                        </a:lnTo>
                        <a:lnTo>
                          <a:pt x="249" y="230"/>
                        </a:lnTo>
                        <a:lnTo>
                          <a:pt x="247" y="228"/>
                        </a:lnTo>
                        <a:lnTo>
                          <a:pt x="249" y="225"/>
                        </a:lnTo>
                        <a:lnTo>
                          <a:pt x="245" y="228"/>
                        </a:lnTo>
                        <a:lnTo>
                          <a:pt x="242" y="225"/>
                        </a:lnTo>
                        <a:lnTo>
                          <a:pt x="244" y="222"/>
                        </a:lnTo>
                        <a:lnTo>
                          <a:pt x="240" y="225"/>
                        </a:lnTo>
                        <a:lnTo>
                          <a:pt x="237" y="220"/>
                        </a:lnTo>
                        <a:lnTo>
                          <a:pt x="242" y="218"/>
                        </a:lnTo>
                        <a:lnTo>
                          <a:pt x="237" y="218"/>
                        </a:lnTo>
                        <a:lnTo>
                          <a:pt x="237" y="213"/>
                        </a:lnTo>
                        <a:lnTo>
                          <a:pt x="237" y="210"/>
                        </a:lnTo>
                        <a:lnTo>
                          <a:pt x="242" y="212"/>
                        </a:lnTo>
                        <a:lnTo>
                          <a:pt x="237" y="210"/>
                        </a:lnTo>
                        <a:lnTo>
                          <a:pt x="239" y="205"/>
                        </a:lnTo>
                        <a:lnTo>
                          <a:pt x="244" y="207"/>
                        </a:lnTo>
                        <a:lnTo>
                          <a:pt x="240" y="203"/>
                        </a:lnTo>
                        <a:lnTo>
                          <a:pt x="245" y="200"/>
                        </a:lnTo>
                        <a:lnTo>
                          <a:pt x="245" y="200"/>
                        </a:lnTo>
                        <a:lnTo>
                          <a:pt x="249" y="203"/>
                        </a:lnTo>
                        <a:lnTo>
                          <a:pt x="247" y="199"/>
                        </a:lnTo>
                        <a:lnTo>
                          <a:pt x="249" y="199"/>
                        </a:lnTo>
                        <a:lnTo>
                          <a:pt x="250" y="203"/>
                        </a:lnTo>
                        <a:lnTo>
                          <a:pt x="250" y="199"/>
                        </a:lnTo>
                        <a:lnTo>
                          <a:pt x="253" y="199"/>
                        </a:lnTo>
                        <a:lnTo>
                          <a:pt x="258" y="199"/>
                        </a:lnTo>
                        <a:lnTo>
                          <a:pt x="257" y="203"/>
                        </a:lnTo>
                        <a:lnTo>
                          <a:pt x="258" y="200"/>
                        </a:lnTo>
                        <a:lnTo>
                          <a:pt x="262" y="200"/>
                        </a:lnTo>
                        <a:lnTo>
                          <a:pt x="260" y="205"/>
                        </a:lnTo>
                        <a:lnTo>
                          <a:pt x="262" y="202"/>
                        </a:lnTo>
                        <a:lnTo>
                          <a:pt x="265" y="203"/>
                        </a:lnTo>
                        <a:lnTo>
                          <a:pt x="262" y="207"/>
                        </a:lnTo>
                        <a:lnTo>
                          <a:pt x="265" y="205"/>
                        </a:lnTo>
                        <a:lnTo>
                          <a:pt x="267" y="208"/>
                        </a:lnTo>
                        <a:lnTo>
                          <a:pt x="263" y="210"/>
                        </a:lnTo>
                        <a:lnTo>
                          <a:pt x="268" y="208"/>
                        </a:lnTo>
                        <a:lnTo>
                          <a:pt x="268" y="213"/>
                        </a:lnTo>
                        <a:lnTo>
                          <a:pt x="268" y="217"/>
                        </a:lnTo>
                        <a:lnTo>
                          <a:pt x="263" y="217"/>
                        </a:lnTo>
                        <a:lnTo>
                          <a:pt x="268" y="218"/>
                        </a:lnTo>
                        <a:lnTo>
                          <a:pt x="267" y="222"/>
                        </a:lnTo>
                        <a:lnTo>
                          <a:pt x="263" y="225"/>
                        </a:lnTo>
                        <a:lnTo>
                          <a:pt x="260" y="223"/>
                        </a:lnTo>
                        <a:lnTo>
                          <a:pt x="263" y="226"/>
                        </a:lnTo>
                        <a:lnTo>
                          <a:pt x="258" y="228"/>
                        </a:lnTo>
                        <a:lnTo>
                          <a:pt x="257" y="225"/>
                        </a:lnTo>
                        <a:lnTo>
                          <a:pt x="257" y="230"/>
                        </a:lnTo>
                        <a:lnTo>
                          <a:pt x="253" y="230"/>
                        </a:lnTo>
                        <a:close/>
                        <a:moveTo>
                          <a:pt x="252" y="222"/>
                        </a:moveTo>
                        <a:lnTo>
                          <a:pt x="253" y="225"/>
                        </a:lnTo>
                        <a:lnTo>
                          <a:pt x="253" y="222"/>
                        </a:lnTo>
                        <a:lnTo>
                          <a:pt x="253" y="222"/>
                        </a:lnTo>
                        <a:lnTo>
                          <a:pt x="255" y="225"/>
                        </a:lnTo>
                        <a:lnTo>
                          <a:pt x="255" y="222"/>
                        </a:lnTo>
                        <a:lnTo>
                          <a:pt x="255" y="220"/>
                        </a:lnTo>
                        <a:lnTo>
                          <a:pt x="258" y="225"/>
                        </a:lnTo>
                        <a:lnTo>
                          <a:pt x="257" y="220"/>
                        </a:lnTo>
                        <a:lnTo>
                          <a:pt x="258" y="223"/>
                        </a:lnTo>
                        <a:lnTo>
                          <a:pt x="257" y="220"/>
                        </a:lnTo>
                        <a:lnTo>
                          <a:pt x="258" y="218"/>
                        </a:lnTo>
                        <a:lnTo>
                          <a:pt x="262" y="220"/>
                        </a:lnTo>
                        <a:lnTo>
                          <a:pt x="258" y="217"/>
                        </a:lnTo>
                        <a:lnTo>
                          <a:pt x="260" y="217"/>
                        </a:lnTo>
                        <a:lnTo>
                          <a:pt x="260" y="215"/>
                        </a:lnTo>
                        <a:lnTo>
                          <a:pt x="263" y="215"/>
                        </a:lnTo>
                        <a:lnTo>
                          <a:pt x="260" y="213"/>
                        </a:lnTo>
                        <a:lnTo>
                          <a:pt x="263" y="213"/>
                        </a:lnTo>
                        <a:lnTo>
                          <a:pt x="260" y="213"/>
                        </a:lnTo>
                        <a:lnTo>
                          <a:pt x="263" y="212"/>
                        </a:lnTo>
                        <a:lnTo>
                          <a:pt x="260" y="212"/>
                        </a:lnTo>
                        <a:lnTo>
                          <a:pt x="258" y="210"/>
                        </a:lnTo>
                        <a:lnTo>
                          <a:pt x="263" y="208"/>
                        </a:lnTo>
                        <a:lnTo>
                          <a:pt x="258" y="210"/>
                        </a:lnTo>
                        <a:lnTo>
                          <a:pt x="258" y="210"/>
                        </a:lnTo>
                        <a:lnTo>
                          <a:pt x="262" y="207"/>
                        </a:lnTo>
                        <a:lnTo>
                          <a:pt x="258" y="208"/>
                        </a:lnTo>
                        <a:lnTo>
                          <a:pt x="257" y="208"/>
                        </a:lnTo>
                        <a:lnTo>
                          <a:pt x="258" y="205"/>
                        </a:lnTo>
                        <a:lnTo>
                          <a:pt x="257" y="208"/>
                        </a:lnTo>
                        <a:lnTo>
                          <a:pt x="258" y="203"/>
                        </a:lnTo>
                        <a:lnTo>
                          <a:pt x="255" y="207"/>
                        </a:lnTo>
                        <a:lnTo>
                          <a:pt x="255" y="207"/>
                        </a:lnTo>
                        <a:lnTo>
                          <a:pt x="255" y="203"/>
                        </a:lnTo>
                        <a:lnTo>
                          <a:pt x="253" y="207"/>
                        </a:lnTo>
                        <a:lnTo>
                          <a:pt x="253" y="202"/>
                        </a:lnTo>
                        <a:lnTo>
                          <a:pt x="252" y="207"/>
                        </a:lnTo>
                        <a:lnTo>
                          <a:pt x="252" y="202"/>
                        </a:lnTo>
                        <a:lnTo>
                          <a:pt x="252" y="207"/>
                        </a:lnTo>
                        <a:lnTo>
                          <a:pt x="249" y="207"/>
                        </a:lnTo>
                        <a:lnTo>
                          <a:pt x="247" y="203"/>
                        </a:lnTo>
                        <a:lnTo>
                          <a:pt x="249" y="208"/>
                        </a:lnTo>
                        <a:lnTo>
                          <a:pt x="249" y="208"/>
                        </a:lnTo>
                        <a:lnTo>
                          <a:pt x="245" y="205"/>
                        </a:lnTo>
                        <a:lnTo>
                          <a:pt x="247" y="208"/>
                        </a:lnTo>
                        <a:lnTo>
                          <a:pt x="244" y="207"/>
                        </a:lnTo>
                        <a:lnTo>
                          <a:pt x="247" y="210"/>
                        </a:lnTo>
                        <a:lnTo>
                          <a:pt x="247" y="210"/>
                        </a:lnTo>
                        <a:lnTo>
                          <a:pt x="242" y="208"/>
                        </a:lnTo>
                        <a:lnTo>
                          <a:pt x="245" y="212"/>
                        </a:lnTo>
                        <a:lnTo>
                          <a:pt x="245" y="212"/>
                        </a:lnTo>
                        <a:lnTo>
                          <a:pt x="242" y="212"/>
                        </a:lnTo>
                        <a:lnTo>
                          <a:pt x="244" y="212"/>
                        </a:lnTo>
                        <a:lnTo>
                          <a:pt x="245" y="212"/>
                        </a:lnTo>
                        <a:lnTo>
                          <a:pt x="244" y="212"/>
                        </a:lnTo>
                        <a:lnTo>
                          <a:pt x="245" y="213"/>
                        </a:lnTo>
                        <a:lnTo>
                          <a:pt x="244" y="212"/>
                        </a:lnTo>
                        <a:lnTo>
                          <a:pt x="240" y="212"/>
                        </a:lnTo>
                        <a:lnTo>
                          <a:pt x="245" y="213"/>
                        </a:lnTo>
                        <a:lnTo>
                          <a:pt x="240" y="213"/>
                        </a:lnTo>
                        <a:lnTo>
                          <a:pt x="245" y="215"/>
                        </a:lnTo>
                        <a:lnTo>
                          <a:pt x="240" y="215"/>
                        </a:lnTo>
                        <a:lnTo>
                          <a:pt x="245" y="215"/>
                        </a:lnTo>
                        <a:lnTo>
                          <a:pt x="245" y="217"/>
                        </a:lnTo>
                        <a:lnTo>
                          <a:pt x="242" y="218"/>
                        </a:lnTo>
                        <a:lnTo>
                          <a:pt x="245" y="217"/>
                        </a:lnTo>
                        <a:lnTo>
                          <a:pt x="242" y="220"/>
                        </a:lnTo>
                        <a:lnTo>
                          <a:pt x="247" y="218"/>
                        </a:lnTo>
                        <a:lnTo>
                          <a:pt x="244" y="220"/>
                        </a:lnTo>
                        <a:lnTo>
                          <a:pt x="247" y="218"/>
                        </a:lnTo>
                        <a:lnTo>
                          <a:pt x="249" y="220"/>
                        </a:lnTo>
                        <a:lnTo>
                          <a:pt x="247" y="223"/>
                        </a:lnTo>
                        <a:lnTo>
                          <a:pt x="249" y="220"/>
                        </a:lnTo>
                        <a:lnTo>
                          <a:pt x="247" y="225"/>
                        </a:lnTo>
                        <a:lnTo>
                          <a:pt x="250" y="220"/>
                        </a:lnTo>
                        <a:lnTo>
                          <a:pt x="250" y="220"/>
                        </a:lnTo>
                        <a:lnTo>
                          <a:pt x="250" y="220"/>
                        </a:lnTo>
                        <a:lnTo>
                          <a:pt x="252" y="222"/>
                        </a:lnTo>
                        <a:lnTo>
                          <a:pt x="252" y="225"/>
                        </a:lnTo>
                        <a:lnTo>
                          <a:pt x="252" y="222"/>
                        </a:lnTo>
                        <a:close/>
                        <a:moveTo>
                          <a:pt x="69" y="159"/>
                        </a:moveTo>
                        <a:lnTo>
                          <a:pt x="64" y="157"/>
                        </a:lnTo>
                        <a:lnTo>
                          <a:pt x="61" y="157"/>
                        </a:lnTo>
                        <a:lnTo>
                          <a:pt x="63" y="153"/>
                        </a:lnTo>
                        <a:lnTo>
                          <a:pt x="61" y="156"/>
                        </a:lnTo>
                        <a:lnTo>
                          <a:pt x="63" y="153"/>
                        </a:lnTo>
                        <a:lnTo>
                          <a:pt x="60" y="156"/>
                        </a:lnTo>
                        <a:lnTo>
                          <a:pt x="58" y="154"/>
                        </a:lnTo>
                        <a:lnTo>
                          <a:pt x="60" y="151"/>
                        </a:lnTo>
                        <a:lnTo>
                          <a:pt x="56" y="153"/>
                        </a:lnTo>
                        <a:lnTo>
                          <a:pt x="55" y="149"/>
                        </a:lnTo>
                        <a:lnTo>
                          <a:pt x="53" y="141"/>
                        </a:lnTo>
                        <a:lnTo>
                          <a:pt x="53" y="95"/>
                        </a:lnTo>
                        <a:lnTo>
                          <a:pt x="56" y="90"/>
                        </a:lnTo>
                        <a:lnTo>
                          <a:pt x="60" y="93"/>
                        </a:lnTo>
                        <a:lnTo>
                          <a:pt x="56" y="90"/>
                        </a:lnTo>
                        <a:lnTo>
                          <a:pt x="61" y="87"/>
                        </a:lnTo>
                        <a:lnTo>
                          <a:pt x="64" y="85"/>
                        </a:lnTo>
                        <a:lnTo>
                          <a:pt x="66" y="90"/>
                        </a:lnTo>
                        <a:lnTo>
                          <a:pt x="66" y="85"/>
                        </a:lnTo>
                        <a:lnTo>
                          <a:pt x="69" y="85"/>
                        </a:lnTo>
                        <a:lnTo>
                          <a:pt x="285" y="85"/>
                        </a:lnTo>
                        <a:lnTo>
                          <a:pt x="291" y="88"/>
                        </a:lnTo>
                        <a:lnTo>
                          <a:pt x="288" y="92"/>
                        </a:lnTo>
                        <a:lnTo>
                          <a:pt x="291" y="88"/>
                        </a:lnTo>
                        <a:lnTo>
                          <a:pt x="296" y="97"/>
                        </a:lnTo>
                        <a:lnTo>
                          <a:pt x="298" y="102"/>
                        </a:lnTo>
                        <a:lnTo>
                          <a:pt x="298" y="141"/>
                        </a:lnTo>
                        <a:lnTo>
                          <a:pt x="296" y="148"/>
                        </a:lnTo>
                        <a:lnTo>
                          <a:pt x="296" y="148"/>
                        </a:lnTo>
                        <a:lnTo>
                          <a:pt x="291" y="148"/>
                        </a:lnTo>
                        <a:lnTo>
                          <a:pt x="296" y="149"/>
                        </a:lnTo>
                        <a:lnTo>
                          <a:pt x="295" y="149"/>
                        </a:lnTo>
                        <a:lnTo>
                          <a:pt x="291" y="148"/>
                        </a:lnTo>
                        <a:lnTo>
                          <a:pt x="295" y="151"/>
                        </a:lnTo>
                        <a:lnTo>
                          <a:pt x="291" y="154"/>
                        </a:lnTo>
                        <a:lnTo>
                          <a:pt x="286" y="157"/>
                        </a:lnTo>
                        <a:lnTo>
                          <a:pt x="285" y="154"/>
                        </a:lnTo>
                        <a:lnTo>
                          <a:pt x="286" y="157"/>
                        </a:lnTo>
                        <a:lnTo>
                          <a:pt x="285" y="157"/>
                        </a:lnTo>
                        <a:lnTo>
                          <a:pt x="283" y="154"/>
                        </a:lnTo>
                        <a:lnTo>
                          <a:pt x="283" y="157"/>
                        </a:lnTo>
                        <a:lnTo>
                          <a:pt x="280" y="159"/>
                        </a:lnTo>
                        <a:lnTo>
                          <a:pt x="69" y="159"/>
                        </a:lnTo>
                        <a:close/>
                        <a:moveTo>
                          <a:pt x="66" y="149"/>
                        </a:moveTo>
                        <a:lnTo>
                          <a:pt x="68" y="149"/>
                        </a:lnTo>
                        <a:lnTo>
                          <a:pt x="68" y="154"/>
                        </a:lnTo>
                        <a:lnTo>
                          <a:pt x="68" y="149"/>
                        </a:lnTo>
                        <a:lnTo>
                          <a:pt x="69" y="149"/>
                        </a:lnTo>
                        <a:lnTo>
                          <a:pt x="281" y="149"/>
                        </a:lnTo>
                        <a:lnTo>
                          <a:pt x="283" y="154"/>
                        </a:lnTo>
                        <a:lnTo>
                          <a:pt x="283" y="149"/>
                        </a:lnTo>
                        <a:lnTo>
                          <a:pt x="283" y="149"/>
                        </a:lnTo>
                        <a:lnTo>
                          <a:pt x="285" y="153"/>
                        </a:lnTo>
                        <a:lnTo>
                          <a:pt x="285" y="149"/>
                        </a:lnTo>
                        <a:lnTo>
                          <a:pt x="286" y="148"/>
                        </a:lnTo>
                        <a:lnTo>
                          <a:pt x="290" y="149"/>
                        </a:lnTo>
                        <a:lnTo>
                          <a:pt x="288" y="146"/>
                        </a:lnTo>
                        <a:lnTo>
                          <a:pt x="291" y="149"/>
                        </a:lnTo>
                        <a:lnTo>
                          <a:pt x="288" y="146"/>
                        </a:lnTo>
                        <a:lnTo>
                          <a:pt x="291" y="148"/>
                        </a:lnTo>
                        <a:lnTo>
                          <a:pt x="288" y="146"/>
                        </a:lnTo>
                        <a:lnTo>
                          <a:pt x="291" y="146"/>
                        </a:lnTo>
                        <a:lnTo>
                          <a:pt x="288" y="144"/>
                        </a:lnTo>
                        <a:lnTo>
                          <a:pt x="293" y="146"/>
                        </a:lnTo>
                        <a:lnTo>
                          <a:pt x="288" y="143"/>
                        </a:lnTo>
                        <a:lnTo>
                          <a:pt x="293" y="144"/>
                        </a:lnTo>
                        <a:lnTo>
                          <a:pt x="288" y="143"/>
                        </a:lnTo>
                        <a:lnTo>
                          <a:pt x="290" y="141"/>
                        </a:lnTo>
                        <a:lnTo>
                          <a:pt x="288" y="100"/>
                        </a:lnTo>
                        <a:lnTo>
                          <a:pt x="293" y="98"/>
                        </a:lnTo>
                        <a:lnTo>
                          <a:pt x="288" y="100"/>
                        </a:lnTo>
                        <a:lnTo>
                          <a:pt x="288" y="98"/>
                        </a:lnTo>
                        <a:lnTo>
                          <a:pt x="291" y="97"/>
                        </a:lnTo>
                        <a:lnTo>
                          <a:pt x="288" y="98"/>
                        </a:lnTo>
                        <a:lnTo>
                          <a:pt x="291" y="95"/>
                        </a:lnTo>
                        <a:lnTo>
                          <a:pt x="288" y="98"/>
                        </a:lnTo>
                        <a:lnTo>
                          <a:pt x="291" y="93"/>
                        </a:lnTo>
                        <a:lnTo>
                          <a:pt x="286" y="97"/>
                        </a:lnTo>
                        <a:lnTo>
                          <a:pt x="286" y="97"/>
                        </a:lnTo>
                        <a:lnTo>
                          <a:pt x="290" y="92"/>
                        </a:lnTo>
                        <a:lnTo>
                          <a:pt x="286" y="95"/>
                        </a:lnTo>
                        <a:lnTo>
                          <a:pt x="288" y="92"/>
                        </a:lnTo>
                        <a:lnTo>
                          <a:pt x="285" y="95"/>
                        </a:lnTo>
                        <a:lnTo>
                          <a:pt x="286" y="90"/>
                        </a:lnTo>
                        <a:lnTo>
                          <a:pt x="285" y="95"/>
                        </a:lnTo>
                        <a:lnTo>
                          <a:pt x="286" y="90"/>
                        </a:lnTo>
                        <a:lnTo>
                          <a:pt x="283" y="93"/>
                        </a:lnTo>
                        <a:lnTo>
                          <a:pt x="285" y="90"/>
                        </a:lnTo>
                        <a:lnTo>
                          <a:pt x="283" y="93"/>
                        </a:lnTo>
                        <a:lnTo>
                          <a:pt x="281" y="93"/>
                        </a:lnTo>
                        <a:lnTo>
                          <a:pt x="281" y="88"/>
                        </a:lnTo>
                        <a:lnTo>
                          <a:pt x="281" y="93"/>
                        </a:lnTo>
                        <a:lnTo>
                          <a:pt x="280" y="93"/>
                        </a:lnTo>
                        <a:lnTo>
                          <a:pt x="68" y="93"/>
                        </a:lnTo>
                        <a:lnTo>
                          <a:pt x="66" y="90"/>
                        </a:lnTo>
                        <a:lnTo>
                          <a:pt x="68" y="93"/>
                        </a:lnTo>
                        <a:lnTo>
                          <a:pt x="66" y="90"/>
                        </a:lnTo>
                        <a:lnTo>
                          <a:pt x="66" y="93"/>
                        </a:lnTo>
                        <a:lnTo>
                          <a:pt x="64" y="90"/>
                        </a:lnTo>
                        <a:lnTo>
                          <a:pt x="66" y="93"/>
                        </a:lnTo>
                        <a:lnTo>
                          <a:pt x="64" y="95"/>
                        </a:lnTo>
                        <a:lnTo>
                          <a:pt x="63" y="92"/>
                        </a:lnTo>
                        <a:lnTo>
                          <a:pt x="64" y="95"/>
                        </a:lnTo>
                        <a:lnTo>
                          <a:pt x="61" y="92"/>
                        </a:lnTo>
                        <a:lnTo>
                          <a:pt x="63" y="95"/>
                        </a:lnTo>
                        <a:lnTo>
                          <a:pt x="63" y="97"/>
                        </a:lnTo>
                        <a:lnTo>
                          <a:pt x="58" y="95"/>
                        </a:lnTo>
                        <a:lnTo>
                          <a:pt x="63" y="97"/>
                        </a:lnTo>
                        <a:lnTo>
                          <a:pt x="58" y="95"/>
                        </a:lnTo>
                        <a:lnTo>
                          <a:pt x="61" y="98"/>
                        </a:lnTo>
                        <a:lnTo>
                          <a:pt x="58" y="97"/>
                        </a:lnTo>
                        <a:lnTo>
                          <a:pt x="61" y="98"/>
                        </a:lnTo>
                        <a:lnTo>
                          <a:pt x="61" y="100"/>
                        </a:lnTo>
                        <a:lnTo>
                          <a:pt x="56" y="100"/>
                        </a:lnTo>
                        <a:lnTo>
                          <a:pt x="61" y="100"/>
                        </a:lnTo>
                        <a:lnTo>
                          <a:pt x="61" y="102"/>
                        </a:lnTo>
                        <a:lnTo>
                          <a:pt x="61" y="143"/>
                        </a:lnTo>
                        <a:lnTo>
                          <a:pt x="56" y="144"/>
                        </a:lnTo>
                        <a:lnTo>
                          <a:pt x="61" y="144"/>
                        </a:lnTo>
                        <a:lnTo>
                          <a:pt x="63" y="146"/>
                        </a:lnTo>
                        <a:lnTo>
                          <a:pt x="60" y="149"/>
                        </a:lnTo>
                        <a:lnTo>
                          <a:pt x="63" y="148"/>
                        </a:lnTo>
                        <a:lnTo>
                          <a:pt x="60" y="151"/>
                        </a:lnTo>
                        <a:lnTo>
                          <a:pt x="63" y="148"/>
                        </a:lnTo>
                        <a:lnTo>
                          <a:pt x="61" y="151"/>
                        </a:lnTo>
                        <a:lnTo>
                          <a:pt x="64" y="148"/>
                        </a:lnTo>
                        <a:lnTo>
                          <a:pt x="61" y="151"/>
                        </a:lnTo>
                        <a:lnTo>
                          <a:pt x="64" y="149"/>
                        </a:lnTo>
                        <a:lnTo>
                          <a:pt x="63" y="153"/>
                        </a:lnTo>
                        <a:lnTo>
                          <a:pt x="64" y="149"/>
                        </a:lnTo>
                        <a:lnTo>
                          <a:pt x="64" y="153"/>
                        </a:lnTo>
                        <a:lnTo>
                          <a:pt x="66" y="149"/>
                        </a:lnTo>
                        <a:close/>
                        <a:moveTo>
                          <a:pt x="253" y="138"/>
                        </a:moveTo>
                        <a:lnTo>
                          <a:pt x="247" y="138"/>
                        </a:lnTo>
                        <a:lnTo>
                          <a:pt x="249" y="133"/>
                        </a:lnTo>
                        <a:lnTo>
                          <a:pt x="245" y="136"/>
                        </a:lnTo>
                        <a:lnTo>
                          <a:pt x="244" y="136"/>
                        </a:lnTo>
                        <a:lnTo>
                          <a:pt x="245" y="131"/>
                        </a:lnTo>
                        <a:lnTo>
                          <a:pt x="244" y="136"/>
                        </a:lnTo>
                        <a:lnTo>
                          <a:pt x="242" y="134"/>
                        </a:lnTo>
                        <a:lnTo>
                          <a:pt x="244" y="131"/>
                        </a:lnTo>
                        <a:lnTo>
                          <a:pt x="240" y="133"/>
                        </a:lnTo>
                        <a:lnTo>
                          <a:pt x="237" y="126"/>
                        </a:lnTo>
                        <a:lnTo>
                          <a:pt x="242" y="125"/>
                        </a:lnTo>
                        <a:lnTo>
                          <a:pt x="237" y="126"/>
                        </a:lnTo>
                        <a:lnTo>
                          <a:pt x="237" y="123"/>
                        </a:lnTo>
                        <a:lnTo>
                          <a:pt x="240" y="121"/>
                        </a:lnTo>
                        <a:lnTo>
                          <a:pt x="237" y="121"/>
                        </a:lnTo>
                        <a:lnTo>
                          <a:pt x="237" y="118"/>
                        </a:lnTo>
                        <a:lnTo>
                          <a:pt x="242" y="120"/>
                        </a:lnTo>
                        <a:lnTo>
                          <a:pt x="237" y="118"/>
                        </a:lnTo>
                        <a:lnTo>
                          <a:pt x="240" y="113"/>
                        </a:lnTo>
                        <a:lnTo>
                          <a:pt x="245" y="108"/>
                        </a:lnTo>
                        <a:lnTo>
                          <a:pt x="250" y="107"/>
                        </a:lnTo>
                        <a:lnTo>
                          <a:pt x="252" y="111"/>
                        </a:lnTo>
                        <a:lnTo>
                          <a:pt x="252" y="107"/>
                        </a:lnTo>
                        <a:lnTo>
                          <a:pt x="257" y="107"/>
                        </a:lnTo>
                        <a:lnTo>
                          <a:pt x="255" y="111"/>
                        </a:lnTo>
                        <a:lnTo>
                          <a:pt x="257" y="108"/>
                        </a:lnTo>
                        <a:lnTo>
                          <a:pt x="262" y="110"/>
                        </a:lnTo>
                        <a:lnTo>
                          <a:pt x="267" y="115"/>
                        </a:lnTo>
                        <a:lnTo>
                          <a:pt x="262" y="116"/>
                        </a:lnTo>
                        <a:lnTo>
                          <a:pt x="267" y="115"/>
                        </a:lnTo>
                        <a:lnTo>
                          <a:pt x="267" y="116"/>
                        </a:lnTo>
                        <a:lnTo>
                          <a:pt x="263" y="118"/>
                        </a:lnTo>
                        <a:lnTo>
                          <a:pt x="268" y="118"/>
                        </a:lnTo>
                        <a:lnTo>
                          <a:pt x="268" y="123"/>
                        </a:lnTo>
                        <a:lnTo>
                          <a:pt x="263" y="123"/>
                        </a:lnTo>
                        <a:lnTo>
                          <a:pt x="268" y="125"/>
                        </a:lnTo>
                        <a:lnTo>
                          <a:pt x="268" y="128"/>
                        </a:lnTo>
                        <a:lnTo>
                          <a:pt x="263" y="126"/>
                        </a:lnTo>
                        <a:lnTo>
                          <a:pt x="267" y="128"/>
                        </a:lnTo>
                        <a:lnTo>
                          <a:pt x="267" y="130"/>
                        </a:lnTo>
                        <a:lnTo>
                          <a:pt x="263" y="128"/>
                        </a:lnTo>
                        <a:lnTo>
                          <a:pt x="267" y="130"/>
                        </a:lnTo>
                        <a:lnTo>
                          <a:pt x="265" y="131"/>
                        </a:lnTo>
                        <a:lnTo>
                          <a:pt x="262" y="130"/>
                        </a:lnTo>
                        <a:lnTo>
                          <a:pt x="265" y="133"/>
                        </a:lnTo>
                        <a:lnTo>
                          <a:pt x="262" y="134"/>
                        </a:lnTo>
                        <a:lnTo>
                          <a:pt x="260" y="131"/>
                        </a:lnTo>
                        <a:lnTo>
                          <a:pt x="262" y="136"/>
                        </a:lnTo>
                        <a:lnTo>
                          <a:pt x="258" y="136"/>
                        </a:lnTo>
                        <a:lnTo>
                          <a:pt x="257" y="133"/>
                        </a:lnTo>
                        <a:lnTo>
                          <a:pt x="258" y="138"/>
                        </a:lnTo>
                        <a:lnTo>
                          <a:pt x="253" y="138"/>
                        </a:lnTo>
                        <a:close/>
                        <a:moveTo>
                          <a:pt x="253" y="130"/>
                        </a:moveTo>
                        <a:lnTo>
                          <a:pt x="253" y="134"/>
                        </a:lnTo>
                        <a:lnTo>
                          <a:pt x="253" y="130"/>
                        </a:lnTo>
                        <a:lnTo>
                          <a:pt x="255" y="134"/>
                        </a:lnTo>
                        <a:lnTo>
                          <a:pt x="255" y="131"/>
                        </a:lnTo>
                        <a:lnTo>
                          <a:pt x="255" y="130"/>
                        </a:lnTo>
                        <a:lnTo>
                          <a:pt x="257" y="130"/>
                        </a:lnTo>
                        <a:lnTo>
                          <a:pt x="258" y="133"/>
                        </a:lnTo>
                        <a:lnTo>
                          <a:pt x="257" y="128"/>
                        </a:lnTo>
                        <a:lnTo>
                          <a:pt x="257" y="128"/>
                        </a:lnTo>
                        <a:lnTo>
                          <a:pt x="260" y="131"/>
                        </a:lnTo>
                        <a:lnTo>
                          <a:pt x="258" y="128"/>
                        </a:lnTo>
                        <a:lnTo>
                          <a:pt x="258" y="126"/>
                        </a:lnTo>
                        <a:lnTo>
                          <a:pt x="263" y="128"/>
                        </a:lnTo>
                        <a:lnTo>
                          <a:pt x="262" y="126"/>
                        </a:lnTo>
                        <a:lnTo>
                          <a:pt x="260" y="126"/>
                        </a:lnTo>
                        <a:lnTo>
                          <a:pt x="260" y="125"/>
                        </a:lnTo>
                        <a:lnTo>
                          <a:pt x="263" y="125"/>
                        </a:lnTo>
                        <a:lnTo>
                          <a:pt x="260" y="123"/>
                        </a:lnTo>
                        <a:lnTo>
                          <a:pt x="260" y="123"/>
                        </a:lnTo>
                        <a:lnTo>
                          <a:pt x="263" y="121"/>
                        </a:lnTo>
                        <a:lnTo>
                          <a:pt x="260" y="121"/>
                        </a:lnTo>
                        <a:lnTo>
                          <a:pt x="263" y="120"/>
                        </a:lnTo>
                        <a:lnTo>
                          <a:pt x="260" y="121"/>
                        </a:lnTo>
                        <a:lnTo>
                          <a:pt x="258" y="120"/>
                        </a:lnTo>
                        <a:lnTo>
                          <a:pt x="262" y="116"/>
                        </a:lnTo>
                        <a:lnTo>
                          <a:pt x="260" y="118"/>
                        </a:lnTo>
                        <a:lnTo>
                          <a:pt x="258" y="120"/>
                        </a:lnTo>
                        <a:lnTo>
                          <a:pt x="258" y="118"/>
                        </a:lnTo>
                        <a:lnTo>
                          <a:pt x="262" y="115"/>
                        </a:lnTo>
                        <a:lnTo>
                          <a:pt x="258" y="118"/>
                        </a:lnTo>
                        <a:lnTo>
                          <a:pt x="260" y="115"/>
                        </a:lnTo>
                        <a:lnTo>
                          <a:pt x="257" y="116"/>
                        </a:lnTo>
                        <a:lnTo>
                          <a:pt x="257" y="116"/>
                        </a:lnTo>
                        <a:lnTo>
                          <a:pt x="258" y="113"/>
                        </a:lnTo>
                        <a:lnTo>
                          <a:pt x="255" y="116"/>
                        </a:lnTo>
                        <a:lnTo>
                          <a:pt x="253" y="115"/>
                        </a:lnTo>
                        <a:lnTo>
                          <a:pt x="253" y="111"/>
                        </a:lnTo>
                        <a:lnTo>
                          <a:pt x="252" y="115"/>
                        </a:lnTo>
                        <a:lnTo>
                          <a:pt x="252" y="111"/>
                        </a:lnTo>
                        <a:lnTo>
                          <a:pt x="252" y="115"/>
                        </a:lnTo>
                        <a:lnTo>
                          <a:pt x="250" y="115"/>
                        </a:lnTo>
                        <a:lnTo>
                          <a:pt x="249" y="111"/>
                        </a:lnTo>
                        <a:lnTo>
                          <a:pt x="250" y="116"/>
                        </a:lnTo>
                        <a:lnTo>
                          <a:pt x="249" y="116"/>
                        </a:lnTo>
                        <a:lnTo>
                          <a:pt x="247" y="113"/>
                        </a:lnTo>
                        <a:lnTo>
                          <a:pt x="249" y="116"/>
                        </a:lnTo>
                        <a:lnTo>
                          <a:pt x="245" y="113"/>
                        </a:lnTo>
                        <a:lnTo>
                          <a:pt x="249" y="116"/>
                        </a:lnTo>
                        <a:lnTo>
                          <a:pt x="245" y="115"/>
                        </a:lnTo>
                        <a:lnTo>
                          <a:pt x="247" y="118"/>
                        </a:lnTo>
                        <a:lnTo>
                          <a:pt x="244" y="115"/>
                        </a:lnTo>
                        <a:lnTo>
                          <a:pt x="247" y="118"/>
                        </a:lnTo>
                        <a:lnTo>
                          <a:pt x="244" y="116"/>
                        </a:lnTo>
                        <a:lnTo>
                          <a:pt x="247" y="118"/>
                        </a:lnTo>
                        <a:lnTo>
                          <a:pt x="242" y="116"/>
                        </a:lnTo>
                        <a:lnTo>
                          <a:pt x="245" y="120"/>
                        </a:lnTo>
                        <a:lnTo>
                          <a:pt x="245" y="121"/>
                        </a:lnTo>
                        <a:lnTo>
                          <a:pt x="242" y="121"/>
                        </a:lnTo>
                        <a:lnTo>
                          <a:pt x="240" y="121"/>
                        </a:lnTo>
                        <a:lnTo>
                          <a:pt x="245" y="121"/>
                        </a:lnTo>
                        <a:lnTo>
                          <a:pt x="240" y="121"/>
                        </a:lnTo>
                        <a:lnTo>
                          <a:pt x="245" y="123"/>
                        </a:lnTo>
                        <a:lnTo>
                          <a:pt x="240" y="123"/>
                        </a:lnTo>
                        <a:lnTo>
                          <a:pt x="245" y="125"/>
                        </a:lnTo>
                        <a:lnTo>
                          <a:pt x="245" y="125"/>
                        </a:lnTo>
                        <a:lnTo>
                          <a:pt x="242" y="126"/>
                        </a:lnTo>
                        <a:lnTo>
                          <a:pt x="245" y="126"/>
                        </a:lnTo>
                        <a:lnTo>
                          <a:pt x="242" y="128"/>
                        </a:lnTo>
                        <a:lnTo>
                          <a:pt x="247" y="126"/>
                        </a:lnTo>
                        <a:lnTo>
                          <a:pt x="247" y="126"/>
                        </a:lnTo>
                        <a:lnTo>
                          <a:pt x="244" y="130"/>
                        </a:lnTo>
                        <a:lnTo>
                          <a:pt x="247" y="128"/>
                        </a:lnTo>
                        <a:lnTo>
                          <a:pt x="245" y="131"/>
                        </a:lnTo>
                        <a:lnTo>
                          <a:pt x="249" y="128"/>
                        </a:lnTo>
                        <a:lnTo>
                          <a:pt x="249" y="128"/>
                        </a:lnTo>
                        <a:lnTo>
                          <a:pt x="247" y="133"/>
                        </a:lnTo>
                        <a:lnTo>
                          <a:pt x="249" y="130"/>
                        </a:lnTo>
                        <a:lnTo>
                          <a:pt x="250" y="130"/>
                        </a:lnTo>
                        <a:lnTo>
                          <a:pt x="250" y="134"/>
                        </a:lnTo>
                        <a:lnTo>
                          <a:pt x="252" y="130"/>
                        </a:lnTo>
                        <a:lnTo>
                          <a:pt x="250" y="134"/>
                        </a:lnTo>
                        <a:lnTo>
                          <a:pt x="252" y="130"/>
                        </a:lnTo>
                        <a:lnTo>
                          <a:pt x="253" y="13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64" name="Freeform 838"/>
                  <p:cNvSpPr>
                    <a:spLocks noEditPoints="1"/>
                  </p:cNvSpPr>
                  <p:nvPr/>
                </p:nvSpPr>
                <p:spPr bwMode="auto">
                  <a:xfrm>
                    <a:off x="12966700" y="4162425"/>
                    <a:ext cx="555625" cy="973138"/>
                  </a:xfrm>
                  <a:custGeom>
                    <a:avLst/>
                    <a:gdLst/>
                    <a:ahLst/>
                    <a:cxnLst>
                      <a:cxn ang="0">
                        <a:pos x="350" y="29"/>
                      </a:cxn>
                      <a:cxn ang="0">
                        <a:pos x="329" y="603"/>
                      </a:cxn>
                      <a:cxn ang="0">
                        <a:pos x="53" y="465"/>
                      </a:cxn>
                      <a:cxn ang="0">
                        <a:pos x="298" y="470"/>
                      </a:cxn>
                      <a:cxn ang="0">
                        <a:pos x="288" y="514"/>
                      </a:cxn>
                      <a:cxn ang="0">
                        <a:pos x="66" y="458"/>
                      </a:cxn>
                      <a:cxn ang="0">
                        <a:pos x="61" y="514"/>
                      </a:cxn>
                      <a:cxn ang="0">
                        <a:pos x="240" y="501"/>
                      </a:cxn>
                      <a:cxn ang="0">
                        <a:pos x="268" y="489"/>
                      </a:cxn>
                      <a:cxn ang="0">
                        <a:pos x="250" y="498"/>
                      </a:cxn>
                      <a:cxn ang="0">
                        <a:pos x="260" y="489"/>
                      </a:cxn>
                      <a:cxn ang="0">
                        <a:pos x="245" y="481"/>
                      </a:cxn>
                      <a:cxn ang="0">
                        <a:pos x="240" y="493"/>
                      </a:cxn>
                      <a:cxn ang="0">
                        <a:pos x="63" y="433"/>
                      </a:cxn>
                      <a:cxn ang="0">
                        <a:pos x="298" y="379"/>
                      </a:cxn>
                      <a:cxn ang="0">
                        <a:pos x="290" y="427"/>
                      </a:cxn>
                      <a:cxn ang="0">
                        <a:pos x="291" y="371"/>
                      </a:cxn>
                      <a:cxn ang="0">
                        <a:pos x="63" y="368"/>
                      </a:cxn>
                      <a:cxn ang="0">
                        <a:pos x="61" y="422"/>
                      </a:cxn>
                      <a:cxn ang="0">
                        <a:pos x="237" y="402"/>
                      </a:cxn>
                      <a:cxn ang="0">
                        <a:pos x="263" y="394"/>
                      </a:cxn>
                      <a:cxn ang="0">
                        <a:pos x="253" y="406"/>
                      </a:cxn>
                      <a:cxn ang="0">
                        <a:pos x="258" y="394"/>
                      </a:cxn>
                      <a:cxn ang="0">
                        <a:pos x="245" y="391"/>
                      </a:cxn>
                      <a:cxn ang="0">
                        <a:pos x="245" y="402"/>
                      </a:cxn>
                      <a:cxn ang="0">
                        <a:pos x="63" y="337"/>
                      </a:cxn>
                      <a:cxn ang="0">
                        <a:pos x="288" y="271"/>
                      </a:cxn>
                      <a:cxn ang="0">
                        <a:pos x="283" y="333"/>
                      </a:cxn>
                      <a:cxn ang="0">
                        <a:pos x="288" y="282"/>
                      </a:cxn>
                      <a:cxn ang="0">
                        <a:pos x="66" y="279"/>
                      </a:cxn>
                      <a:cxn ang="0">
                        <a:pos x="56" y="330"/>
                      </a:cxn>
                      <a:cxn ang="0">
                        <a:pos x="240" y="317"/>
                      </a:cxn>
                      <a:cxn ang="0">
                        <a:pos x="265" y="297"/>
                      </a:cxn>
                      <a:cxn ang="0">
                        <a:pos x="253" y="314"/>
                      </a:cxn>
                      <a:cxn ang="0">
                        <a:pos x="263" y="304"/>
                      </a:cxn>
                      <a:cxn ang="0">
                        <a:pos x="250" y="299"/>
                      </a:cxn>
                      <a:cxn ang="0">
                        <a:pos x="244" y="305"/>
                      </a:cxn>
                      <a:cxn ang="0">
                        <a:pos x="250" y="317"/>
                      </a:cxn>
                      <a:cxn ang="0">
                        <a:pos x="69" y="177"/>
                      </a:cxn>
                      <a:cxn ang="0">
                        <a:pos x="285" y="246"/>
                      </a:cxn>
                      <a:cxn ang="0">
                        <a:pos x="288" y="194"/>
                      </a:cxn>
                      <a:cxn ang="0">
                        <a:pos x="280" y="185"/>
                      </a:cxn>
                      <a:cxn ang="0">
                        <a:pos x="61" y="192"/>
                      </a:cxn>
                      <a:cxn ang="0">
                        <a:pos x="66" y="246"/>
                      </a:cxn>
                      <a:cxn ang="0">
                        <a:pos x="245" y="200"/>
                      </a:cxn>
                      <a:cxn ang="0">
                        <a:pos x="267" y="222"/>
                      </a:cxn>
                      <a:cxn ang="0">
                        <a:pos x="260" y="215"/>
                      </a:cxn>
                      <a:cxn ang="0">
                        <a:pos x="252" y="202"/>
                      </a:cxn>
                      <a:cxn ang="0">
                        <a:pos x="245" y="215"/>
                      </a:cxn>
                      <a:cxn ang="0">
                        <a:pos x="63" y="153"/>
                      </a:cxn>
                      <a:cxn ang="0">
                        <a:pos x="298" y="102"/>
                      </a:cxn>
                      <a:cxn ang="0">
                        <a:pos x="281" y="149"/>
                      </a:cxn>
                      <a:cxn ang="0">
                        <a:pos x="288" y="98"/>
                      </a:cxn>
                      <a:cxn ang="0">
                        <a:pos x="66" y="90"/>
                      </a:cxn>
                      <a:cxn ang="0">
                        <a:pos x="56" y="144"/>
                      </a:cxn>
                      <a:cxn ang="0">
                        <a:pos x="244" y="131"/>
                      </a:cxn>
                      <a:cxn ang="0">
                        <a:pos x="267" y="116"/>
                      </a:cxn>
                      <a:cxn ang="0">
                        <a:pos x="253" y="134"/>
                      </a:cxn>
                      <a:cxn ang="0">
                        <a:pos x="258" y="120"/>
                      </a:cxn>
                      <a:cxn ang="0">
                        <a:pos x="245" y="113"/>
                      </a:cxn>
                      <a:cxn ang="0">
                        <a:pos x="247" y="126"/>
                      </a:cxn>
                    </a:cxnLst>
                    <a:rect l="0" t="0" r="r" b="b"/>
                    <a:pathLst>
                      <a:path w="350" h="613">
                        <a:moveTo>
                          <a:pt x="319" y="613"/>
                        </a:moveTo>
                        <a:lnTo>
                          <a:pt x="25" y="613"/>
                        </a:lnTo>
                        <a:lnTo>
                          <a:pt x="17" y="611"/>
                        </a:lnTo>
                        <a:lnTo>
                          <a:pt x="10" y="606"/>
                        </a:lnTo>
                        <a:lnTo>
                          <a:pt x="5" y="599"/>
                        </a:lnTo>
                        <a:lnTo>
                          <a:pt x="2" y="593"/>
                        </a:lnTo>
                        <a:lnTo>
                          <a:pt x="0" y="588"/>
                        </a:lnTo>
                        <a:lnTo>
                          <a:pt x="0" y="583"/>
                        </a:lnTo>
                        <a:lnTo>
                          <a:pt x="0" y="28"/>
                        </a:lnTo>
                        <a:lnTo>
                          <a:pt x="0" y="21"/>
                        </a:lnTo>
                        <a:lnTo>
                          <a:pt x="4" y="15"/>
                        </a:lnTo>
                        <a:lnTo>
                          <a:pt x="9" y="8"/>
                        </a:lnTo>
                        <a:lnTo>
                          <a:pt x="15" y="3"/>
                        </a:lnTo>
                        <a:lnTo>
                          <a:pt x="25" y="0"/>
                        </a:lnTo>
                        <a:lnTo>
                          <a:pt x="30" y="0"/>
                        </a:lnTo>
                        <a:lnTo>
                          <a:pt x="319" y="0"/>
                        </a:lnTo>
                        <a:lnTo>
                          <a:pt x="324" y="0"/>
                        </a:lnTo>
                        <a:lnTo>
                          <a:pt x="332" y="1"/>
                        </a:lnTo>
                        <a:lnTo>
                          <a:pt x="339" y="6"/>
                        </a:lnTo>
                        <a:lnTo>
                          <a:pt x="344" y="13"/>
                        </a:lnTo>
                        <a:lnTo>
                          <a:pt x="347" y="19"/>
                        </a:lnTo>
                        <a:lnTo>
                          <a:pt x="349" y="24"/>
                        </a:lnTo>
                        <a:lnTo>
                          <a:pt x="350" y="29"/>
                        </a:lnTo>
                        <a:lnTo>
                          <a:pt x="350" y="585"/>
                        </a:lnTo>
                        <a:lnTo>
                          <a:pt x="349" y="591"/>
                        </a:lnTo>
                        <a:lnTo>
                          <a:pt x="345" y="598"/>
                        </a:lnTo>
                        <a:lnTo>
                          <a:pt x="341" y="604"/>
                        </a:lnTo>
                        <a:lnTo>
                          <a:pt x="334" y="609"/>
                        </a:lnTo>
                        <a:lnTo>
                          <a:pt x="327" y="613"/>
                        </a:lnTo>
                        <a:lnTo>
                          <a:pt x="321" y="613"/>
                        </a:lnTo>
                        <a:lnTo>
                          <a:pt x="319" y="613"/>
                        </a:lnTo>
                        <a:moveTo>
                          <a:pt x="319" y="8"/>
                        </a:moveTo>
                        <a:lnTo>
                          <a:pt x="27" y="8"/>
                        </a:lnTo>
                        <a:lnTo>
                          <a:pt x="20" y="11"/>
                        </a:lnTo>
                        <a:lnTo>
                          <a:pt x="14" y="15"/>
                        </a:lnTo>
                        <a:lnTo>
                          <a:pt x="10" y="21"/>
                        </a:lnTo>
                        <a:lnTo>
                          <a:pt x="9" y="26"/>
                        </a:lnTo>
                        <a:lnTo>
                          <a:pt x="9" y="29"/>
                        </a:lnTo>
                        <a:lnTo>
                          <a:pt x="9" y="585"/>
                        </a:lnTo>
                        <a:lnTo>
                          <a:pt x="10" y="591"/>
                        </a:lnTo>
                        <a:lnTo>
                          <a:pt x="14" y="596"/>
                        </a:lnTo>
                        <a:lnTo>
                          <a:pt x="18" y="601"/>
                        </a:lnTo>
                        <a:lnTo>
                          <a:pt x="25" y="604"/>
                        </a:lnTo>
                        <a:lnTo>
                          <a:pt x="32" y="604"/>
                        </a:lnTo>
                        <a:lnTo>
                          <a:pt x="322" y="604"/>
                        </a:lnTo>
                        <a:lnTo>
                          <a:pt x="329" y="603"/>
                        </a:lnTo>
                        <a:lnTo>
                          <a:pt x="336" y="598"/>
                        </a:lnTo>
                        <a:lnTo>
                          <a:pt x="339" y="591"/>
                        </a:lnTo>
                        <a:lnTo>
                          <a:pt x="341" y="585"/>
                        </a:lnTo>
                        <a:lnTo>
                          <a:pt x="341" y="583"/>
                        </a:lnTo>
                        <a:lnTo>
                          <a:pt x="341" y="29"/>
                        </a:lnTo>
                        <a:lnTo>
                          <a:pt x="339" y="21"/>
                        </a:lnTo>
                        <a:lnTo>
                          <a:pt x="336" y="16"/>
                        </a:lnTo>
                        <a:lnTo>
                          <a:pt x="331" y="11"/>
                        </a:lnTo>
                        <a:lnTo>
                          <a:pt x="324" y="8"/>
                        </a:lnTo>
                        <a:lnTo>
                          <a:pt x="319" y="8"/>
                        </a:lnTo>
                        <a:moveTo>
                          <a:pt x="69" y="527"/>
                        </a:moveTo>
                        <a:lnTo>
                          <a:pt x="61" y="525"/>
                        </a:lnTo>
                        <a:lnTo>
                          <a:pt x="63" y="522"/>
                        </a:lnTo>
                        <a:lnTo>
                          <a:pt x="61" y="525"/>
                        </a:lnTo>
                        <a:lnTo>
                          <a:pt x="56" y="522"/>
                        </a:lnTo>
                        <a:lnTo>
                          <a:pt x="60" y="519"/>
                        </a:lnTo>
                        <a:lnTo>
                          <a:pt x="56" y="522"/>
                        </a:lnTo>
                        <a:lnTo>
                          <a:pt x="53" y="516"/>
                        </a:lnTo>
                        <a:lnTo>
                          <a:pt x="53" y="511"/>
                        </a:lnTo>
                        <a:lnTo>
                          <a:pt x="53" y="471"/>
                        </a:lnTo>
                        <a:lnTo>
                          <a:pt x="53" y="466"/>
                        </a:lnTo>
                        <a:lnTo>
                          <a:pt x="58" y="466"/>
                        </a:lnTo>
                        <a:lnTo>
                          <a:pt x="53" y="465"/>
                        </a:lnTo>
                        <a:lnTo>
                          <a:pt x="55" y="463"/>
                        </a:lnTo>
                        <a:lnTo>
                          <a:pt x="58" y="465"/>
                        </a:lnTo>
                        <a:lnTo>
                          <a:pt x="55" y="461"/>
                        </a:lnTo>
                        <a:lnTo>
                          <a:pt x="60" y="456"/>
                        </a:lnTo>
                        <a:lnTo>
                          <a:pt x="63" y="455"/>
                        </a:lnTo>
                        <a:lnTo>
                          <a:pt x="64" y="460"/>
                        </a:lnTo>
                        <a:lnTo>
                          <a:pt x="64" y="455"/>
                        </a:lnTo>
                        <a:lnTo>
                          <a:pt x="64" y="455"/>
                        </a:lnTo>
                        <a:lnTo>
                          <a:pt x="66" y="458"/>
                        </a:lnTo>
                        <a:lnTo>
                          <a:pt x="66" y="455"/>
                        </a:lnTo>
                        <a:lnTo>
                          <a:pt x="69" y="455"/>
                        </a:lnTo>
                        <a:lnTo>
                          <a:pt x="285" y="455"/>
                        </a:lnTo>
                        <a:lnTo>
                          <a:pt x="288" y="456"/>
                        </a:lnTo>
                        <a:lnTo>
                          <a:pt x="286" y="460"/>
                        </a:lnTo>
                        <a:lnTo>
                          <a:pt x="290" y="456"/>
                        </a:lnTo>
                        <a:lnTo>
                          <a:pt x="288" y="460"/>
                        </a:lnTo>
                        <a:lnTo>
                          <a:pt x="290" y="456"/>
                        </a:lnTo>
                        <a:lnTo>
                          <a:pt x="295" y="461"/>
                        </a:lnTo>
                        <a:lnTo>
                          <a:pt x="291" y="465"/>
                        </a:lnTo>
                        <a:lnTo>
                          <a:pt x="295" y="463"/>
                        </a:lnTo>
                        <a:lnTo>
                          <a:pt x="291" y="465"/>
                        </a:lnTo>
                        <a:lnTo>
                          <a:pt x="296" y="463"/>
                        </a:lnTo>
                        <a:lnTo>
                          <a:pt x="298" y="470"/>
                        </a:lnTo>
                        <a:lnTo>
                          <a:pt x="298" y="471"/>
                        </a:lnTo>
                        <a:lnTo>
                          <a:pt x="296" y="517"/>
                        </a:lnTo>
                        <a:lnTo>
                          <a:pt x="293" y="522"/>
                        </a:lnTo>
                        <a:lnTo>
                          <a:pt x="290" y="519"/>
                        </a:lnTo>
                        <a:lnTo>
                          <a:pt x="293" y="522"/>
                        </a:lnTo>
                        <a:lnTo>
                          <a:pt x="288" y="525"/>
                        </a:lnTo>
                        <a:lnTo>
                          <a:pt x="280" y="527"/>
                        </a:lnTo>
                        <a:lnTo>
                          <a:pt x="69" y="527"/>
                        </a:lnTo>
                        <a:moveTo>
                          <a:pt x="281" y="519"/>
                        </a:moveTo>
                        <a:lnTo>
                          <a:pt x="283" y="524"/>
                        </a:lnTo>
                        <a:lnTo>
                          <a:pt x="283" y="519"/>
                        </a:lnTo>
                        <a:lnTo>
                          <a:pt x="285" y="522"/>
                        </a:lnTo>
                        <a:lnTo>
                          <a:pt x="283" y="519"/>
                        </a:lnTo>
                        <a:lnTo>
                          <a:pt x="286" y="522"/>
                        </a:lnTo>
                        <a:lnTo>
                          <a:pt x="285" y="519"/>
                        </a:lnTo>
                        <a:lnTo>
                          <a:pt x="285" y="517"/>
                        </a:lnTo>
                        <a:lnTo>
                          <a:pt x="290" y="521"/>
                        </a:lnTo>
                        <a:lnTo>
                          <a:pt x="286" y="517"/>
                        </a:lnTo>
                        <a:lnTo>
                          <a:pt x="286" y="516"/>
                        </a:lnTo>
                        <a:lnTo>
                          <a:pt x="291" y="519"/>
                        </a:lnTo>
                        <a:lnTo>
                          <a:pt x="288" y="516"/>
                        </a:lnTo>
                        <a:lnTo>
                          <a:pt x="291" y="517"/>
                        </a:lnTo>
                        <a:lnTo>
                          <a:pt x="288" y="514"/>
                        </a:lnTo>
                        <a:lnTo>
                          <a:pt x="291" y="516"/>
                        </a:lnTo>
                        <a:lnTo>
                          <a:pt x="288" y="514"/>
                        </a:lnTo>
                        <a:lnTo>
                          <a:pt x="290" y="511"/>
                        </a:lnTo>
                        <a:lnTo>
                          <a:pt x="288" y="470"/>
                        </a:lnTo>
                        <a:lnTo>
                          <a:pt x="293" y="468"/>
                        </a:lnTo>
                        <a:lnTo>
                          <a:pt x="288" y="468"/>
                        </a:lnTo>
                        <a:lnTo>
                          <a:pt x="293" y="466"/>
                        </a:lnTo>
                        <a:lnTo>
                          <a:pt x="288" y="468"/>
                        </a:lnTo>
                        <a:lnTo>
                          <a:pt x="288" y="466"/>
                        </a:lnTo>
                        <a:lnTo>
                          <a:pt x="291" y="463"/>
                        </a:lnTo>
                        <a:lnTo>
                          <a:pt x="286" y="466"/>
                        </a:lnTo>
                        <a:lnTo>
                          <a:pt x="290" y="461"/>
                        </a:lnTo>
                        <a:lnTo>
                          <a:pt x="286" y="465"/>
                        </a:lnTo>
                        <a:lnTo>
                          <a:pt x="285" y="463"/>
                        </a:lnTo>
                        <a:lnTo>
                          <a:pt x="285" y="460"/>
                        </a:lnTo>
                        <a:lnTo>
                          <a:pt x="283" y="463"/>
                        </a:lnTo>
                        <a:lnTo>
                          <a:pt x="285" y="458"/>
                        </a:lnTo>
                        <a:lnTo>
                          <a:pt x="283" y="463"/>
                        </a:lnTo>
                        <a:lnTo>
                          <a:pt x="283" y="458"/>
                        </a:lnTo>
                        <a:lnTo>
                          <a:pt x="281" y="463"/>
                        </a:lnTo>
                        <a:lnTo>
                          <a:pt x="280" y="463"/>
                        </a:lnTo>
                        <a:lnTo>
                          <a:pt x="68" y="463"/>
                        </a:lnTo>
                        <a:lnTo>
                          <a:pt x="66" y="458"/>
                        </a:lnTo>
                        <a:lnTo>
                          <a:pt x="68" y="463"/>
                        </a:lnTo>
                        <a:lnTo>
                          <a:pt x="66" y="463"/>
                        </a:lnTo>
                        <a:lnTo>
                          <a:pt x="64" y="460"/>
                        </a:lnTo>
                        <a:lnTo>
                          <a:pt x="64" y="463"/>
                        </a:lnTo>
                        <a:lnTo>
                          <a:pt x="64" y="465"/>
                        </a:lnTo>
                        <a:lnTo>
                          <a:pt x="60" y="461"/>
                        </a:lnTo>
                        <a:lnTo>
                          <a:pt x="63" y="465"/>
                        </a:lnTo>
                        <a:lnTo>
                          <a:pt x="60" y="463"/>
                        </a:lnTo>
                        <a:lnTo>
                          <a:pt x="63" y="466"/>
                        </a:lnTo>
                        <a:lnTo>
                          <a:pt x="58" y="465"/>
                        </a:lnTo>
                        <a:lnTo>
                          <a:pt x="63" y="466"/>
                        </a:lnTo>
                        <a:lnTo>
                          <a:pt x="61" y="466"/>
                        </a:lnTo>
                        <a:lnTo>
                          <a:pt x="58" y="466"/>
                        </a:lnTo>
                        <a:lnTo>
                          <a:pt x="61" y="468"/>
                        </a:lnTo>
                        <a:lnTo>
                          <a:pt x="56" y="468"/>
                        </a:lnTo>
                        <a:lnTo>
                          <a:pt x="61" y="468"/>
                        </a:lnTo>
                        <a:lnTo>
                          <a:pt x="56" y="468"/>
                        </a:lnTo>
                        <a:lnTo>
                          <a:pt x="61" y="470"/>
                        </a:lnTo>
                        <a:lnTo>
                          <a:pt x="61" y="471"/>
                        </a:lnTo>
                        <a:lnTo>
                          <a:pt x="61" y="511"/>
                        </a:lnTo>
                        <a:lnTo>
                          <a:pt x="61" y="514"/>
                        </a:lnTo>
                        <a:lnTo>
                          <a:pt x="58" y="516"/>
                        </a:lnTo>
                        <a:lnTo>
                          <a:pt x="61" y="514"/>
                        </a:lnTo>
                        <a:lnTo>
                          <a:pt x="58" y="517"/>
                        </a:lnTo>
                        <a:lnTo>
                          <a:pt x="61" y="516"/>
                        </a:lnTo>
                        <a:lnTo>
                          <a:pt x="60" y="519"/>
                        </a:lnTo>
                        <a:lnTo>
                          <a:pt x="63" y="516"/>
                        </a:lnTo>
                        <a:lnTo>
                          <a:pt x="63" y="517"/>
                        </a:lnTo>
                        <a:lnTo>
                          <a:pt x="61" y="521"/>
                        </a:lnTo>
                        <a:lnTo>
                          <a:pt x="64" y="517"/>
                        </a:lnTo>
                        <a:lnTo>
                          <a:pt x="66" y="519"/>
                        </a:lnTo>
                        <a:lnTo>
                          <a:pt x="66" y="522"/>
                        </a:lnTo>
                        <a:lnTo>
                          <a:pt x="66" y="519"/>
                        </a:lnTo>
                        <a:lnTo>
                          <a:pt x="68" y="519"/>
                        </a:lnTo>
                        <a:lnTo>
                          <a:pt x="66" y="524"/>
                        </a:lnTo>
                        <a:lnTo>
                          <a:pt x="68" y="519"/>
                        </a:lnTo>
                        <a:lnTo>
                          <a:pt x="69" y="519"/>
                        </a:lnTo>
                        <a:lnTo>
                          <a:pt x="281" y="519"/>
                        </a:lnTo>
                        <a:moveTo>
                          <a:pt x="253" y="507"/>
                        </a:moveTo>
                        <a:lnTo>
                          <a:pt x="247" y="506"/>
                        </a:lnTo>
                        <a:lnTo>
                          <a:pt x="249" y="501"/>
                        </a:lnTo>
                        <a:lnTo>
                          <a:pt x="245" y="506"/>
                        </a:lnTo>
                        <a:lnTo>
                          <a:pt x="245" y="504"/>
                        </a:lnTo>
                        <a:lnTo>
                          <a:pt x="247" y="501"/>
                        </a:lnTo>
                        <a:lnTo>
                          <a:pt x="244" y="504"/>
                        </a:lnTo>
                        <a:lnTo>
                          <a:pt x="240" y="501"/>
                        </a:lnTo>
                        <a:lnTo>
                          <a:pt x="244" y="498"/>
                        </a:lnTo>
                        <a:lnTo>
                          <a:pt x="239" y="499"/>
                        </a:lnTo>
                        <a:lnTo>
                          <a:pt x="237" y="498"/>
                        </a:lnTo>
                        <a:lnTo>
                          <a:pt x="237" y="491"/>
                        </a:lnTo>
                        <a:lnTo>
                          <a:pt x="237" y="488"/>
                        </a:lnTo>
                        <a:lnTo>
                          <a:pt x="242" y="488"/>
                        </a:lnTo>
                        <a:lnTo>
                          <a:pt x="237" y="486"/>
                        </a:lnTo>
                        <a:lnTo>
                          <a:pt x="240" y="481"/>
                        </a:lnTo>
                        <a:lnTo>
                          <a:pt x="247" y="476"/>
                        </a:lnTo>
                        <a:lnTo>
                          <a:pt x="250" y="475"/>
                        </a:lnTo>
                        <a:lnTo>
                          <a:pt x="252" y="479"/>
                        </a:lnTo>
                        <a:lnTo>
                          <a:pt x="252" y="475"/>
                        </a:lnTo>
                        <a:lnTo>
                          <a:pt x="253" y="475"/>
                        </a:lnTo>
                        <a:lnTo>
                          <a:pt x="253" y="479"/>
                        </a:lnTo>
                        <a:lnTo>
                          <a:pt x="255" y="475"/>
                        </a:lnTo>
                        <a:lnTo>
                          <a:pt x="260" y="476"/>
                        </a:lnTo>
                        <a:lnTo>
                          <a:pt x="265" y="481"/>
                        </a:lnTo>
                        <a:lnTo>
                          <a:pt x="262" y="484"/>
                        </a:lnTo>
                        <a:lnTo>
                          <a:pt x="265" y="481"/>
                        </a:lnTo>
                        <a:lnTo>
                          <a:pt x="267" y="484"/>
                        </a:lnTo>
                        <a:lnTo>
                          <a:pt x="263" y="488"/>
                        </a:lnTo>
                        <a:lnTo>
                          <a:pt x="268" y="486"/>
                        </a:lnTo>
                        <a:lnTo>
                          <a:pt x="268" y="489"/>
                        </a:lnTo>
                        <a:lnTo>
                          <a:pt x="263" y="491"/>
                        </a:lnTo>
                        <a:lnTo>
                          <a:pt x="268" y="491"/>
                        </a:lnTo>
                        <a:lnTo>
                          <a:pt x="268" y="493"/>
                        </a:lnTo>
                        <a:lnTo>
                          <a:pt x="263" y="493"/>
                        </a:lnTo>
                        <a:lnTo>
                          <a:pt x="268" y="494"/>
                        </a:lnTo>
                        <a:lnTo>
                          <a:pt x="267" y="498"/>
                        </a:lnTo>
                        <a:lnTo>
                          <a:pt x="263" y="496"/>
                        </a:lnTo>
                        <a:lnTo>
                          <a:pt x="267" y="498"/>
                        </a:lnTo>
                        <a:lnTo>
                          <a:pt x="265" y="501"/>
                        </a:lnTo>
                        <a:lnTo>
                          <a:pt x="262" y="498"/>
                        </a:lnTo>
                        <a:lnTo>
                          <a:pt x="265" y="501"/>
                        </a:lnTo>
                        <a:lnTo>
                          <a:pt x="263" y="502"/>
                        </a:lnTo>
                        <a:lnTo>
                          <a:pt x="260" y="499"/>
                        </a:lnTo>
                        <a:lnTo>
                          <a:pt x="263" y="502"/>
                        </a:lnTo>
                        <a:lnTo>
                          <a:pt x="262" y="502"/>
                        </a:lnTo>
                        <a:lnTo>
                          <a:pt x="260" y="501"/>
                        </a:lnTo>
                        <a:lnTo>
                          <a:pt x="262" y="504"/>
                        </a:lnTo>
                        <a:lnTo>
                          <a:pt x="258" y="506"/>
                        </a:lnTo>
                        <a:lnTo>
                          <a:pt x="257" y="501"/>
                        </a:lnTo>
                        <a:lnTo>
                          <a:pt x="258" y="506"/>
                        </a:lnTo>
                        <a:lnTo>
                          <a:pt x="253" y="507"/>
                        </a:lnTo>
                        <a:moveTo>
                          <a:pt x="250" y="498"/>
                        </a:moveTo>
                        <a:lnTo>
                          <a:pt x="250" y="498"/>
                        </a:lnTo>
                        <a:lnTo>
                          <a:pt x="250" y="502"/>
                        </a:lnTo>
                        <a:lnTo>
                          <a:pt x="252" y="498"/>
                        </a:lnTo>
                        <a:lnTo>
                          <a:pt x="253" y="498"/>
                        </a:lnTo>
                        <a:lnTo>
                          <a:pt x="255" y="502"/>
                        </a:lnTo>
                        <a:lnTo>
                          <a:pt x="255" y="498"/>
                        </a:lnTo>
                        <a:lnTo>
                          <a:pt x="257" y="501"/>
                        </a:lnTo>
                        <a:lnTo>
                          <a:pt x="255" y="498"/>
                        </a:lnTo>
                        <a:lnTo>
                          <a:pt x="257" y="496"/>
                        </a:lnTo>
                        <a:lnTo>
                          <a:pt x="260" y="501"/>
                        </a:lnTo>
                        <a:lnTo>
                          <a:pt x="258" y="499"/>
                        </a:lnTo>
                        <a:lnTo>
                          <a:pt x="257" y="496"/>
                        </a:lnTo>
                        <a:lnTo>
                          <a:pt x="258" y="496"/>
                        </a:lnTo>
                        <a:lnTo>
                          <a:pt x="260" y="499"/>
                        </a:lnTo>
                        <a:lnTo>
                          <a:pt x="258" y="496"/>
                        </a:lnTo>
                        <a:lnTo>
                          <a:pt x="260" y="493"/>
                        </a:lnTo>
                        <a:lnTo>
                          <a:pt x="262" y="494"/>
                        </a:lnTo>
                        <a:lnTo>
                          <a:pt x="263" y="494"/>
                        </a:lnTo>
                        <a:lnTo>
                          <a:pt x="260" y="493"/>
                        </a:lnTo>
                        <a:lnTo>
                          <a:pt x="260" y="491"/>
                        </a:lnTo>
                        <a:lnTo>
                          <a:pt x="263" y="489"/>
                        </a:lnTo>
                        <a:lnTo>
                          <a:pt x="260" y="489"/>
                        </a:lnTo>
                        <a:lnTo>
                          <a:pt x="263" y="489"/>
                        </a:lnTo>
                        <a:lnTo>
                          <a:pt x="260" y="489"/>
                        </a:lnTo>
                        <a:lnTo>
                          <a:pt x="258" y="486"/>
                        </a:lnTo>
                        <a:lnTo>
                          <a:pt x="262" y="483"/>
                        </a:lnTo>
                        <a:lnTo>
                          <a:pt x="258" y="486"/>
                        </a:lnTo>
                        <a:lnTo>
                          <a:pt x="257" y="484"/>
                        </a:lnTo>
                        <a:lnTo>
                          <a:pt x="258" y="481"/>
                        </a:lnTo>
                        <a:lnTo>
                          <a:pt x="257" y="484"/>
                        </a:lnTo>
                        <a:lnTo>
                          <a:pt x="258" y="481"/>
                        </a:lnTo>
                        <a:lnTo>
                          <a:pt x="255" y="484"/>
                        </a:lnTo>
                        <a:lnTo>
                          <a:pt x="257" y="481"/>
                        </a:lnTo>
                        <a:lnTo>
                          <a:pt x="255" y="484"/>
                        </a:lnTo>
                        <a:lnTo>
                          <a:pt x="255" y="479"/>
                        </a:lnTo>
                        <a:lnTo>
                          <a:pt x="253" y="484"/>
                        </a:lnTo>
                        <a:lnTo>
                          <a:pt x="252" y="484"/>
                        </a:lnTo>
                        <a:lnTo>
                          <a:pt x="252" y="479"/>
                        </a:lnTo>
                        <a:lnTo>
                          <a:pt x="252" y="484"/>
                        </a:lnTo>
                        <a:lnTo>
                          <a:pt x="250" y="484"/>
                        </a:lnTo>
                        <a:lnTo>
                          <a:pt x="250" y="479"/>
                        </a:lnTo>
                        <a:lnTo>
                          <a:pt x="250" y="484"/>
                        </a:lnTo>
                        <a:lnTo>
                          <a:pt x="249" y="481"/>
                        </a:lnTo>
                        <a:lnTo>
                          <a:pt x="250" y="484"/>
                        </a:lnTo>
                        <a:lnTo>
                          <a:pt x="247" y="481"/>
                        </a:lnTo>
                        <a:lnTo>
                          <a:pt x="249" y="484"/>
                        </a:lnTo>
                        <a:lnTo>
                          <a:pt x="245" y="481"/>
                        </a:lnTo>
                        <a:lnTo>
                          <a:pt x="247" y="483"/>
                        </a:lnTo>
                        <a:lnTo>
                          <a:pt x="249" y="484"/>
                        </a:lnTo>
                        <a:lnTo>
                          <a:pt x="249" y="486"/>
                        </a:lnTo>
                        <a:lnTo>
                          <a:pt x="245" y="483"/>
                        </a:lnTo>
                        <a:lnTo>
                          <a:pt x="247" y="486"/>
                        </a:lnTo>
                        <a:lnTo>
                          <a:pt x="244" y="483"/>
                        </a:lnTo>
                        <a:lnTo>
                          <a:pt x="247" y="486"/>
                        </a:lnTo>
                        <a:lnTo>
                          <a:pt x="244" y="484"/>
                        </a:lnTo>
                        <a:lnTo>
                          <a:pt x="247" y="488"/>
                        </a:lnTo>
                        <a:lnTo>
                          <a:pt x="242" y="486"/>
                        </a:lnTo>
                        <a:lnTo>
                          <a:pt x="245" y="488"/>
                        </a:lnTo>
                        <a:lnTo>
                          <a:pt x="245" y="489"/>
                        </a:lnTo>
                        <a:lnTo>
                          <a:pt x="242" y="488"/>
                        </a:lnTo>
                        <a:lnTo>
                          <a:pt x="244" y="489"/>
                        </a:lnTo>
                        <a:lnTo>
                          <a:pt x="245" y="489"/>
                        </a:lnTo>
                        <a:lnTo>
                          <a:pt x="244" y="489"/>
                        </a:lnTo>
                        <a:lnTo>
                          <a:pt x="245" y="489"/>
                        </a:lnTo>
                        <a:lnTo>
                          <a:pt x="244" y="489"/>
                        </a:lnTo>
                        <a:lnTo>
                          <a:pt x="240" y="489"/>
                        </a:lnTo>
                        <a:lnTo>
                          <a:pt x="245" y="491"/>
                        </a:lnTo>
                        <a:lnTo>
                          <a:pt x="240" y="491"/>
                        </a:lnTo>
                        <a:lnTo>
                          <a:pt x="245" y="491"/>
                        </a:lnTo>
                        <a:lnTo>
                          <a:pt x="240" y="493"/>
                        </a:lnTo>
                        <a:lnTo>
                          <a:pt x="245" y="493"/>
                        </a:lnTo>
                        <a:lnTo>
                          <a:pt x="245" y="493"/>
                        </a:lnTo>
                        <a:lnTo>
                          <a:pt x="242" y="494"/>
                        </a:lnTo>
                        <a:lnTo>
                          <a:pt x="245" y="494"/>
                        </a:lnTo>
                        <a:lnTo>
                          <a:pt x="242" y="496"/>
                        </a:lnTo>
                        <a:lnTo>
                          <a:pt x="247" y="494"/>
                        </a:lnTo>
                        <a:lnTo>
                          <a:pt x="244" y="498"/>
                        </a:lnTo>
                        <a:lnTo>
                          <a:pt x="247" y="496"/>
                        </a:lnTo>
                        <a:lnTo>
                          <a:pt x="244" y="498"/>
                        </a:lnTo>
                        <a:lnTo>
                          <a:pt x="247" y="496"/>
                        </a:lnTo>
                        <a:lnTo>
                          <a:pt x="249" y="496"/>
                        </a:lnTo>
                        <a:lnTo>
                          <a:pt x="245" y="501"/>
                        </a:lnTo>
                        <a:lnTo>
                          <a:pt x="249" y="498"/>
                        </a:lnTo>
                        <a:lnTo>
                          <a:pt x="249" y="498"/>
                        </a:lnTo>
                        <a:lnTo>
                          <a:pt x="249" y="498"/>
                        </a:lnTo>
                        <a:lnTo>
                          <a:pt x="250" y="498"/>
                        </a:lnTo>
                        <a:lnTo>
                          <a:pt x="249" y="499"/>
                        </a:lnTo>
                        <a:lnTo>
                          <a:pt x="247" y="501"/>
                        </a:lnTo>
                        <a:lnTo>
                          <a:pt x="250" y="498"/>
                        </a:lnTo>
                        <a:moveTo>
                          <a:pt x="69" y="435"/>
                        </a:moveTo>
                        <a:lnTo>
                          <a:pt x="63" y="435"/>
                        </a:lnTo>
                        <a:lnTo>
                          <a:pt x="64" y="430"/>
                        </a:lnTo>
                        <a:lnTo>
                          <a:pt x="63" y="433"/>
                        </a:lnTo>
                        <a:lnTo>
                          <a:pt x="61" y="433"/>
                        </a:lnTo>
                        <a:lnTo>
                          <a:pt x="63" y="430"/>
                        </a:lnTo>
                        <a:lnTo>
                          <a:pt x="61" y="433"/>
                        </a:lnTo>
                        <a:lnTo>
                          <a:pt x="60" y="432"/>
                        </a:lnTo>
                        <a:lnTo>
                          <a:pt x="61" y="429"/>
                        </a:lnTo>
                        <a:lnTo>
                          <a:pt x="58" y="432"/>
                        </a:lnTo>
                        <a:lnTo>
                          <a:pt x="53" y="424"/>
                        </a:lnTo>
                        <a:lnTo>
                          <a:pt x="53" y="419"/>
                        </a:lnTo>
                        <a:lnTo>
                          <a:pt x="53" y="373"/>
                        </a:lnTo>
                        <a:lnTo>
                          <a:pt x="56" y="368"/>
                        </a:lnTo>
                        <a:lnTo>
                          <a:pt x="60" y="369"/>
                        </a:lnTo>
                        <a:lnTo>
                          <a:pt x="58" y="366"/>
                        </a:lnTo>
                        <a:lnTo>
                          <a:pt x="66" y="363"/>
                        </a:lnTo>
                        <a:lnTo>
                          <a:pt x="69" y="361"/>
                        </a:lnTo>
                        <a:lnTo>
                          <a:pt x="285" y="363"/>
                        </a:lnTo>
                        <a:lnTo>
                          <a:pt x="290" y="364"/>
                        </a:lnTo>
                        <a:lnTo>
                          <a:pt x="288" y="368"/>
                        </a:lnTo>
                        <a:lnTo>
                          <a:pt x="290" y="364"/>
                        </a:lnTo>
                        <a:lnTo>
                          <a:pt x="291" y="366"/>
                        </a:lnTo>
                        <a:lnTo>
                          <a:pt x="290" y="369"/>
                        </a:lnTo>
                        <a:lnTo>
                          <a:pt x="293" y="368"/>
                        </a:lnTo>
                        <a:lnTo>
                          <a:pt x="296" y="371"/>
                        </a:lnTo>
                        <a:lnTo>
                          <a:pt x="298" y="379"/>
                        </a:lnTo>
                        <a:lnTo>
                          <a:pt x="296" y="425"/>
                        </a:lnTo>
                        <a:lnTo>
                          <a:pt x="291" y="432"/>
                        </a:lnTo>
                        <a:lnTo>
                          <a:pt x="288" y="429"/>
                        </a:lnTo>
                        <a:lnTo>
                          <a:pt x="291" y="432"/>
                        </a:lnTo>
                        <a:lnTo>
                          <a:pt x="290" y="433"/>
                        </a:lnTo>
                        <a:lnTo>
                          <a:pt x="286" y="430"/>
                        </a:lnTo>
                        <a:lnTo>
                          <a:pt x="288" y="433"/>
                        </a:lnTo>
                        <a:lnTo>
                          <a:pt x="285" y="430"/>
                        </a:lnTo>
                        <a:lnTo>
                          <a:pt x="286" y="433"/>
                        </a:lnTo>
                        <a:lnTo>
                          <a:pt x="283" y="435"/>
                        </a:lnTo>
                        <a:lnTo>
                          <a:pt x="280" y="435"/>
                        </a:lnTo>
                        <a:lnTo>
                          <a:pt x="69" y="435"/>
                        </a:lnTo>
                        <a:moveTo>
                          <a:pt x="68" y="427"/>
                        </a:moveTo>
                        <a:lnTo>
                          <a:pt x="68" y="432"/>
                        </a:lnTo>
                        <a:lnTo>
                          <a:pt x="68" y="427"/>
                        </a:lnTo>
                        <a:lnTo>
                          <a:pt x="69" y="427"/>
                        </a:lnTo>
                        <a:lnTo>
                          <a:pt x="281" y="427"/>
                        </a:lnTo>
                        <a:lnTo>
                          <a:pt x="283" y="430"/>
                        </a:lnTo>
                        <a:lnTo>
                          <a:pt x="283" y="427"/>
                        </a:lnTo>
                        <a:lnTo>
                          <a:pt x="285" y="430"/>
                        </a:lnTo>
                        <a:lnTo>
                          <a:pt x="283" y="427"/>
                        </a:lnTo>
                        <a:lnTo>
                          <a:pt x="286" y="425"/>
                        </a:lnTo>
                        <a:lnTo>
                          <a:pt x="290" y="427"/>
                        </a:lnTo>
                        <a:lnTo>
                          <a:pt x="286" y="424"/>
                        </a:lnTo>
                        <a:lnTo>
                          <a:pt x="290" y="427"/>
                        </a:lnTo>
                        <a:lnTo>
                          <a:pt x="288" y="424"/>
                        </a:lnTo>
                        <a:lnTo>
                          <a:pt x="291" y="425"/>
                        </a:lnTo>
                        <a:lnTo>
                          <a:pt x="288" y="422"/>
                        </a:lnTo>
                        <a:lnTo>
                          <a:pt x="291" y="425"/>
                        </a:lnTo>
                        <a:lnTo>
                          <a:pt x="288" y="422"/>
                        </a:lnTo>
                        <a:lnTo>
                          <a:pt x="291" y="424"/>
                        </a:lnTo>
                        <a:lnTo>
                          <a:pt x="288" y="422"/>
                        </a:lnTo>
                        <a:lnTo>
                          <a:pt x="293" y="422"/>
                        </a:lnTo>
                        <a:lnTo>
                          <a:pt x="288" y="420"/>
                        </a:lnTo>
                        <a:lnTo>
                          <a:pt x="293" y="420"/>
                        </a:lnTo>
                        <a:lnTo>
                          <a:pt x="288" y="420"/>
                        </a:lnTo>
                        <a:lnTo>
                          <a:pt x="290" y="419"/>
                        </a:lnTo>
                        <a:lnTo>
                          <a:pt x="288" y="378"/>
                        </a:lnTo>
                        <a:lnTo>
                          <a:pt x="293" y="376"/>
                        </a:lnTo>
                        <a:lnTo>
                          <a:pt x="288" y="376"/>
                        </a:lnTo>
                        <a:lnTo>
                          <a:pt x="293" y="374"/>
                        </a:lnTo>
                        <a:lnTo>
                          <a:pt x="288" y="376"/>
                        </a:lnTo>
                        <a:lnTo>
                          <a:pt x="291" y="374"/>
                        </a:lnTo>
                        <a:lnTo>
                          <a:pt x="288" y="374"/>
                        </a:lnTo>
                        <a:lnTo>
                          <a:pt x="288" y="374"/>
                        </a:lnTo>
                        <a:lnTo>
                          <a:pt x="291" y="371"/>
                        </a:lnTo>
                        <a:lnTo>
                          <a:pt x="286" y="373"/>
                        </a:lnTo>
                        <a:lnTo>
                          <a:pt x="286" y="373"/>
                        </a:lnTo>
                        <a:lnTo>
                          <a:pt x="288" y="369"/>
                        </a:lnTo>
                        <a:lnTo>
                          <a:pt x="286" y="373"/>
                        </a:lnTo>
                        <a:lnTo>
                          <a:pt x="285" y="371"/>
                        </a:lnTo>
                        <a:lnTo>
                          <a:pt x="286" y="368"/>
                        </a:lnTo>
                        <a:lnTo>
                          <a:pt x="285" y="371"/>
                        </a:lnTo>
                        <a:lnTo>
                          <a:pt x="285" y="368"/>
                        </a:lnTo>
                        <a:lnTo>
                          <a:pt x="283" y="371"/>
                        </a:lnTo>
                        <a:lnTo>
                          <a:pt x="285" y="366"/>
                        </a:lnTo>
                        <a:lnTo>
                          <a:pt x="283" y="371"/>
                        </a:lnTo>
                        <a:lnTo>
                          <a:pt x="283" y="366"/>
                        </a:lnTo>
                        <a:lnTo>
                          <a:pt x="281" y="371"/>
                        </a:lnTo>
                        <a:lnTo>
                          <a:pt x="280" y="371"/>
                        </a:lnTo>
                        <a:lnTo>
                          <a:pt x="68" y="371"/>
                        </a:lnTo>
                        <a:lnTo>
                          <a:pt x="66" y="366"/>
                        </a:lnTo>
                        <a:lnTo>
                          <a:pt x="68" y="371"/>
                        </a:lnTo>
                        <a:lnTo>
                          <a:pt x="66" y="371"/>
                        </a:lnTo>
                        <a:lnTo>
                          <a:pt x="64" y="368"/>
                        </a:lnTo>
                        <a:lnTo>
                          <a:pt x="66" y="371"/>
                        </a:lnTo>
                        <a:lnTo>
                          <a:pt x="63" y="368"/>
                        </a:lnTo>
                        <a:lnTo>
                          <a:pt x="64" y="371"/>
                        </a:lnTo>
                        <a:lnTo>
                          <a:pt x="63" y="368"/>
                        </a:lnTo>
                        <a:lnTo>
                          <a:pt x="64" y="373"/>
                        </a:lnTo>
                        <a:lnTo>
                          <a:pt x="61" y="369"/>
                        </a:lnTo>
                        <a:lnTo>
                          <a:pt x="63" y="373"/>
                        </a:lnTo>
                        <a:lnTo>
                          <a:pt x="63" y="373"/>
                        </a:lnTo>
                        <a:lnTo>
                          <a:pt x="60" y="371"/>
                        </a:lnTo>
                        <a:lnTo>
                          <a:pt x="63" y="374"/>
                        </a:lnTo>
                        <a:lnTo>
                          <a:pt x="58" y="371"/>
                        </a:lnTo>
                        <a:lnTo>
                          <a:pt x="61" y="374"/>
                        </a:lnTo>
                        <a:lnTo>
                          <a:pt x="58" y="373"/>
                        </a:lnTo>
                        <a:lnTo>
                          <a:pt x="61" y="374"/>
                        </a:lnTo>
                        <a:lnTo>
                          <a:pt x="58" y="374"/>
                        </a:lnTo>
                        <a:lnTo>
                          <a:pt x="61" y="376"/>
                        </a:lnTo>
                        <a:lnTo>
                          <a:pt x="56" y="374"/>
                        </a:lnTo>
                        <a:lnTo>
                          <a:pt x="61" y="376"/>
                        </a:lnTo>
                        <a:lnTo>
                          <a:pt x="56" y="376"/>
                        </a:lnTo>
                        <a:lnTo>
                          <a:pt x="61" y="378"/>
                        </a:lnTo>
                        <a:lnTo>
                          <a:pt x="61" y="378"/>
                        </a:lnTo>
                        <a:lnTo>
                          <a:pt x="61" y="419"/>
                        </a:lnTo>
                        <a:lnTo>
                          <a:pt x="61" y="420"/>
                        </a:lnTo>
                        <a:lnTo>
                          <a:pt x="56" y="420"/>
                        </a:lnTo>
                        <a:lnTo>
                          <a:pt x="61" y="420"/>
                        </a:lnTo>
                        <a:lnTo>
                          <a:pt x="56" y="422"/>
                        </a:lnTo>
                        <a:lnTo>
                          <a:pt x="61" y="422"/>
                        </a:lnTo>
                        <a:lnTo>
                          <a:pt x="58" y="424"/>
                        </a:lnTo>
                        <a:lnTo>
                          <a:pt x="61" y="422"/>
                        </a:lnTo>
                        <a:lnTo>
                          <a:pt x="58" y="425"/>
                        </a:lnTo>
                        <a:lnTo>
                          <a:pt x="61" y="424"/>
                        </a:lnTo>
                        <a:lnTo>
                          <a:pt x="58" y="425"/>
                        </a:lnTo>
                        <a:lnTo>
                          <a:pt x="63" y="424"/>
                        </a:lnTo>
                        <a:lnTo>
                          <a:pt x="63" y="424"/>
                        </a:lnTo>
                        <a:lnTo>
                          <a:pt x="60" y="427"/>
                        </a:lnTo>
                        <a:lnTo>
                          <a:pt x="63" y="425"/>
                        </a:lnTo>
                        <a:lnTo>
                          <a:pt x="66" y="427"/>
                        </a:lnTo>
                        <a:lnTo>
                          <a:pt x="66" y="430"/>
                        </a:lnTo>
                        <a:lnTo>
                          <a:pt x="68" y="427"/>
                        </a:lnTo>
                        <a:moveTo>
                          <a:pt x="253" y="414"/>
                        </a:moveTo>
                        <a:lnTo>
                          <a:pt x="247" y="414"/>
                        </a:lnTo>
                        <a:lnTo>
                          <a:pt x="247" y="409"/>
                        </a:lnTo>
                        <a:lnTo>
                          <a:pt x="245" y="412"/>
                        </a:lnTo>
                        <a:lnTo>
                          <a:pt x="240" y="409"/>
                        </a:lnTo>
                        <a:lnTo>
                          <a:pt x="240" y="409"/>
                        </a:lnTo>
                        <a:lnTo>
                          <a:pt x="244" y="406"/>
                        </a:lnTo>
                        <a:lnTo>
                          <a:pt x="239" y="407"/>
                        </a:lnTo>
                        <a:lnTo>
                          <a:pt x="237" y="404"/>
                        </a:lnTo>
                        <a:lnTo>
                          <a:pt x="242" y="401"/>
                        </a:lnTo>
                        <a:lnTo>
                          <a:pt x="237" y="402"/>
                        </a:lnTo>
                        <a:lnTo>
                          <a:pt x="237" y="399"/>
                        </a:lnTo>
                        <a:lnTo>
                          <a:pt x="240" y="397"/>
                        </a:lnTo>
                        <a:lnTo>
                          <a:pt x="237" y="397"/>
                        </a:lnTo>
                        <a:lnTo>
                          <a:pt x="237" y="396"/>
                        </a:lnTo>
                        <a:lnTo>
                          <a:pt x="242" y="396"/>
                        </a:lnTo>
                        <a:lnTo>
                          <a:pt x="237" y="394"/>
                        </a:lnTo>
                        <a:lnTo>
                          <a:pt x="239" y="391"/>
                        </a:lnTo>
                        <a:lnTo>
                          <a:pt x="242" y="387"/>
                        </a:lnTo>
                        <a:lnTo>
                          <a:pt x="245" y="389"/>
                        </a:lnTo>
                        <a:lnTo>
                          <a:pt x="244" y="386"/>
                        </a:lnTo>
                        <a:lnTo>
                          <a:pt x="247" y="384"/>
                        </a:lnTo>
                        <a:lnTo>
                          <a:pt x="253" y="383"/>
                        </a:lnTo>
                        <a:lnTo>
                          <a:pt x="258" y="384"/>
                        </a:lnTo>
                        <a:lnTo>
                          <a:pt x="257" y="387"/>
                        </a:lnTo>
                        <a:lnTo>
                          <a:pt x="258" y="384"/>
                        </a:lnTo>
                        <a:lnTo>
                          <a:pt x="262" y="386"/>
                        </a:lnTo>
                        <a:lnTo>
                          <a:pt x="260" y="389"/>
                        </a:lnTo>
                        <a:lnTo>
                          <a:pt x="262" y="386"/>
                        </a:lnTo>
                        <a:lnTo>
                          <a:pt x="265" y="389"/>
                        </a:lnTo>
                        <a:lnTo>
                          <a:pt x="262" y="392"/>
                        </a:lnTo>
                        <a:lnTo>
                          <a:pt x="265" y="389"/>
                        </a:lnTo>
                        <a:lnTo>
                          <a:pt x="267" y="392"/>
                        </a:lnTo>
                        <a:lnTo>
                          <a:pt x="263" y="394"/>
                        </a:lnTo>
                        <a:lnTo>
                          <a:pt x="268" y="394"/>
                        </a:lnTo>
                        <a:lnTo>
                          <a:pt x="268" y="397"/>
                        </a:lnTo>
                        <a:lnTo>
                          <a:pt x="263" y="397"/>
                        </a:lnTo>
                        <a:lnTo>
                          <a:pt x="268" y="399"/>
                        </a:lnTo>
                        <a:lnTo>
                          <a:pt x="268" y="401"/>
                        </a:lnTo>
                        <a:lnTo>
                          <a:pt x="263" y="401"/>
                        </a:lnTo>
                        <a:lnTo>
                          <a:pt x="268" y="402"/>
                        </a:lnTo>
                        <a:lnTo>
                          <a:pt x="267" y="406"/>
                        </a:lnTo>
                        <a:lnTo>
                          <a:pt x="263" y="404"/>
                        </a:lnTo>
                        <a:lnTo>
                          <a:pt x="267" y="406"/>
                        </a:lnTo>
                        <a:lnTo>
                          <a:pt x="265" y="407"/>
                        </a:lnTo>
                        <a:lnTo>
                          <a:pt x="262" y="406"/>
                        </a:lnTo>
                        <a:lnTo>
                          <a:pt x="265" y="409"/>
                        </a:lnTo>
                        <a:lnTo>
                          <a:pt x="262" y="410"/>
                        </a:lnTo>
                        <a:lnTo>
                          <a:pt x="260" y="407"/>
                        </a:lnTo>
                        <a:lnTo>
                          <a:pt x="262" y="412"/>
                        </a:lnTo>
                        <a:lnTo>
                          <a:pt x="258" y="414"/>
                        </a:lnTo>
                        <a:lnTo>
                          <a:pt x="257" y="409"/>
                        </a:lnTo>
                        <a:lnTo>
                          <a:pt x="258" y="414"/>
                        </a:lnTo>
                        <a:lnTo>
                          <a:pt x="253" y="414"/>
                        </a:lnTo>
                        <a:moveTo>
                          <a:pt x="252" y="406"/>
                        </a:moveTo>
                        <a:lnTo>
                          <a:pt x="253" y="410"/>
                        </a:lnTo>
                        <a:lnTo>
                          <a:pt x="253" y="406"/>
                        </a:lnTo>
                        <a:lnTo>
                          <a:pt x="253" y="406"/>
                        </a:lnTo>
                        <a:lnTo>
                          <a:pt x="253" y="410"/>
                        </a:lnTo>
                        <a:lnTo>
                          <a:pt x="253" y="406"/>
                        </a:lnTo>
                        <a:lnTo>
                          <a:pt x="255" y="410"/>
                        </a:lnTo>
                        <a:lnTo>
                          <a:pt x="255" y="406"/>
                        </a:lnTo>
                        <a:lnTo>
                          <a:pt x="257" y="406"/>
                        </a:lnTo>
                        <a:lnTo>
                          <a:pt x="258" y="409"/>
                        </a:lnTo>
                        <a:lnTo>
                          <a:pt x="257" y="404"/>
                        </a:lnTo>
                        <a:lnTo>
                          <a:pt x="257" y="404"/>
                        </a:lnTo>
                        <a:lnTo>
                          <a:pt x="260" y="407"/>
                        </a:lnTo>
                        <a:lnTo>
                          <a:pt x="258" y="404"/>
                        </a:lnTo>
                        <a:lnTo>
                          <a:pt x="258" y="402"/>
                        </a:lnTo>
                        <a:lnTo>
                          <a:pt x="263" y="404"/>
                        </a:lnTo>
                        <a:lnTo>
                          <a:pt x="262" y="402"/>
                        </a:lnTo>
                        <a:lnTo>
                          <a:pt x="260" y="402"/>
                        </a:lnTo>
                        <a:lnTo>
                          <a:pt x="260" y="399"/>
                        </a:lnTo>
                        <a:lnTo>
                          <a:pt x="263" y="397"/>
                        </a:lnTo>
                        <a:lnTo>
                          <a:pt x="260" y="397"/>
                        </a:lnTo>
                        <a:lnTo>
                          <a:pt x="263" y="396"/>
                        </a:lnTo>
                        <a:lnTo>
                          <a:pt x="260" y="397"/>
                        </a:lnTo>
                        <a:lnTo>
                          <a:pt x="258" y="396"/>
                        </a:lnTo>
                        <a:lnTo>
                          <a:pt x="263" y="392"/>
                        </a:lnTo>
                        <a:lnTo>
                          <a:pt x="258" y="394"/>
                        </a:lnTo>
                        <a:lnTo>
                          <a:pt x="257" y="392"/>
                        </a:lnTo>
                        <a:lnTo>
                          <a:pt x="258" y="389"/>
                        </a:lnTo>
                        <a:lnTo>
                          <a:pt x="257" y="392"/>
                        </a:lnTo>
                        <a:lnTo>
                          <a:pt x="258" y="387"/>
                        </a:lnTo>
                        <a:lnTo>
                          <a:pt x="255" y="392"/>
                        </a:lnTo>
                        <a:lnTo>
                          <a:pt x="255" y="392"/>
                        </a:lnTo>
                        <a:lnTo>
                          <a:pt x="255" y="389"/>
                        </a:lnTo>
                        <a:lnTo>
                          <a:pt x="257" y="387"/>
                        </a:lnTo>
                        <a:lnTo>
                          <a:pt x="255" y="392"/>
                        </a:lnTo>
                        <a:lnTo>
                          <a:pt x="255" y="387"/>
                        </a:lnTo>
                        <a:lnTo>
                          <a:pt x="253" y="391"/>
                        </a:lnTo>
                        <a:lnTo>
                          <a:pt x="253" y="387"/>
                        </a:lnTo>
                        <a:lnTo>
                          <a:pt x="253" y="391"/>
                        </a:lnTo>
                        <a:lnTo>
                          <a:pt x="252" y="387"/>
                        </a:lnTo>
                        <a:lnTo>
                          <a:pt x="252" y="391"/>
                        </a:lnTo>
                        <a:lnTo>
                          <a:pt x="252" y="387"/>
                        </a:lnTo>
                        <a:lnTo>
                          <a:pt x="252" y="391"/>
                        </a:lnTo>
                        <a:lnTo>
                          <a:pt x="249" y="392"/>
                        </a:lnTo>
                        <a:lnTo>
                          <a:pt x="247" y="389"/>
                        </a:lnTo>
                        <a:lnTo>
                          <a:pt x="249" y="392"/>
                        </a:lnTo>
                        <a:lnTo>
                          <a:pt x="245" y="389"/>
                        </a:lnTo>
                        <a:lnTo>
                          <a:pt x="249" y="392"/>
                        </a:lnTo>
                        <a:lnTo>
                          <a:pt x="245" y="391"/>
                        </a:lnTo>
                        <a:lnTo>
                          <a:pt x="247" y="394"/>
                        </a:lnTo>
                        <a:lnTo>
                          <a:pt x="244" y="391"/>
                        </a:lnTo>
                        <a:lnTo>
                          <a:pt x="247" y="394"/>
                        </a:lnTo>
                        <a:lnTo>
                          <a:pt x="244" y="392"/>
                        </a:lnTo>
                        <a:lnTo>
                          <a:pt x="247" y="396"/>
                        </a:lnTo>
                        <a:lnTo>
                          <a:pt x="242" y="392"/>
                        </a:lnTo>
                        <a:lnTo>
                          <a:pt x="245" y="396"/>
                        </a:lnTo>
                        <a:lnTo>
                          <a:pt x="245" y="397"/>
                        </a:lnTo>
                        <a:lnTo>
                          <a:pt x="242" y="396"/>
                        </a:lnTo>
                        <a:lnTo>
                          <a:pt x="244" y="396"/>
                        </a:lnTo>
                        <a:lnTo>
                          <a:pt x="245" y="397"/>
                        </a:lnTo>
                        <a:lnTo>
                          <a:pt x="244" y="397"/>
                        </a:lnTo>
                        <a:lnTo>
                          <a:pt x="245" y="397"/>
                        </a:lnTo>
                        <a:lnTo>
                          <a:pt x="244" y="397"/>
                        </a:lnTo>
                        <a:lnTo>
                          <a:pt x="240" y="397"/>
                        </a:lnTo>
                        <a:lnTo>
                          <a:pt x="245" y="397"/>
                        </a:lnTo>
                        <a:lnTo>
                          <a:pt x="240" y="397"/>
                        </a:lnTo>
                        <a:lnTo>
                          <a:pt x="245" y="399"/>
                        </a:lnTo>
                        <a:lnTo>
                          <a:pt x="240" y="399"/>
                        </a:lnTo>
                        <a:lnTo>
                          <a:pt x="245" y="401"/>
                        </a:lnTo>
                        <a:lnTo>
                          <a:pt x="245" y="401"/>
                        </a:lnTo>
                        <a:lnTo>
                          <a:pt x="242" y="402"/>
                        </a:lnTo>
                        <a:lnTo>
                          <a:pt x="245" y="402"/>
                        </a:lnTo>
                        <a:lnTo>
                          <a:pt x="242" y="404"/>
                        </a:lnTo>
                        <a:lnTo>
                          <a:pt x="247" y="402"/>
                        </a:lnTo>
                        <a:lnTo>
                          <a:pt x="247" y="402"/>
                        </a:lnTo>
                        <a:lnTo>
                          <a:pt x="244" y="406"/>
                        </a:lnTo>
                        <a:lnTo>
                          <a:pt x="247" y="404"/>
                        </a:lnTo>
                        <a:lnTo>
                          <a:pt x="245" y="407"/>
                        </a:lnTo>
                        <a:lnTo>
                          <a:pt x="249" y="404"/>
                        </a:lnTo>
                        <a:lnTo>
                          <a:pt x="249" y="406"/>
                        </a:lnTo>
                        <a:lnTo>
                          <a:pt x="247" y="409"/>
                        </a:lnTo>
                        <a:lnTo>
                          <a:pt x="250" y="406"/>
                        </a:lnTo>
                        <a:lnTo>
                          <a:pt x="250" y="406"/>
                        </a:lnTo>
                        <a:lnTo>
                          <a:pt x="250" y="410"/>
                        </a:lnTo>
                        <a:lnTo>
                          <a:pt x="252" y="406"/>
                        </a:lnTo>
                        <a:lnTo>
                          <a:pt x="250" y="410"/>
                        </a:lnTo>
                        <a:lnTo>
                          <a:pt x="252" y="406"/>
                        </a:lnTo>
                        <a:lnTo>
                          <a:pt x="252" y="410"/>
                        </a:lnTo>
                        <a:lnTo>
                          <a:pt x="252" y="406"/>
                        </a:lnTo>
                        <a:moveTo>
                          <a:pt x="69" y="343"/>
                        </a:moveTo>
                        <a:lnTo>
                          <a:pt x="63" y="341"/>
                        </a:lnTo>
                        <a:lnTo>
                          <a:pt x="64" y="338"/>
                        </a:lnTo>
                        <a:lnTo>
                          <a:pt x="63" y="341"/>
                        </a:lnTo>
                        <a:lnTo>
                          <a:pt x="61" y="341"/>
                        </a:lnTo>
                        <a:lnTo>
                          <a:pt x="63" y="337"/>
                        </a:lnTo>
                        <a:lnTo>
                          <a:pt x="61" y="341"/>
                        </a:lnTo>
                        <a:lnTo>
                          <a:pt x="60" y="340"/>
                        </a:lnTo>
                        <a:lnTo>
                          <a:pt x="61" y="337"/>
                        </a:lnTo>
                        <a:lnTo>
                          <a:pt x="58" y="338"/>
                        </a:lnTo>
                        <a:lnTo>
                          <a:pt x="55" y="337"/>
                        </a:lnTo>
                        <a:lnTo>
                          <a:pt x="58" y="333"/>
                        </a:lnTo>
                        <a:lnTo>
                          <a:pt x="55" y="335"/>
                        </a:lnTo>
                        <a:lnTo>
                          <a:pt x="53" y="327"/>
                        </a:lnTo>
                        <a:lnTo>
                          <a:pt x="53" y="327"/>
                        </a:lnTo>
                        <a:lnTo>
                          <a:pt x="53" y="281"/>
                        </a:lnTo>
                        <a:lnTo>
                          <a:pt x="55" y="277"/>
                        </a:lnTo>
                        <a:lnTo>
                          <a:pt x="58" y="279"/>
                        </a:lnTo>
                        <a:lnTo>
                          <a:pt x="55" y="276"/>
                        </a:lnTo>
                        <a:lnTo>
                          <a:pt x="58" y="274"/>
                        </a:lnTo>
                        <a:lnTo>
                          <a:pt x="61" y="277"/>
                        </a:lnTo>
                        <a:lnTo>
                          <a:pt x="60" y="272"/>
                        </a:lnTo>
                        <a:lnTo>
                          <a:pt x="61" y="272"/>
                        </a:lnTo>
                        <a:lnTo>
                          <a:pt x="63" y="276"/>
                        </a:lnTo>
                        <a:lnTo>
                          <a:pt x="61" y="271"/>
                        </a:lnTo>
                        <a:lnTo>
                          <a:pt x="64" y="271"/>
                        </a:lnTo>
                        <a:lnTo>
                          <a:pt x="69" y="269"/>
                        </a:lnTo>
                        <a:lnTo>
                          <a:pt x="283" y="269"/>
                        </a:lnTo>
                        <a:lnTo>
                          <a:pt x="288" y="271"/>
                        </a:lnTo>
                        <a:lnTo>
                          <a:pt x="286" y="276"/>
                        </a:lnTo>
                        <a:lnTo>
                          <a:pt x="290" y="272"/>
                        </a:lnTo>
                        <a:lnTo>
                          <a:pt x="291" y="272"/>
                        </a:lnTo>
                        <a:lnTo>
                          <a:pt x="288" y="277"/>
                        </a:lnTo>
                        <a:lnTo>
                          <a:pt x="291" y="274"/>
                        </a:lnTo>
                        <a:lnTo>
                          <a:pt x="296" y="279"/>
                        </a:lnTo>
                        <a:lnTo>
                          <a:pt x="298" y="286"/>
                        </a:lnTo>
                        <a:lnTo>
                          <a:pt x="296" y="333"/>
                        </a:lnTo>
                        <a:lnTo>
                          <a:pt x="291" y="338"/>
                        </a:lnTo>
                        <a:lnTo>
                          <a:pt x="288" y="337"/>
                        </a:lnTo>
                        <a:lnTo>
                          <a:pt x="291" y="340"/>
                        </a:lnTo>
                        <a:lnTo>
                          <a:pt x="290" y="341"/>
                        </a:lnTo>
                        <a:lnTo>
                          <a:pt x="286" y="337"/>
                        </a:lnTo>
                        <a:lnTo>
                          <a:pt x="288" y="341"/>
                        </a:lnTo>
                        <a:lnTo>
                          <a:pt x="285" y="338"/>
                        </a:lnTo>
                        <a:lnTo>
                          <a:pt x="286" y="341"/>
                        </a:lnTo>
                        <a:lnTo>
                          <a:pt x="280" y="343"/>
                        </a:lnTo>
                        <a:lnTo>
                          <a:pt x="69" y="343"/>
                        </a:lnTo>
                        <a:moveTo>
                          <a:pt x="281" y="335"/>
                        </a:moveTo>
                        <a:lnTo>
                          <a:pt x="283" y="338"/>
                        </a:lnTo>
                        <a:lnTo>
                          <a:pt x="281" y="335"/>
                        </a:lnTo>
                        <a:lnTo>
                          <a:pt x="285" y="338"/>
                        </a:lnTo>
                        <a:lnTo>
                          <a:pt x="283" y="333"/>
                        </a:lnTo>
                        <a:lnTo>
                          <a:pt x="286" y="333"/>
                        </a:lnTo>
                        <a:lnTo>
                          <a:pt x="290" y="335"/>
                        </a:lnTo>
                        <a:lnTo>
                          <a:pt x="286" y="332"/>
                        </a:lnTo>
                        <a:lnTo>
                          <a:pt x="290" y="335"/>
                        </a:lnTo>
                        <a:lnTo>
                          <a:pt x="288" y="332"/>
                        </a:lnTo>
                        <a:lnTo>
                          <a:pt x="291" y="333"/>
                        </a:lnTo>
                        <a:lnTo>
                          <a:pt x="288" y="330"/>
                        </a:lnTo>
                        <a:lnTo>
                          <a:pt x="291" y="332"/>
                        </a:lnTo>
                        <a:lnTo>
                          <a:pt x="288" y="330"/>
                        </a:lnTo>
                        <a:lnTo>
                          <a:pt x="291" y="332"/>
                        </a:lnTo>
                        <a:lnTo>
                          <a:pt x="288" y="328"/>
                        </a:lnTo>
                        <a:lnTo>
                          <a:pt x="293" y="330"/>
                        </a:lnTo>
                        <a:lnTo>
                          <a:pt x="288" y="328"/>
                        </a:lnTo>
                        <a:lnTo>
                          <a:pt x="293" y="328"/>
                        </a:lnTo>
                        <a:lnTo>
                          <a:pt x="288" y="327"/>
                        </a:lnTo>
                        <a:lnTo>
                          <a:pt x="290" y="327"/>
                        </a:lnTo>
                        <a:lnTo>
                          <a:pt x="288" y="286"/>
                        </a:lnTo>
                        <a:lnTo>
                          <a:pt x="293" y="284"/>
                        </a:lnTo>
                        <a:lnTo>
                          <a:pt x="288" y="284"/>
                        </a:lnTo>
                        <a:lnTo>
                          <a:pt x="293" y="282"/>
                        </a:lnTo>
                        <a:lnTo>
                          <a:pt x="288" y="284"/>
                        </a:lnTo>
                        <a:lnTo>
                          <a:pt x="291" y="281"/>
                        </a:lnTo>
                        <a:lnTo>
                          <a:pt x="288" y="282"/>
                        </a:lnTo>
                        <a:lnTo>
                          <a:pt x="291" y="281"/>
                        </a:lnTo>
                        <a:lnTo>
                          <a:pt x="288" y="282"/>
                        </a:lnTo>
                        <a:lnTo>
                          <a:pt x="291" y="279"/>
                        </a:lnTo>
                        <a:lnTo>
                          <a:pt x="286" y="281"/>
                        </a:lnTo>
                        <a:lnTo>
                          <a:pt x="290" y="277"/>
                        </a:lnTo>
                        <a:lnTo>
                          <a:pt x="286" y="281"/>
                        </a:lnTo>
                        <a:lnTo>
                          <a:pt x="285" y="279"/>
                        </a:lnTo>
                        <a:lnTo>
                          <a:pt x="288" y="276"/>
                        </a:lnTo>
                        <a:lnTo>
                          <a:pt x="285" y="279"/>
                        </a:lnTo>
                        <a:lnTo>
                          <a:pt x="283" y="279"/>
                        </a:lnTo>
                        <a:lnTo>
                          <a:pt x="285" y="274"/>
                        </a:lnTo>
                        <a:lnTo>
                          <a:pt x="283" y="279"/>
                        </a:lnTo>
                        <a:lnTo>
                          <a:pt x="283" y="274"/>
                        </a:lnTo>
                        <a:lnTo>
                          <a:pt x="281" y="277"/>
                        </a:lnTo>
                        <a:lnTo>
                          <a:pt x="280" y="277"/>
                        </a:lnTo>
                        <a:lnTo>
                          <a:pt x="68" y="277"/>
                        </a:lnTo>
                        <a:lnTo>
                          <a:pt x="66" y="274"/>
                        </a:lnTo>
                        <a:lnTo>
                          <a:pt x="68" y="277"/>
                        </a:lnTo>
                        <a:lnTo>
                          <a:pt x="66" y="274"/>
                        </a:lnTo>
                        <a:lnTo>
                          <a:pt x="66" y="279"/>
                        </a:lnTo>
                        <a:lnTo>
                          <a:pt x="64" y="274"/>
                        </a:lnTo>
                        <a:lnTo>
                          <a:pt x="64" y="276"/>
                        </a:lnTo>
                        <a:lnTo>
                          <a:pt x="66" y="279"/>
                        </a:lnTo>
                        <a:lnTo>
                          <a:pt x="64" y="279"/>
                        </a:lnTo>
                        <a:lnTo>
                          <a:pt x="63" y="276"/>
                        </a:lnTo>
                        <a:lnTo>
                          <a:pt x="64" y="279"/>
                        </a:lnTo>
                        <a:lnTo>
                          <a:pt x="64" y="281"/>
                        </a:lnTo>
                        <a:lnTo>
                          <a:pt x="60" y="277"/>
                        </a:lnTo>
                        <a:lnTo>
                          <a:pt x="63" y="281"/>
                        </a:lnTo>
                        <a:lnTo>
                          <a:pt x="60" y="279"/>
                        </a:lnTo>
                        <a:lnTo>
                          <a:pt x="63" y="281"/>
                        </a:lnTo>
                        <a:lnTo>
                          <a:pt x="61" y="282"/>
                        </a:lnTo>
                        <a:lnTo>
                          <a:pt x="58" y="281"/>
                        </a:lnTo>
                        <a:lnTo>
                          <a:pt x="61" y="282"/>
                        </a:lnTo>
                        <a:lnTo>
                          <a:pt x="58" y="281"/>
                        </a:lnTo>
                        <a:lnTo>
                          <a:pt x="61" y="284"/>
                        </a:lnTo>
                        <a:lnTo>
                          <a:pt x="56" y="282"/>
                        </a:lnTo>
                        <a:lnTo>
                          <a:pt x="61" y="284"/>
                        </a:lnTo>
                        <a:lnTo>
                          <a:pt x="56" y="284"/>
                        </a:lnTo>
                        <a:lnTo>
                          <a:pt x="61" y="286"/>
                        </a:lnTo>
                        <a:lnTo>
                          <a:pt x="61" y="286"/>
                        </a:lnTo>
                        <a:lnTo>
                          <a:pt x="61" y="327"/>
                        </a:lnTo>
                        <a:lnTo>
                          <a:pt x="61" y="327"/>
                        </a:lnTo>
                        <a:lnTo>
                          <a:pt x="56" y="328"/>
                        </a:lnTo>
                        <a:lnTo>
                          <a:pt x="61" y="328"/>
                        </a:lnTo>
                        <a:lnTo>
                          <a:pt x="56" y="330"/>
                        </a:lnTo>
                        <a:lnTo>
                          <a:pt x="61" y="328"/>
                        </a:lnTo>
                        <a:lnTo>
                          <a:pt x="58" y="332"/>
                        </a:lnTo>
                        <a:lnTo>
                          <a:pt x="61" y="330"/>
                        </a:lnTo>
                        <a:lnTo>
                          <a:pt x="58" y="332"/>
                        </a:lnTo>
                        <a:lnTo>
                          <a:pt x="61" y="330"/>
                        </a:lnTo>
                        <a:lnTo>
                          <a:pt x="63" y="332"/>
                        </a:lnTo>
                        <a:lnTo>
                          <a:pt x="60" y="335"/>
                        </a:lnTo>
                        <a:lnTo>
                          <a:pt x="63" y="333"/>
                        </a:lnTo>
                        <a:lnTo>
                          <a:pt x="68" y="335"/>
                        </a:lnTo>
                        <a:lnTo>
                          <a:pt x="66" y="338"/>
                        </a:lnTo>
                        <a:lnTo>
                          <a:pt x="68" y="335"/>
                        </a:lnTo>
                        <a:lnTo>
                          <a:pt x="69" y="335"/>
                        </a:lnTo>
                        <a:lnTo>
                          <a:pt x="281" y="335"/>
                        </a:lnTo>
                        <a:moveTo>
                          <a:pt x="253" y="322"/>
                        </a:moveTo>
                        <a:lnTo>
                          <a:pt x="247" y="320"/>
                        </a:lnTo>
                        <a:lnTo>
                          <a:pt x="249" y="317"/>
                        </a:lnTo>
                        <a:lnTo>
                          <a:pt x="245" y="320"/>
                        </a:lnTo>
                        <a:lnTo>
                          <a:pt x="244" y="320"/>
                        </a:lnTo>
                        <a:lnTo>
                          <a:pt x="245" y="315"/>
                        </a:lnTo>
                        <a:lnTo>
                          <a:pt x="244" y="318"/>
                        </a:lnTo>
                        <a:lnTo>
                          <a:pt x="242" y="318"/>
                        </a:lnTo>
                        <a:lnTo>
                          <a:pt x="244" y="314"/>
                        </a:lnTo>
                        <a:lnTo>
                          <a:pt x="240" y="317"/>
                        </a:lnTo>
                        <a:lnTo>
                          <a:pt x="237" y="312"/>
                        </a:lnTo>
                        <a:lnTo>
                          <a:pt x="237" y="310"/>
                        </a:lnTo>
                        <a:lnTo>
                          <a:pt x="242" y="309"/>
                        </a:lnTo>
                        <a:lnTo>
                          <a:pt x="237" y="310"/>
                        </a:lnTo>
                        <a:lnTo>
                          <a:pt x="237" y="305"/>
                        </a:lnTo>
                        <a:lnTo>
                          <a:pt x="237" y="302"/>
                        </a:lnTo>
                        <a:lnTo>
                          <a:pt x="242" y="304"/>
                        </a:lnTo>
                        <a:lnTo>
                          <a:pt x="237" y="302"/>
                        </a:lnTo>
                        <a:lnTo>
                          <a:pt x="239" y="297"/>
                        </a:lnTo>
                        <a:lnTo>
                          <a:pt x="244" y="299"/>
                        </a:lnTo>
                        <a:lnTo>
                          <a:pt x="240" y="297"/>
                        </a:lnTo>
                        <a:lnTo>
                          <a:pt x="245" y="292"/>
                        </a:lnTo>
                        <a:lnTo>
                          <a:pt x="247" y="291"/>
                        </a:lnTo>
                        <a:lnTo>
                          <a:pt x="249" y="295"/>
                        </a:lnTo>
                        <a:lnTo>
                          <a:pt x="249" y="291"/>
                        </a:lnTo>
                        <a:lnTo>
                          <a:pt x="252" y="291"/>
                        </a:lnTo>
                        <a:lnTo>
                          <a:pt x="258" y="292"/>
                        </a:lnTo>
                        <a:lnTo>
                          <a:pt x="257" y="295"/>
                        </a:lnTo>
                        <a:lnTo>
                          <a:pt x="258" y="292"/>
                        </a:lnTo>
                        <a:lnTo>
                          <a:pt x="262" y="294"/>
                        </a:lnTo>
                        <a:lnTo>
                          <a:pt x="260" y="297"/>
                        </a:lnTo>
                        <a:lnTo>
                          <a:pt x="262" y="294"/>
                        </a:lnTo>
                        <a:lnTo>
                          <a:pt x="265" y="297"/>
                        </a:lnTo>
                        <a:lnTo>
                          <a:pt x="262" y="299"/>
                        </a:lnTo>
                        <a:lnTo>
                          <a:pt x="265" y="297"/>
                        </a:lnTo>
                        <a:lnTo>
                          <a:pt x="267" y="300"/>
                        </a:lnTo>
                        <a:lnTo>
                          <a:pt x="263" y="302"/>
                        </a:lnTo>
                        <a:lnTo>
                          <a:pt x="268" y="302"/>
                        </a:lnTo>
                        <a:lnTo>
                          <a:pt x="268" y="305"/>
                        </a:lnTo>
                        <a:lnTo>
                          <a:pt x="268" y="307"/>
                        </a:lnTo>
                        <a:lnTo>
                          <a:pt x="267" y="312"/>
                        </a:lnTo>
                        <a:lnTo>
                          <a:pt x="267" y="314"/>
                        </a:lnTo>
                        <a:lnTo>
                          <a:pt x="262" y="312"/>
                        </a:lnTo>
                        <a:lnTo>
                          <a:pt x="267" y="315"/>
                        </a:lnTo>
                        <a:lnTo>
                          <a:pt x="265" y="315"/>
                        </a:lnTo>
                        <a:lnTo>
                          <a:pt x="262" y="314"/>
                        </a:lnTo>
                        <a:lnTo>
                          <a:pt x="265" y="315"/>
                        </a:lnTo>
                        <a:lnTo>
                          <a:pt x="262" y="318"/>
                        </a:lnTo>
                        <a:lnTo>
                          <a:pt x="260" y="315"/>
                        </a:lnTo>
                        <a:lnTo>
                          <a:pt x="262" y="318"/>
                        </a:lnTo>
                        <a:lnTo>
                          <a:pt x="255" y="322"/>
                        </a:lnTo>
                        <a:lnTo>
                          <a:pt x="253" y="322"/>
                        </a:lnTo>
                        <a:moveTo>
                          <a:pt x="252" y="314"/>
                        </a:moveTo>
                        <a:lnTo>
                          <a:pt x="253" y="318"/>
                        </a:lnTo>
                        <a:lnTo>
                          <a:pt x="253" y="314"/>
                        </a:lnTo>
                        <a:lnTo>
                          <a:pt x="253" y="314"/>
                        </a:lnTo>
                        <a:lnTo>
                          <a:pt x="253" y="317"/>
                        </a:lnTo>
                        <a:lnTo>
                          <a:pt x="253" y="314"/>
                        </a:lnTo>
                        <a:lnTo>
                          <a:pt x="255" y="317"/>
                        </a:lnTo>
                        <a:lnTo>
                          <a:pt x="255" y="314"/>
                        </a:lnTo>
                        <a:lnTo>
                          <a:pt x="257" y="312"/>
                        </a:lnTo>
                        <a:lnTo>
                          <a:pt x="258" y="317"/>
                        </a:lnTo>
                        <a:lnTo>
                          <a:pt x="257" y="312"/>
                        </a:lnTo>
                        <a:lnTo>
                          <a:pt x="260" y="315"/>
                        </a:lnTo>
                        <a:lnTo>
                          <a:pt x="257" y="312"/>
                        </a:lnTo>
                        <a:lnTo>
                          <a:pt x="260" y="314"/>
                        </a:lnTo>
                        <a:lnTo>
                          <a:pt x="258" y="310"/>
                        </a:lnTo>
                        <a:lnTo>
                          <a:pt x="260" y="309"/>
                        </a:lnTo>
                        <a:lnTo>
                          <a:pt x="260" y="309"/>
                        </a:lnTo>
                        <a:lnTo>
                          <a:pt x="260" y="309"/>
                        </a:lnTo>
                        <a:lnTo>
                          <a:pt x="260" y="309"/>
                        </a:lnTo>
                        <a:lnTo>
                          <a:pt x="263" y="310"/>
                        </a:lnTo>
                        <a:lnTo>
                          <a:pt x="260" y="309"/>
                        </a:lnTo>
                        <a:lnTo>
                          <a:pt x="263" y="309"/>
                        </a:lnTo>
                        <a:lnTo>
                          <a:pt x="260" y="307"/>
                        </a:lnTo>
                        <a:lnTo>
                          <a:pt x="260" y="305"/>
                        </a:lnTo>
                        <a:lnTo>
                          <a:pt x="263" y="305"/>
                        </a:lnTo>
                        <a:lnTo>
                          <a:pt x="260" y="305"/>
                        </a:lnTo>
                        <a:lnTo>
                          <a:pt x="263" y="304"/>
                        </a:lnTo>
                        <a:lnTo>
                          <a:pt x="260" y="304"/>
                        </a:lnTo>
                        <a:lnTo>
                          <a:pt x="258" y="304"/>
                        </a:lnTo>
                        <a:lnTo>
                          <a:pt x="263" y="300"/>
                        </a:lnTo>
                        <a:lnTo>
                          <a:pt x="258" y="302"/>
                        </a:lnTo>
                        <a:lnTo>
                          <a:pt x="258" y="302"/>
                        </a:lnTo>
                        <a:lnTo>
                          <a:pt x="262" y="299"/>
                        </a:lnTo>
                        <a:lnTo>
                          <a:pt x="258" y="302"/>
                        </a:lnTo>
                        <a:lnTo>
                          <a:pt x="257" y="300"/>
                        </a:lnTo>
                        <a:lnTo>
                          <a:pt x="258" y="297"/>
                        </a:lnTo>
                        <a:lnTo>
                          <a:pt x="257" y="300"/>
                        </a:lnTo>
                        <a:lnTo>
                          <a:pt x="255" y="299"/>
                        </a:lnTo>
                        <a:lnTo>
                          <a:pt x="255" y="299"/>
                        </a:lnTo>
                        <a:lnTo>
                          <a:pt x="255" y="299"/>
                        </a:lnTo>
                        <a:lnTo>
                          <a:pt x="255" y="299"/>
                        </a:lnTo>
                        <a:lnTo>
                          <a:pt x="255" y="295"/>
                        </a:lnTo>
                        <a:lnTo>
                          <a:pt x="253" y="299"/>
                        </a:lnTo>
                        <a:lnTo>
                          <a:pt x="253" y="295"/>
                        </a:lnTo>
                        <a:lnTo>
                          <a:pt x="253" y="299"/>
                        </a:lnTo>
                        <a:lnTo>
                          <a:pt x="252" y="299"/>
                        </a:lnTo>
                        <a:lnTo>
                          <a:pt x="252" y="295"/>
                        </a:lnTo>
                        <a:lnTo>
                          <a:pt x="252" y="299"/>
                        </a:lnTo>
                        <a:lnTo>
                          <a:pt x="250" y="295"/>
                        </a:lnTo>
                        <a:lnTo>
                          <a:pt x="250" y="299"/>
                        </a:lnTo>
                        <a:lnTo>
                          <a:pt x="250" y="299"/>
                        </a:lnTo>
                        <a:lnTo>
                          <a:pt x="250" y="299"/>
                        </a:lnTo>
                        <a:lnTo>
                          <a:pt x="250" y="300"/>
                        </a:lnTo>
                        <a:lnTo>
                          <a:pt x="250" y="300"/>
                        </a:lnTo>
                        <a:lnTo>
                          <a:pt x="250" y="300"/>
                        </a:lnTo>
                        <a:lnTo>
                          <a:pt x="250" y="299"/>
                        </a:lnTo>
                        <a:lnTo>
                          <a:pt x="247" y="295"/>
                        </a:lnTo>
                        <a:lnTo>
                          <a:pt x="249" y="300"/>
                        </a:lnTo>
                        <a:lnTo>
                          <a:pt x="249" y="300"/>
                        </a:lnTo>
                        <a:lnTo>
                          <a:pt x="245" y="297"/>
                        </a:lnTo>
                        <a:lnTo>
                          <a:pt x="247" y="302"/>
                        </a:lnTo>
                        <a:lnTo>
                          <a:pt x="244" y="299"/>
                        </a:lnTo>
                        <a:lnTo>
                          <a:pt x="247" y="302"/>
                        </a:lnTo>
                        <a:lnTo>
                          <a:pt x="247" y="302"/>
                        </a:lnTo>
                        <a:lnTo>
                          <a:pt x="242" y="300"/>
                        </a:lnTo>
                        <a:lnTo>
                          <a:pt x="245" y="304"/>
                        </a:lnTo>
                        <a:lnTo>
                          <a:pt x="245" y="304"/>
                        </a:lnTo>
                        <a:lnTo>
                          <a:pt x="242" y="304"/>
                        </a:lnTo>
                        <a:lnTo>
                          <a:pt x="244" y="304"/>
                        </a:lnTo>
                        <a:lnTo>
                          <a:pt x="245" y="304"/>
                        </a:lnTo>
                        <a:lnTo>
                          <a:pt x="244" y="305"/>
                        </a:lnTo>
                        <a:lnTo>
                          <a:pt x="245" y="305"/>
                        </a:lnTo>
                        <a:lnTo>
                          <a:pt x="244" y="305"/>
                        </a:lnTo>
                        <a:lnTo>
                          <a:pt x="240" y="305"/>
                        </a:lnTo>
                        <a:lnTo>
                          <a:pt x="245" y="305"/>
                        </a:lnTo>
                        <a:lnTo>
                          <a:pt x="240" y="305"/>
                        </a:lnTo>
                        <a:lnTo>
                          <a:pt x="245" y="307"/>
                        </a:lnTo>
                        <a:lnTo>
                          <a:pt x="240" y="307"/>
                        </a:lnTo>
                        <a:lnTo>
                          <a:pt x="245" y="307"/>
                        </a:lnTo>
                        <a:lnTo>
                          <a:pt x="245" y="309"/>
                        </a:lnTo>
                        <a:lnTo>
                          <a:pt x="242" y="310"/>
                        </a:lnTo>
                        <a:lnTo>
                          <a:pt x="245" y="309"/>
                        </a:lnTo>
                        <a:lnTo>
                          <a:pt x="242" y="312"/>
                        </a:lnTo>
                        <a:lnTo>
                          <a:pt x="247" y="310"/>
                        </a:lnTo>
                        <a:lnTo>
                          <a:pt x="247" y="310"/>
                        </a:lnTo>
                        <a:lnTo>
                          <a:pt x="244" y="314"/>
                        </a:lnTo>
                        <a:lnTo>
                          <a:pt x="247" y="312"/>
                        </a:lnTo>
                        <a:lnTo>
                          <a:pt x="245" y="315"/>
                        </a:lnTo>
                        <a:lnTo>
                          <a:pt x="249" y="312"/>
                        </a:lnTo>
                        <a:lnTo>
                          <a:pt x="249" y="312"/>
                        </a:lnTo>
                        <a:lnTo>
                          <a:pt x="247" y="317"/>
                        </a:lnTo>
                        <a:lnTo>
                          <a:pt x="249" y="314"/>
                        </a:lnTo>
                        <a:lnTo>
                          <a:pt x="250" y="314"/>
                        </a:lnTo>
                        <a:lnTo>
                          <a:pt x="249" y="317"/>
                        </a:lnTo>
                        <a:lnTo>
                          <a:pt x="250" y="314"/>
                        </a:lnTo>
                        <a:lnTo>
                          <a:pt x="250" y="317"/>
                        </a:lnTo>
                        <a:lnTo>
                          <a:pt x="252" y="314"/>
                        </a:lnTo>
                        <a:lnTo>
                          <a:pt x="252" y="318"/>
                        </a:lnTo>
                        <a:lnTo>
                          <a:pt x="252" y="314"/>
                        </a:lnTo>
                        <a:moveTo>
                          <a:pt x="69" y="251"/>
                        </a:moveTo>
                        <a:lnTo>
                          <a:pt x="61" y="248"/>
                        </a:lnTo>
                        <a:lnTo>
                          <a:pt x="56" y="246"/>
                        </a:lnTo>
                        <a:lnTo>
                          <a:pt x="55" y="245"/>
                        </a:lnTo>
                        <a:lnTo>
                          <a:pt x="58" y="241"/>
                        </a:lnTo>
                        <a:lnTo>
                          <a:pt x="55" y="243"/>
                        </a:lnTo>
                        <a:lnTo>
                          <a:pt x="53" y="236"/>
                        </a:lnTo>
                        <a:lnTo>
                          <a:pt x="53" y="235"/>
                        </a:lnTo>
                        <a:lnTo>
                          <a:pt x="55" y="187"/>
                        </a:lnTo>
                        <a:lnTo>
                          <a:pt x="55" y="185"/>
                        </a:lnTo>
                        <a:lnTo>
                          <a:pt x="58" y="187"/>
                        </a:lnTo>
                        <a:lnTo>
                          <a:pt x="55" y="184"/>
                        </a:lnTo>
                        <a:lnTo>
                          <a:pt x="58" y="180"/>
                        </a:lnTo>
                        <a:lnTo>
                          <a:pt x="61" y="184"/>
                        </a:lnTo>
                        <a:lnTo>
                          <a:pt x="60" y="180"/>
                        </a:lnTo>
                        <a:lnTo>
                          <a:pt x="61" y="179"/>
                        </a:lnTo>
                        <a:lnTo>
                          <a:pt x="63" y="182"/>
                        </a:lnTo>
                        <a:lnTo>
                          <a:pt x="61" y="179"/>
                        </a:lnTo>
                        <a:lnTo>
                          <a:pt x="63" y="179"/>
                        </a:lnTo>
                        <a:lnTo>
                          <a:pt x="69" y="177"/>
                        </a:lnTo>
                        <a:lnTo>
                          <a:pt x="285" y="177"/>
                        </a:lnTo>
                        <a:lnTo>
                          <a:pt x="288" y="179"/>
                        </a:lnTo>
                        <a:lnTo>
                          <a:pt x="286" y="182"/>
                        </a:lnTo>
                        <a:lnTo>
                          <a:pt x="290" y="179"/>
                        </a:lnTo>
                        <a:lnTo>
                          <a:pt x="291" y="180"/>
                        </a:lnTo>
                        <a:lnTo>
                          <a:pt x="288" y="184"/>
                        </a:lnTo>
                        <a:lnTo>
                          <a:pt x="291" y="180"/>
                        </a:lnTo>
                        <a:lnTo>
                          <a:pt x="296" y="189"/>
                        </a:lnTo>
                        <a:lnTo>
                          <a:pt x="298" y="194"/>
                        </a:lnTo>
                        <a:lnTo>
                          <a:pt x="296" y="241"/>
                        </a:lnTo>
                        <a:lnTo>
                          <a:pt x="293" y="245"/>
                        </a:lnTo>
                        <a:lnTo>
                          <a:pt x="286" y="249"/>
                        </a:lnTo>
                        <a:lnTo>
                          <a:pt x="280" y="251"/>
                        </a:lnTo>
                        <a:lnTo>
                          <a:pt x="69" y="251"/>
                        </a:lnTo>
                        <a:moveTo>
                          <a:pt x="66" y="241"/>
                        </a:moveTo>
                        <a:lnTo>
                          <a:pt x="68" y="241"/>
                        </a:lnTo>
                        <a:lnTo>
                          <a:pt x="68" y="246"/>
                        </a:lnTo>
                        <a:lnTo>
                          <a:pt x="68" y="243"/>
                        </a:lnTo>
                        <a:lnTo>
                          <a:pt x="69" y="243"/>
                        </a:lnTo>
                        <a:lnTo>
                          <a:pt x="281" y="243"/>
                        </a:lnTo>
                        <a:lnTo>
                          <a:pt x="283" y="246"/>
                        </a:lnTo>
                        <a:lnTo>
                          <a:pt x="283" y="241"/>
                        </a:lnTo>
                        <a:lnTo>
                          <a:pt x="285" y="246"/>
                        </a:lnTo>
                        <a:lnTo>
                          <a:pt x="283" y="241"/>
                        </a:lnTo>
                        <a:lnTo>
                          <a:pt x="285" y="246"/>
                        </a:lnTo>
                        <a:lnTo>
                          <a:pt x="285" y="241"/>
                        </a:lnTo>
                        <a:lnTo>
                          <a:pt x="286" y="245"/>
                        </a:lnTo>
                        <a:lnTo>
                          <a:pt x="285" y="241"/>
                        </a:lnTo>
                        <a:lnTo>
                          <a:pt x="288" y="245"/>
                        </a:lnTo>
                        <a:lnTo>
                          <a:pt x="286" y="240"/>
                        </a:lnTo>
                        <a:lnTo>
                          <a:pt x="288" y="243"/>
                        </a:lnTo>
                        <a:lnTo>
                          <a:pt x="286" y="240"/>
                        </a:lnTo>
                        <a:lnTo>
                          <a:pt x="290" y="241"/>
                        </a:lnTo>
                        <a:lnTo>
                          <a:pt x="286" y="240"/>
                        </a:lnTo>
                        <a:lnTo>
                          <a:pt x="291" y="241"/>
                        </a:lnTo>
                        <a:lnTo>
                          <a:pt x="288" y="238"/>
                        </a:lnTo>
                        <a:lnTo>
                          <a:pt x="291" y="240"/>
                        </a:lnTo>
                        <a:lnTo>
                          <a:pt x="288" y="238"/>
                        </a:lnTo>
                        <a:lnTo>
                          <a:pt x="291" y="238"/>
                        </a:lnTo>
                        <a:lnTo>
                          <a:pt x="288" y="236"/>
                        </a:lnTo>
                        <a:lnTo>
                          <a:pt x="293" y="238"/>
                        </a:lnTo>
                        <a:lnTo>
                          <a:pt x="288" y="236"/>
                        </a:lnTo>
                        <a:lnTo>
                          <a:pt x="293" y="236"/>
                        </a:lnTo>
                        <a:lnTo>
                          <a:pt x="288" y="235"/>
                        </a:lnTo>
                        <a:lnTo>
                          <a:pt x="290" y="233"/>
                        </a:lnTo>
                        <a:lnTo>
                          <a:pt x="288" y="194"/>
                        </a:lnTo>
                        <a:lnTo>
                          <a:pt x="293" y="192"/>
                        </a:lnTo>
                        <a:lnTo>
                          <a:pt x="288" y="192"/>
                        </a:lnTo>
                        <a:lnTo>
                          <a:pt x="293" y="190"/>
                        </a:lnTo>
                        <a:lnTo>
                          <a:pt x="288" y="192"/>
                        </a:lnTo>
                        <a:lnTo>
                          <a:pt x="291" y="189"/>
                        </a:lnTo>
                        <a:lnTo>
                          <a:pt x="288" y="190"/>
                        </a:lnTo>
                        <a:lnTo>
                          <a:pt x="291" y="189"/>
                        </a:lnTo>
                        <a:lnTo>
                          <a:pt x="288" y="190"/>
                        </a:lnTo>
                        <a:lnTo>
                          <a:pt x="291" y="187"/>
                        </a:lnTo>
                        <a:lnTo>
                          <a:pt x="286" y="189"/>
                        </a:lnTo>
                        <a:lnTo>
                          <a:pt x="286" y="189"/>
                        </a:lnTo>
                        <a:lnTo>
                          <a:pt x="290" y="185"/>
                        </a:lnTo>
                        <a:lnTo>
                          <a:pt x="286" y="187"/>
                        </a:lnTo>
                        <a:lnTo>
                          <a:pt x="285" y="187"/>
                        </a:lnTo>
                        <a:lnTo>
                          <a:pt x="286" y="185"/>
                        </a:lnTo>
                        <a:lnTo>
                          <a:pt x="288" y="184"/>
                        </a:lnTo>
                        <a:lnTo>
                          <a:pt x="285" y="187"/>
                        </a:lnTo>
                        <a:lnTo>
                          <a:pt x="283" y="187"/>
                        </a:lnTo>
                        <a:lnTo>
                          <a:pt x="285" y="182"/>
                        </a:lnTo>
                        <a:lnTo>
                          <a:pt x="283" y="185"/>
                        </a:lnTo>
                        <a:lnTo>
                          <a:pt x="283" y="182"/>
                        </a:lnTo>
                        <a:lnTo>
                          <a:pt x="281" y="185"/>
                        </a:lnTo>
                        <a:lnTo>
                          <a:pt x="280" y="185"/>
                        </a:lnTo>
                        <a:lnTo>
                          <a:pt x="68" y="185"/>
                        </a:lnTo>
                        <a:lnTo>
                          <a:pt x="66" y="182"/>
                        </a:lnTo>
                        <a:lnTo>
                          <a:pt x="68" y="185"/>
                        </a:lnTo>
                        <a:lnTo>
                          <a:pt x="66" y="182"/>
                        </a:lnTo>
                        <a:lnTo>
                          <a:pt x="66" y="185"/>
                        </a:lnTo>
                        <a:lnTo>
                          <a:pt x="64" y="182"/>
                        </a:lnTo>
                        <a:lnTo>
                          <a:pt x="64" y="184"/>
                        </a:lnTo>
                        <a:lnTo>
                          <a:pt x="66" y="187"/>
                        </a:lnTo>
                        <a:lnTo>
                          <a:pt x="64" y="187"/>
                        </a:lnTo>
                        <a:lnTo>
                          <a:pt x="63" y="184"/>
                        </a:lnTo>
                        <a:lnTo>
                          <a:pt x="64" y="187"/>
                        </a:lnTo>
                        <a:lnTo>
                          <a:pt x="64" y="187"/>
                        </a:lnTo>
                        <a:lnTo>
                          <a:pt x="60" y="185"/>
                        </a:lnTo>
                        <a:lnTo>
                          <a:pt x="63" y="189"/>
                        </a:lnTo>
                        <a:lnTo>
                          <a:pt x="60" y="185"/>
                        </a:lnTo>
                        <a:lnTo>
                          <a:pt x="63" y="189"/>
                        </a:lnTo>
                        <a:lnTo>
                          <a:pt x="61" y="190"/>
                        </a:lnTo>
                        <a:lnTo>
                          <a:pt x="58" y="189"/>
                        </a:lnTo>
                        <a:lnTo>
                          <a:pt x="61" y="190"/>
                        </a:lnTo>
                        <a:lnTo>
                          <a:pt x="58" y="189"/>
                        </a:lnTo>
                        <a:lnTo>
                          <a:pt x="61" y="192"/>
                        </a:lnTo>
                        <a:lnTo>
                          <a:pt x="56" y="190"/>
                        </a:lnTo>
                        <a:lnTo>
                          <a:pt x="61" y="192"/>
                        </a:lnTo>
                        <a:lnTo>
                          <a:pt x="56" y="192"/>
                        </a:lnTo>
                        <a:lnTo>
                          <a:pt x="61" y="194"/>
                        </a:lnTo>
                        <a:lnTo>
                          <a:pt x="61" y="194"/>
                        </a:lnTo>
                        <a:lnTo>
                          <a:pt x="61" y="235"/>
                        </a:lnTo>
                        <a:lnTo>
                          <a:pt x="61" y="235"/>
                        </a:lnTo>
                        <a:lnTo>
                          <a:pt x="56" y="236"/>
                        </a:lnTo>
                        <a:lnTo>
                          <a:pt x="61" y="236"/>
                        </a:lnTo>
                        <a:lnTo>
                          <a:pt x="56" y="238"/>
                        </a:lnTo>
                        <a:lnTo>
                          <a:pt x="61" y="236"/>
                        </a:lnTo>
                        <a:lnTo>
                          <a:pt x="58" y="238"/>
                        </a:lnTo>
                        <a:lnTo>
                          <a:pt x="61" y="238"/>
                        </a:lnTo>
                        <a:lnTo>
                          <a:pt x="63" y="238"/>
                        </a:lnTo>
                        <a:lnTo>
                          <a:pt x="60" y="241"/>
                        </a:lnTo>
                        <a:lnTo>
                          <a:pt x="63" y="240"/>
                        </a:lnTo>
                        <a:lnTo>
                          <a:pt x="60" y="243"/>
                        </a:lnTo>
                        <a:lnTo>
                          <a:pt x="63" y="240"/>
                        </a:lnTo>
                        <a:lnTo>
                          <a:pt x="61" y="243"/>
                        </a:lnTo>
                        <a:lnTo>
                          <a:pt x="64" y="241"/>
                        </a:lnTo>
                        <a:lnTo>
                          <a:pt x="63" y="245"/>
                        </a:lnTo>
                        <a:lnTo>
                          <a:pt x="64" y="241"/>
                        </a:lnTo>
                        <a:lnTo>
                          <a:pt x="63" y="245"/>
                        </a:lnTo>
                        <a:lnTo>
                          <a:pt x="66" y="241"/>
                        </a:lnTo>
                        <a:lnTo>
                          <a:pt x="66" y="246"/>
                        </a:lnTo>
                        <a:lnTo>
                          <a:pt x="66" y="241"/>
                        </a:lnTo>
                        <a:moveTo>
                          <a:pt x="253" y="230"/>
                        </a:moveTo>
                        <a:lnTo>
                          <a:pt x="250" y="230"/>
                        </a:lnTo>
                        <a:lnTo>
                          <a:pt x="250" y="225"/>
                        </a:lnTo>
                        <a:lnTo>
                          <a:pt x="249" y="230"/>
                        </a:lnTo>
                        <a:lnTo>
                          <a:pt x="247" y="228"/>
                        </a:lnTo>
                        <a:lnTo>
                          <a:pt x="249" y="225"/>
                        </a:lnTo>
                        <a:lnTo>
                          <a:pt x="245" y="228"/>
                        </a:lnTo>
                        <a:lnTo>
                          <a:pt x="242" y="225"/>
                        </a:lnTo>
                        <a:lnTo>
                          <a:pt x="244" y="222"/>
                        </a:lnTo>
                        <a:lnTo>
                          <a:pt x="240" y="225"/>
                        </a:lnTo>
                        <a:lnTo>
                          <a:pt x="237" y="220"/>
                        </a:lnTo>
                        <a:lnTo>
                          <a:pt x="242" y="218"/>
                        </a:lnTo>
                        <a:lnTo>
                          <a:pt x="237" y="218"/>
                        </a:lnTo>
                        <a:lnTo>
                          <a:pt x="237" y="213"/>
                        </a:lnTo>
                        <a:lnTo>
                          <a:pt x="237" y="210"/>
                        </a:lnTo>
                        <a:lnTo>
                          <a:pt x="242" y="212"/>
                        </a:lnTo>
                        <a:lnTo>
                          <a:pt x="237" y="210"/>
                        </a:lnTo>
                        <a:lnTo>
                          <a:pt x="239" y="205"/>
                        </a:lnTo>
                        <a:lnTo>
                          <a:pt x="244" y="207"/>
                        </a:lnTo>
                        <a:lnTo>
                          <a:pt x="240" y="203"/>
                        </a:lnTo>
                        <a:lnTo>
                          <a:pt x="245" y="200"/>
                        </a:lnTo>
                        <a:lnTo>
                          <a:pt x="245" y="200"/>
                        </a:lnTo>
                        <a:lnTo>
                          <a:pt x="249" y="203"/>
                        </a:lnTo>
                        <a:lnTo>
                          <a:pt x="247" y="199"/>
                        </a:lnTo>
                        <a:lnTo>
                          <a:pt x="249" y="199"/>
                        </a:lnTo>
                        <a:lnTo>
                          <a:pt x="250" y="203"/>
                        </a:lnTo>
                        <a:lnTo>
                          <a:pt x="250" y="199"/>
                        </a:lnTo>
                        <a:lnTo>
                          <a:pt x="253" y="199"/>
                        </a:lnTo>
                        <a:lnTo>
                          <a:pt x="258" y="199"/>
                        </a:lnTo>
                        <a:lnTo>
                          <a:pt x="257" y="203"/>
                        </a:lnTo>
                        <a:lnTo>
                          <a:pt x="258" y="200"/>
                        </a:lnTo>
                        <a:lnTo>
                          <a:pt x="262" y="200"/>
                        </a:lnTo>
                        <a:lnTo>
                          <a:pt x="260" y="205"/>
                        </a:lnTo>
                        <a:lnTo>
                          <a:pt x="262" y="202"/>
                        </a:lnTo>
                        <a:lnTo>
                          <a:pt x="265" y="203"/>
                        </a:lnTo>
                        <a:lnTo>
                          <a:pt x="262" y="207"/>
                        </a:lnTo>
                        <a:lnTo>
                          <a:pt x="265" y="205"/>
                        </a:lnTo>
                        <a:lnTo>
                          <a:pt x="267" y="208"/>
                        </a:lnTo>
                        <a:lnTo>
                          <a:pt x="263" y="210"/>
                        </a:lnTo>
                        <a:lnTo>
                          <a:pt x="268" y="208"/>
                        </a:lnTo>
                        <a:lnTo>
                          <a:pt x="268" y="213"/>
                        </a:lnTo>
                        <a:lnTo>
                          <a:pt x="268" y="217"/>
                        </a:lnTo>
                        <a:lnTo>
                          <a:pt x="263" y="217"/>
                        </a:lnTo>
                        <a:lnTo>
                          <a:pt x="268" y="218"/>
                        </a:lnTo>
                        <a:lnTo>
                          <a:pt x="267" y="222"/>
                        </a:lnTo>
                        <a:lnTo>
                          <a:pt x="263" y="225"/>
                        </a:lnTo>
                        <a:lnTo>
                          <a:pt x="260" y="223"/>
                        </a:lnTo>
                        <a:lnTo>
                          <a:pt x="263" y="226"/>
                        </a:lnTo>
                        <a:lnTo>
                          <a:pt x="258" y="228"/>
                        </a:lnTo>
                        <a:lnTo>
                          <a:pt x="257" y="225"/>
                        </a:lnTo>
                        <a:lnTo>
                          <a:pt x="257" y="230"/>
                        </a:lnTo>
                        <a:lnTo>
                          <a:pt x="253" y="230"/>
                        </a:lnTo>
                        <a:moveTo>
                          <a:pt x="252" y="222"/>
                        </a:moveTo>
                        <a:lnTo>
                          <a:pt x="253" y="225"/>
                        </a:lnTo>
                        <a:lnTo>
                          <a:pt x="253" y="222"/>
                        </a:lnTo>
                        <a:lnTo>
                          <a:pt x="253" y="222"/>
                        </a:lnTo>
                        <a:lnTo>
                          <a:pt x="255" y="225"/>
                        </a:lnTo>
                        <a:lnTo>
                          <a:pt x="255" y="222"/>
                        </a:lnTo>
                        <a:lnTo>
                          <a:pt x="255" y="220"/>
                        </a:lnTo>
                        <a:lnTo>
                          <a:pt x="258" y="225"/>
                        </a:lnTo>
                        <a:lnTo>
                          <a:pt x="257" y="220"/>
                        </a:lnTo>
                        <a:lnTo>
                          <a:pt x="258" y="223"/>
                        </a:lnTo>
                        <a:lnTo>
                          <a:pt x="257" y="220"/>
                        </a:lnTo>
                        <a:lnTo>
                          <a:pt x="258" y="218"/>
                        </a:lnTo>
                        <a:lnTo>
                          <a:pt x="262" y="220"/>
                        </a:lnTo>
                        <a:lnTo>
                          <a:pt x="258" y="217"/>
                        </a:lnTo>
                        <a:lnTo>
                          <a:pt x="260" y="217"/>
                        </a:lnTo>
                        <a:lnTo>
                          <a:pt x="260" y="215"/>
                        </a:lnTo>
                        <a:lnTo>
                          <a:pt x="263" y="215"/>
                        </a:lnTo>
                        <a:lnTo>
                          <a:pt x="260" y="213"/>
                        </a:lnTo>
                        <a:lnTo>
                          <a:pt x="263" y="213"/>
                        </a:lnTo>
                        <a:lnTo>
                          <a:pt x="260" y="213"/>
                        </a:lnTo>
                        <a:lnTo>
                          <a:pt x="263" y="212"/>
                        </a:lnTo>
                        <a:lnTo>
                          <a:pt x="260" y="212"/>
                        </a:lnTo>
                        <a:lnTo>
                          <a:pt x="258" y="210"/>
                        </a:lnTo>
                        <a:lnTo>
                          <a:pt x="263" y="208"/>
                        </a:lnTo>
                        <a:lnTo>
                          <a:pt x="258" y="210"/>
                        </a:lnTo>
                        <a:lnTo>
                          <a:pt x="258" y="210"/>
                        </a:lnTo>
                        <a:lnTo>
                          <a:pt x="262" y="207"/>
                        </a:lnTo>
                        <a:lnTo>
                          <a:pt x="258" y="208"/>
                        </a:lnTo>
                        <a:lnTo>
                          <a:pt x="257" y="208"/>
                        </a:lnTo>
                        <a:lnTo>
                          <a:pt x="258" y="205"/>
                        </a:lnTo>
                        <a:lnTo>
                          <a:pt x="257" y="208"/>
                        </a:lnTo>
                        <a:lnTo>
                          <a:pt x="258" y="203"/>
                        </a:lnTo>
                        <a:lnTo>
                          <a:pt x="255" y="207"/>
                        </a:lnTo>
                        <a:lnTo>
                          <a:pt x="255" y="207"/>
                        </a:lnTo>
                        <a:lnTo>
                          <a:pt x="255" y="203"/>
                        </a:lnTo>
                        <a:lnTo>
                          <a:pt x="253" y="207"/>
                        </a:lnTo>
                        <a:lnTo>
                          <a:pt x="253" y="202"/>
                        </a:lnTo>
                        <a:lnTo>
                          <a:pt x="252" y="207"/>
                        </a:lnTo>
                        <a:lnTo>
                          <a:pt x="252" y="202"/>
                        </a:lnTo>
                        <a:lnTo>
                          <a:pt x="252" y="207"/>
                        </a:lnTo>
                        <a:lnTo>
                          <a:pt x="249" y="207"/>
                        </a:lnTo>
                        <a:lnTo>
                          <a:pt x="247" y="203"/>
                        </a:lnTo>
                        <a:lnTo>
                          <a:pt x="249" y="208"/>
                        </a:lnTo>
                        <a:lnTo>
                          <a:pt x="249" y="208"/>
                        </a:lnTo>
                        <a:lnTo>
                          <a:pt x="245" y="205"/>
                        </a:lnTo>
                        <a:lnTo>
                          <a:pt x="247" y="208"/>
                        </a:lnTo>
                        <a:lnTo>
                          <a:pt x="244" y="207"/>
                        </a:lnTo>
                        <a:lnTo>
                          <a:pt x="247" y="210"/>
                        </a:lnTo>
                        <a:lnTo>
                          <a:pt x="247" y="210"/>
                        </a:lnTo>
                        <a:lnTo>
                          <a:pt x="242" y="208"/>
                        </a:lnTo>
                        <a:lnTo>
                          <a:pt x="245" y="212"/>
                        </a:lnTo>
                        <a:lnTo>
                          <a:pt x="245" y="212"/>
                        </a:lnTo>
                        <a:lnTo>
                          <a:pt x="242" y="212"/>
                        </a:lnTo>
                        <a:lnTo>
                          <a:pt x="244" y="212"/>
                        </a:lnTo>
                        <a:lnTo>
                          <a:pt x="245" y="212"/>
                        </a:lnTo>
                        <a:lnTo>
                          <a:pt x="244" y="212"/>
                        </a:lnTo>
                        <a:lnTo>
                          <a:pt x="245" y="213"/>
                        </a:lnTo>
                        <a:lnTo>
                          <a:pt x="244" y="212"/>
                        </a:lnTo>
                        <a:lnTo>
                          <a:pt x="240" y="212"/>
                        </a:lnTo>
                        <a:lnTo>
                          <a:pt x="245" y="213"/>
                        </a:lnTo>
                        <a:lnTo>
                          <a:pt x="240" y="213"/>
                        </a:lnTo>
                        <a:lnTo>
                          <a:pt x="245" y="215"/>
                        </a:lnTo>
                        <a:lnTo>
                          <a:pt x="240" y="215"/>
                        </a:lnTo>
                        <a:lnTo>
                          <a:pt x="245" y="215"/>
                        </a:lnTo>
                        <a:lnTo>
                          <a:pt x="245" y="217"/>
                        </a:lnTo>
                        <a:lnTo>
                          <a:pt x="242" y="218"/>
                        </a:lnTo>
                        <a:lnTo>
                          <a:pt x="245" y="217"/>
                        </a:lnTo>
                        <a:lnTo>
                          <a:pt x="242" y="220"/>
                        </a:lnTo>
                        <a:lnTo>
                          <a:pt x="247" y="218"/>
                        </a:lnTo>
                        <a:lnTo>
                          <a:pt x="244" y="220"/>
                        </a:lnTo>
                        <a:lnTo>
                          <a:pt x="247" y="218"/>
                        </a:lnTo>
                        <a:lnTo>
                          <a:pt x="249" y="220"/>
                        </a:lnTo>
                        <a:lnTo>
                          <a:pt x="247" y="223"/>
                        </a:lnTo>
                        <a:lnTo>
                          <a:pt x="249" y="220"/>
                        </a:lnTo>
                        <a:lnTo>
                          <a:pt x="247" y="225"/>
                        </a:lnTo>
                        <a:lnTo>
                          <a:pt x="250" y="220"/>
                        </a:lnTo>
                        <a:lnTo>
                          <a:pt x="250" y="220"/>
                        </a:lnTo>
                        <a:lnTo>
                          <a:pt x="250" y="220"/>
                        </a:lnTo>
                        <a:lnTo>
                          <a:pt x="252" y="222"/>
                        </a:lnTo>
                        <a:lnTo>
                          <a:pt x="252" y="225"/>
                        </a:lnTo>
                        <a:lnTo>
                          <a:pt x="252" y="222"/>
                        </a:lnTo>
                        <a:moveTo>
                          <a:pt x="69" y="159"/>
                        </a:moveTo>
                        <a:lnTo>
                          <a:pt x="64" y="157"/>
                        </a:lnTo>
                        <a:lnTo>
                          <a:pt x="61" y="157"/>
                        </a:lnTo>
                        <a:lnTo>
                          <a:pt x="63" y="153"/>
                        </a:lnTo>
                        <a:lnTo>
                          <a:pt x="61" y="156"/>
                        </a:lnTo>
                        <a:lnTo>
                          <a:pt x="63" y="153"/>
                        </a:lnTo>
                        <a:lnTo>
                          <a:pt x="60" y="156"/>
                        </a:lnTo>
                        <a:lnTo>
                          <a:pt x="58" y="154"/>
                        </a:lnTo>
                        <a:lnTo>
                          <a:pt x="60" y="151"/>
                        </a:lnTo>
                        <a:lnTo>
                          <a:pt x="56" y="153"/>
                        </a:lnTo>
                        <a:lnTo>
                          <a:pt x="55" y="149"/>
                        </a:lnTo>
                        <a:lnTo>
                          <a:pt x="53" y="141"/>
                        </a:lnTo>
                        <a:lnTo>
                          <a:pt x="53" y="95"/>
                        </a:lnTo>
                        <a:lnTo>
                          <a:pt x="56" y="90"/>
                        </a:lnTo>
                        <a:lnTo>
                          <a:pt x="60" y="93"/>
                        </a:lnTo>
                        <a:lnTo>
                          <a:pt x="56" y="90"/>
                        </a:lnTo>
                        <a:lnTo>
                          <a:pt x="61" y="87"/>
                        </a:lnTo>
                        <a:lnTo>
                          <a:pt x="64" y="85"/>
                        </a:lnTo>
                        <a:lnTo>
                          <a:pt x="66" y="90"/>
                        </a:lnTo>
                        <a:lnTo>
                          <a:pt x="66" y="85"/>
                        </a:lnTo>
                        <a:lnTo>
                          <a:pt x="69" y="85"/>
                        </a:lnTo>
                        <a:lnTo>
                          <a:pt x="285" y="85"/>
                        </a:lnTo>
                        <a:lnTo>
                          <a:pt x="291" y="88"/>
                        </a:lnTo>
                        <a:lnTo>
                          <a:pt x="288" y="92"/>
                        </a:lnTo>
                        <a:lnTo>
                          <a:pt x="291" y="88"/>
                        </a:lnTo>
                        <a:lnTo>
                          <a:pt x="296" y="97"/>
                        </a:lnTo>
                        <a:lnTo>
                          <a:pt x="298" y="102"/>
                        </a:lnTo>
                        <a:lnTo>
                          <a:pt x="298" y="141"/>
                        </a:lnTo>
                        <a:lnTo>
                          <a:pt x="296" y="148"/>
                        </a:lnTo>
                        <a:lnTo>
                          <a:pt x="296" y="148"/>
                        </a:lnTo>
                        <a:lnTo>
                          <a:pt x="291" y="148"/>
                        </a:lnTo>
                        <a:lnTo>
                          <a:pt x="296" y="149"/>
                        </a:lnTo>
                        <a:lnTo>
                          <a:pt x="295" y="149"/>
                        </a:lnTo>
                        <a:lnTo>
                          <a:pt x="291" y="148"/>
                        </a:lnTo>
                        <a:lnTo>
                          <a:pt x="295" y="151"/>
                        </a:lnTo>
                        <a:lnTo>
                          <a:pt x="291" y="154"/>
                        </a:lnTo>
                        <a:lnTo>
                          <a:pt x="286" y="157"/>
                        </a:lnTo>
                        <a:lnTo>
                          <a:pt x="285" y="154"/>
                        </a:lnTo>
                        <a:lnTo>
                          <a:pt x="286" y="157"/>
                        </a:lnTo>
                        <a:lnTo>
                          <a:pt x="285" y="157"/>
                        </a:lnTo>
                        <a:lnTo>
                          <a:pt x="283" y="154"/>
                        </a:lnTo>
                        <a:lnTo>
                          <a:pt x="283" y="157"/>
                        </a:lnTo>
                        <a:lnTo>
                          <a:pt x="280" y="159"/>
                        </a:lnTo>
                        <a:lnTo>
                          <a:pt x="69" y="159"/>
                        </a:lnTo>
                        <a:moveTo>
                          <a:pt x="66" y="149"/>
                        </a:moveTo>
                        <a:lnTo>
                          <a:pt x="68" y="149"/>
                        </a:lnTo>
                        <a:lnTo>
                          <a:pt x="68" y="154"/>
                        </a:lnTo>
                        <a:lnTo>
                          <a:pt x="68" y="149"/>
                        </a:lnTo>
                        <a:lnTo>
                          <a:pt x="69" y="149"/>
                        </a:lnTo>
                        <a:lnTo>
                          <a:pt x="281" y="149"/>
                        </a:lnTo>
                        <a:lnTo>
                          <a:pt x="283" y="154"/>
                        </a:lnTo>
                        <a:lnTo>
                          <a:pt x="283" y="149"/>
                        </a:lnTo>
                        <a:lnTo>
                          <a:pt x="283" y="149"/>
                        </a:lnTo>
                        <a:lnTo>
                          <a:pt x="285" y="153"/>
                        </a:lnTo>
                        <a:lnTo>
                          <a:pt x="285" y="149"/>
                        </a:lnTo>
                        <a:lnTo>
                          <a:pt x="286" y="148"/>
                        </a:lnTo>
                        <a:lnTo>
                          <a:pt x="290" y="149"/>
                        </a:lnTo>
                        <a:lnTo>
                          <a:pt x="288" y="146"/>
                        </a:lnTo>
                        <a:lnTo>
                          <a:pt x="291" y="149"/>
                        </a:lnTo>
                        <a:lnTo>
                          <a:pt x="288" y="146"/>
                        </a:lnTo>
                        <a:lnTo>
                          <a:pt x="291" y="148"/>
                        </a:lnTo>
                        <a:lnTo>
                          <a:pt x="288" y="146"/>
                        </a:lnTo>
                        <a:lnTo>
                          <a:pt x="291" y="146"/>
                        </a:lnTo>
                        <a:lnTo>
                          <a:pt x="288" y="144"/>
                        </a:lnTo>
                        <a:lnTo>
                          <a:pt x="293" y="146"/>
                        </a:lnTo>
                        <a:lnTo>
                          <a:pt x="288" y="143"/>
                        </a:lnTo>
                        <a:lnTo>
                          <a:pt x="293" y="144"/>
                        </a:lnTo>
                        <a:lnTo>
                          <a:pt x="288" y="143"/>
                        </a:lnTo>
                        <a:lnTo>
                          <a:pt x="290" y="141"/>
                        </a:lnTo>
                        <a:lnTo>
                          <a:pt x="288" y="100"/>
                        </a:lnTo>
                        <a:lnTo>
                          <a:pt x="293" y="98"/>
                        </a:lnTo>
                        <a:lnTo>
                          <a:pt x="288" y="100"/>
                        </a:lnTo>
                        <a:lnTo>
                          <a:pt x="288" y="98"/>
                        </a:lnTo>
                        <a:lnTo>
                          <a:pt x="291" y="97"/>
                        </a:lnTo>
                        <a:lnTo>
                          <a:pt x="288" y="98"/>
                        </a:lnTo>
                        <a:lnTo>
                          <a:pt x="291" y="95"/>
                        </a:lnTo>
                        <a:lnTo>
                          <a:pt x="288" y="98"/>
                        </a:lnTo>
                        <a:lnTo>
                          <a:pt x="291" y="93"/>
                        </a:lnTo>
                        <a:lnTo>
                          <a:pt x="286" y="97"/>
                        </a:lnTo>
                        <a:lnTo>
                          <a:pt x="286" y="97"/>
                        </a:lnTo>
                        <a:lnTo>
                          <a:pt x="290" y="92"/>
                        </a:lnTo>
                        <a:lnTo>
                          <a:pt x="286" y="95"/>
                        </a:lnTo>
                        <a:lnTo>
                          <a:pt x="288" y="92"/>
                        </a:lnTo>
                        <a:lnTo>
                          <a:pt x="285" y="95"/>
                        </a:lnTo>
                        <a:lnTo>
                          <a:pt x="286" y="90"/>
                        </a:lnTo>
                        <a:lnTo>
                          <a:pt x="285" y="95"/>
                        </a:lnTo>
                        <a:lnTo>
                          <a:pt x="286" y="90"/>
                        </a:lnTo>
                        <a:lnTo>
                          <a:pt x="283" y="93"/>
                        </a:lnTo>
                        <a:lnTo>
                          <a:pt x="285" y="90"/>
                        </a:lnTo>
                        <a:lnTo>
                          <a:pt x="283" y="93"/>
                        </a:lnTo>
                        <a:lnTo>
                          <a:pt x="281" y="93"/>
                        </a:lnTo>
                        <a:lnTo>
                          <a:pt x="281" y="88"/>
                        </a:lnTo>
                        <a:lnTo>
                          <a:pt x="281" y="93"/>
                        </a:lnTo>
                        <a:lnTo>
                          <a:pt x="280" y="93"/>
                        </a:lnTo>
                        <a:lnTo>
                          <a:pt x="68" y="93"/>
                        </a:lnTo>
                        <a:lnTo>
                          <a:pt x="66" y="90"/>
                        </a:lnTo>
                        <a:lnTo>
                          <a:pt x="68" y="93"/>
                        </a:lnTo>
                        <a:lnTo>
                          <a:pt x="66" y="90"/>
                        </a:lnTo>
                        <a:lnTo>
                          <a:pt x="66" y="93"/>
                        </a:lnTo>
                        <a:lnTo>
                          <a:pt x="64" y="90"/>
                        </a:lnTo>
                        <a:lnTo>
                          <a:pt x="66" y="93"/>
                        </a:lnTo>
                        <a:lnTo>
                          <a:pt x="64" y="95"/>
                        </a:lnTo>
                        <a:lnTo>
                          <a:pt x="63" y="92"/>
                        </a:lnTo>
                        <a:lnTo>
                          <a:pt x="64" y="95"/>
                        </a:lnTo>
                        <a:lnTo>
                          <a:pt x="61" y="92"/>
                        </a:lnTo>
                        <a:lnTo>
                          <a:pt x="63" y="95"/>
                        </a:lnTo>
                        <a:lnTo>
                          <a:pt x="63" y="97"/>
                        </a:lnTo>
                        <a:lnTo>
                          <a:pt x="58" y="95"/>
                        </a:lnTo>
                        <a:lnTo>
                          <a:pt x="63" y="97"/>
                        </a:lnTo>
                        <a:lnTo>
                          <a:pt x="58" y="95"/>
                        </a:lnTo>
                        <a:lnTo>
                          <a:pt x="61" y="98"/>
                        </a:lnTo>
                        <a:lnTo>
                          <a:pt x="58" y="97"/>
                        </a:lnTo>
                        <a:lnTo>
                          <a:pt x="61" y="98"/>
                        </a:lnTo>
                        <a:lnTo>
                          <a:pt x="61" y="100"/>
                        </a:lnTo>
                        <a:lnTo>
                          <a:pt x="56" y="100"/>
                        </a:lnTo>
                        <a:lnTo>
                          <a:pt x="61" y="100"/>
                        </a:lnTo>
                        <a:lnTo>
                          <a:pt x="61" y="102"/>
                        </a:lnTo>
                        <a:lnTo>
                          <a:pt x="61" y="143"/>
                        </a:lnTo>
                        <a:lnTo>
                          <a:pt x="56" y="144"/>
                        </a:lnTo>
                        <a:lnTo>
                          <a:pt x="61" y="144"/>
                        </a:lnTo>
                        <a:lnTo>
                          <a:pt x="63" y="146"/>
                        </a:lnTo>
                        <a:lnTo>
                          <a:pt x="60" y="149"/>
                        </a:lnTo>
                        <a:lnTo>
                          <a:pt x="63" y="148"/>
                        </a:lnTo>
                        <a:lnTo>
                          <a:pt x="60" y="151"/>
                        </a:lnTo>
                        <a:lnTo>
                          <a:pt x="63" y="148"/>
                        </a:lnTo>
                        <a:lnTo>
                          <a:pt x="61" y="151"/>
                        </a:lnTo>
                        <a:lnTo>
                          <a:pt x="64" y="148"/>
                        </a:lnTo>
                        <a:lnTo>
                          <a:pt x="61" y="151"/>
                        </a:lnTo>
                        <a:lnTo>
                          <a:pt x="64" y="149"/>
                        </a:lnTo>
                        <a:lnTo>
                          <a:pt x="63" y="153"/>
                        </a:lnTo>
                        <a:lnTo>
                          <a:pt x="64" y="149"/>
                        </a:lnTo>
                        <a:lnTo>
                          <a:pt x="64" y="153"/>
                        </a:lnTo>
                        <a:lnTo>
                          <a:pt x="66" y="149"/>
                        </a:lnTo>
                        <a:moveTo>
                          <a:pt x="253" y="138"/>
                        </a:moveTo>
                        <a:lnTo>
                          <a:pt x="247" y="138"/>
                        </a:lnTo>
                        <a:lnTo>
                          <a:pt x="249" y="133"/>
                        </a:lnTo>
                        <a:lnTo>
                          <a:pt x="245" y="136"/>
                        </a:lnTo>
                        <a:lnTo>
                          <a:pt x="244" y="136"/>
                        </a:lnTo>
                        <a:lnTo>
                          <a:pt x="245" y="131"/>
                        </a:lnTo>
                        <a:lnTo>
                          <a:pt x="244" y="136"/>
                        </a:lnTo>
                        <a:lnTo>
                          <a:pt x="242" y="134"/>
                        </a:lnTo>
                        <a:lnTo>
                          <a:pt x="244" y="131"/>
                        </a:lnTo>
                        <a:lnTo>
                          <a:pt x="240" y="133"/>
                        </a:lnTo>
                        <a:lnTo>
                          <a:pt x="237" y="126"/>
                        </a:lnTo>
                        <a:lnTo>
                          <a:pt x="242" y="125"/>
                        </a:lnTo>
                        <a:lnTo>
                          <a:pt x="237" y="126"/>
                        </a:lnTo>
                        <a:lnTo>
                          <a:pt x="237" y="123"/>
                        </a:lnTo>
                        <a:lnTo>
                          <a:pt x="240" y="121"/>
                        </a:lnTo>
                        <a:lnTo>
                          <a:pt x="237" y="121"/>
                        </a:lnTo>
                        <a:lnTo>
                          <a:pt x="237" y="118"/>
                        </a:lnTo>
                        <a:lnTo>
                          <a:pt x="242" y="120"/>
                        </a:lnTo>
                        <a:lnTo>
                          <a:pt x="237" y="118"/>
                        </a:lnTo>
                        <a:lnTo>
                          <a:pt x="240" y="113"/>
                        </a:lnTo>
                        <a:lnTo>
                          <a:pt x="245" y="108"/>
                        </a:lnTo>
                        <a:lnTo>
                          <a:pt x="250" y="107"/>
                        </a:lnTo>
                        <a:lnTo>
                          <a:pt x="252" y="111"/>
                        </a:lnTo>
                        <a:lnTo>
                          <a:pt x="252" y="107"/>
                        </a:lnTo>
                        <a:lnTo>
                          <a:pt x="257" y="107"/>
                        </a:lnTo>
                        <a:lnTo>
                          <a:pt x="255" y="111"/>
                        </a:lnTo>
                        <a:lnTo>
                          <a:pt x="257" y="108"/>
                        </a:lnTo>
                        <a:lnTo>
                          <a:pt x="262" y="110"/>
                        </a:lnTo>
                        <a:lnTo>
                          <a:pt x="267" y="115"/>
                        </a:lnTo>
                        <a:lnTo>
                          <a:pt x="262" y="116"/>
                        </a:lnTo>
                        <a:lnTo>
                          <a:pt x="267" y="115"/>
                        </a:lnTo>
                        <a:lnTo>
                          <a:pt x="267" y="116"/>
                        </a:lnTo>
                        <a:lnTo>
                          <a:pt x="263" y="118"/>
                        </a:lnTo>
                        <a:lnTo>
                          <a:pt x="268" y="118"/>
                        </a:lnTo>
                        <a:lnTo>
                          <a:pt x="268" y="123"/>
                        </a:lnTo>
                        <a:lnTo>
                          <a:pt x="263" y="123"/>
                        </a:lnTo>
                        <a:lnTo>
                          <a:pt x="268" y="125"/>
                        </a:lnTo>
                        <a:lnTo>
                          <a:pt x="268" y="128"/>
                        </a:lnTo>
                        <a:lnTo>
                          <a:pt x="263" y="126"/>
                        </a:lnTo>
                        <a:lnTo>
                          <a:pt x="267" y="128"/>
                        </a:lnTo>
                        <a:lnTo>
                          <a:pt x="267" y="130"/>
                        </a:lnTo>
                        <a:lnTo>
                          <a:pt x="263" y="128"/>
                        </a:lnTo>
                        <a:lnTo>
                          <a:pt x="267" y="130"/>
                        </a:lnTo>
                        <a:lnTo>
                          <a:pt x="265" y="131"/>
                        </a:lnTo>
                        <a:lnTo>
                          <a:pt x="262" y="130"/>
                        </a:lnTo>
                        <a:lnTo>
                          <a:pt x="265" y="133"/>
                        </a:lnTo>
                        <a:lnTo>
                          <a:pt x="262" y="134"/>
                        </a:lnTo>
                        <a:lnTo>
                          <a:pt x="260" y="131"/>
                        </a:lnTo>
                        <a:lnTo>
                          <a:pt x="262" y="136"/>
                        </a:lnTo>
                        <a:lnTo>
                          <a:pt x="258" y="136"/>
                        </a:lnTo>
                        <a:lnTo>
                          <a:pt x="257" y="133"/>
                        </a:lnTo>
                        <a:lnTo>
                          <a:pt x="258" y="138"/>
                        </a:lnTo>
                        <a:lnTo>
                          <a:pt x="253" y="138"/>
                        </a:lnTo>
                        <a:moveTo>
                          <a:pt x="253" y="130"/>
                        </a:moveTo>
                        <a:lnTo>
                          <a:pt x="253" y="134"/>
                        </a:lnTo>
                        <a:lnTo>
                          <a:pt x="253" y="130"/>
                        </a:lnTo>
                        <a:lnTo>
                          <a:pt x="255" y="134"/>
                        </a:lnTo>
                        <a:lnTo>
                          <a:pt x="255" y="131"/>
                        </a:lnTo>
                        <a:lnTo>
                          <a:pt x="255" y="130"/>
                        </a:lnTo>
                        <a:lnTo>
                          <a:pt x="257" y="130"/>
                        </a:lnTo>
                        <a:lnTo>
                          <a:pt x="258" y="133"/>
                        </a:lnTo>
                        <a:lnTo>
                          <a:pt x="257" y="128"/>
                        </a:lnTo>
                        <a:lnTo>
                          <a:pt x="257" y="128"/>
                        </a:lnTo>
                        <a:lnTo>
                          <a:pt x="260" y="131"/>
                        </a:lnTo>
                        <a:lnTo>
                          <a:pt x="258" y="128"/>
                        </a:lnTo>
                        <a:lnTo>
                          <a:pt x="258" y="126"/>
                        </a:lnTo>
                        <a:lnTo>
                          <a:pt x="263" y="128"/>
                        </a:lnTo>
                        <a:lnTo>
                          <a:pt x="262" y="126"/>
                        </a:lnTo>
                        <a:lnTo>
                          <a:pt x="260" y="126"/>
                        </a:lnTo>
                        <a:lnTo>
                          <a:pt x="260" y="125"/>
                        </a:lnTo>
                        <a:lnTo>
                          <a:pt x="263" y="125"/>
                        </a:lnTo>
                        <a:lnTo>
                          <a:pt x="260" y="123"/>
                        </a:lnTo>
                        <a:lnTo>
                          <a:pt x="260" y="123"/>
                        </a:lnTo>
                        <a:lnTo>
                          <a:pt x="263" y="121"/>
                        </a:lnTo>
                        <a:lnTo>
                          <a:pt x="260" y="121"/>
                        </a:lnTo>
                        <a:lnTo>
                          <a:pt x="263" y="120"/>
                        </a:lnTo>
                        <a:lnTo>
                          <a:pt x="260" y="121"/>
                        </a:lnTo>
                        <a:lnTo>
                          <a:pt x="258" y="120"/>
                        </a:lnTo>
                        <a:lnTo>
                          <a:pt x="262" y="116"/>
                        </a:lnTo>
                        <a:lnTo>
                          <a:pt x="260" y="118"/>
                        </a:lnTo>
                        <a:lnTo>
                          <a:pt x="258" y="120"/>
                        </a:lnTo>
                        <a:lnTo>
                          <a:pt x="258" y="118"/>
                        </a:lnTo>
                        <a:lnTo>
                          <a:pt x="262" y="115"/>
                        </a:lnTo>
                        <a:lnTo>
                          <a:pt x="258" y="118"/>
                        </a:lnTo>
                        <a:lnTo>
                          <a:pt x="260" y="115"/>
                        </a:lnTo>
                        <a:lnTo>
                          <a:pt x="257" y="116"/>
                        </a:lnTo>
                        <a:lnTo>
                          <a:pt x="257" y="116"/>
                        </a:lnTo>
                        <a:lnTo>
                          <a:pt x="258" y="113"/>
                        </a:lnTo>
                        <a:lnTo>
                          <a:pt x="255" y="116"/>
                        </a:lnTo>
                        <a:lnTo>
                          <a:pt x="253" y="115"/>
                        </a:lnTo>
                        <a:lnTo>
                          <a:pt x="253" y="111"/>
                        </a:lnTo>
                        <a:lnTo>
                          <a:pt x="252" y="115"/>
                        </a:lnTo>
                        <a:lnTo>
                          <a:pt x="252" y="111"/>
                        </a:lnTo>
                        <a:lnTo>
                          <a:pt x="252" y="115"/>
                        </a:lnTo>
                        <a:lnTo>
                          <a:pt x="250" y="115"/>
                        </a:lnTo>
                        <a:lnTo>
                          <a:pt x="249" y="111"/>
                        </a:lnTo>
                        <a:lnTo>
                          <a:pt x="250" y="116"/>
                        </a:lnTo>
                        <a:lnTo>
                          <a:pt x="249" y="116"/>
                        </a:lnTo>
                        <a:lnTo>
                          <a:pt x="247" y="113"/>
                        </a:lnTo>
                        <a:lnTo>
                          <a:pt x="249" y="116"/>
                        </a:lnTo>
                        <a:lnTo>
                          <a:pt x="245" y="113"/>
                        </a:lnTo>
                        <a:lnTo>
                          <a:pt x="249" y="116"/>
                        </a:lnTo>
                        <a:lnTo>
                          <a:pt x="245" y="115"/>
                        </a:lnTo>
                        <a:lnTo>
                          <a:pt x="247" y="118"/>
                        </a:lnTo>
                        <a:lnTo>
                          <a:pt x="244" y="115"/>
                        </a:lnTo>
                        <a:lnTo>
                          <a:pt x="247" y="118"/>
                        </a:lnTo>
                        <a:lnTo>
                          <a:pt x="244" y="116"/>
                        </a:lnTo>
                        <a:lnTo>
                          <a:pt x="247" y="118"/>
                        </a:lnTo>
                        <a:lnTo>
                          <a:pt x="242" y="116"/>
                        </a:lnTo>
                        <a:lnTo>
                          <a:pt x="245" y="120"/>
                        </a:lnTo>
                        <a:lnTo>
                          <a:pt x="245" y="121"/>
                        </a:lnTo>
                        <a:lnTo>
                          <a:pt x="242" y="121"/>
                        </a:lnTo>
                        <a:lnTo>
                          <a:pt x="240" y="121"/>
                        </a:lnTo>
                        <a:lnTo>
                          <a:pt x="245" y="121"/>
                        </a:lnTo>
                        <a:lnTo>
                          <a:pt x="240" y="121"/>
                        </a:lnTo>
                        <a:lnTo>
                          <a:pt x="245" y="123"/>
                        </a:lnTo>
                        <a:lnTo>
                          <a:pt x="240" y="123"/>
                        </a:lnTo>
                        <a:lnTo>
                          <a:pt x="245" y="125"/>
                        </a:lnTo>
                        <a:lnTo>
                          <a:pt x="245" y="125"/>
                        </a:lnTo>
                        <a:lnTo>
                          <a:pt x="242" y="126"/>
                        </a:lnTo>
                        <a:lnTo>
                          <a:pt x="245" y="126"/>
                        </a:lnTo>
                        <a:lnTo>
                          <a:pt x="242" y="128"/>
                        </a:lnTo>
                        <a:lnTo>
                          <a:pt x="247" y="126"/>
                        </a:lnTo>
                        <a:lnTo>
                          <a:pt x="247" y="126"/>
                        </a:lnTo>
                        <a:lnTo>
                          <a:pt x="244" y="130"/>
                        </a:lnTo>
                        <a:lnTo>
                          <a:pt x="247" y="128"/>
                        </a:lnTo>
                        <a:lnTo>
                          <a:pt x="245" y="131"/>
                        </a:lnTo>
                        <a:lnTo>
                          <a:pt x="249" y="128"/>
                        </a:lnTo>
                        <a:lnTo>
                          <a:pt x="249" y="128"/>
                        </a:lnTo>
                        <a:lnTo>
                          <a:pt x="247" y="133"/>
                        </a:lnTo>
                        <a:lnTo>
                          <a:pt x="249" y="130"/>
                        </a:lnTo>
                        <a:lnTo>
                          <a:pt x="250" y="130"/>
                        </a:lnTo>
                        <a:lnTo>
                          <a:pt x="250" y="134"/>
                        </a:lnTo>
                        <a:lnTo>
                          <a:pt x="252" y="130"/>
                        </a:lnTo>
                        <a:lnTo>
                          <a:pt x="250" y="134"/>
                        </a:lnTo>
                        <a:lnTo>
                          <a:pt x="252" y="130"/>
                        </a:lnTo>
                        <a:lnTo>
                          <a:pt x="253" y="13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66" name="Freeform 839"/>
                  <p:cNvSpPr>
                    <a:spLocks/>
                  </p:cNvSpPr>
                  <p:nvPr/>
                </p:nvSpPr>
                <p:spPr bwMode="auto">
                  <a:xfrm>
                    <a:off x="13066713" y="4443413"/>
                    <a:ext cx="200025" cy="15875"/>
                  </a:xfrm>
                  <a:custGeom>
                    <a:avLst/>
                    <a:gdLst/>
                    <a:ahLst/>
                    <a:cxnLst>
                      <a:cxn ang="0">
                        <a:pos x="6" y="0"/>
                      </a:cxn>
                      <a:cxn ang="0">
                        <a:pos x="0" y="2"/>
                      </a:cxn>
                      <a:cxn ang="0">
                        <a:pos x="0" y="2"/>
                      </a:cxn>
                      <a:cxn ang="0">
                        <a:pos x="0" y="5"/>
                      </a:cxn>
                      <a:cxn ang="0">
                        <a:pos x="0" y="5"/>
                      </a:cxn>
                      <a:cxn ang="0">
                        <a:pos x="0" y="5"/>
                      </a:cxn>
                      <a:cxn ang="0">
                        <a:pos x="0" y="7"/>
                      </a:cxn>
                      <a:cxn ang="0">
                        <a:pos x="1" y="10"/>
                      </a:cxn>
                      <a:cxn ang="0">
                        <a:pos x="3" y="10"/>
                      </a:cxn>
                      <a:cxn ang="0">
                        <a:pos x="1" y="7"/>
                      </a:cxn>
                      <a:cxn ang="0">
                        <a:pos x="1" y="5"/>
                      </a:cxn>
                      <a:cxn ang="0">
                        <a:pos x="3" y="8"/>
                      </a:cxn>
                      <a:cxn ang="0">
                        <a:pos x="3" y="5"/>
                      </a:cxn>
                      <a:cxn ang="0">
                        <a:pos x="5" y="8"/>
                      </a:cxn>
                      <a:cxn ang="0">
                        <a:pos x="3" y="5"/>
                      </a:cxn>
                      <a:cxn ang="0">
                        <a:pos x="5" y="8"/>
                      </a:cxn>
                      <a:cxn ang="0">
                        <a:pos x="8" y="8"/>
                      </a:cxn>
                      <a:cxn ang="0">
                        <a:pos x="8" y="3"/>
                      </a:cxn>
                      <a:cxn ang="0">
                        <a:pos x="118" y="3"/>
                      </a:cxn>
                      <a:cxn ang="0">
                        <a:pos x="118" y="8"/>
                      </a:cxn>
                      <a:cxn ang="0">
                        <a:pos x="126" y="8"/>
                      </a:cxn>
                      <a:cxn ang="0">
                        <a:pos x="126" y="0"/>
                      </a:cxn>
                      <a:cxn ang="0">
                        <a:pos x="6" y="0"/>
                      </a:cxn>
                    </a:cxnLst>
                    <a:rect l="0" t="0" r="r" b="b"/>
                    <a:pathLst>
                      <a:path w="126" h="10">
                        <a:moveTo>
                          <a:pt x="6" y="0"/>
                        </a:moveTo>
                        <a:lnTo>
                          <a:pt x="0" y="2"/>
                        </a:lnTo>
                        <a:lnTo>
                          <a:pt x="0" y="2"/>
                        </a:lnTo>
                        <a:lnTo>
                          <a:pt x="0" y="5"/>
                        </a:lnTo>
                        <a:lnTo>
                          <a:pt x="0" y="5"/>
                        </a:lnTo>
                        <a:lnTo>
                          <a:pt x="0" y="5"/>
                        </a:lnTo>
                        <a:lnTo>
                          <a:pt x="0" y="7"/>
                        </a:lnTo>
                        <a:lnTo>
                          <a:pt x="1" y="10"/>
                        </a:lnTo>
                        <a:lnTo>
                          <a:pt x="3" y="10"/>
                        </a:lnTo>
                        <a:lnTo>
                          <a:pt x="1" y="7"/>
                        </a:lnTo>
                        <a:lnTo>
                          <a:pt x="1" y="5"/>
                        </a:lnTo>
                        <a:lnTo>
                          <a:pt x="3" y="8"/>
                        </a:lnTo>
                        <a:lnTo>
                          <a:pt x="3" y="5"/>
                        </a:lnTo>
                        <a:lnTo>
                          <a:pt x="5" y="8"/>
                        </a:lnTo>
                        <a:lnTo>
                          <a:pt x="3" y="5"/>
                        </a:lnTo>
                        <a:lnTo>
                          <a:pt x="5" y="8"/>
                        </a:lnTo>
                        <a:lnTo>
                          <a:pt x="8" y="8"/>
                        </a:lnTo>
                        <a:lnTo>
                          <a:pt x="8" y="3"/>
                        </a:lnTo>
                        <a:lnTo>
                          <a:pt x="118" y="3"/>
                        </a:lnTo>
                        <a:lnTo>
                          <a:pt x="118" y="8"/>
                        </a:lnTo>
                        <a:lnTo>
                          <a:pt x="126" y="8"/>
                        </a:lnTo>
                        <a:lnTo>
                          <a:pt x="126"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67" name="Freeform 840"/>
                  <p:cNvSpPr>
                    <a:spLocks/>
                  </p:cNvSpPr>
                  <p:nvPr/>
                </p:nvSpPr>
                <p:spPr bwMode="auto">
                  <a:xfrm>
                    <a:off x="13066713" y="4443413"/>
                    <a:ext cx="200025" cy="15875"/>
                  </a:xfrm>
                  <a:custGeom>
                    <a:avLst/>
                    <a:gdLst/>
                    <a:ahLst/>
                    <a:cxnLst>
                      <a:cxn ang="0">
                        <a:pos x="6" y="0"/>
                      </a:cxn>
                      <a:cxn ang="0">
                        <a:pos x="0" y="2"/>
                      </a:cxn>
                      <a:cxn ang="0">
                        <a:pos x="0" y="2"/>
                      </a:cxn>
                      <a:cxn ang="0">
                        <a:pos x="0" y="5"/>
                      </a:cxn>
                      <a:cxn ang="0">
                        <a:pos x="0" y="5"/>
                      </a:cxn>
                      <a:cxn ang="0">
                        <a:pos x="0" y="5"/>
                      </a:cxn>
                      <a:cxn ang="0">
                        <a:pos x="0" y="7"/>
                      </a:cxn>
                      <a:cxn ang="0">
                        <a:pos x="1" y="10"/>
                      </a:cxn>
                      <a:cxn ang="0">
                        <a:pos x="3" y="10"/>
                      </a:cxn>
                      <a:cxn ang="0">
                        <a:pos x="1" y="7"/>
                      </a:cxn>
                      <a:cxn ang="0">
                        <a:pos x="1" y="5"/>
                      </a:cxn>
                      <a:cxn ang="0">
                        <a:pos x="3" y="8"/>
                      </a:cxn>
                      <a:cxn ang="0">
                        <a:pos x="3" y="5"/>
                      </a:cxn>
                      <a:cxn ang="0">
                        <a:pos x="5" y="8"/>
                      </a:cxn>
                      <a:cxn ang="0">
                        <a:pos x="3" y="5"/>
                      </a:cxn>
                      <a:cxn ang="0">
                        <a:pos x="5" y="8"/>
                      </a:cxn>
                      <a:cxn ang="0">
                        <a:pos x="8" y="8"/>
                      </a:cxn>
                      <a:cxn ang="0">
                        <a:pos x="8" y="3"/>
                      </a:cxn>
                      <a:cxn ang="0">
                        <a:pos x="118" y="3"/>
                      </a:cxn>
                      <a:cxn ang="0">
                        <a:pos x="118" y="8"/>
                      </a:cxn>
                      <a:cxn ang="0">
                        <a:pos x="126" y="8"/>
                      </a:cxn>
                      <a:cxn ang="0">
                        <a:pos x="126" y="0"/>
                      </a:cxn>
                      <a:cxn ang="0">
                        <a:pos x="6" y="0"/>
                      </a:cxn>
                    </a:cxnLst>
                    <a:rect l="0" t="0" r="r" b="b"/>
                    <a:pathLst>
                      <a:path w="126" h="10">
                        <a:moveTo>
                          <a:pt x="6" y="0"/>
                        </a:moveTo>
                        <a:lnTo>
                          <a:pt x="0" y="2"/>
                        </a:lnTo>
                        <a:lnTo>
                          <a:pt x="0" y="2"/>
                        </a:lnTo>
                        <a:lnTo>
                          <a:pt x="0" y="5"/>
                        </a:lnTo>
                        <a:lnTo>
                          <a:pt x="0" y="5"/>
                        </a:lnTo>
                        <a:lnTo>
                          <a:pt x="0" y="5"/>
                        </a:lnTo>
                        <a:lnTo>
                          <a:pt x="0" y="7"/>
                        </a:lnTo>
                        <a:lnTo>
                          <a:pt x="1" y="10"/>
                        </a:lnTo>
                        <a:lnTo>
                          <a:pt x="3" y="10"/>
                        </a:lnTo>
                        <a:lnTo>
                          <a:pt x="1" y="7"/>
                        </a:lnTo>
                        <a:lnTo>
                          <a:pt x="1" y="5"/>
                        </a:lnTo>
                        <a:lnTo>
                          <a:pt x="3" y="8"/>
                        </a:lnTo>
                        <a:lnTo>
                          <a:pt x="3" y="5"/>
                        </a:lnTo>
                        <a:lnTo>
                          <a:pt x="5" y="8"/>
                        </a:lnTo>
                        <a:lnTo>
                          <a:pt x="3" y="5"/>
                        </a:lnTo>
                        <a:lnTo>
                          <a:pt x="5" y="8"/>
                        </a:lnTo>
                        <a:lnTo>
                          <a:pt x="8" y="8"/>
                        </a:lnTo>
                        <a:lnTo>
                          <a:pt x="8" y="3"/>
                        </a:lnTo>
                        <a:lnTo>
                          <a:pt x="118" y="3"/>
                        </a:lnTo>
                        <a:lnTo>
                          <a:pt x="118" y="8"/>
                        </a:lnTo>
                        <a:lnTo>
                          <a:pt x="126" y="8"/>
                        </a:lnTo>
                        <a:lnTo>
                          <a:pt x="126"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68" name="Freeform 841"/>
                  <p:cNvSpPr>
                    <a:spLocks/>
                  </p:cNvSpPr>
                  <p:nvPr/>
                </p:nvSpPr>
                <p:spPr bwMode="auto">
                  <a:xfrm>
                    <a:off x="13066713" y="4456113"/>
                    <a:ext cx="1588" cy="3175"/>
                  </a:xfrm>
                  <a:custGeom>
                    <a:avLst/>
                    <a:gdLst/>
                    <a:ahLst/>
                    <a:cxnLst>
                      <a:cxn ang="0">
                        <a:pos x="0" y="0"/>
                      </a:cxn>
                      <a:cxn ang="0">
                        <a:pos x="0" y="2"/>
                      </a:cxn>
                      <a:cxn ang="0">
                        <a:pos x="1" y="2"/>
                      </a:cxn>
                      <a:cxn ang="0">
                        <a:pos x="1" y="2"/>
                      </a:cxn>
                      <a:cxn ang="0">
                        <a:pos x="0" y="0"/>
                      </a:cxn>
                    </a:cxnLst>
                    <a:rect l="0" t="0" r="r" b="b"/>
                    <a:pathLst>
                      <a:path w="1" h="2">
                        <a:moveTo>
                          <a:pt x="0" y="0"/>
                        </a:moveTo>
                        <a:lnTo>
                          <a:pt x="0" y="2"/>
                        </a:lnTo>
                        <a:lnTo>
                          <a:pt x="1" y="2"/>
                        </a:lnTo>
                        <a:lnTo>
                          <a:pt x="1"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69" name="Freeform 842"/>
                  <p:cNvSpPr>
                    <a:spLocks/>
                  </p:cNvSpPr>
                  <p:nvPr/>
                </p:nvSpPr>
                <p:spPr bwMode="auto">
                  <a:xfrm>
                    <a:off x="13066713" y="4456113"/>
                    <a:ext cx="1588" cy="3175"/>
                  </a:xfrm>
                  <a:custGeom>
                    <a:avLst/>
                    <a:gdLst/>
                    <a:ahLst/>
                    <a:cxnLst>
                      <a:cxn ang="0">
                        <a:pos x="0" y="0"/>
                      </a:cxn>
                      <a:cxn ang="0">
                        <a:pos x="0" y="2"/>
                      </a:cxn>
                      <a:cxn ang="0">
                        <a:pos x="1" y="2"/>
                      </a:cxn>
                      <a:cxn ang="0">
                        <a:pos x="1" y="2"/>
                      </a:cxn>
                      <a:cxn ang="0">
                        <a:pos x="0" y="0"/>
                      </a:cxn>
                    </a:cxnLst>
                    <a:rect l="0" t="0" r="r" b="b"/>
                    <a:pathLst>
                      <a:path w="1" h="2">
                        <a:moveTo>
                          <a:pt x="0" y="0"/>
                        </a:moveTo>
                        <a:lnTo>
                          <a:pt x="0" y="2"/>
                        </a:lnTo>
                        <a:lnTo>
                          <a:pt x="1" y="2"/>
                        </a:lnTo>
                        <a:lnTo>
                          <a:pt x="1"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70" name="Rectangle 843"/>
                  <p:cNvSpPr>
                    <a:spLocks noChangeArrowheads="1"/>
                  </p:cNvSpPr>
                  <p:nvPr/>
                </p:nvSpPr>
                <p:spPr bwMode="auto">
                  <a:xfrm>
                    <a:off x="13066713" y="4462463"/>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71" name="Freeform 844"/>
                  <p:cNvSpPr>
                    <a:spLocks/>
                  </p:cNvSpPr>
                  <p:nvPr/>
                </p:nvSpPr>
                <p:spPr bwMode="auto">
                  <a:xfrm>
                    <a:off x="13066713" y="44624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72" name="Rectangle 845"/>
                  <p:cNvSpPr>
                    <a:spLocks noChangeArrowheads="1"/>
                  </p:cNvSpPr>
                  <p:nvPr/>
                </p:nvSpPr>
                <p:spPr bwMode="auto">
                  <a:xfrm>
                    <a:off x="13066713" y="454342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73" name="Freeform 846"/>
                  <p:cNvSpPr>
                    <a:spLocks/>
                  </p:cNvSpPr>
                  <p:nvPr/>
                </p:nvSpPr>
                <p:spPr bwMode="auto">
                  <a:xfrm>
                    <a:off x="13066713" y="4543425"/>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74" name="Rectangle 847"/>
                  <p:cNvSpPr>
                    <a:spLocks noChangeArrowheads="1"/>
                  </p:cNvSpPr>
                  <p:nvPr/>
                </p:nvSpPr>
                <p:spPr bwMode="auto">
                  <a:xfrm>
                    <a:off x="13066713" y="454342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0" name="Freeform 848"/>
                  <p:cNvSpPr>
                    <a:spLocks/>
                  </p:cNvSpPr>
                  <p:nvPr/>
                </p:nvSpPr>
                <p:spPr bwMode="auto">
                  <a:xfrm>
                    <a:off x="13066713" y="4543425"/>
                    <a:ext cx="1588" cy="1588"/>
                  </a:xfrm>
                  <a:custGeom>
                    <a:avLst/>
                    <a:gdLst/>
                    <a:ahLst/>
                    <a:cxnLst>
                      <a:cxn ang="0">
                        <a:pos x="0" y="0"/>
                      </a:cxn>
                      <a:cxn ang="0">
                        <a:pos x="0" y="1"/>
                      </a:cxn>
                      <a:cxn ang="0">
                        <a:pos x="0" y="1"/>
                      </a:cxn>
                      <a:cxn ang="0">
                        <a:pos x="0" y="0"/>
                      </a:cxn>
                    </a:cxnLst>
                    <a:rect l="0" t="0" r="r" b="b"/>
                    <a:pathLst>
                      <a:path h="1">
                        <a:moveTo>
                          <a:pt x="0" y="0"/>
                        </a:moveTo>
                        <a:lnTo>
                          <a:pt x="0" y="1"/>
                        </a:lnTo>
                        <a:lnTo>
                          <a:pt x="0" y="1"/>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1" name="Freeform 849"/>
                  <p:cNvSpPr>
                    <a:spLocks/>
                  </p:cNvSpPr>
                  <p:nvPr/>
                </p:nvSpPr>
                <p:spPr bwMode="auto">
                  <a:xfrm>
                    <a:off x="13066713" y="4545013"/>
                    <a:ext cx="1588" cy="3175"/>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2" name="Freeform 850"/>
                  <p:cNvSpPr>
                    <a:spLocks/>
                  </p:cNvSpPr>
                  <p:nvPr/>
                </p:nvSpPr>
                <p:spPr bwMode="auto">
                  <a:xfrm>
                    <a:off x="13066713" y="4545013"/>
                    <a:ext cx="1588" cy="3175"/>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3" name="Freeform 851"/>
                  <p:cNvSpPr>
                    <a:spLocks/>
                  </p:cNvSpPr>
                  <p:nvPr/>
                </p:nvSpPr>
                <p:spPr bwMode="auto">
                  <a:xfrm>
                    <a:off x="13066713" y="4545013"/>
                    <a:ext cx="12700" cy="15875"/>
                  </a:xfrm>
                  <a:custGeom>
                    <a:avLst/>
                    <a:gdLst/>
                    <a:ahLst/>
                    <a:cxnLst>
                      <a:cxn ang="0">
                        <a:pos x="1" y="0"/>
                      </a:cxn>
                      <a:cxn ang="0">
                        <a:pos x="0" y="2"/>
                      </a:cxn>
                      <a:cxn ang="0">
                        <a:pos x="0" y="8"/>
                      </a:cxn>
                      <a:cxn ang="0">
                        <a:pos x="6" y="10"/>
                      </a:cxn>
                      <a:cxn ang="0">
                        <a:pos x="8" y="10"/>
                      </a:cxn>
                      <a:cxn ang="0">
                        <a:pos x="8" y="2"/>
                      </a:cxn>
                      <a:cxn ang="0">
                        <a:pos x="6" y="2"/>
                      </a:cxn>
                      <a:cxn ang="0">
                        <a:pos x="5" y="2"/>
                      </a:cxn>
                      <a:cxn ang="0">
                        <a:pos x="5" y="5"/>
                      </a:cxn>
                      <a:cxn ang="0">
                        <a:pos x="5" y="0"/>
                      </a:cxn>
                      <a:cxn ang="0">
                        <a:pos x="3" y="0"/>
                      </a:cxn>
                      <a:cxn ang="0">
                        <a:pos x="3" y="5"/>
                      </a:cxn>
                      <a:cxn ang="0">
                        <a:pos x="3" y="0"/>
                      </a:cxn>
                      <a:cxn ang="0">
                        <a:pos x="0" y="4"/>
                      </a:cxn>
                      <a:cxn ang="0">
                        <a:pos x="1" y="0"/>
                      </a:cxn>
                    </a:cxnLst>
                    <a:rect l="0" t="0" r="r" b="b"/>
                    <a:pathLst>
                      <a:path w="8" h="10">
                        <a:moveTo>
                          <a:pt x="1" y="0"/>
                        </a:moveTo>
                        <a:lnTo>
                          <a:pt x="0" y="2"/>
                        </a:lnTo>
                        <a:lnTo>
                          <a:pt x="0" y="8"/>
                        </a:lnTo>
                        <a:lnTo>
                          <a:pt x="6" y="10"/>
                        </a:lnTo>
                        <a:lnTo>
                          <a:pt x="8" y="10"/>
                        </a:lnTo>
                        <a:lnTo>
                          <a:pt x="8" y="2"/>
                        </a:lnTo>
                        <a:lnTo>
                          <a:pt x="6" y="2"/>
                        </a:lnTo>
                        <a:lnTo>
                          <a:pt x="5" y="2"/>
                        </a:lnTo>
                        <a:lnTo>
                          <a:pt x="5" y="5"/>
                        </a:lnTo>
                        <a:lnTo>
                          <a:pt x="5" y="0"/>
                        </a:lnTo>
                        <a:lnTo>
                          <a:pt x="3" y="0"/>
                        </a:lnTo>
                        <a:lnTo>
                          <a:pt x="3" y="5"/>
                        </a:lnTo>
                        <a:lnTo>
                          <a:pt x="3" y="0"/>
                        </a:lnTo>
                        <a:lnTo>
                          <a:pt x="0" y="4"/>
                        </a:lnTo>
                        <a:lnTo>
                          <a:pt x="1"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4" name="Freeform 852"/>
                  <p:cNvSpPr>
                    <a:spLocks/>
                  </p:cNvSpPr>
                  <p:nvPr/>
                </p:nvSpPr>
                <p:spPr bwMode="auto">
                  <a:xfrm>
                    <a:off x="13066713" y="4545013"/>
                    <a:ext cx="12700" cy="15875"/>
                  </a:xfrm>
                  <a:custGeom>
                    <a:avLst/>
                    <a:gdLst/>
                    <a:ahLst/>
                    <a:cxnLst>
                      <a:cxn ang="0">
                        <a:pos x="1" y="0"/>
                      </a:cxn>
                      <a:cxn ang="0">
                        <a:pos x="0" y="2"/>
                      </a:cxn>
                      <a:cxn ang="0">
                        <a:pos x="0" y="8"/>
                      </a:cxn>
                      <a:cxn ang="0">
                        <a:pos x="6" y="10"/>
                      </a:cxn>
                      <a:cxn ang="0">
                        <a:pos x="8" y="10"/>
                      </a:cxn>
                      <a:cxn ang="0">
                        <a:pos x="8" y="2"/>
                      </a:cxn>
                      <a:cxn ang="0">
                        <a:pos x="6" y="2"/>
                      </a:cxn>
                      <a:cxn ang="0">
                        <a:pos x="5" y="2"/>
                      </a:cxn>
                      <a:cxn ang="0">
                        <a:pos x="5" y="5"/>
                      </a:cxn>
                      <a:cxn ang="0">
                        <a:pos x="5" y="0"/>
                      </a:cxn>
                      <a:cxn ang="0">
                        <a:pos x="3" y="0"/>
                      </a:cxn>
                      <a:cxn ang="0">
                        <a:pos x="3" y="5"/>
                      </a:cxn>
                      <a:cxn ang="0">
                        <a:pos x="3" y="0"/>
                      </a:cxn>
                      <a:cxn ang="0">
                        <a:pos x="0" y="4"/>
                      </a:cxn>
                      <a:cxn ang="0">
                        <a:pos x="1" y="0"/>
                      </a:cxn>
                    </a:cxnLst>
                    <a:rect l="0" t="0" r="r" b="b"/>
                    <a:pathLst>
                      <a:path w="8" h="10">
                        <a:moveTo>
                          <a:pt x="1" y="0"/>
                        </a:moveTo>
                        <a:lnTo>
                          <a:pt x="0" y="2"/>
                        </a:lnTo>
                        <a:lnTo>
                          <a:pt x="0" y="8"/>
                        </a:lnTo>
                        <a:lnTo>
                          <a:pt x="6" y="10"/>
                        </a:lnTo>
                        <a:lnTo>
                          <a:pt x="8" y="10"/>
                        </a:lnTo>
                        <a:lnTo>
                          <a:pt x="8" y="2"/>
                        </a:lnTo>
                        <a:lnTo>
                          <a:pt x="6" y="2"/>
                        </a:lnTo>
                        <a:lnTo>
                          <a:pt x="5" y="2"/>
                        </a:lnTo>
                        <a:lnTo>
                          <a:pt x="5" y="5"/>
                        </a:lnTo>
                        <a:lnTo>
                          <a:pt x="5" y="0"/>
                        </a:lnTo>
                        <a:lnTo>
                          <a:pt x="3" y="0"/>
                        </a:lnTo>
                        <a:lnTo>
                          <a:pt x="3" y="5"/>
                        </a:lnTo>
                        <a:lnTo>
                          <a:pt x="3" y="0"/>
                        </a:lnTo>
                        <a:lnTo>
                          <a:pt x="0" y="4"/>
                        </a:lnTo>
                        <a:lnTo>
                          <a:pt x="1"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6" name="Rectangle 853"/>
                  <p:cNvSpPr>
                    <a:spLocks noChangeArrowheads="1"/>
                  </p:cNvSpPr>
                  <p:nvPr/>
                </p:nvSpPr>
                <p:spPr bwMode="auto">
                  <a:xfrm>
                    <a:off x="13254038" y="454818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87" name="Rectangle 854"/>
                  <p:cNvSpPr>
                    <a:spLocks noChangeArrowheads="1"/>
                  </p:cNvSpPr>
                  <p:nvPr/>
                </p:nvSpPr>
                <p:spPr bwMode="auto">
                  <a:xfrm>
                    <a:off x="13254038" y="454818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92" name="Freeform 855"/>
                  <p:cNvSpPr>
                    <a:spLocks/>
                  </p:cNvSpPr>
                  <p:nvPr/>
                </p:nvSpPr>
                <p:spPr bwMode="auto">
                  <a:xfrm>
                    <a:off x="13066713" y="4589463"/>
                    <a:ext cx="12700" cy="15875"/>
                  </a:xfrm>
                  <a:custGeom>
                    <a:avLst/>
                    <a:gdLst/>
                    <a:ahLst/>
                    <a:cxnLst>
                      <a:cxn ang="0">
                        <a:pos x="6" y="0"/>
                      </a:cxn>
                      <a:cxn ang="0">
                        <a:pos x="1" y="2"/>
                      </a:cxn>
                      <a:cxn ang="0">
                        <a:pos x="0" y="2"/>
                      </a:cxn>
                      <a:cxn ang="0">
                        <a:pos x="0" y="5"/>
                      </a:cxn>
                      <a:cxn ang="0">
                        <a:pos x="0" y="7"/>
                      </a:cxn>
                      <a:cxn ang="0">
                        <a:pos x="0" y="5"/>
                      </a:cxn>
                      <a:cxn ang="0">
                        <a:pos x="0" y="7"/>
                      </a:cxn>
                      <a:cxn ang="0">
                        <a:pos x="1" y="10"/>
                      </a:cxn>
                      <a:cxn ang="0">
                        <a:pos x="3" y="10"/>
                      </a:cxn>
                      <a:cxn ang="0">
                        <a:pos x="1" y="7"/>
                      </a:cxn>
                      <a:cxn ang="0">
                        <a:pos x="1" y="5"/>
                      </a:cxn>
                      <a:cxn ang="0">
                        <a:pos x="3" y="10"/>
                      </a:cxn>
                      <a:cxn ang="0">
                        <a:pos x="3" y="5"/>
                      </a:cxn>
                      <a:cxn ang="0">
                        <a:pos x="5" y="8"/>
                      </a:cxn>
                      <a:cxn ang="0">
                        <a:pos x="3" y="5"/>
                      </a:cxn>
                      <a:cxn ang="0">
                        <a:pos x="5" y="8"/>
                      </a:cxn>
                      <a:cxn ang="0">
                        <a:pos x="8" y="8"/>
                      </a:cxn>
                      <a:cxn ang="0">
                        <a:pos x="8" y="0"/>
                      </a:cxn>
                      <a:cxn ang="0">
                        <a:pos x="6" y="0"/>
                      </a:cxn>
                    </a:cxnLst>
                    <a:rect l="0" t="0" r="r" b="b"/>
                    <a:pathLst>
                      <a:path w="8" h="10">
                        <a:moveTo>
                          <a:pt x="6" y="0"/>
                        </a:moveTo>
                        <a:lnTo>
                          <a:pt x="1" y="2"/>
                        </a:lnTo>
                        <a:lnTo>
                          <a:pt x="0" y="2"/>
                        </a:lnTo>
                        <a:lnTo>
                          <a:pt x="0" y="5"/>
                        </a:lnTo>
                        <a:lnTo>
                          <a:pt x="0" y="7"/>
                        </a:lnTo>
                        <a:lnTo>
                          <a:pt x="0" y="5"/>
                        </a:lnTo>
                        <a:lnTo>
                          <a:pt x="0" y="7"/>
                        </a:lnTo>
                        <a:lnTo>
                          <a:pt x="1" y="10"/>
                        </a:lnTo>
                        <a:lnTo>
                          <a:pt x="3" y="10"/>
                        </a:lnTo>
                        <a:lnTo>
                          <a:pt x="1" y="7"/>
                        </a:lnTo>
                        <a:lnTo>
                          <a:pt x="1" y="5"/>
                        </a:lnTo>
                        <a:lnTo>
                          <a:pt x="3" y="10"/>
                        </a:lnTo>
                        <a:lnTo>
                          <a:pt x="3" y="5"/>
                        </a:lnTo>
                        <a:lnTo>
                          <a:pt x="5" y="8"/>
                        </a:lnTo>
                        <a:lnTo>
                          <a:pt x="3" y="5"/>
                        </a:lnTo>
                        <a:lnTo>
                          <a:pt x="5" y="8"/>
                        </a:lnTo>
                        <a:lnTo>
                          <a:pt x="8" y="8"/>
                        </a:lnTo>
                        <a:lnTo>
                          <a:pt x="8"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99" name="Freeform 856"/>
                  <p:cNvSpPr>
                    <a:spLocks/>
                  </p:cNvSpPr>
                  <p:nvPr/>
                </p:nvSpPr>
                <p:spPr bwMode="auto">
                  <a:xfrm>
                    <a:off x="13066713" y="4589463"/>
                    <a:ext cx="12700" cy="15875"/>
                  </a:xfrm>
                  <a:custGeom>
                    <a:avLst/>
                    <a:gdLst/>
                    <a:ahLst/>
                    <a:cxnLst>
                      <a:cxn ang="0">
                        <a:pos x="6" y="0"/>
                      </a:cxn>
                      <a:cxn ang="0">
                        <a:pos x="1" y="2"/>
                      </a:cxn>
                      <a:cxn ang="0">
                        <a:pos x="0" y="2"/>
                      </a:cxn>
                      <a:cxn ang="0">
                        <a:pos x="0" y="5"/>
                      </a:cxn>
                      <a:cxn ang="0">
                        <a:pos x="0" y="7"/>
                      </a:cxn>
                      <a:cxn ang="0">
                        <a:pos x="0" y="5"/>
                      </a:cxn>
                      <a:cxn ang="0">
                        <a:pos x="0" y="7"/>
                      </a:cxn>
                      <a:cxn ang="0">
                        <a:pos x="1" y="10"/>
                      </a:cxn>
                      <a:cxn ang="0">
                        <a:pos x="3" y="10"/>
                      </a:cxn>
                      <a:cxn ang="0">
                        <a:pos x="1" y="7"/>
                      </a:cxn>
                      <a:cxn ang="0">
                        <a:pos x="1" y="5"/>
                      </a:cxn>
                      <a:cxn ang="0">
                        <a:pos x="3" y="10"/>
                      </a:cxn>
                      <a:cxn ang="0">
                        <a:pos x="3" y="5"/>
                      </a:cxn>
                      <a:cxn ang="0">
                        <a:pos x="5" y="8"/>
                      </a:cxn>
                      <a:cxn ang="0">
                        <a:pos x="3" y="5"/>
                      </a:cxn>
                      <a:cxn ang="0">
                        <a:pos x="5" y="8"/>
                      </a:cxn>
                      <a:cxn ang="0">
                        <a:pos x="8" y="8"/>
                      </a:cxn>
                      <a:cxn ang="0">
                        <a:pos x="8" y="0"/>
                      </a:cxn>
                      <a:cxn ang="0">
                        <a:pos x="6" y="0"/>
                      </a:cxn>
                    </a:cxnLst>
                    <a:rect l="0" t="0" r="r" b="b"/>
                    <a:pathLst>
                      <a:path w="8" h="10">
                        <a:moveTo>
                          <a:pt x="6" y="0"/>
                        </a:moveTo>
                        <a:lnTo>
                          <a:pt x="1" y="2"/>
                        </a:lnTo>
                        <a:lnTo>
                          <a:pt x="0" y="2"/>
                        </a:lnTo>
                        <a:lnTo>
                          <a:pt x="0" y="5"/>
                        </a:lnTo>
                        <a:lnTo>
                          <a:pt x="0" y="7"/>
                        </a:lnTo>
                        <a:lnTo>
                          <a:pt x="0" y="5"/>
                        </a:lnTo>
                        <a:lnTo>
                          <a:pt x="0" y="7"/>
                        </a:lnTo>
                        <a:lnTo>
                          <a:pt x="1" y="10"/>
                        </a:lnTo>
                        <a:lnTo>
                          <a:pt x="3" y="10"/>
                        </a:lnTo>
                        <a:lnTo>
                          <a:pt x="1" y="7"/>
                        </a:lnTo>
                        <a:lnTo>
                          <a:pt x="1" y="5"/>
                        </a:lnTo>
                        <a:lnTo>
                          <a:pt x="3" y="10"/>
                        </a:lnTo>
                        <a:lnTo>
                          <a:pt x="3" y="5"/>
                        </a:lnTo>
                        <a:lnTo>
                          <a:pt x="5" y="8"/>
                        </a:lnTo>
                        <a:lnTo>
                          <a:pt x="3" y="5"/>
                        </a:lnTo>
                        <a:lnTo>
                          <a:pt x="5" y="8"/>
                        </a:lnTo>
                        <a:lnTo>
                          <a:pt x="8" y="8"/>
                        </a:lnTo>
                        <a:lnTo>
                          <a:pt x="8"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0" name="Rectangle 857"/>
                  <p:cNvSpPr>
                    <a:spLocks noChangeArrowheads="1"/>
                  </p:cNvSpPr>
                  <p:nvPr/>
                </p:nvSpPr>
                <p:spPr bwMode="auto">
                  <a:xfrm>
                    <a:off x="13254038" y="4589463"/>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1" name="Rectangle 858"/>
                  <p:cNvSpPr>
                    <a:spLocks noChangeArrowheads="1"/>
                  </p:cNvSpPr>
                  <p:nvPr/>
                </p:nvSpPr>
                <p:spPr bwMode="auto">
                  <a:xfrm>
                    <a:off x="13254038" y="4589463"/>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2" name="Freeform 859"/>
                  <p:cNvSpPr>
                    <a:spLocks/>
                  </p:cNvSpPr>
                  <p:nvPr/>
                </p:nvSpPr>
                <p:spPr bwMode="auto">
                  <a:xfrm>
                    <a:off x="13066713" y="4602163"/>
                    <a:ext cx="1588" cy="6350"/>
                  </a:xfrm>
                  <a:custGeom>
                    <a:avLst/>
                    <a:gdLst/>
                    <a:ahLst/>
                    <a:cxnLst>
                      <a:cxn ang="0">
                        <a:pos x="0" y="0"/>
                      </a:cxn>
                      <a:cxn ang="0">
                        <a:pos x="0" y="2"/>
                      </a:cxn>
                      <a:cxn ang="0">
                        <a:pos x="1" y="4"/>
                      </a:cxn>
                      <a:cxn ang="0">
                        <a:pos x="1" y="2"/>
                      </a:cxn>
                      <a:cxn ang="0">
                        <a:pos x="0" y="0"/>
                      </a:cxn>
                    </a:cxnLst>
                    <a:rect l="0" t="0" r="r" b="b"/>
                    <a:pathLst>
                      <a:path w="1" h="4">
                        <a:moveTo>
                          <a:pt x="0" y="0"/>
                        </a:moveTo>
                        <a:lnTo>
                          <a:pt x="0" y="2"/>
                        </a:lnTo>
                        <a:lnTo>
                          <a:pt x="1" y="4"/>
                        </a:lnTo>
                        <a:lnTo>
                          <a:pt x="1"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3" name="Freeform 860"/>
                  <p:cNvSpPr>
                    <a:spLocks/>
                  </p:cNvSpPr>
                  <p:nvPr/>
                </p:nvSpPr>
                <p:spPr bwMode="auto">
                  <a:xfrm>
                    <a:off x="13066713" y="4602163"/>
                    <a:ext cx="1588" cy="6350"/>
                  </a:xfrm>
                  <a:custGeom>
                    <a:avLst/>
                    <a:gdLst/>
                    <a:ahLst/>
                    <a:cxnLst>
                      <a:cxn ang="0">
                        <a:pos x="0" y="0"/>
                      </a:cxn>
                      <a:cxn ang="0">
                        <a:pos x="0" y="2"/>
                      </a:cxn>
                      <a:cxn ang="0">
                        <a:pos x="1" y="4"/>
                      </a:cxn>
                      <a:cxn ang="0">
                        <a:pos x="1" y="2"/>
                      </a:cxn>
                      <a:cxn ang="0">
                        <a:pos x="0" y="0"/>
                      </a:cxn>
                    </a:cxnLst>
                    <a:rect l="0" t="0" r="r" b="b"/>
                    <a:pathLst>
                      <a:path w="1" h="4">
                        <a:moveTo>
                          <a:pt x="0" y="0"/>
                        </a:moveTo>
                        <a:lnTo>
                          <a:pt x="0" y="2"/>
                        </a:lnTo>
                        <a:lnTo>
                          <a:pt x="1" y="4"/>
                        </a:lnTo>
                        <a:lnTo>
                          <a:pt x="1"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4" name="Rectangle 861"/>
                  <p:cNvSpPr>
                    <a:spLocks noChangeArrowheads="1"/>
                  </p:cNvSpPr>
                  <p:nvPr/>
                </p:nvSpPr>
                <p:spPr bwMode="auto">
                  <a:xfrm>
                    <a:off x="13066713" y="4608513"/>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5" name="Freeform 862"/>
                  <p:cNvSpPr>
                    <a:spLocks/>
                  </p:cNvSpPr>
                  <p:nvPr/>
                </p:nvSpPr>
                <p:spPr bwMode="auto">
                  <a:xfrm>
                    <a:off x="13066713" y="46085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6" name="Rectangle 863"/>
                  <p:cNvSpPr>
                    <a:spLocks noChangeArrowheads="1"/>
                  </p:cNvSpPr>
                  <p:nvPr/>
                </p:nvSpPr>
                <p:spPr bwMode="auto">
                  <a:xfrm>
                    <a:off x="13066713" y="468947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7" name="Freeform 864"/>
                  <p:cNvSpPr>
                    <a:spLocks/>
                  </p:cNvSpPr>
                  <p:nvPr/>
                </p:nvSpPr>
                <p:spPr bwMode="auto">
                  <a:xfrm>
                    <a:off x="13066713" y="4689475"/>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8" name="Freeform 865"/>
                  <p:cNvSpPr>
                    <a:spLocks/>
                  </p:cNvSpPr>
                  <p:nvPr/>
                </p:nvSpPr>
                <p:spPr bwMode="auto">
                  <a:xfrm>
                    <a:off x="13066713" y="4691063"/>
                    <a:ext cx="12700" cy="15875"/>
                  </a:xfrm>
                  <a:custGeom>
                    <a:avLst/>
                    <a:gdLst/>
                    <a:ahLst/>
                    <a:cxnLst>
                      <a:cxn ang="0">
                        <a:pos x="0" y="0"/>
                      </a:cxn>
                      <a:cxn ang="0">
                        <a:pos x="0" y="0"/>
                      </a:cxn>
                      <a:cxn ang="0">
                        <a:pos x="0" y="5"/>
                      </a:cxn>
                      <a:cxn ang="0">
                        <a:pos x="0" y="4"/>
                      </a:cxn>
                      <a:cxn ang="0">
                        <a:pos x="0" y="5"/>
                      </a:cxn>
                      <a:cxn ang="0">
                        <a:pos x="0" y="7"/>
                      </a:cxn>
                      <a:cxn ang="0">
                        <a:pos x="1" y="5"/>
                      </a:cxn>
                      <a:cxn ang="0">
                        <a:pos x="0" y="8"/>
                      </a:cxn>
                      <a:cxn ang="0">
                        <a:pos x="6" y="10"/>
                      </a:cxn>
                      <a:cxn ang="0">
                        <a:pos x="8" y="10"/>
                      </a:cxn>
                      <a:cxn ang="0">
                        <a:pos x="8" y="2"/>
                      </a:cxn>
                      <a:cxn ang="0">
                        <a:pos x="6" y="2"/>
                      </a:cxn>
                      <a:cxn ang="0">
                        <a:pos x="5" y="2"/>
                      </a:cxn>
                      <a:cxn ang="0">
                        <a:pos x="3" y="5"/>
                      </a:cxn>
                      <a:cxn ang="0">
                        <a:pos x="5" y="2"/>
                      </a:cxn>
                      <a:cxn ang="0">
                        <a:pos x="0" y="0"/>
                      </a:cxn>
                    </a:cxnLst>
                    <a:rect l="0" t="0" r="r" b="b"/>
                    <a:pathLst>
                      <a:path w="8" h="10">
                        <a:moveTo>
                          <a:pt x="0" y="0"/>
                        </a:moveTo>
                        <a:lnTo>
                          <a:pt x="0" y="0"/>
                        </a:lnTo>
                        <a:lnTo>
                          <a:pt x="0" y="5"/>
                        </a:lnTo>
                        <a:lnTo>
                          <a:pt x="0" y="4"/>
                        </a:lnTo>
                        <a:lnTo>
                          <a:pt x="0" y="5"/>
                        </a:lnTo>
                        <a:lnTo>
                          <a:pt x="0" y="7"/>
                        </a:lnTo>
                        <a:lnTo>
                          <a:pt x="1" y="5"/>
                        </a:lnTo>
                        <a:lnTo>
                          <a:pt x="0" y="8"/>
                        </a:lnTo>
                        <a:lnTo>
                          <a:pt x="6" y="10"/>
                        </a:lnTo>
                        <a:lnTo>
                          <a:pt x="8" y="10"/>
                        </a:lnTo>
                        <a:lnTo>
                          <a:pt x="8" y="2"/>
                        </a:lnTo>
                        <a:lnTo>
                          <a:pt x="6" y="2"/>
                        </a:lnTo>
                        <a:lnTo>
                          <a:pt x="5" y="2"/>
                        </a:lnTo>
                        <a:lnTo>
                          <a:pt x="3" y="5"/>
                        </a:lnTo>
                        <a:lnTo>
                          <a:pt x="5"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09" name="Freeform 866"/>
                  <p:cNvSpPr>
                    <a:spLocks/>
                  </p:cNvSpPr>
                  <p:nvPr/>
                </p:nvSpPr>
                <p:spPr bwMode="auto">
                  <a:xfrm>
                    <a:off x="13066713" y="4691063"/>
                    <a:ext cx="12700" cy="15875"/>
                  </a:xfrm>
                  <a:custGeom>
                    <a:avLst/>
                    <a:gdLst/>
                    <a:ahLst/>
                    <a:cxnLst>
                      <a:cxn ang="0">
                        <a:pos x="0" y="0"/>
                      </a:cxn>
                      <a:cxn ang="0">
                        <a:pos x="0" y="0"/>
                      </a:cxn>
                      <a:cxn ang="0">
                        <a:pos x="0" y="5"/>
                      </a:cxn>
                      <a:cxn ang="0">
                        <a:pos x="0" y="4"/>
                      </a:cxn>
                      <a:cxn ang="0">
                        <a:pos x="0" y="5"/>
                      </a:cxn>
                      <a:cxn ang="0">
                        <a:pos x="0" y="7"/>
                      </a:cxn>
                      <a:cxn ang="0">
                        <a:pos x="1" y="5"/>
                      </a:cxn>
                      <a:cxn ang="0">
                        <a:pos x="0" y="8"/>
                      </a:cxn>
                      <a:cxn ang="0">
                        <a:pos x="6" y="10"/>
                      </a:cxn>
                      <a:cxn ang="0">
                        <a:pos x="8" y="10"/>
                      </a:cxn>
                      <a:cxn ang="0">
                        <a:pos x="8" y="2"/>
                      </a:cxn>
                      <a:cxn ang="0">
                        <a:pos x="6" y="2"/>
                      </a:cxn>
                      <a:cxn ang="0">
                        <a:pos x="5" y="2"/>
                      </a:cxn>
                      <a:cxn ang="0">
                        <a:pos x="3" y="5"/>
                      </a:cxn>
                      <a:cxn ang="0">
                        <a:pos x="5" y="2"/>
                      </a:cxn>
                      <a:cxn ang="0">
                        <a:pos x="0" y="0"/>
                      </a:cxn>
                    </a:cxnLst>
                    <a:rect l="0" t="0" r="r" b="b"/>
                    <a:pathLst>
                      <a:path w="8" h="10">
                        <a:moveTo>
                          <a:pt x="0" y="0"/>
                        </a:moveTo>
                        <a:lnTo>
                          <a:pt x="0" y="0"/>
                        </a:lnTo>
                        <a:lnTo>
                          <a:pt x="0" y="5"/>
                        </a:lnTo>
                        <a:lnTo>
                          <a:pt x="0" y="4"/>
                        </a:lnTo>
                        <a:lnTo>
                          <a:pt x="0" y="5"/>
                        </a:lnTo>
                        <a:lnTo>
                          <a:pt x="0" y="7"/>
                        </a:lnTo>
                        <a:lnTo>
                          <a:pt x="1" y="5"/>
                        </a:lnTo>
                        <a:lnTo>
                          <a:pt x="0" y="8"/>
                        </a:lnTo>
                        <a:lnTo>
                          <a:pt x="6" y="10"/>
                        </a:lnTo>
                        <a:lnTo>
                          <a:pt x="8" y="10"/>
                        </a:lnTo>
                        <a:lnTo>
                          <a:pt x="8" y="2"/>
                        </a:lnTo>
                        <a:lnTo>
                          <a:pt x="6" y="2"/>
                        </a:lnTo>
                        <a:lnTo>
                          <a:pt x="5" y="2"/>
                        </a:lnTo>
                        <a:lnTo>
                          <a:pt x="3" y="5"/>
                        </a:lnTo>
                        <a:lnTo>
                          <a:pt x="5"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0" name="Rectangle 867"/>
                  <p:cNvSpPr>
                    <a:spLocks noChangeArrowheads="1"/>
                  </p:cNvSpPr>
                  <p:nvPr/>
                </p:nvSpPr>
                <p:spPr bwMode="auto">
                  <a:xfrm>
                    <a:off x="13254038" y="469423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1" name="Rectangle 868"/>
                  <p:cNvSpPr>
                    <a:spLocks noChangeArrowheads="1"/>
                  </p:cNvSpPr>
                  <p:nvPr/>
                </p:nvSpPr>
                <p:spPr bwMode="auto">
                  <a:xfrm>
                    <a:off x="13254038" y="469423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2" name="Freeform 869"/>
                  <p:cNvSpPr>
                    <a:spLocks/>
                  </p:cNvSpPr>
                  <p:nvPr/>
                </p:nvSpPr>
                <p:spPr bwMode="auto">
                  <a:xfrm>
                    <a:off x="13066713" y="4735513"/>
                    <a:ext cx="200025" cy="15875"/>
                  </a:xfrm>
                  <a:custGeom>
                    <a:avLst/>
                    <a:gdLst/>
                    <a:ahLst/>
                    <a:cxnLst>
                      <a:cxn ang="0">
                        <a:pos x="6" y="0"/>
                      </a:cxn>
                      <a:cxn ang="0">
                        <a:pos x="3" y="2"/>
                      </a:cxn>
                      <a:cxn ang="0">
                        <a:pos x="0" y="2"/>
                      </a:cxn>
                      <a:cxn ang="0">
                        <a:pos x="0" y="8"/>
                      </a:cxn>
                      <a:cxn ang="0">
                        <a:pos x="1" y="10"/>
                      </a:cxn>
                      <a:cxn ang="0">
                        <a:pos x="0" y="7"/>
                      </a:cxn>
                      <a:cxn ang="0">
                        <a:pos x="3" y="10"/>
                      </a:cxn>
                      <a:cxn ang="0">
                        <a:pos x="1" y="7"/>
                      </a:cxn>
                      <a:cxn ang="0">
                        <a:pos x="3" y="10"/>
                      </a:cxn>
                      <a:cxn ang="0">
                        <a:pos x="5" y="10"/>
                      </a:cxn>
                      <a:cxn ang="0">
                        <a:pos x="3" y="5"/>
                      </a:cxn>
                      <a:cxn ang="0">
                        <a:pos x="5" y="10"/>
                      </a:cxn>
                      <a:cxn ang="0">
                        <a:pos x="126" y="10"/>
                      </a:cxn>
                      <a:cxn ang="0">
                        <a:pos x="126" y="2"/>
                      </a:cxn>
                      <a:cxn ang="0">
                        <a:pos x="118" y="2"/>
                      </a:cxn>
                      <a:cxn ang="0">
                        <a:pos x="118" y="2"/>
                      </a:cxn>
                      <a:cxn ang="0">
                        <a:pos x="8" y="2"/>
                      </a:cxn>
                      <a:cxn ang="0">
                        <a:pos x="8" y="0"/>
                      </a:cxn>
                      <a:cxn ang="0">
                        <a:pos x="6" y="0"/>
                      </a:cxn>
                    </a:cxnLst>
                    <a:rect l="0" t="0" r="r" b="b"/>
                    <a:pathLst>
                      <a:path w="126" h="10">
                        <a:moveTo>
                          <a:pt x="6" y="0"/>
                        </a:moveTo>
                        <a:lnTo>
                          <a:pt x="3" y="2"/>
                        </a:lnTo>
                        <a:lnTo>
                          <a:pt x="0" y="2"/>
                        </a:lnTo>
                        <a:lnTo>
                          <a:pt x="0" y="8"/>
                        </a:lnTo>
                        <a:lnTo>
                          <a:pt x="1" y="10"/>
                        </a:lnTo>
                        <a:lnTo>
                          <a:pt x="0" y="7"/>
                        </a:lnTo>
                        <a:lnTo>
                          <a:pt x="3" y="10"/>
                        </a:lnTo>
                        <a:lnTo>
                          <a:pt x="1" y="7"/>
                        </a:lnTo>
                        <a:lnTo>
                          <a:pt x="3" y="10"/>
                        </a:lnTo>
                        <a:lnTo>
                          <a:pt x="5" y="10"/>
                        </a:lnTo>
                        <a:lnTo>
                          <a:pt x="3" y="5"/>
                        </a:lnTo>
                        <a:lnTo>
                          <a:pt x="5" y="10"/>
                        </a:lnTo>
                        <a:lnTo>
                          <a:pt x="126" y="10"/>
                        </a:lnTo>
                        <a:lnTo>
                          <a:pt x="126" y="2"/>
                        </a:lnTo>
                        <a:lnTo>
                          <a:pt x="118" y="2"/>
                        </a:lnTo>
                        <a:lnTo>
                          <a:pt x="118" y="2"/>
                        </a:lnTo>
                        <a:lnTo>
                          <a:pt x="8" y="2"/>
                        </a:lnTo>
                        <a:lnTo>
                          <a:pt x="8"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3" name="Freeform 870"/>
                  <p:cNvSpPr>
                    <a:spLocks/>
                  </p:cNvSpPr>
                  <p:nvPr/>
                </p:nvSpPr>
                <p:spPr bwMode="auto">
                  <a:xfrm>
                    <a:off x="13066713" y="4735513"/>
                    <a:ext cx="200025" cy="15875"/>
                  </a:xfrm>
                  <a:custGeom>
                    <a:avLst/>
                    <a:gdLst/>
                    <a:ahLst/>
                    <a:cxnLst>
                      <a:cxn ang="0">
                        <a:pos x="6" y="0"/>
                      </a:cxn>
                      <a:cxn ang="0">
                        <a:pos x="3" y="2"/>
                      </a:cxn>
                      <a:cxn ang="0">
                        <a:pos x="0" y="2"/>
                      </a:cxn>
                      <a:cxn ang="0">
                        <a:pos x="0" y="8"/>
                      </a:cxn>
                      <a:cxn ang="0">
                        <a:pos x="1" y="10"/>
                      </a:cxn>
                      <a:cxn ang="0">
                        <a:pos x="0" y="7"/>
                      </a:cxn>
                      <a:cxn ang="0">
                        <a:pos x="3" y="10"/>
                      </a:cxn>
                      <a:cxn ang="0">
                        <a:pos x="1" y="7"/>
                      </a:cxn>
                      <a:cxn ang="0">
                        <a:pos x="3" y="10"/>
                      </a:cxn>
                      <a:cxn ang="0">
                        <a:pos x="5" y="10"/>
                      </a:cxn>
                      <a:cxn ang="0">
                        <a:pos x="3" y="5"/>
                      </a:cxn>
                      <a:cxn ang="0">
                        <a:pos x="5" y="10"/>
                      </a:cxn>
                      <a:cxn ang="0">
                        <a:pos x="126" y="10"/>
                      </a:cxn>
                      <a:cxn ang="0">
                        <a:pos x="126" y="2"/>
                      </a:cxn>
                      <a:cxn ang="0">
                        <a:pos x="118" y="2"/>
                      </a:cxn>
                      <a:cxn ang="0">
                        <a:pos x="118" y="2"/>
                      </a:cxn>
                      <a:cxn ang="0">
                        <a:pos x="8" y="2"/>
                      </a:cxn>
                      <a:cxn ang="0">
                        <a:pos x="8" y="0"/>
                      </a:cxn>
                      <a:cxn ang="0">
                        <a:pos x="6" y="0"/>
                      </a:cxn>
                    </a:cxnLst>
                    <a:rect l="0" t="0" r="r" b="b"/>
                    <a:pathLst>
                      <a:path w="126" h="10">
                        <a:moveTo>
                          <a:pt x="6" y="0"/>
                        </a:moveTo>
                        <a:lnTo>
                          <a:pt x="3" y="2"/>
                        </a:lnTo>
                        <a:lnTo>
                          <a:pt x="0" y="2"/>
                        </a:lnTo>
                        <a:lnTo>
                          <a:pt x="0" y="8"/>
                        </a:lnTo>
                        <a:lnTo>
                          <a:pt x="1" y="10"/>
                        </a:lnTo>
                        <a:lnTo>
                          <a:pt x="0" y="7"/>
                        </a:lnTo>
                        <a:lnTo>
                          <a:pt x="3" y="10"/>
                        </a:lnTo>
                        <a:lnTo>
                          <a:pt x="1" y="7"/>
                        </a:lnTo>
                        <a:lnTo>
                          <a:pt x="3" y="10"/>
                        </a:lnTo>
                        <a:lnTo>
                          <a:pt x="5" y="10"/>
                        </a:lnTo>
                        <a:lnTo>
                          <a:pt x="3" y="5"/>
                        </a:lnTo>
                        <a:lnTo>
                          <a:pt x="5" y="10"/>
                        </a:lnTo>
                        <a:lnTo>
                          <a:pt x="126" y="10"/>
                        </a:lnTo>
                        <a:lnTo>
                          <a:pt x="126" y="2"/>
                        </a:lnTo>
                        <a:lnTo>
                          <a:pt x="118" y="2"/>
                        </a:lnTo>
                        <a:lnTo>
                          <a:pt x="118" y="2"/>
                        </a:lnTo>
                        <a:lnTo>
                          <a:pt x="8" y="2"/>
                        </a:lnTo>
                        <a:lnTo>
                          <a:pt x="8"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4" name="Freeform 871"/>
                  <p:cNvSpPr>
                    <a:spLocks/>
                  </p:cNvSpPr>
                  <p:nvPr/>
                </p:nvSpPr>
                <p:spPr bwMode="auto">
                  <a:xfrm>
                    <a:off x="13066713" y="4748213"/>
                    <a:ext cx="1588" cy="6350"/>
                  </a:xfrm>
                  <a:custGeom>
                    <a:avLst/>
                    <a:gdLst/>
                    <a:ahLst/>
                    <a:cxnLst>
                      <a:cxn ang="0">
                        <a:pos x="0" y="0"/>
                      </a:cxn>
                      <a:cxn ang="0">
                        <a:pos x="0" y="2"/>
                      </a:cxn>
                      <a:cxn ang="0">
                        <a:pos x="1" y="4"/>
                      </a:cxn>
                      <a:cxn ang="0">
                        <a:pos x="1" y="4"/>
                      </a:cxn>
                      <a:cxn ang="0">
                        <a:pos x="0" y="0"/>
                      </a:cxn>
                    </a:cxnLst>
                    <a:rect l="0" t="0" r="r" b="b"/>
                    <a:pathLst>
                      <a:path w="1" h="4">
                        <a:moveTo>
                          <a:pt x="0" y="0"/>
                        </a:moveTo>
                        <a:lnTo>
                          <a:pt x="0" y="2"/>
                        </a:lnTo>
                        <a:lnTo>
                          <a:pt x="1" y="4"/>
                        </a:lnTo>
                        <a:lnTo>
                          <a:pt x="1" y="4"/>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8" name="Freeform 872"/>
                  <p:cNvSpPr>
                    <a:spLocks/>
                  </p:cNvSpPr>
                  <p:nvPr/>
                </p:nvSpPr>
                <p:spPr bwMode="auto">
                  <a:xfrm>
                    <a:off x="13066713" y="4748213"/>
                    <a:ext cx="1588" cy="6350"/>
                  </a:xfrm>
                  <a:custGeom>
                    <a:avLst/>
                    <a:gdLst/>
                    <a:ahLst/>
                    <a:cxnLst>
                      <a:cxn ang="0">
                        <a:pos x="0" y="0"/>
                      </a:cxn>
                      <a:cxn ang="0">
                        <a:pos x="0" y="2"/>
                      </a:cxn>
                      <a:cxn ang="0">
                        <a:pos x="1" y="4"/>
                      </a:cxn>
                      <a:cxn ang="0">
                        <a:pos x="1" y="4"/>
                      </a:cxn>
                      <a:cxn ang="0">
                        <a:pos x="0" y="0"/>
                      </a:cxn>
                    </a:cxnLst>
                    <a:rect l="0" t="0" r="r" b="b"/>
                    <a:pathLst>
                      <a:path w="1" h="4">
                        <a:moveTo>
                          <a:pt x="0" y="0"/>
                        </a:moveTo>
                        <a:lnTo>
                          <a:pt x="0" y="2"/>
                        </a:lnTo>
                        <a:lnTo>
                          <a:pt x="1" y="4"/>
                        </a:lnTo>
                        <a:lnTo>
                          <a:pt x="1" y="4"/>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19" name="Rectangle 873"/>
                  <p:cNvSpPr>
                    <a:spLocks noChangeArrowheads="1"/>
                  </p:cNvSpPr>
                  <p:nvPr/>
                </p:nvSpPr>
                <p:spPr bwMode="auto">
                  <a:xfrm>
                    <a:off x="13066713" y="4751388"/>
                    <a:ext cx="1588" cy="3175"/>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421" name="Freeform 874"/>
                  <p:cNvSpPr>
                    <a:spLocks/>
                  </p:cNvSpPr>
                  <p:nvPr/>
                </p:nvSpPr>
                <p:spPr bwMode="auto">
                  <a:xfrm>
                    <a:off x="13066713" y="4751388"/>
                    <a:ext cx="1588" cy="3175"/>
                  </a:xfrm>
                  <a:custGeom>
                    <a:avLst/>
                    <a:gdLst/>
                    <a:ahLst/>
                    <a:cxnLst>
                      <a:cxn ang="0">
                        <a:pos x="0" y="0"/>
                      </a:cxn>
                      <a:cxn ang="0">
                        <a:pos x="0" y="2"/>
                      </a:cxn>
                      <a:cxn ang="0">
                        <a:pos x="0" y="2"/>
                      </a:cxn>
                      <a:cxn ang="0">
                        <a:pos x="0" y="0"/>
                      </a:cxn>
                    </a:cxnLst>
                    <a:rect l="0" t="0" r="r" b="b"/>
                    <a:pathLst>
                      <a:path h="2">
                        <a:moveTo>
                          <a:pt x="0" y="0"/>
                        </a:moveTo>
                        <a:lnTo>
                          <a:pt x="0" y="2"/>
                        </a:lnTo>
                        <a:lnTo>
                          <a:pt x="0"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grpSp>
            <p:grpSp>
              <p:nvGrpSpPr>
                <p:cNvPr id="242" name="组合 217"/>
                <p:cNvGrpSpPr/>
                <p:nvPr/>
              </p:nvGrpSpPr>
              <p:grpSpPr>
                <a:xfrm>
                  <a:off x="9564533" y="1841354"/>
                  <a:ext cx="371341" cy="650376"/>
                  <a:chOff x="12966700" y="4162425"/>
                  <a:chExt cx="555625" cy="973138"/>
                </a:xfrm>
                <a:grpFill/>
              </p:grpSpPr>
              <p:sp>
                <p:nvSpPr>
                  <p:cNvPr id="313" name="Freeform 837"/>
                  <p:cNvSpPr>
                    <a:spLocks noEditPoints="1"/>
                  </p:cNvSpPr>
                  <p:nvPr/>
                </p:nvSpPr>
                <p:spPr bwMode="auto">
                  <a:xfrm>
                    <a:off x="12966700" y="4162425"/>
                    <a:ext cx="555625" cy="973138"/>
                  </a:xfrm>
                  <a:custGeom>
                    <a:avLst/>
                    <a:gdLst/>
                    <a:ahLst/>
                    <a:cxnLst>
                      <a:cxn ang="0">
                        <a:pos x="350" y="29"/>
                      </a:cxn>
                      <a:cxn ang="0">
                        <a:pos x="329" y="603"/>
                      </a:cxn>
                      <a:cxn ang="0">
                        <a:pos x="53" y="465"/>
                      </a:cxn>
                      <a:cxn ang="0">
                        <a:pos x="298" y="470"/>
                      </a:cxn>
                      <a:cxn ang="0">
                        <a:pos x="288" y="514"/>
                      </a:cxn>
                      <a:cxn ang="0">
                        <a:pos x="66" y="458"/>
                      </a:cxn>
                      <a:cxn ang="0">
                        <a:pos x="61" y="514"/>
                      </a:cxn>
                      <a:cxn ang="0">
                        <a:pos x="240" y="501"/>
                      </a:cxn>
                      <a:cxn ang="0">
                        <a:pos x="268" y="489"/>
                      </a:cxn>
                      <a:cxn ang="0">
                        <a:pos x="250" y="498"/>
                      </a:cxn>
                      <a:cxn ang="0">
                        <a:pos x="260" y="489"/>
                      </a:cxn>
                      <a:cxn ang="0">
                        <a:pos x="245" y="481"/>
                      </a:cxn>
                      <a:cxn ang="0">
                        <a:pos x="240" y="493"/>
                      </a:cxn>
                      <a:cxn ang="0">
                        <a:pos x="63" y="433"/>
                      </a:cxn>
                      <a:cxn ang="0">
                        <a:pos x="298" y="379"/>
                      </a:cxn>
                      <a:cxn ang="0">
                        <a:pos x="290" y="427"/>
                      </a:cxn>
                      <a:cxn ang="0">
                        <a:pos x="291" y="371"/>
                      </a:cxn>
                      <a:cxn ang="0">
                        <a:pos x="63" y="368"/>
                      </a:cxn>
                      <a:cxn ang="0">
                        <a:pos x="61" y="422"/>
                      </a:cxn>
                      <a:cxn ang="0">
                        <a:pos x="237" y="402"/>
                      </a:cxn>
                      <a:cxn ang="0">
                        <a:pos x="263" y="394"/>
                      </a:cxn>
                      <a:cxn ang="0">
                        <a:pos x="253" y="406"/>
                      </a:cxn>
                      <a:cxn ang="0">
                        <a:pos x="258" y="394"/>
                      </a:cxn>
                      <a:cxn ang="0">
                        <a:pos x="245" y="391"/>
                      </a:cxn>
                      <a:cxn ang="0">
                        <a:pos x="245" y="402"/>
                      </a:cxn>
                      <a:cxn ang="0">
                        <a:pos x="63" y="337"/>
                      </a:cxn>
                      <a:cxn ang="0">
                        <a:pos x="288" y="271"/>
                      </a:cxn>
                      <a:cxn ang="0">
                        <a:pos x="283" y="333"/>
                      </a:cxn>
                      <a:cxn ang="0">
                        <a:pos x="288" y="282"/>
                      </a:cxn>
                      <a:cxn ang="0">
                        <a:pos x="66" y="279"/>
                      </a:cxn>
                      <a:cxn ang="0">
                        <a:pos x="56" y="330"/>
                      </a:cxn>
                      <a:cxn ang="0">
                        <a:pos x="240" y="317"/>
                      </a:cxn>
                      <a:cxn ang="0">
                        <a:pos x="265" y="297"/>
                      </a:cxn>
                      <a:cxn ang="0">
                        <a:pos x="253" y="314"/>
                      </a:cxn>
                      <a:cxn ang="0">
                        <a:pos x="263" y="304"/>
                      </a:cxn>
                      <a:cxn ang="0">
                        <a:pos x="250" y="299"/>
                      </a:cxn>
                      <a:cxn ang="0">
                        <a:pos x="244" y="305"/>
                      </a:cxn>
                      <a:cxn ang="0">
                        <a:pos x="250" y="317"/>
                      </a:cxn>
                      <a:cxn ang="0">
                        <a:pos x="69" y="177"/>
                      </a:cxn>
                      <a:cxn ang="0">
                        <a:pos x="285" y="246"/>
                      </a:cxn>
                      <a:cxn ang="0">
                        <a:pos x="288" y="194"/>
                      </a:cxn>
                      <a:cxn ang="0">
                        <a:pos x="280" y="185"/>
                      </a:cxn>
                      <a:cxn ang="0">
                        <a:pos x="61" y="192"/>
                      </a:cxn>
                      <a:cxn ang="0">
                        <a:pos x="66" y="246"/>
                      </a:cxn>
                      <a:cxn ang="0">
                        <a:pos x="245" y="200"/>
                      </a:cxn>
                      <a:cxn ang="0">
                        <a:pos x="267" y="222"/>
                      </a:cxn>
                      <a:cxn ang="0">
                        <a:pos x="260" y="215"/>
                      </a:cxn>
                      <a:cxn ang="0">
                        <a:pos x="252" y="202"/>
                      </a:cxn>
                      <a:cxn ang="0">
                        <a:pos x="245" y="215"/>
                      </a:cxn>
                      <a:cxn ang="0">
                        <a:pos x="63" y="153"/>
                      </a:cxn>
                      <a:cxn ang="0">
                        <a:pos x="298" y="102"/>
                      </a:cxn>
                      <a:cxn ang="0">
                        <a:pos x="281" y="149"/>
                      </a:cxn>
                      <a:cxn ang="0">
                        <a:pos x="288" y="98"/>
                      </a:cxn>
                      <a:cxn ang="0">
                        <a:pos x="66" y="90"/>
                      </a:cxn>
                      <a:cxn ang="0">
                        <a:pos x="56" y="144"/>
                      </a:cxn>
                      <a:cxn ang="0">
                        <a:pos x="244" y="131"/>
                      </a:cxn>
                      <a:cxn ang="0">
                        <a:pos x="267" y="116"/>
                      </a:cxn>
                      <a:cxn ang="0">
                        <a:pos x="253" y="134"/>
                      </a:cxn>
                      <a:cxn ang="0">
                        <a:pos x="258" y="120"/>
                      </a:cxn>
                      <a:cxn ang="0">
                        <a:pos x="245" y="113"/>
                      </a:cxn>
                      <a:cxn ang="0">
                        <a:pos x="247" y="126"/>
                      </a:cxn>
                    </a:cxnLst>
                    <a:rect l="0" t="0" r="r" b="b"/>
                    <a:pathLst>
                      <a:path w="350" h="613">
                        <a:moveTo>
                          <a:pt x="319" y="613"/>
                        </a:moveTo>
                        <a:lnTo>
                          <a:pt x="25" y="613"/>
                        </a:lnTo>
                        <a:lnTo>
                          <a:pt x="17" y="611"/>
                        </a:lnTo>
                        <a:lnTo>
                          <a:pt x="10" y="606"/>
                        </a:lnTo>
                        <a:lnTo>
                          <a:pt x="5" y="599"/>
                        </a:lnTo>
                        <a:lnTo>
                          <a:pt x="2" y="593"/>
                        </a:lnTo>
                        <a:lnTo>
                          <a:pt x="0" y="588"/>
                        </a:lnTo>
                        <a:lnTo>
                          <a:pt x="0" y="583"/>
                        </a:lnTo>
                        <a:lnTo>
                          <a:pt x="0" y="28"/>
                        </a:lnTo>
                        <a:lnTo>
                          <a:pt x="0" y="21"/>
                        </a:lnTo>
                        <a:lnTo>
                          <a:pt x="4" y="15"/>
                        </a:lnTo>
                        <a:lnTo>
                          <a:pt x="9" y="8"/>
                        </a:lnTo>
                        <a:lnTo>
                          <a:pt x="15" y="3"/>
                        </a:lnTo>
                        <a:lnTo>
                          <a:pt x="25" y="0"/>
                        </a:lnTo>
                        <a:lnTo>
                          <a:pt x="30" y="0"/>
                        </a:lnTo>
                        <a:lnTo>
                          <a:pt x="319" y="0"/>
                        </a:lnTo>
                        <a:lnTo>
                          <a:pt x="324" y="0"/>
                        </a:lnTo>
                        <a:lnTo>
                          <a:pt x="332" y="1"/>
                        </a:lnTo>
                        <a:lnTo>
                          <a:pt x="339" y="6"/>
                        </a:lnTo>
                        <a:lnTo>
                          <a:pt x="344" y="13"/>
                        </a:lnTo>
                        <a:lnTo>
                          <a:pt x="347" y="19"/>
                        </a:lnTo>
                        <a:lnTo>
                          <a:pt x="349" y="24"/>
                        </a:lnTo>
                        <a:lnTo>
                          <a:pt x="350" y="29"/>
                        </a:lnTo>
                        <a:lnTo>
                          <a:pt x="350" y="585"/>
                        </a:lnTo>
                        <a:lnTo>
                          <a:pt x="349" y="591"/>
                        </a:lnTo>
                        <a:lnTo>
                          <a:pt x="345" y="598"/>
                        </a:lnTo>
                        <a:lnTo>
                          <a:pt x="341" y="604"/>
                        </a:lnTo>
                        <a:lnTo>
                          <a:pt x="334" y="609"/>
                        </a:lnTo>
                        <a:lnTo>
                          <a:pt x="327" y="613"/>
                        </a:lnTo>
                        <a:lnTo>
                          <a:pt x="321" y="613"/>
                        </a:lnTo>
                        <a:lnTo>
                          <a:pt x="319" y="613"/>
                        </a:lnTo>
                        <a:close/>
                        <a:moveTo>
                          <a:pt x="319" y="8"/>
                        </a:moveTo>
                        <a:lnTo>
                          <a:pt x="27" y="8"/>
                        </a:lnTo>
                        <a:lnTo>
                          <a:pt x="20" y="11"/>
                        </a:lnTo>
                        <a:lnTo>
                          <a:pt x="14" y="15"/>
                        </a:lnTo>
                        <a:lnTo>
                          <a:pt x="10" y="21"/>
                        </a:lnTo>
                        <a:lnTo>
                          <a:pt x="9" y="26"/>
                        </a:lnTo>
                        <a:lnTo>
                          <a:pt x="9" y="29"/>
                        </a:lnTo>
                        <a:lnTo>
                          <a:pt x="9" y="585"/>
                        </a:lnTo>
                        <a:lnTo>
                          <a:pt x="10" y="591"/>
                        </a:lnTo>
                        <a:lnTo>
                          <a:pt x="14" y="596"/>
                        </a:lnTo>
                        <a:lnTo>
                          <a:pt x="18" y="601"/>
                        </a:lnTo>
                        <a:lnTo>
                          <a:pt x="25" y="604"/>
                        </a:lnTo>
                        <a:lnTo>
                          <a:pt x="32" y="604"/>
                        </a:lnTo>
                        <a:lnTo>
                          <a:pt x="322" y="604"/>
                        </a:lnTo>
                        <a:lnTo>
                          <a:pt x="329" y="603"/>
                        </a:lnTo>
                        <a:lnTo>
                          <a:pt x="336" y="598"/>
                        </a:lnTo>
                        <a:lnTo>
                          <a:pt x="339" y="591"/>
                        </a:lnTo>
                        <a:lnTo>
                          <a:pt x="341" y="585"/>
                        </a:lnTo>
                        <a:lnTo>
                          <a:pt x="341" y="583"/>
                        </a:lnTo>
                        <a:lnTo>
                          <a:pt x="341" y="29"/>
                        </a:lnTo>
                        <a:lnTo>
                          <a:pt x="339" y="21"/>
                        </a:lnTo>
                        <a:lnTo>
                          <a:pt x="336" y="16"/>
                        </a:lnTo>
                        <a:lnTo>
                          <a:pt x="331" y="11"/>
                        </a:lnTo>
                        <a:lnTo>
                          <a:pt x="324" y="8"/>
                        </a:lnTo>
                        <a:lnTo>
                          <a:pt x="319" y="8"/>
                        </a:lnTo>
                        <a:close/>
                        <a:moveTo>
                          <a:pt x="69" y="527"/>
                        </a:moveTo>
                        <a:lnTo>
                          <a:pt x="61" y="525"/>
                        </a:lnTo>
                        <a:lnTo>
                          <a:pt x="63" y="522"/>
                        </a:lnTo>
                        <a:lnTo>
                          <a:pt x="61" y="525"/>
                        </a:lnTo>
                        <a:lnTo>
                          <a:pt x="56" y="522"/>
                        </a:lnTo>
                        <a:lnTo>
                          <a:pt x="60" y="519"/>
                        </a:lnTo>
                        <a:lnTo>
                          <a:pt x="56" y="522"/>
                        </a:lnTo>
                        <a:lnTo>
                          <a:pt x="53" y="516"/>
                        </a:lnTo>
                        <a:lnTo>
                          <a:pt x="53" y="511"/>
                        </a:lnTo>
                        <a:lnTo>
                          <a:pt x="53" y="471"/>
                        </a:lnTo>
                        <a:lnTo>
                          <a:pt x="53" y="466"/>
                        </a:lnTo>
                        <a:lnTo>
                          <a:pt x="58" y="466"/>
                        </a:lnTo>
                        <a:lnTo>
                          <a:pt x="53" y="465"/>
                        </a:lnTo>
                        <a:lnTo>
                          <a:pt x="55" y="463"/>
                        </a:lnTo>
                        <a:lnTo>
                          <a:pt x="58" y="465"/>
                        </a:lnTo>
                        <a:lnTo>
                          <a:pt x="55" y="461"/>
                        </a:lnTo>
                        <a:lnTo>
                          <a:pt x="60" y="456"/>
                        </a:lnTo>
                        <a:lnTo>
                          <a:pt x="63" y="455"/>
                        </a:lnTo>
                        <a:lnTo>
                          <a:pt x="64" y="460"/>
                        </a:lnTo>
                        <a:lnTo>
                          <a:pt x="64" y="455"/>
                        </a:lnTo>
                        <a:lnTo>
                          <a:pt x="64" y="455"/>
                        </a:lnTo>
                        <a:lnTo>
                          <a:pt x="66" y="458"/>
                        </a:lnTo>
                        <a:lnTo>
                          <a:pt x="66" y="455"/>
                        </a:lnTo>
                        <a:lnTo>
                          <a:pt x="69" y="455"/>
                        </a:lnTo>
                        <a:lnTo>
                          <a:pt x="285" y="455"/>
                        </a:lnTo>
                        <a:lnTo>
                          <a:pt x="288" y="456"/>
                        </a:lnTo>
                        <a:lnTo>
                          <a:pt x="286" y="460"/>
                        </a:lnTo>
                        <a:lnTo>
                          <a:pt x="290" y="456"/>
                        </a:lnTo>
                        <a:lnTo>
                          <a:pt x="288" y="460"/>
                        </a:lnTo>
                        <a:lnTo>
                          <a:pt x="290" y="456"/>
                        </a:lnTo>
                        <a:lnTo>
                          <a:pt x="295" y="461"/>
                        </a:lnTo>
                        <a:lnTo>
                          <a:pt x="291" y="465"/>
                        </a:lnTo>
                        <a:lnTo>
                          <a:pt x="295" y="463"/>
                        </a:lnTo>
                        <a:lnTo>
                          <a:pt x="291" y="465"/>
                        </a:lnTo>
                        <a:lnTo>
                          <a:pt x="296" y="463"/>
                        </a:lnTo>
                        <a:lnTo>
                          <a:pt x="298" y="470"/>
                        </a:lnTo>
                        <a:lnTo>
                          <a:pt x="298" y="471"/>
                        </a:lnTo>
                        <a:lnTo>
                          <a:pt x="296" y="517"/>
                        </a:lnTo>
                        <a:lnTo>
                          <a:pt x="293" y="522"/>
                        </a:lnTo>
                        <a:lnTo>
                          <a:pt x="290" y="519"/>
                        </a:lnTo>
                        <a:lnTo>
                          <a:pt x="293" y="522"/>
                        </a:lnTo>
                        <a:lnTo>
                          <a:pt x="288" y="525"/>
                        </a:lnTo>
                        <a:lnTo>
                          <a:pt x="280" y="527"/>
                        </a:lnTo>
                        <a:lnTo>
                          <a:pt x="69" y="527"/>
                        </a:lnTo>
                        <a:close/>
                        <a:moveTo>
                          <a:pt x="281" y="519"/>
                        </a:moveTo>
                        <a:lnTo>
                          <a:pt x="283" y="524"/>
                        </a:lnTo>
                        <a:lnTo>
                          <a:pt x="283" y="519"/>
                        </a:lnTo>
                        <a:lnTo>
                          <a:pt x="285" y="522"/>
                        </a:lnTo>
                        <a:lnTo>
                          <a:pt x="283" y="519"/>
                        </a:lnTo>
                        <a:lnTo>
                          <a:pt x="286" y="522"/>
                        </a:lnTo>
                        <a:lnTo>
                          <a:pt x="285" y="519"/>
                        </a:lnTo>
                        <a:lnTo>
                          <a:pt x="285" y="517"/>
                        </a:lnTo>
                        <a:lnTo>
                          <a:pt x="290" y="521"/>
                        </a:lnTo>
                        <a:lnTo>
                          <a:pt x="286" y="517"/>
                        </a:lnTo>
                        <a:lnTo>
                          <a:pt x="286" y="516"/>
                        </a:lnTo>
                        <a:lnTo>
                          <a:pt x="291" y="519"/>
                        </a:lnTo>
                        <a:lnTo>
                          <a:pt x="288" y="516"/>
                        </a:lnTo>
                        <a:lnTo>
                          <a:pt x="291" y="517"/>
                        </a:lnTo>
                        <a:lnTo>
                          <a:pt x="288" y="514"/>
                        </a:lnTo>
                        <a:lnTo>
                          <a:pt x="291" y="516"/>
                        </a:lnTo>
                        <a:lnTo>
                          <a:pt x="288" y="514"/>
                        </a:lnTo>
                        <a:lnTo>
                          <a:pt x="290" y="511"/>
                        </a:lnTo>
                        <a:lnTo>
                          <a:pt x="288" y="470"/>
                        </a:lnTo>
                        <a:lnTo>
                          <a:pt x="293" y="468"/>
                        </a:lnTo>
                        <a:lnTo>
                          <a:pt x="288" y="468"/>
                        </a:lnTo>
                        <a:lnTo>
                          <a:pt x="293" y="466"/>
                        </a:lnTo>
                        <a:lnTo>
                          <a:pt x="288" y="468"/>
                        </a:lnTo>
                        <a:lnTo>
                          <a:pt x="288" y="466"/>
                        </a:lnTo>
                        <a:lnTo>
                          <a:pt x="291" y="463"/>
                        </a:lnTo>
                        <a:lnTo>
                          <a:pt x="286" y="466"/>
                        </a:lnTo>
                        <a:lnTo>
                          <a:pt x="290" y="461"/>
                        </a:lnTo>
                        <a:lnTo>
                          <a:pt x="286" y="465"/>
                        </a:lnTo>
                        <a:lnTo>
                          <a:pt x="285" y="463"/>
                        </a:lnTo>
                        <a:lnTo>
                          <a:pt x="285" y="460"/>
                        </a:lnTo>
                        <a:lnTo>
                          <a:pt x="283" y="463"/>
                        </a:lnTo>
                        <a:lnTo>
                          <a:pt x="285" y="458"/>
                        </a:lnTo>
                        <a:lnTo>
                          <a:pt x="283" y="463"/>
                        </a:lnTo>
                        <a:lnTo>
                          <a:pt x="283" y="458"/>
                        </a:lnTo>
                        <a:lnTo>
                          <a:pt x="281" y="463"/>
                        </a:lnTo>
                        <a:lnTo>
                          <a:pt x="280" y="463"/>
                        </a:lnTo>
                        <a:lnTo>
                          <a:pt x="68" y="463"/>
                        </a:lnTo>
                        <a:lnTo>
                          <a:pt x="66" y="458"/>
                        </a:lnTo>
                        <a:lnTo>
                          <a:pt x="68" y="463"/>
                        </a:lnTo>
                        <a:lnTo>
                          <a:pt x="66" y="463"/>
                        </a:lnTo>
                        <a:lnTo>
                          <a:pt x="64" y="460"/>
                        </a:lnTo>
                        <a:lnTo>
                          <a:pt x="64" y="463"/>
                        </a:lnTo>
                        <a:lnTo>
                          <a:pt x="64" y="465"/>
                        </a:lnTo>
                        <a:lnTo>
                          <a:pt x="60" y="461"/>
                        </a:lnTo>
                        <a:lnTo>
                          <a:pt x="63" y="465"/>
                        </a:lnTo>
                        <a:lnTo>
                          <a:pt x="60" y="463"/>
                        </a:lnTo>
                        <a:lnTo>
                          <a:pt x="63" y="466"/>
                        </a:lnTo>
                        <a:lnTo>
                          <a:pt x="58" y="465"/>
                        </a:lnTo>
                        <a:lnTo>
                          <a:pt x="63" y="466"/>
                        </a:lnTo>
                        <a:lnTo>
                          <a:pt x="61" y="466"/>
                        </a:lnTo>
                        <a:lnTo>
                          <a:pt x="58" y="466"/>
                        </a:lnTo>
                        <a:lnTo>
                          <a:pt x="61" y="468"/>
                        </a:lnTo>
                        <a:lnTo>
                          <a:pt x="56" y="468"/>
                        </a:lnTo>
                        <a:lnTo>
                          <a:pt x="61" y="468"/>
                        </a:lnTo>
                        <a:lnTo>
                          <a:pt x="56" y="468"/>
                        </a:lnTo>
                        <a:lnTo>
                          <a:pt x="61" y="470"/>
                        </a:lnTo>
                        <a:lnTo>
                          <a:pt x="61" y="471"/>
                        </a:lnTo>
                        <a:lnTo>
                          <a:pt x="61" y="511"/>
                        </a:lnTo>
                        <a:lnTo>
                          <a:pt x="61" y="514"/>
                        </a:lnTo>
                        <a:lnTo>
                          <a:pt x="58" y="516"/>
                        </a:lnTo>
                        <a:lnTo>
                          <a:pt x="61" y="514"/>
                        </a:lnTo>
                        <a:lnTo>
                          <a:pt x="58" y="517"/>
                        </a:lnTo>
                        <a:lnTo>
                          <a:pt x="61" y="516"/>
                        </a:lnTo>
                        <a:lnTo>
                          <a:pt x="60" y="519"/>
                        </a:lnTo>
                        <a:lnTo>
                          <a:pt x="63" y="516"/>
                        </a:lnTo>
                        <a:lnTo>
                          <a:pt x="63" y="517"/>
                        </a:lnTo>
                        <a:lnTo>
                          <a:pt x="61" y="521"/>
                        </a:lnTo>
                        <a:lnTo>
                          <a:pt x="64" y="517"/>
                        </a:lnTo>
                        <a:lnTo>
                          <a:pt x="66" y="519"/>
                        </a:lnTo>
                        <a:lnTo>
                          <a:pt x="66" y="522"/>
                        </a:lnTo>
                        <a:lnTo>
                          <a:pt x="66" y="519"/>
                        </a:lnTo>
                        <a:lnTo>
                          <a:pt x="68" y="519"/>
                        </a:lnTo>
                        <a:lnTo>
                          <a:pt x="66" y="524"/>
                        </a:lnTo>
                        <a:lnTo>
                          <a:pt x="68" y="519"/>
                        </a:lnTo>
                        <a:lnTo>
                          <a:pt x="69" y="519"/>
                        </a:lnTo>
                        <a:lnTo>
                          <a:pt x="281" y="519"/>
                        </a:lnTo>
                        <a:close/>
                        <a:moveTo>
                          <a:pt x="253" y="507"/>
                        </a:moveTo>
                        <a:lnTo>
                          <a:pt x="247" y="506"/>
                        </a:lnTo>
                        <a:lnTo>
                          <a:pt x="249" y="501"/>
                        </a:lnTo>
                        <a:lnTo>
                          <a:pt x="245" y="506"/>
                        </a:lnTo>
                        <a:lnTo>
                          <a:pt x="245" y="504"/>
                        </a:lnTo>
                        <a:lnTo>
                          <a:pt x="247" y="501"/>
                        </a:lnTo>
                        <a:lnTo>
                          <a:pt x="244" y="504"/>
                        </a:lnTo>
                        <a:lnTo>
                          <a:pt x="240" y="501"/>
                        </a:lnTo>
                        <a:lnTo>
                          <a:pt x="244" y="498"/>
                        </a:lnTo>
                        <a:lnTo>
                          <a:pt x="239" y="499"/>
                        </a:lnTo>
                        <a:lnTo>
                          <a:pt x="237" y="498"/>
                        </a:lnTo>
                        <a:lnTo>
                          <a:pt x="237" y="491"/>
                        </a:lnTo>
                        <a:lnTo>
                          <a:pt x="237" y="488"/>
                        </a:lnTo>
                        <a:lnTo>
                          <a:pt x="242" y="488"/>
                        </a:lnTo>
                        <a:lnTo>
                          <a:pt x="237" y="486"/>
                        </a:lnTo>
                        <a:lnTo>
                          <a:pt x="240" y="481"/>
                        </a:lnTo>
                        <a:lnTo>
                          <a:pt x="247" y="476"/>
                        </a:lnTo>
                        <a:lnTo>
                          <a:pt x="250" y="475"/>
                        </a:lnTo>
                        <a:lnTo>
                          <a:pt x="252" y="479"/>
                        </a:lnTo>
                        <a:lnTo>
                          <a:pt x="252" y="475"/>
                        </a:lnTo>
                        <a:lnTo>
                          <a:pt x="253" y="475"/>
                        </a:lnTo>
                        <a:lnTo>
                          <a:pt x="253" y="479"/>
                        </a:lnTo>
                        <a:lnTo>
                          <a:pt x="255" y="475"/>
                        </a:lnTo>
                        <a:lnTo>
                          <a:pt x="260" y="476"/>
                        </a:lnTo>
                        <a:lnTo>
                          <a:pt x="265" y="481"/>
                        </a:lnTo>
                        <a:lnTo>
                          <a:pt x="262" y="484"/>
                        </a:lnTo>
                        <a:lnTo>
                          <a:pt x="265" y="481"/>
                        </a:lnTo>
                        <a:lnTo>
                          <a:pt x="267" y="484"/>
                        </a:lnTo>
                        <a:lnTo>
                          <a:pt x="263" y="488"/>
                        </a:lnTo>
                        <a:lnTo>
                          <a:pt x="268" y="486"/>
                        </a:lnTo>
                        <a:lnTo>
                          <a:pt x="268" y="489"/>
                        </a:lnTo>
                        <a:lnTo>
                          <a:pt x="263" y="491"/>
                        </a:lnTo>
                        <a:lnTo>
                          <a:pt x="268" y="491"/>
                        </a:lnTo>
                        <a:lnTo>
                          <a:pt x="268" y="493"/>
                        </a:lnTo>
                        <a:lnTo>
                          <a:pt x="263" y="493"/>
                        </a:lnTo>
                        <a:lnTo>
                          <a:pt x="268" y="494"/>
                        </a:lnTo>
                        <a:lnTo>
                          <a:pt x="267" y="498"/>
                        </a:lnTo>
                        <a:lnTo>
                          <a:pt x="263" y="496"/>
                        </a:lnTo>
                        <a:lnTo>
                          <a:pt x="267" y="498"/>
                        </a:lnTo>
                        <a:lnTo>
                          <a:pt x="265" y="501"/>
                        </a:lnTo>
                        <a:lnTo>
                          <a:pt x="262" y="498"/>
                        </a:lnTo>
                        <a:lnTo>
                          <a:pt x="265" y="501"/>
                        </a:lnTo>
                        <a:lnTo>
                          <a:pt x="263" y="502"/>
                        </a:lnTo>
                        <a:lnTo>
                          <a:pt x="260" y="499"/>
                        </a:lnTo>
                        <a:lnTo>
                          <a:pt x="263" y="502"/>
                        </a:lnTo>
                        <a:lnTo>
                          <a:pt x="262" y="502"/>
                        </a:lnTo>
                        <a:lnTo>
                          <a:pt x="260" y="501"/>
                        </a:lnTo>
                        <a:lnTo>
                          <a:pt x="262" y="504"/>
                        </a:lnTo>
                        <a:lnTo>
                          <a:pt x="258" y="506"/>
                        </a:lnTo>
                        <a:lnTo>
                          <a:pt x="257" y="501"/>
                        </a:lnTo>
                        <a:lnTo>
                          <a:pt x="258" y="506"/>
                        </a:lnTo>
                        <a:lnTo>
                          <a:pt x="253" y="507"/>
                        </a:lnTo>
                        <a:close/>
                        <a:moveTo>
                          <a:pt x="250" y="498"/>
                        </a:moveTo>
                        <a:lnTo>
                          <a:pt x="250" y="498"/>
                        </a:lnTo>
                        <a:lnTo>
                          <a:pt x="250" y="502"/>
                        </a:lnTo>
                        <a:lnTo>
                          <a:pt x="252" y="498"/>
                        </a:lnTo>
                        <a:lnTo>
                          <a:pt x="253" y="498"/>
                        </a:lnTo>
                        <a:lnTo>
                          <a:pt x="255" y="502"/>
                        </a:lnTo>
                        <a:lnTo>
                          <a:pt x="255" y="498"/>
                        </a:lnTo>
                        <a:lnTo>
                          <a:pt x="257" y="501"/>
                        </a:lnTo>
                        <a:lnTo>
                          <a:pt x="255" y="498"/>
                        </a:lnTo>
                        <a:lnTo>
                          <a:pt x="257" y="496"/>
                        </a:lnTo>
                        <a:lnTo>
                          <a:pt x="260" y="501"/>
                        </a:lnTo>
                        <a:lnTo>
                          <a:pt x="258" y="499"/>
                        </a:lnTo>
                        <a:lnTo>
                          <a:pt x="257" y="496"/>
                        </a:lnTo>
                        <a:lnTo>
                          <a:pt x="258" y="496"/>
                        </a:lnTo>
                        <a:lnTo>
                          <a:pt x="260" y="499"/>
                        </a:lnTo>
                        <a:lnTo>
                          <a:pt x="258" y="496"/>
                        </a:lnTo>
                        <a:lnTo>
                          <a:pt x="260" y="493"/>
                        </a:lnTo>
                        <a:lnTo>
                          <a:pt x="262" y="494"/>
                        </a:lnTo>
                        <a:lnTo>
                          <a:pt x="263" y="494"/>
                        </a:lnTo>
                        <a:lnTo>
                          <a:pt x="260" y="493"/>
                        </a:lnTo>
                        <a:lnTo>
                          <a:pt x="260" y="491"/>
                        </a:lnTo>
                        <a:lnTo>
                          <a:pt x="263" y="489"/>
                        </a:lnTo>
                        <a:lnTo>
                          <a:pt x="260" y="489"/>
                        </a:lnTo>
                        <a:lnTo>
                          <a:pt x="263" y="489"/>
                        </a:lnTo>
                        <a:lnTo>
                          <a:pt x="260" y="489"/>
                        </a:lnTo>
                        <a:lnTo>
                          <a:pt x="258" y="486"/>
                        </a:lnTo>
                        <a:lnTo>
                          <a:pt x="262" y="483"/>
                        </a:lnTo>
                        <a:lnTo>
                          <a:pt x="258" y="486"/>
                        </a:lnTo>
                        <a:lnTo>
                          <a:pt x="257" y="484"/>
                        </a:lnTo>
                        <a:lnTo>
                          <a:pt x="258" y="481"/>
                        </a:lnTo>
                        <a:lnTo>
                          <a:pt x="257" y="484"/>
                        </a:lnTo>
                        <a:lnTo>
                          <a:pt x="258" y="481"/>
                        </a:lnTo>
                        <a:lnTo>
                          <a:pt x="255" y="484"/>
                        </a:lnTo>
                        <a:lnTo>
                          <a:pt x="257" y="481"/>
                        </a:lnTo>
                        <a:lnTo>
                          <a:pt x="255" y="484"/>
                        </a:lnTo>
                        <a:lnTo>
                          <a:pt x="255" y="479"/>
                        </a:lnTo>
                        <a:lnTo>
                          <a:pt x="253" y="484"/>
                        </a:lnTo>
                        <a:lnTo>
                          <a:pt x="252" y="484"/>
                        </a:lnTo>
                        <a:lnTo>
                          <a:pt x="252" y="479"/>
                        </a:lnTo>
                        <a:lnTo>
                          <a:pt x="252" y="484"/>
                        </a:lnTo>
                        <a:lnTo>
                          <a:pt x="250" y="484"/>
                        </a:lnTo>
                        <a:lnTo>
                          <a:pt x="250" y="479"/>
                        </a:lnTo>
                        <a:lnTo>
                          <a:pt x="250" y="484"/>
                        </a:lnTo>
                        <a:lnTo>
                          <a:pt x="249" y="481"/>
                        </a:lnTo>
                        <a:lnTo>
                          <a:pt x="250" y="484"/>
                        </a:lnTo>
                        <a:lnTo>
                          <a:pt x="247" y="481"/>
                        </a:lnTo>
                        <a:lnTo>
                          <a:pt x="249" y="484"/>
                        </a:lnTo>
                        <a:lnTo>
                          <a:pt x="245" y="481"/>
                        </a:lnTo>
                        <a:lnTo>
                          <a:pt x="247" y="483"/>
                        </a:lnTo>
                        <a:lnTo>
                          <a:pt x="249" y="484"/>
                        </a:lnTo>
                        <a:lnTo>
                          <a:pt x="249" y="486"/>
                        </a:lnTo>
                        <a:lnTo>
                          <a:pt x="245" y="483"/>
                        </a:lnTo>
                        <a:lnTo>
                          <a:pt x="247" y="486"/>
                        </a:lnTo>
                        <a:lnTo>
                          <a:pt x="244" y="483"/>
                        </a:lnTo>
                        <a:lnTo>
                          <a:pt x="247" y="486"/>
                        </a:lnTo>
                        <a:lnTo>
                          <a:pt x="244" y="484"/>
                        </a:lnTo>
                        <a:lnTo>
                          <a:pt x="247" y="488"/>
                        </a:lnTo>
                        <a:lnTo>
                          <a:pt x="242" y="486"/>
                        </a:lnTo>
                        <a:lnTo>
                          <a:pt x="245" y="488"/>
                        </a:lnTo>
                        <a:lnTo>
                          <a:pt x="245" y="489"/>
                        </a:lnTo>
                        <a:lnTo>
                          <a:pt x="242" y="488"/>
                        </a:lnTo>
                        <a:lnTo>
                          <a:pt x="244" y="489"/>
                        </a:lnTo>
                        <a:lnTo>
                          <a:pt x="245" y="489"/>
                        </a:lnTo>
                        <a:lnTo>
                          <a:pt x="244" y="489"/>
                        </a:lnTo>
                        <a:lnTo>
                          <a:pt x="245" y="489"/>
                        </a:lnTo>
                        <a:lnTo>
                          <a:pt x="244" y="489"/>
                        </a:lnTo>
                        <a:lnTo>
                          <a:pt x="240" y="489"/>
                        </a:lnTo>
                        <a:lnTo>
                          <a:pt x="245" y="491"/>
                        </a:lnTo>
                        <a:lnTo>
                          <a:pt x="240" y="491"/>
                        </a:lnTo>
                        <a:lnTo>
                          <a:pt x="245" y="491"/>
                        </a:lnTo>
                        <a:lnTo>
                          <a:pt x="240" y="493"/>
                        </a:lnTo>
                        <a:lnTo>
                          <a:pt x="245" y="493"/>
                        </a:lnTo>
                        <a:lnTo>
                          <a:pt x="245" y="493"/>
                        </a:lnTo>
                        <a:lnTo>
                          <a:pt x="242" y="494"/>
                        </a:lnTo>
                        <a:lnTo>
                          <a:pt x="245" y="494"/>
                        </a:lnTo>
                        <a:lnTo>
                          <a:pt x="242" y="496"/>
                        </a:lnTo>
                        <a:lnTo>
                          <a:pt x="247" y="494"/>
                        </a:lnTo>
                        <a:lnTo>
                          <a:pt x="244" y="498"/>
                        </a:lnTo>
                        <a:lnTo>
                          <a:pt x="247" y="496"/>
                        </a:lnTo>
                        <a:lnTo>
                          <a:pt x="244" y="498"/>
                        </a:lnTo>
                        <a:lnTo>
                          <a:pt x="247" y="496"/>
                        </a:lnTo>
                        <a:lnTo>
                          <a:pt x="249" y="496"/>
                        </a:lnTo>
                        <a:lnTo>
                          <a:pt x="245" y="501"/>
                        </a:lnTo>
                        <a:lnTo>
                          <a:pt x="249" y="498"/>
                        </a:lnTo>
                        <a:lnTo>
                          <a:pt x="249" y="498"/>
                        </a:lnTo>
                        <a:lnTo>
                          <a:pt x="249" y="498"/>
                        </a:lnTo>
                        <a:lnTo>
                          <a:pt x="250" y="498"/>
                        </a:lnTo>
                        <a:lnTo>
                          <a:pt x="249" y="499"/>
                        </a:lnTo>
                        <a:lnTo>
                          <a:pt x="247" y="501"/>
                        </a:lnTo>
                        <a:lnTo>
                          <a:pt x="250" y="498"/>
                        </a:lnTo>
                        <a:close/>
                        <a:moveTo>
                          <a:pt x="69" y="435"/>
                        </a:moveTo>
                        <a:lnTo>
                          <a:pt x="63" y="435"/>
                        </a:lnTo>
                        <a:lnTo>
                          <a:pt x="64" y="430"/>
                        </a:lnTo>
                        <a:lnTo>
                          <a:pt x="63" y="433"/>
                        </a:lnTo>
                        <a:lnTo>
                          <a:pt x="61" y="433"/>
                        </a:lnTo>
                        <a:lnTo>
                          <a:pt x="63" y="430"/>
                        </a:lnTo>
                        <a:lnTo>
                          <a:pt x="61" y="433"/>
                        </a:lnTo>
                        <a:lnTo>
                          <a:pt x="60" y="432"/>
                        </a:lnTo>
                        <a:lnTo>
                          <a:pt x="61" y="429"/>
                        </a:lnTo>
                        <a:lnTo>
                          <a:pt x="58" y="432"/>
                        </a:lnTo>
                        <a:lnTo>
                          <a:pt x="53" y="424"/>
                        </a:lnTo>
                        <a:lnTo>
                          <a:pt x="53" y="419"/>
                        </a:lnTo>
                        <a:lnTo>
                          <a:pt x="53" y="373"/>
                        </a:lnTo>
                        <a:lnTo>
                          <a:pt x="56" y="368"/>
                        </a:lnTo>
                        <a:lnTo>
                          <a:pt x="60" y="369"/>
                        </a:lnTo>
                        <a:lnTo>
                          <a:pt x="58" y="366"/>
                        </a:lnTo>
                        <a:lnTo>
                          <a:pt x="66" y="363"/>
                        </a:lnTo>
                        <a:lnTo>
                          <a:pt x="69" y="361"/>
                        </a:lnTo>
                        <a:lnTo>
                          <a:pt x="285" y="363"/>
                        </a:lnTo>
                        <a:lnTo>
                          <a:pt x="290" y="364"/>
                        </a:lnTo>
                        <a:lnTo>
                          <a:pt x="288" y="368"/>
                        </a:lnTo>
                        <a:lnTo>
                          <a:pt x="290" y="364"/>
                        </a:lnTo>
                        <a:lnTo>
                          <a:pt x="291" y="366"/>
                        </a:lnTo>
                        <a:lnTo>
                          <a:pt x="290" y="369"/>
                        </a:lnTo>
                        <a:lnTo>
                          <a:pt x="293" y="368"/>
                        </a:lnTo>
                        <a:lnTo>
                          <a:pt x="296" y="371"/>
                        </a:lnTo>
                        <a:lnTo>
                          <a:pt x="298" y="379"/>
                        </a:lnTo>
                        <a:lnTo>
                          <a:pt x="296" y="425"/>
                        </a:lnTo>
                        <a:lnTo>
                          <a:pt x="291" y="432"/>
                        </a:lnTo>
                        <a:lnTo>
                          <a:pt x="288" y="429"/>
                        </a:lnTo>
                        <a:lnTo>
                          <a:pt x="291" y="432"/>
                        </a:lnTo>
                        <a:lnTo>
                          <a:pt x="290" y="433"/>
                        </a:lnTo>
                        <a:lnTo>
                          <a:pt x="286" y="430"/>
                        </a:lnTo>
                        <a:lnTo>
                          <a:pt x="288" y="433"/>
                        </a:lnTo>
                        <a:lnTo>
                          <a:pt x="285" y="430"/>
                        </a:lnTo>
                        <a:lnTo>
                          <a:pt x="286" y="433"/>
                        </a:lnTo>
                        <a:lnTo>
                          <a:pt x="283" y="435"/>
                        </a:lnTo>
                        <a:lnTo>
                          <a:pt x="280" y="435"/>
                        </a:lnTo>
                        <a:lnTo>
                          <a:pt x="69" y="435"/>
                        </a:lnTo>
                        <a:close/>
                        <a:moveTo>
                          <a:pt x="68" y="427"/>
                        </a:moveTo>
                        <a:lnTo>
                          <a:pt x="68" y="432"/>
                        </a:lnTo>
                        <a:lnTo>
                          <a:pt x="68" y="427"/>
                        </a:lnTo>
                        <a:lnTo>
                          <a:pt x="69" y="427"/>
                        </a:lnTo>
                        <a:lnTo>
                          <a:pt x="281" y="427"/>
                        </a:lnTo>
                        <a:lnTo>
                          <a:pt x="283" y="430"/>
                        </a:lnTo>
                        <a:lnTo>
                          <a:pt x="283" y="427"/>
                        </a:lnTo>
                        <a:lnTo>
                          <a:pt x="285" y="430"/>
                        </a:lnTo>
                        <a:lnTo>
                          <a:pt x="283" y="427"/>
                        </a:lnTo>
                        <a:lnTo>
                          <a:pt x="286" y="425"/>
                        </a:lnTo>
                        <a:lnTo>
                          <a:pt x="290" y="427"/>
                        </a:lnTo>
                        <a:lnTo>
                          <a:pt x="286" y="424"/>
                        </a:lnTo>
                        <a:lnTo>
                          <a:pt x="290" y="427"/>
                        </a:lnTo>
                        <a:lnTo>
                          <a:pt x="288" y="424"/>
                        </a:lnTo>
                        <a:lnTo>
                          <a:pt x="291" y="425"/>
                        </a:lnTo>
                        <a:lnTo>
                          <a:pt x="288" y="422"/>
                        </a:lnTo>
                        <a:lnTo>
                          <a:pt x="291" y="425"/>
                        </a:lnTo>
                        <a:lnTo>
                          <a:pt x="288" y="422"/>
                        </a:lnTo>
                        <a:lnTo>
                          <a:pt x="291" y="424"/>
                        </a:lnTo>
                        <a:lnTo>
                          <a:pt x="288" y="422"/>
                        </a:lnTo>
                        <a:lnTo>
                          <a:pt x="293" y="422"/>
                        </a:lnTo>
                        <a:lnTo>
                          <a:pt x="288" y="420"/>
                        </a:lnTo>
                        <a:lnTo>
                          <a:pt x="293" y="420"/>
                        </a:lnTo>
                        <a:lnTo>
                          <a:pt x="288" y="420"/>
                        </a:lnTo>
                        <a:lnTo>
                          <a:pt x="290" y="419"/>
                        </a:lnTo>
                        <a:lnTo>
                          <a:pt x="288" y="378"/>
                        </a:lnTo>
                        <a:lnTo>
                          <a:pt x="293" y="376"/>
                        </a:lnTo>
                        <a:lnTo>
                          <a:pt x="288" y="376"/>
                        </a:lnTo>
                        <a:lnTo>
                          <a:pt x="293" y="374"/>
                        </a:lnTo>
                        <a:lnTo>
                          <a:pt x="288" y="376"/>
                        </a:lnTo>
                        <a:lnTo>
                          <a:pt x="291" y="374"/>
                        </a:lnTo>
                        <a:lnTo>
                          <a:pt x="288" y="374"/>
                        </a:lnTo>
                        <a:lnTo>
                          <a:pt x="288" y="374"/>
                        </a:lnTo>
                        <a:lnTo>
                          <a:pt x="291" y="371"/>
                        </a:lnTo>
                        <a:lnTo>
                          <a:pt x="286" y="373"/>
                        </a:lnTo>
                        <a:lnTo>
                          <a:pt x="286" y="373"/>
                        </a:lnTo>
                        <a:lnTo>
                          <a:pt x="288" y="369"/>
                        </a:lnTo>
                        <a:lnTo>
                          <a:pt x="286" y="373"/>
                        </a:lnTo>
                        <a:lnTo>
                          <a:pt x="285" y="371"/>
                        </a:lnTo>
                        <a:lnTo>
                          <a:pt x="286" y="368"/>
                        </a:lnTo>
                        <a:lnTo>
                          <a:pt x="285" y="371"/>
                        </a:lnTo>
                        <a:lnTo>
                          <a:pt x="285" y="368"/>
                        </a:lnTo>
                        <a:lnTo>
                          <a:pt x="283" y="371"/>
                        </a:lnTo>
                        <a:lnTo>
                          <a:pt x="285" y="366"/>
                        </a:lnTo>
                        <a:lnTo>
                          <a:pt x="283" y="371"/>
                        </a:lnTo>
                        <a:lnTo>
                          <a:pt x="283" y="366"/>
                        </a:lnTo>
                        <a:lnTo>
                          <a:pt x="281" y="371"/>
                        </a:lnTo>
                        <a:lnTo>
                          <a:pt x="280" y="371"/>
                        </a:lnTo>
                        <a:lnTo>
                          <a:pt x="68" y="371"/>
                        </a:lnTo>
                        <a:lnTo>
                          <a:pt x="66" y="366"/>
                        </a:lnTo>
                        <a:lnTo>
                          <a:pt x="68" y="371"/>
                        </a:lnTo>
                        <a:lnTo>
                          <a:pt x="66" y="371"/>
                        </a:lnTo>
                        <a:lnTo>
                          <a:pt x="64" y="368"/>
                        </a:lnTo>
                        <a:lnTo>
                          <a:pt x="66" y="371"/>
                        </a:lnTo>
                        <a:lnTo>
                          <a:pt x="63" y="368"/>
                        </a:lnTo>
                        <a:lnTo>
                          <a:pt x="64" y="371"/>
                        </a:lnTo>
                        <a:lnTo>
                          <a:pt x="63" y="368"/>
                        </a:lnTo>
                        <a:lnTo>
                          <a:pt x="64" y="373"/>
                        </a:lnTo>
                        <a:lnTo>
                          <a:pt x="61" y="369"/>
                        </a:lnTo>
                        <a:lnTo>
                          <a:pt x="63" y="373"/>
                        </a:lnTo>
                        <a:lnTo>
                          <a:pt x="63" y="373"/>
                        </a:lnTo>
                        <a:lnTo>
                          <a:pt x="60" y="371"/>
                        </a:lnTo>
                        <a:lnTo>
                          <a:pt x="63" y="374"/>
                        </a:lnTo>
                        <a:lnTo>
                          <a:pt x="58" y="371"/>
                        </a:lnTo>
                        <a:lnTo>
                          <a:pt x="61" y="374"/>
                        </a:lnTo>
                        <a:lnTo>
                          <a:pt x="58" y="373"/>
                        </a:lnTo>
                        <a:lnTo>
                          <a:pt x="61" y="374"/>
                        </a:lnTo>
                        <a:lnTo>
                          <a:pt x="58" y="374"/>
                        </a:lnTo>
                        <a:lnTo>
                          <a:pt x="61" y="376"/>
                        </a:lnTo>
                        <a:lnTo>
                          <a:pt x="56" y="374"/>
                        </a:lnTo>
                        <a:lnTo>
                          <a:pt x="61" y="376"/>
                        </a:lnTo>
                        <a:lnTo>
                          <a:pt x="56" y="376"/>
                        </a:lnTo>
                        <a:lnTo>
                          <a:pt x="61" y="378"/>
                        </a:lnTo>
                        <a:lnTo>
                          <a:pt x="61" y="378"/>
                        </a:lnTo>
                        <a:lnTo>
                          <a:pt x="61" y="419"/>
                        </a:lnTo>
                        <a:lnTo>
                          <a:pt x="61" y="420"/>
                        </a:lnTo>
                        <a:lnTo>
                          <a:pt x="56" y="420"/>
                        </a:lnTo>
                        <a:lnTo>
                          <a:pt x="61" y="420"/>
                        </a:lnTo>
                        <a:lnTo>
                          <a:pt x="56" y="422"/>
                        </a:lnTo>
                        <a:lnTo>
                          <a:pt x="61" y="422"/>
                        </a:lnTo>
                        <a:lnTo>
                          <a:pt x="58" y="424"/>
                        </a:lnTo>
                        <a:lnTo>
                          <a:pt x="61" y="422"/>
                        </a:lnTo>
                        <a:lnTo>
                          <a:pt x="58" y="425"/>
                        </a:lnTo>
                        <a:lnTo>
                          <a:pt x="61" y="424"/>
                        </a:lnTo>
                        <a:lnTo>
                          <a:pt x="58" y="425"/>
                        </a:lnTo>
                        <a:lnTo>
                          <a:pt x="63" y="424"/>
                        </a:lnTo>
                        <a:lnTo>
                          <a:pt x="63" y="424"/>
                        </a:lnTo>
                        <a:lnTo>
                          <a:pt x="60" y="427"/>
                        </a:lnTo>
                        <a:lnTo>
                          <a:pt x="63" y="425"/>
                        </a:lnTo>
                        <a:lnTo>
                          <a:pt x="66" y="427"/>
                        </a:lnTo>
                        <a:lnTo>
                          <a:pt x="66" y="430"/>
                        </a:lnTo>
                        <a:lnTo>
                          <a:pt x="68" y="427"/>
                        </a:lnTo>
                        <a:close/>
                        <a:moveTo>
                          <a:pt x="253" y="414"/>
                        </a:moveTo>
                        <a:lnTo>
                          <a:pt x="247" y="414"/>
                        </a:lnTo>
                        <a:lnTo>
                          <a:pt x="247" y="409"/>
                        </a:lnTo>
                        <a:lnTo>
                          <a:pt x="245" y="412"/>
                        </a:lnTo>
                        <a:lnTo>
                          <a:pt x="240" y="409"/>
                        </a:lnTo>
                        <a:lnTo>
                          <a:pt x="240" y="409"/>
                        </a:lnTo>
                        <a:lnTo>
                          <a:pt x="244" y="406"/>
                        </a:lnTo>
                        <a:lnTo>
                          <a:pt x="239" y="407"/>
                        </a:lnTo>
                        <a:lnTo>
                          <a:pt x="237" y="404"/>
                        </a:lnTo>
                        <a:lnTo>
                          <a:pt x="242" y="401"/>
                        </a:lnTo>
                        <a:lnTo>
                          <a:pt x="237" y="402"/>
                        </a:lnTo>
                        <a:lnTo>
                          <a:pt x="237" y="399"/>
                        </a:lnTo>
                        <a:lnTo>
                          <a:pt x="240" y="397"/>
                        </a:lnTo>
                        <a:lnTo>
                          <a:pt x="237" y="397"/>
                        </a:lnTo>
                        <a:lnTo>
                          <a:pt x="237" y="396"/>
                        </a:lnTo>
                        <a:lnTo>
                          <a:pt x="242" y="396"/>
                        </a:lnTo>
                        <a:lnTo>
                          <a:pt x="237" y="394"/>
                        </a:lnTo>
                        <a:lnTo>
                          <a:pt x="239" y="391"/>
                        </a:lnTo>
                        <a:lnTo>
                          <a:pt x="242" y="387"/>
                        </a:lnTo>
                        <a:lnTo>
                          <a:pt x="245" y="389"/>
                        </a:lnTo>
                        <a:lnTo>
                          <a:pt x="244" y="386"/>
                        </a:lnTo>
                        <a:lnTo>
                          <a:pt x="247" y="384"/>
                        </a:lnTo>
                        <a:lnTo>
                          <a:pt x="253" y="383"/>
                        </a:lnTo>
                        <a:lnTo>
                          <a:pt x="258" y="384"/>
                        </a:lnTo>
                        <a:lnTo>
                          <a:pt x="257" y="387"/>
                        </a:lnTo>
                        <a:lnTo>
                          <a:pt x="258" y="384"/>
                        </a:lnTo>
                        <a:lnTo>
                          <a:pt x="262" y="386"/>
                        </a:lnTo>
                        <a:lnTo>
                          <a:pt x="260" y="389"/>
                        </a:lnTo>
                        <a:lnTo>
                          <a:pt x="262" y="386"/>
                        </a:lnTo>
                        <a:lnTo>
                          <a:pt x="265" y="389"/>
                        </a:lnTo>
                        <a:lnTo>
                          <a:pt x="262" y="392"/>
                        </a:lnTo>
                        <a:lnTo>
                          <a:pt x="265" y="389"/>
                        </a:lnTo>
                        <a:lnTo>
                          <a:pt x="267" y="392"/>
                        </a:lnTo>
                        <a:lnTo>
                          <a:pt x="263" y="394"/>
                        </a:lnTo>
                        <a:lnTo>
                          <a:pt x="268" y="394"/>
                        </a:lnTo>
                        <a:lnTo>
                          <a:pt x="268" y="397"/>
                        </a:lnTo>
                        <a:lnTo>
                          <a:pt x="263" y="397"/>
                        </a:lnTo>
                        <a:lnTo>
                          <a:pt x="268" y="399"/>
                        </a:lnTo>
                        <a:lnTo>
                          <a:pt x="268" y="401"/>
                        </a:lnTo>
                        <a:lnTo>
                          <a:pt x="263" y="401"/>
                        </a:lnTo>
                        <a:lnTo>
                          <a:pt x="268" y="402"/>
                        </a:lnTo>
                        <a:lnTo>
                          <a:pt x="267" y="406"/>
                        </a:lnTo>
                        <a:lnTo>
                          <a:pt x="263" y="404"/>
                        </a:lnTo>
                        <a:lnTo>
                          <a:pt x="267" y="406"/>
                        </a:lnTo>
                        <a:lnTo>
                          <a:pt x="265" y="407"/>
                        </a:lnTo>
                        <a:lnTo>
                          <a:pt x="262" y="406"/>
                        </a:lnTo>
                        <a:lnTo>
                          <a:pt x="265" y="409"/>
                        </a:lnTo>
                        <a:lnTo>
                          <a:pt x="262" y="410"/>
                        </a:lnTo>
                        <a:lnTo>
                          <a:pt x="260" y="407"/>
                        </a:lnTo>
                        <a:lnTo>
                          <a:pt x="262" y="412"/>
                        </a:lnTo>
                        <a:lnTo>
                          <a:pt x="258" y="414"/>
                        </a:lnTo>
                        <a:lnTo>
                          <a:pt x="257" y="409"/>
                        </a:lnTo>
                        <a:lnTo>
                          <a:pt x="258" y="414"/>
                        </a:lnTo>
                        <a:lnTo>
                          <a:pt x="253" y="414"/>
                        </a:lnTo>
                        <a:close/>
                        <a:moveTo>
                          <a:pt x="252" y="406"/>
                        </a:moveTo>
                        <a:lnTo>
                          <a:pt x="253" y="410"/>
                        </a:lnTo>
                        <a:lnTo>
                          <a:pt x="253" y="406"/>
                        </a:lnTo>
                        <a:lnTo>
                          <a:pt x="253" y="406"/>
                        </a:lnTo>
                        <a:lnTo>
                          <a:pt x="253" y="410"/>
                        </a:lnTo>
                        <a:lnTo>
                          <a:pt x="253" y="406"/>
                        </a:lnTo>
                        <a:lnTo>
                          <a:pt x="255" y="410"/>
                        </a:lnTo>
                        <a:lnTo>
                          <a:pt x="255" y="406"/>
                        </a:lnTo>
                        <a:lnTo>
                          <a:pt x="257" y="406"/>
                        </a:lnTo>
                        <a:lnTo>
                          <a:pt x="258" y="409"/>
                        </a:lnTo>
                        <a:lnTo>
                          <a:pt x="257" y="404"/>
                        </a:lnTo>
                        <a:lnTo>
                          <a:pt x="257" y="404"/>
                        </a:lnTo>
                        <a:lnTo>
                          <a:pt x="260" y="407"/>
                        </a:lnTo>
                        <a:lnTo>
                          <a:pt x="258" y="404"/>
                        </a:lnTo>
                        <a:lnTo>
                          <a:pt x="258" y="402"/>
                        </a:lnTo>
                        <a:lnTo>
                          <a:pt x="263" y="404"/>
                        </a:lnTo>
                        <a:lnTo>
                          <a:pt x="262" y="402"/>
                        </a:lnTo>
                        <a:lnTo>
                          <a:pt x="260" y="402"/>
                        </a:lnTo>
                        <a:lnTo>
                          <a:pt x="260" y="399"/>
                        </a:lnTo>
                        <a:lnTo>
                          <a:pt x="263" y="397"/>
                        </a:lnTo>
                        <a:lnTo>
                          <a:pt x="260" y="397"/>
                        </a:lnTo>
                        <a:lnTo>
                          <a:pt x="263" y="396"/>
                        </a:lnTo>
                        <a:lnTo>
                          <a:pt x="260" y="397"/>
                        </a:lnTo>
                        <a:lnTo>
                          <a:pt x="258" y="396"/>
                        </a:lnTo>
                        <a:lnTo>
                          <a:pt x="263" y="392"/>
                        </a:lnTo>
                        <a:lnTo>
                          <a:pt x="258" y="394"/>
                        </a:lnTo>
                        <a:lnTo>
                          <a:pt x="257" y="392"/>
                        </a:lnTo>
                        <a:lnTo>
                          <a:pt x="258" y="389"/>
                        </a:lnTo>
                        <a:lnTo>
                          <a:pt x="257" y="392"/>
                        </a:lnTo>
                        <a:lnTo>
                          <a:pt x="258" y="387"/>
                        </a:lnTo>
                        <a:lnTo>
                          <a:pt x="255" y="392"/>
                        </a:lnTo>
                        <a:lnTo>
                          <a:pt x="255" y="392"/>
                        </a:lnTo>
                        <a:lnTo>
                          <a:pt x="255" y="389"/>
                        </a:lnTo>
                        <a:lnTo>
                          <a:pt x="257" y="387"/>
                        </a:lnTo>
                        <a:lnTo>
                          <a:pt x="255" y="392"/>
                        </a:lnTo>
                        <a:lnTo>
                          <a:pt x="255" y="387"/>
                        </a:lnTo>
                        <a:lnTo>
                          <a:pt x="253" y="391"/>
                        </a:lnTo>
                        <a:lnTo>
                          <a:pt x="253" y="387"/>
                        </a:lnTo>
                        <a:lnTo>
                          <a:pt x="253" y="391"/>
                        </a:lnTo>
                        <a:lnTo>
                          <a:pt x="252" y="387"/>
                        </a:lnTo>
                        <a:lnTo>
                          <a:pt x="252" y="391"/>
                        </a:lnTo>
                        <a:lnTo>
                          <a:pt x="252" y="387"/>
                        </a:lnTo>
                        <a:lnTo>
                          <a:pt x="252" y="391"/>
                        </a:lnTo>
                        <a:lnTo>
                          <a:pt x="249" y="392"/>
                        </a:lnTo>
                        <a:lnTo>
                          <a:pt x="247" y="389"/>
                        </a:lnTo>
                        <a:lnTo>
                          <a:pt x="249" y="392"/>
                        </a:lnTo>
                        <a:lnTo>
                          <a:pt x="245" y="389"/>
                        </a:lnTo>
                        <a:lnTo>
                          <a:pt x="249" y="392"/>
                        </a:lnTo>
                        <a:lnTo>
                          <a:pt x="245" y="391"/>
                        </a:lnTo>
                        <a:lnTo>
                          <a:pt x="247" y="394"/>
                        </a:lnTo>
                        <a:lnTo>
                          <a:pt x="244" y="391"/>
                        </a:lnTo>
                        <a:lnTo>
                          <a:pt x="247" y="394"/>
                        </a:lnTo>
                        <a:lnTo>
                          <a:pt x="244" y="392"/>
                        </a:lnTo>
                        <a:lnTo>
                          <a:pt x="247" y="396"/>
                        </a:lnTo>
                        <a:lnTo>
                          <a:pt x="242" y="392"/>
                        </a:lnTo>
                        <a:lnTo>
                          <a:pt x="245" y="396"/>
                        </a:lnTo>
                        <a:lnTo>
                          <a:pt x="245" y="397"/>
                        </a:lnTo>
                        <a:lnTo>
                          <a:pt x="242" y="396"/>
                        </a:lnTo>
                        <a:lnTo>
                          <a:pt x="244" y="396"/>
                        </a:lnTo>
                        <a:lnTo>
                          <a:pt x="245" y="397"/>
                        </a:lnTo>
                        <a:lnTo>
                          <a:pt x="244" y="397"/>
                        </a:lnTo>
                        <a:lnTo>
                          <a:pt x="245" y="397"/>
                        </a:lnTo>
                        <a:lnTo>
                          <a:pt x="244" y="397"/>
                        </a:lnTo>
                        <a:lnTo>
                          <a:pt x="240" y="397"/>
                        </a:lnTo>
                        <a:lnTo>
                          <a:pt x="245" y="397"/>
                        </a:lnTo>
                        <a:lnTo>
                          <a:pt x="240" y="397"/>
                        </a:lnTo>
                        <a:lnTo>
                          <a:pt x="245" y="399"/>
                        </a:lnTo>
                        <a:lnTo>
                          <a:pt x="240" y="399"/>
                        </a:lnTo>
                        <a:lnTo>
                          <a:pt x="245" y="401"/>
                        </a:lnTo>
                        <a:lnTo>
                          <a:pt x="245" y="401"/>
                        </a:lnTo>
                        <a:lnTo>
                          <a:pt x="242" y="402"/>
                        </a:lnTo>
                        <a:lnTo>
                          <a:pt x="245" y="402"/>
                        </a:lnTo>
                        <a:lnTo>
                          <a:pt x="242" y="404"/>
                        </a:lnTo>
                        <a:lnTo>
                          <a:pt x="247" y="402"/>
                        </a:lnTo>
                        <a:lnTo>
                          <a:pt x="247" y="402"/>
                        </a:lnTo>
                        <a:lnTo>
                          <a:pt x="244" y="406"/>
                        </a:lnTo>
                        <a:lnTo>
                          <a:pt x="247" y="404"/>
                        </a:lnTo>
                        <a:lnTo>
                          <a:pt x="245" y="407"/>
                        </a:lnTo>
                        <a:lnTo>
                          <a:pt x="249" y="404"/>
                        </a:lnTo>
                        <a:lnTo>
                          <a:pt x="249" y="406"/>
                        </a:lnTo>
                        <a:lnTo>
                          <a:pt x="247" y="409"/>
                        </a:lnTo>
                        <a:lnTo>
                          <a:pt x="250" y="406"/>
                        </a:lnTo>
                        <a:lnTo>
                          <a:pt x="250" y="406"/>
                        </a:lnTo>
                        <a:lnTo>
                          <a:pt x="250" y="410"/>
                        </a:lnTo>
                        <a:lnTo>
                          <a:pt x="252" y="406"/>
                        </a:lnTo>
                        <a:lnTo>
                          <a:pt x="250" y="410"/>
                        </a:lnTo>
                        <a:lnTo>
                          <a:pt x="252" y="406"/>
                        </a:lnTo>
                        <a:lnTo>
                          <a:pt x="252" y="410"/>
                        </a:lnTo>
                        <a:lnTo>
                          <a:pt x="252" y="406"/>
                        </a:lnTo>
                        <a:close/>
                        <a:moveTo>
                          <a:pt x="69" y="343"/>
                        </a:moveTo>
                        <a:lnTo>
                          <a:pt x="63" y="341"/>
                        </a:lnTo>
                        <a:lnTo>
                          <a:pt x="64" y="338"/>
                        </a:lnTo>
                        <a:lnTo>
                          <a:pt x="63" y="341"/>
                        </a:lnTo>
                        <a:lnTo>
                          <a:pt x="61" y="341"/>
                        </a:lnTo>
                        <a:lnTo>
                          <a:pt x="63" y="337"/>
                        </a:lnTo>
                        <a:lnTo>
                          <a:pt x="61" y="341"/>
                        </a:lnTo>
                        <a:lnTo>
                          <a:pt x="60" y="340"/>
                        </a:lnTo>
                        <a:lnTo>
                          <a:pt x="61" y="337"/>
                        </a:lnTo>
                        <a:lnTo>
                          <a:pt x="58" y="338"/>
                        </a:lnTo>
                        <a:lnTo>
                          <a:pt x="55" y="337"/>
                        </a:lnTo>
                        <a:lnTo>
                          <a:pt x="58" y="333"/>
                        </a:lnTo>
                        <a:lnTo>
                          <a:pt x="55" y="335"/>
                        </a:lnTo>
                        <a:lnTo>
                          <a:pt x="53" y="327"/>
                        </a:lnTo>
                        <a:lnTo>
                          <a:pt x="53" y="327"/>
                        </a:lnTo>
                        <a:lnTo>
                          <a:pt x="53" y="281"/>
                        </a:lnTo>
                        <a:lnTo>
                          <a:pt x="55" y="277"/>
                        </a:lnTo>
                        <a:lnTo>
                          <a:pt x="58" y="279"/>
                        </a:lnTo>
                        <a:lnTo>
                          <a:pt x="55" y="276"/>
                        </a:lnTo>
                        <a:lnTo>
                          <a:pt x="58" y="274"/>
                        </a:lnTo>
                        <a:lnTo>
                          <a:pt x="61" y="277"/>
                        </a:lnTo>
                        <a:lnTo>
                          <a:pt x="60" y="272"/>
                        </a:lnTo>
                        <a:lnTo>
                          <a:pt x="61" y="272"/>
                        </a:lnTo>
                        <a:lnTo>
                          <a:pt x="63" y="276"/>
                        </a:lnTo>
                        <a:lnTo>
                          <a:pt x="61" y="271"/>
                        </a:lnTo>
                        <a:lnTo>
                          <a:pt x="64" y="271"/>
                        </a:lnTo>
                        <a:lnTo>
                          <a:pt x="69" y="269"/>
                        </a:lnTo>
                        <a:lnTo>
                          <a:pt x="283" y="269"/>
                        </a:lnTo>
                        <a:lnTo>
                          <a:pt x="288" y="271"/>
                        </a:lnTo>
                        <a:lnTo>
                          <a:pt x="286" y="276"/>
                        </a:lnTo>
                        <a:lnTo>
                          <a:pt x="290" y="272"/>
                        </a:lnTo>
                        <a:lnTo>
                          <a:pt x="291" y="272"/>
                        </a:lnTo>
                        <a:lnTo>
                          <a:pt x="288" y="277"/>
                        </a:lnTo>
                        <a:lnTo>
                          <a:pt x="291" y="274"/>
                        </a:lnTo>
                        <a:lnTo>
                          <a:pt x="296" y="279"/>
                        </a:lnTo>
                        <a:lnTo>
                          <a:pt x="298" y="286"/>
                        </a:lnTo>
                        <a:lnTo>
                          <a:pt x="296" y="333"/>
                        </a:lnTo>
                        <a:lnTo>
                          <a:pt x="291" y="338"/>
                        </a:lnTo>
                        <a:lnTo>
                          <a:pt x="288" y="337"/>
                        </a:lnTo>
                        <a:lnTo>
                          <a:pt x="291" y="340"/>
                        </a:lnTo>
                        <a:lnTo>
                          <a:pt x="290" y="341"/>
                        </a:lnTo>
                        <a:lnTo>
                          <a:pt x="286" y="337"/>
                        </a:lnTo>
                        <a:lnTo>
                          <a:pt x="288" y="341"/>
                        </a:lnTo>
                        <a:lnTo>
                          <a:pt x="285" y="338"/>
                        </a:lnTo>
                        <a:lnTo>
                          <a:pt x="286" y="341"/>
                        </a:lnTo>
                        <a:lnTo>
                          <a:pt x="280" y="343"/>
                        </a:lnTo>
                        <a:lnTo>
                          <a:pt x="69" y="343"/>
                        </a:lnTo>
                        <a:close/>
                        <a:moveTo>
                          <a:pt x="281" y="335"/>
                        </a:moveTo>
                        <a:lnTo>
                          <a:pt x="283" y="338"/>
                        </a:lnTo>
                        <a:lnTo>
                          <a:pt x="281" y="335"/>
                        </a:lnTo>
                        <a:lnTo>
                          <a:pt x="285" y="338"/>
                        </a:lnTo>
                        <a:lnTo>
                          <a:pt x="283" y="333"/>
                        </a:lnTo>
                        <a:lnTo>
                          <a:pt x="286" y="333"/>
                        </a:lnTo>
                        <a:lnTo>
                          <a:pt x="290" y="335"/>
                        </a:lnTo>
                        <a:lnTo>
                          <a:pt x="286" y="332"/>
                        </a:lnTo>
                        <a:lnTo>
                          <a:pt x="290" y="335"/>
                        </a:lnTo>
                        <a:lnTo>
                          <a:pt x="288" y="332"/>
                        </a:lnTo>
                        <a:lnTo>
                          <a:pt x="291" y="333"/>
                        </a:lnTo>
                        <a:lnTo>
                          <a:pt x="288" y="330"/>
                        </a:lnTo>
                        <a:lnTo>
                          <a:pt x="291" y="332"/>
                        </a:lnTo>
                        <a:lnTo>
                          <a:pt x="288" y="330"/>
                        </a:lnTo>
                        <a:lnTo>
                          <a:pt x="291" y="332"/>
                        </a:lnTo>
                        <a:lnTo>
                          <a:pt x="288" y="328"/>
                        </a:lnTo>
                        <a:lnTo>
                          <a:pt x="293" y="330"/>
                        </a:lnTo>
                        <a:lnTo>
                          <a:pt x="288" y="328"/>
                        </a:lnTo>
                        <a:lnTo>
                          <a:pt x="293" y="328"/>
                        </a:lnTo>
                        <a:lnTo>
                          <a:pt x="288" y="327"/>
                        </a:lnTo>
                        <a:lnTo>
                          <a:pt x="290" y="327"/>
                        </a:lnTo>
                        <a:lnTo>
                          <a:pt x="288" y="286"/>
                        </a:lnTo>
                        <a:lnTo>
                          <a:pt x="293" y="284"/>
                        </a:lnTo>
                        <a:lnTo>
                          <a:pt x="288" y="284"/>
                        </a:lnTo>
                        <a:lnTo>
                          <a:pt x="293" y="282"/>
                        </a:lnTo>
                        <a:lnTo>
                          <a:pt x="288" y="284"/>
                        </a:lnTo>
                        <a:lnTo>
                          <a:pt x="291" y="281"/>
                        </a:lnTo>
                        <a:lnTo>
                          <a:pt x="288" y="282"/>
                        </a:lnTo>
                        <a:lnTo>
                          <a:pt x="291" y="281"/>
                        </a:lnTo>
                        <a:lnTo>
                          <a:pt x="288" y="282"/>
                        </a:lnTo>
                        <a:lnTo>
                          <a:pt x="291" y="279"/>
                        </a:lnTo>
                        <a:lnTo>
                          <a:pt x="286" y="281"/>
                        </a:lnTo>
                        <a:lnTo>
                          <a:pt x="290" y="277"/>
                        </a:lnTo>
                        <a:lnTo>
                          <a:pt x="286" y="281"/>
                        </a:lnTo>
                        <a:lnTo>
                          <a:pt x="285" y="279"/>
                        </a:lnTo>
                        <a:lnTo>
                          <a:pt x="288" y="276"/>
                        </a:lnTo>
                        <a:lnTo>
                          <a:pt x="285" y="279"/>
                        </a:lnTo>
                        <a:lnTo>
                          <a:pt x="283" y="279"/>
                        </a:lnTo>
                        <a:lnTo>
                          <a:pt x="285" y="274"/>
                        </a:lnTo>
                        <a:lnTo>
                          <a:pt x="283" y="279"/>
                        </a:lnTo>
                        <a:lnTo>
                          <a:pt x="283" y="274"/>
                        </a:lnTo>
                        <a:lnTo>
                          <a:pt x="281" y="277"/>
                        </a:lnTo>
                        <a:lnTo>
                          <a:pt x="280" y="277"/>
                        </a:lnTo>
                        <a:lnTo>
                          <a:pt x="68" y="277"/>
                        </a:lnTo>
                        <a:lnTo>
                          <a:pt x="66" y="274"/>
                        </a:lnTo>
                        <a:lnTo>
                          <a:pt x="68" y="277"/>
                        </a:lnTo>
                        <a:lnTo>
                          <a:pt x="66" y="274"/>
                        </a:lnTo>
                        <a:lnTo>
                          <a:pt x="66" y="279"/>
                        </a:lnTo>
                        <a:lnTo>
                          <a:pt x="64" y="274"/>
                        </a:lnTo>
                        <a:lnTo>
                          <a:pt x="64" y="276"/>
                        </a:lnTo>
                        <a:lnTo>
                          <a:pt x="66" y="279"/>
                        </a:lnTo>
                        <a:lnTo>
                          <a:pt x="64" y="279"/>
                        </a:lnTo>
                        <a:lnTo>
                          <a:pt x="63" y="276"/>
                        </a:lnTo>
                        <a:lnTo>
                          <a:pt x="64" y="279"/>
                        </a:lnTo>
                        <a:lnTo>
                          <a:pt x="64" y="281"/>
                        </a:lnTo>
                        <a:lnTo>
                          <a:pt x="60" y="277"/>
                        </a:lnTo>
                        <a:lnTo>
                          <a:pt x="63" y="281"/>
                        </a:lnTo>
                        <a:lnTo>
                          <a:pt x="60" y="279"/>
                        </a:lnTo>
                        <a:lnTo>
                          <a:pt x="63" y="281"/>
                        </a:lnTo>
                        <a:lnTo>
                          <a:pt x="61" y="282"/>
                        </a:lnTo>
                        <a:lnTo>
                          <a:pt x="58" y="281"/>
                        </a:lnTo>
                        <a:lnTo>
                          <a:pt x="61" y="282"/>
                        </a:lnTo>
                        <a:lnTo>
                          <a:pt x="58" y="281"/>
                        </a:lnTo>
                        <a:lnTo>
                          <a:pt x="61" y="284"/>
                        </a:lnTo>
                        <a:lnTo>
                          <a:pt x="56" y="282"/>
                        </a:lnTo>
                        <a:lnTo>
                          <a:pt x="61" y="284"/>
                        </a:lnTo>
                        <a:lnTo>
                          <a:pt x="56" y="284"/>
                        </a:lnTo>
                        <a:lnTo>
                          <a:pt x="61" y="286"/>
                        </a:lnTo>
                        <a:lnTo>
                          <a:pt x="61" y="286"/>
                        </a:lnTo>
                        <a:lnTo>
                          <a:pt x="61" y="327"/>
                        </a:lnTo>
                        <a:lnTo>
                          <a:pt x="61" y="327"/>
                        </a:lnTo>
                        <a:lnTo>
                          <a:pt x="56" y="328"/>
                        </a:lnTo>
                        <a:lnTo>
                          <a:pt x="61" y="328"/>
                        </a:lnTo>
                        <a:lnTo>
                          <a:pt x="56" y="330"/>
                        </a:lnTo>
                        <a:lnTo>
                          <a:pt x="61" y="328"/>
                        </a:lnTo>
                        <a:lnTo>
                          <a:pt x="58" y="332"/>
                        </a:lnTo>
                        <a:lnTo>
                          <a:pt x="61" y="330"/>
                        </a:lnTo>
                        <a:lnTo>
                          <a:pt x="58" y="332"/>
                        </a:lnTo>
                        <a:lnTo>
                          <a:pt x="61" y="330"/>
                        </a:lnTo>
                        <a:lnTo>
                          <a:pt x="63" y="332"/>
                        </a:lnTo>
                        <a:lnTo>
                          <a:pt x="60" y="335"/>
                        </a:lnTo>
                        <a:lnTo>
                          <a:pt x="63" y="333"/>
                        </a:lnTo>
                        <a:lnTo>
                          <a:pt x="68" y="335"/>
                        </a:lnTo>
                        <a:lnTo>
                          <a:pt x="66" y="338"/>
                        </a:lnTo>
                        <a:lnTo>
                          <a:pt x="68" y="335"/>
                        </a:lnTo>
                        <a:lnTo>
                          <a:pt x="69" y="335"/>
                        </a:lnTo>
                        <a:lnTo>
                          <a:pt x="281" y="335"/>
                        </a:lnTo>
                        <a:close/>
                        <a:moveTo>
                          <a:pt x="253" y="322"/>
                        </a:moveTo>
                        <a:lnTo>
                          <a:pt x="247" y="320"/>
                        </a:lnTo>
                        <a:lnTo>
                          <a:pt x="249" y="317"/>
                        </a:lnTo>
                        <a:lnTo>
                          <a:pt x="245" y="320"/>
                        </a:lnTo>
                        <a:lnTo>
                          <a:pt x="244" y="320"/>
                        </a:lnTo>
                        <a:lnTo>
                          <a:pt x="245" y="315"/>
                        </a:lnTo>
                        <a:lnTo>
                          <a:pt x="244" y="318"/>
                        </a:lnTo>
                        <a:lnTo>
                          <a:pt x="242" y="318"/>
                        </a:lnTo>
                        <a:lnTo>
                          <a:pt x="244" y="314"/>
                        </a:lnTo>
                        <a:lnTo>
                          <a:pt x="240" y="317"/>
                        </a:lnTo>
                        <a:lnTo>
                          <a:pt x="237" y="312"/>
                        </a:lnTo>
                        <a:lnTo>
                          <a:pt x="237" y="310"/>
                        </a:lnTo>
                        <a:lnTo>
                          <a:pt x="242" y="309"/>
                        </a:lnTo>
                        <a:lnTo>
                          <a:pt x="237" y="310"/>
                        </a:lnTo>
                        <a:lnTo>
                          <a:pt x="237" y="305"/>
                        </a:lnTo>
                        <a:lnTo>
                          <a:pt x="237" y="302"/>
                        </a:lnTo>
                        <a:lnTo>
                          <a:pt x="242" y="304"/>
                        </a:lnTo>
                        <a:lnTo>
                          <a:pt x="237" y="302"/>
                        </a:lnTo>
                        <a:lnTo>
                          <a:pt x="239" y="297"/>
                        </a:lnTo>
                        <a:lnTo>
                          <a:pt x="244" y="299"/>
                        </a:lnTo>
                        <a:lnTo>
                          <a:pt x="240" y="297"/>
                        </a:lnTo>
                        <a:lnTo>
                          <a:pt x="245" y="292"/>
                        </a:lnTo>
                        <a:lnTo>
                          <a:pt x="247" y="291"/>
                        </a:lnTo>
                        <a:lnTo>
                          <a:pt x="249" y="295"/>
                        </a:lnTo>
                        <a:lnTo>
                          <a:pt x="249" y="291"/>
                        </a:lnTo>
                        <a:lnTo>
                          <a:pt x="252" y="291"/>
                        </a:lnTo>
                        <a:lnTo>
                          <a:pt x="258" y="292"/>
                        </a:lnTo>
                        <a:lnTo>
                          <a:pt x="257" y="295"/>
                        </a:lnTo>
                        <a:lnTo>
                          <a:pt x="258" y="292"/>
                        </a:lnTo>
                        <a:lnTo>
                          <a:pt x="262" y="294"/>
                        </a:lnTo>
                        <a:lnTo>
                          <a:pt x="260" y="297"/>
                        </a:lnTo>
                        <a:lnTo>
                          <a:pt x="262" y="294"/>
                        </a:lnTo>
                        <a:lnTo>
                          <a:pt x="265" y="297"/>
                        </a:lnTo>
                        <a:lnTo>
                          <a:pt x="262" y="299"/>
                        </a:lnTo>
                        <a:lnTo>
                          <a:pt x="265" y="297"/>
                        </a:lnTo>
                        <a:lnTo>
                          <a:pt x="267" y="300"/>
                        </a:lnTo>
                        <a:lnTo>
                          <a:pt x="263" y="302"/>
                        </a:lnTo>
                        <a:lnTo>
                          <a:pt x="268" y="302"/>
                        </a:lnTo>
                        <a:lnTo>
                          <a:pt x="268" y="305"/>
                        </a:lnTo>
                        <a:lnTo>
                          <a:pt x="268" y="307"/>
                        </a:lnTo>
                        <a:lnTo>
                          <a:pt x="267" y="312"/>
                        </a:lnTo>
                        <a:lnTo>
                          <a:pt x="267" y="314"/>
                        </a:lnTo>
                        <a:lnTo>
                          <a:pt x="262" y="312"/>
                        </a:lnTo>
                        <a:lnTo>
                          <a:pt x="267" y="315"/>
                        </a:lnTo>
                        <a:lnTo>
                          <a:pt x="265" y="315"/>
                        </a:lnTo>
                        <a:lnTo>
                          <a:pt x="262" y="314"/>
                        </a:lnTo>
                        <a:lnTo>
                          <a:pt x="265" y="315"/>
                        </a:lnTo>
                        <a:lnTo>
                          <a:pt x="262" y="318"/>
                        </a:lnTo>
                        <a:lnTo>
                          <a:pt x="260" y="315"/>
                        </a:lnTo>
                        <a:lnTo>
                          <a:pt x="262" y="318"/>
                        </a:lnTo>
                        <a:lnTo>
                          <a:pt x="255" y="322"/>
                        </a:lnTo>
                        <a:lnTo>
                          <a:pt x="253" y="322"/>
                        </a:lnTo>
                        <a:close/>
                        <a:moveTo>
                          <a:pt x="252" y="314"/>
                        </a:moveTo>
                        <a:lnTo>
                          <a:pt x="253" y="318"/>
                        </a:lnTo>
                        <a:lnTo>
                          <a:pt x="253" y="314"/>
                        </a:lnTo>
                        <a:lnTo>
                          <a:pt x="253" y="314"/>
                        </a:lnTo>
                        <a:lnTo>
                          <a:pt x="253" y="317"/>
                        </a:lnTo>
                        <a:lnTo>
                          <a:pt x="253" y="314"/>
                        </a:lnTo>
                        <a:lnTo>
                          <a:pt x="255" y="317"/>
                        </a:lnTo>
                        <a:lnTo>
                          <a:pt x="255" y="314"/>
                        </a:lnTo>
                        <a:lnTo>
                          <a:pt x="257" y="312"/>
                        </a:lnTo>
                        <a:lnTo>
                          <a:pt x="258" y="317"/>
                        </a:lnTo>
                        <a:lnTo>
                          <a:pt x="257" y="312"/>
                        </a:lnTo>
                        <a:lnTo>
                          <a:pt x="260" y="315"/>
                        </a:lnTo>
                        <a:lnTo>
                          <a:pt x="257" y="312"/>
                        </a:lnTo>
                        <a:lnTo>
                          <a:pt x="260" y="314"/>
                        </a:lnTo>
                        <a:lnTo>
                          <a:pt x="258" y="310"/>
                        </a:lnTo>
                        <a:lnTo>
                          <a:pt x="260" y="309"/>
                        </a:lnTo>
                        <a:lnTo>
                          <a:pt x="260" y="309"/>
                        </a:lnTo>
                        <a:lnTo>
                          <a:pt x="260" y="309"/>
                        </a:lnTo>
                        <a:lnTo>
                          <a:pt x="260" y="309"/>
                        </a:lnTo>
                        <a:lnTo>
                          <a:pt x="263" y="310"/>
                        </a:lnTo>
                        <a:lnTo>
                          <a:pt x="260" y="309"/>
                        </a:lnTo>
                        <a:lnTo>
                          <a:pt x="263" y="309"/>
                        </a:lnTo>
                        <a:lnTo>
                          <a:pt x="260" y="307"/>
                        </a:lnTo>
                        <a:lnTo>
                          <a:pt x="260" y="305"/>
                        </a:lnTo>
                        <a:lnTo>
                          <a:pt x="263" y="305"/>
                        </a:lnTo>
                        <a:lnTo>
                          <a:pt x="260" y="305"/>
                        </a:lnTo>
                        <a:lnTo>
                          <a:pt x="263" y="304"/>
                        </a:lnTo>
                        <a:lnTo>
                          <a:pt x="260" y="304"/>
                        </a:lnTo>
                        <a:lnTo>
                          <a:pt x="258" y="304"/>
                        </a:lnTo>
                        <a:lnTo>
                          <a:pt x="263" y="300"/>
                        </a:lnTo>
                        <a:lnTo>
                          <a:pt x="258" y="302"/>
                        </a:lnTo>
                        <a:lnTo>
                          <a:pt x="258" y="302"/>
                        </a:lnTo>
                        <a:lnTo>
                          <a:pt x="262" y="299"/>
                        </a:lnTo>
                        <a:lnTo>
                          <a:pt x="258" y="302"/>
                        </a:lnTo>
                        <a:lnTo>
                          <a:pt x="257" y="300"/>
                        </a:lnTo>
                        <a:lnTo>
                          <a:pt x="258" y="297"/>
                        </a:lnTo>
                        <a:lnTo>
                          <a:pt x="257" y="300"/>
                        </a:lnTo>
                        <a:lnTo>
                          <a:pt x="255" y="299"/>
                        </a:lnTo>
                        <a:lnTo>
                          <a:pt x="255" y="299"/>
                        </a:lnTo>
                        <a:lnTo>
                          <a:pt x="255" y="299"/>
                        </a:lnTo>
                        <a:lnTo>
                          <a:pt x="255" y="299"/>
                        </a:lnTo>
                        <a:lnTo>
                          <a:pt x="255" y="295"/>
                        </a:lnTo>
                        <a:lnTo>
                          <a:pt x="253" y="299"/>
                        </a:lnTo>
                        <a:lnTo>
                          <a:pt x="253" y="295"/>
                        </a:lnTo>
                        <a:lnTo>
                          <a:pt x="253" y="299"/>
                        </a:lnTo>
                        <a:lnTo>
                          <a:pt x="252" y="299"/>
                        </a:lnTo>
                        <a:lnTo>
                          <a:pt x="252" y="295"/>
                        </a:lnTo>
                        <a:lnTo>
                          <a:pt x="252" y="299"/>
                        </a:lnTo>
                        <a:lnTo>
                          <a:pt x="250" y="295"/>
                        </a:lnTo>
                        <a:lnTo>
                          <a:pt x="250" y="299"/>
                        </a:lnTo>
                        <a:lnTo>
                          <a:pt x="250" y="299"/>
                        </a:lnTo>
                        <a:lnTo>
                          <a:pt x="250" y="299"/>
                        </a:lnTo>
                        <a:lnTo>
                          <a:pt x="250" y="300"/>
                        </a:lnTo>
                        <a:lnTo>
                          <a:pt x="250" y="300"/>
                        </a:lnTo>
                        <a:lnTo>
                          <a:pt x="250" y="300"/>
                        </a:lnTo>
                        <a:lnTo>
                          <a:pt x="250" y="299"/>
                        </a:lnTo>
                        <a:lnTo>
                          <a:pt x="247" y="295"/>
                        </a:lnTo>
                        <a:lnTo>
                          <a:pt x="249" y="300"/>
                        </a:lnTo>
                        <a:lnTo>
                          <a:pt x="249" y="300"/>
                        </a:lnTo>
                        <a:lnTo>
                          <a:pt x="245" y="297"/>
                        </a:lnTo>
                        <a:lnTo>
                          <a:pt x="247" y="302"/>
                        </a:lnTo>
                        <a:lnTo>
                          <a:pt x="244" y="299"/>
                        </a:lnTo>
                        <a:lnTo>
                          <a:pt x="247" y="302"/>
                        </a:lnTo>
                        <a:lnTo>
                          <a:pt x="247" y="302"/>
                        </a:lnTo>
                        <a:lnTo>
                          <a:pt x="242" y="300"/>
                        </a:lnTo>
                        <a:lnTo>
                          <a:pt x="245" y="304"/>
                        </a:lnTo>
                        <a:lnTo>
                          <a:pt x="245" y="304"/>
                        </a:lnTo>
                        <a:lnTo>
                          <a:pt x="242" y="304"/>
                        </a:lnTo>
                        <a:lnTo>
                          <a:pt x="244" y="304"/>
                        </a:lnTo>
                        <a:lnTo>
                          <a:pt x="245" y="304"/>
                        </a:lnTo>
                        <a:lnTo>
                          <a:pt x="244" y="305"/>
                        </a:lnTo>
                        <a:lnTo>
                          <a:pt x="245" y="305"/>
                        </a:lnTo>
                        <a:lnTo>
                          <a:pt x="244" y="305"/>
                        </a:lnTo>
                        <a:lnTo>
                          <a:pt x="240" y="305"/>
                        </a:lnTo>
                        <a:lnTo>
                          <a:pt x="245" y="305"/>
                        </a:lnTo>
                        <a:lnTo>
                          <a:pt x="240" y="305"/>
                        </a:lnTo>
                        <a:lnTo>
                          <a:pt x="245" y="307"/>
                        </a:lnTo>
                        <a:lnTo>
                          <a:pt x="240" y="307"/>
                        </a:lnTo>
                        <a:lnTo>
                          <a:pt x="245" y="307"/>
                        </a:lnTo>
                        <a:lnTo>
                          <a:pt x="245" y="309"/>
                        </a:lnTo>
                        <a:lnTo>
                          <a:pt x="242" y="310"/>
                        </a:lnTo>
                        <a:lnTo>
                          <a:pt x="245" y="309"/>
                        </a:lnTo>
                        <a:lnTo>
                          <a:pt x="242" y="312"/>
                        </a:lnTo>
                        <a:lnTo>
                          <a:pt x="247" y="310"/>
                        </a:lnTo>
                        <a:lnTo>
                          <a:pt x="247" y="310"/>
                        </a:lnTo>
                        <a:lnTo>
                          <a:pt x="244" y="314"/>
                        </a:lnTo>
                        <a:lnTo>
                          <a:pt x="247" y="312"/>
                        </a:lnTo>
                        <a:lnTo>
                          <a:pt x="245" y="315"/>
                        </a:lnTo>
                        <a:lnTo>
                          <a:pt x="249" y="312"/>
                        </a:lnTo>
                        <a:lnTo>
                          <a:pt x="249" y="312"/>
                        </a:lnTo>
                        <a:lnTo>
                          <a:pt x="247" y="317"/>
                        </a:lnTo>
                        <a:lnTo>
                          <a:pt x="249" y="314"/>
                        </a:lnTo>
                        <a:lnTo>
                          <a:pt x="250" y="314"/>
                        </a:lnTo>
                        <a:lnTo>
                          <a:pt x="249" y="317"/>
                        </a:lnTo>
                        <a:lnTo>
                          <a:pt x="250" y="314"/>
                        </a:lnTo>
                        <a:lnTo>
                          <a:pt x="250" y="317"/>
                        </a:lnTo>
                        <a:lnTo>
                          <a:pt x="252" y="314"/>
                        </a:lnTo>
                        <a:lnTo>
                          <a:pt x="252" y="318"/>
                        </a:lnTo>
                        <a:lnTo>
                          <a:pt x="252" y="314"/>
                        </a:lnTo>
                        <a:close/>
                        <a:moveTo>
                          <a:pt x="69" y="251"/>
                        </a:moveTo>
                        <a:lnTo>
                          <a:pt x="61" y="248"/>
                        </a:lnTo>
                        <a:lnTo>
                          <a:pt x="56" y="246"/>
                        </a:lnTo>
                        <a:lnTo>
                          <a:pt x="55" y="245"/>
                        </a:lnTo>
                        <a:lnTo>
                          <a:pt x="58" y="241"/>
                        </a:lnTo>
                        <a:lnTo>
                          <a:pt x="55" y="243"/>
                        </a:lnTo>
                        <a:lnTo>
                          <a:pt x="53" y="236"/>
                        </a:lnTo>
                        <a:lnTo>
                          <a:pt x="53" y="235"/>
                        </a:lnTo>
                        <a:lnTo>
                          <a:pt x="55" y="187"/>
                        </a:lnTo>
                        <a:lnTo>
                          <a:pt x="55" y="185"/>
                        </a:lnTo>
                        <a:lnTo>
                          <a:pt x="58" y="187"/>
                        </a:lnTo>
                        <a:lnTo>
                          <a:pt x="55" y="184"/>
                        </a:lnTo>
                        <a:lnTo>
                          <a:pt x="58" y="180"/>
                        </a:lnTo>
                        <a:lnTo>
                          <a:pt x="61" y="184"/>
                        </a:lnTo>
                        <a:lnTo>
                          <a:pt x="60" y="180"/>
                        </a:lnTo>
                        <a:lnTo>
                          <a:pt x="61" y="179"/>
                        </a:lnTo>
                        <a:lnTo>
                          <a:pt x="63" y="182"/>
                        </a:lnTo>
                        <a:lnTo>
                          <a:pt x="61" y="179"/>
                        </a:lnTo>
                        <a:lnTo>
                          <a:pt x="63" y="179"/>
                        </a:lnTo>
                        <a:lnTo>
                          <a:pt x="69" y="177"/>
                        </a:lnTo>
                        <a:lnTo>
                          <a:pt x="285" y="177"/>
                        </a:lnTo>
                        <a:lnTo>
                          <a:pt x="288" y="179"/>
                        </a:lnTo>
                        <a:lnTo>
                          <a:pt x="286" y="182"/>
                        </a:lnTo>
                        <a:lnTo>
                          <a:pt x="290" y="179"/>
                        </a:lnTo>
                        <a:lnTo>
                          <a:pt x="291" y="180"/>
                        </a:lnTo>
                        <a:lnTo>
                          <a:pt x="288" y="184"/>
                        </a:lnTo>
                        <a:lnTo>
                          <a:pt x="291" y="180"/>
                        </a:lnTo>
                        <a:lnTo>
                          <a:pt x="296" y="189"/>
                        </a:lnTo>
                        <a:lnTo>
                          <a:pt x="298" y="194"/>
                        </a:lnTo>
                        <a:lnTo>
                          <a:pt x="296" y="241"/>
                        </a:lnTo>
                        <a:lnTo>
                          <a:pt x="293" y="245"/>
                        </a:lnTo>
                        <a:lnTo>
                          <a:pt x="286" y="249"/>
                        </a:lnTo>
                        <a:lnTo>
                          <a:pt x="280" y="251"/>
                        </a:lnTo>
                        <a:lnTo>
                          <a:pt x="69" y="251"/>
                        </a:lnTo>
                        <a:close/>
                        <a:moveTo>
                          <a:pt x="66" y="241"/>
                        </a:moveTo>
                        <a:lnTo>
                          <a:pt x="68" y="241"/>
                        </a:lnTo>
                        <a:lnTo>
                          <a:pt x="68" y="246"/>
                        </a:lnTo>
                        <a:lnTo>
                          <a:pt x="68" y="243"/>
                        </a:lnTo>
                        <a:lnTo>
                          <a:pt x="69" y="243"/>
                        </a:lnTo>
                        <a:lnTo>
                          <a:pt x="281" y="243"/>
                        </a:lnTo>
                        <a:lnTo>
                          <a:pt x="283" y="246"/>
                        </a:lnTo>
                        <a:lnTo>
                          <a:pt x="283" y="241"/>
                        </a:lnTo>
                        <a:lnTo>
                          <a:pt x="285" y="246"/>
                        </a:lnTo>
                        <a:lnTo>
                          <a:pt x="283" y="241"/>
                        </a:lnTo>
                        <a:lnTo>
                          <a:pt x="285" y="246"/>
                        </a:lnTo>
                        <a:lnTo>
                          <a:pt x="285" y="241"/>
                        </a:lnTo>
                        <a:lnTo>
                          <a:pt x="286" y="245"/>
                        </a:lnTo>
                        <a:lnTo>
                          <a:pt x="285" y="241"/>
                        </a:lnTo>
                        <a:lnTo>
                          <a:pt x="288" y="245"/>
                        </a:lnTo>
                        <a:lnTo>
                          <a:pt x="286" y="240"/>
                        </a:lnTo>
                        <a:lnTo>
                          <a:pt x="288" y="243"/>
                        </a:lnTo>
                        <a:lnTo>
                          <a:pt x="286" y="240"/>
                        </a:lnTo>
                        <a:lnTo>
                          <a:pt x="290" y="241"/>
                        </a:lnTo>
                        <a:lnTo>
                          <a:pt x="286" y="240"/>
                        </a:lnTo>
                        <a:lnTo>
                          <a:pt x="291" y="241"/>
                        </a:lnTo>
                        <a:lnTo>
                          <a:pt x="288" y="238"/>
                        </a:lnTo>
                        <a:lnTo>
                          <a:pt x="291" y="240"/>
                        </a:lnTo>
                        <a:lnTo>
                          <a:pt x="288" y="238"/>
                        </a:lnTo>
                        <a:lnTo>
                          <a:pt x="291" y="238"/>
                        </a:lnTo>
                        <a:lnTo>
                          <a:pt x="288" y="236"/>
                        </a:lnTo>
                        <a:lnTo>
                          <a:pt x="293" y="238"/>
                        </a:lnTo>
                        <a:lnTo>
                          <a:pt x="288" y="236"/>
                        </a:lnTo>
                        <a:lnTo>
                          <a:pt x="293" y="236"/>
                        </a:lnTo>
                        <a:lnTo>
                          <a:pt x="288" y="235"/>
                        </a:lnTo>
                        <a:lnTo>
                          <a:pt x="290" y="233"/>
                        </a:lnTo>
                        <a:lnTo>
                          <a:pt x="288" y="194"/>
                        </a:lnTo>
                        <a:lnTo>
                          <a:pt x="293" y="192"/>
                        </a:lnTo>
                        <a:lnTo>
                          <a:pt x="288" y="192"/>
                        </a:lnTo>
                        <a:lnTo>
                          <a:pt x="293" y="190"/>
                        </a:lnTo>
                        <a:lnTo>
                          <a:pt x="288" y="192"/>
                        </a:lnTo>
                        <a:lnTo>
                          <a:pt x="291" y="189"/>
                        </a:lnTo>
                        <a:lnTo>
                          <a:pt x="288" y="190"/>
                        </a:lnTo>
                        <a:lnTo>
                          <a:pt x="291" y="189"/>
                        </a:lnTo>
                        <a:lnTo>
                          <a:pt x="288" y="190"/>
                        </a:lnTo>
                        <a:lnTo>
                          <a:pt x="291" y="187"/>
                        </a:lnTo>
                        <a:lnTo>
                          <a:pt x="286" y="189"/>
                        </a:lnTo>
                        <a:lnTo>
                          <a:pt x="286" y="189"/>
                        </a:lnTo>
                        <a:lnTo>
                          <a:pt x="290" y="185"/>
                        </a:lnTo>
                        <a:lnTo>
                          <a:pt x="286" y="187"/>
                        </a:lnTo>
                        <a:lnTo>
                          <a:pt x="285" y="187"/>
                        </a:lnTo>
                        <a:lnTo>
                          <a:pt x="286" y="185"/>
                        </a:lnTo>
                        <a:lnTo>
                          <a:pt x="288" y="184"/>
                        </a:lnTo>
                        <a:lnTo>
                          <a:pt x="285" y="187"/>
                        </a:lnTo>
                        <a:lnTo>
                          <a:pt x="283" y="187"/>
                        </a:lnTo>
                        <a:lnTo>
                          <a:pt x="285" y="182"/>
                        </a:lnTo>
                        <a:lnTo>
                          <a:pt x="283" y="185"/>
                        </a:lnTo>
                        <a:lnTo>
                          <a:pt x="283" y="182"/>
                        </a:lnTo>
                        <a:lnTo>
                          <a:pt x="281" y="185"/>
                        </a:lnTo>
                        <a:lnTo>
                          <a:pt x="280" y="185"/>
                        </a:lnTo>
                        <a:lnTo>
                          <a:pt x="68" y="185"/>
                        </a:lnTo>
                        <a:lnTo>
                          <a:pt x="66" y="182"/>
                        </a:lnTo>
                        <a:lnTo>
                          <a:pt x="68" y="185"/>
                        </a:lnTo>
                        <a:lnTo>
                          <a:pt x="66" y="182"/>
                        </a:lnTo>
                        <a:lnTo>
                          <a:pt x="66" y="185"/>
                        </a:lnTo>
                        <a:lnTo>
                          <a:pt x="64" y="182"/>
                        </a:lnTo>
                        <a:lnTo>
                          <a:pt x="64" y="184"/>
                        </a:lnTo>
                        <a:lnTo>
                          <a:pt x="66" y="187"/>
                        </a:lnTo>
                        <a:lnTo>
                          <a:pt x="64" y="187"/>
                        </a:lnTo>
                        <a:lnTo>
                          <a:pt x="63" y="184"/>
                        </a:lnTo>
                        <a:lnTo>
                          <a:pt x="64" y="187"/>
                        </a:lnTo>
                        <a:lnTo>
                          <a:pt x="64" y="187"/>
                        </a:lnTo>
                        <a:lnTo>
                          <a:pt x="60" y="185"/>
                        </a:lnTo>
                        <a:lnTo>
                          <a:pt x="63" y="189"/>
                        </a:lnTo>
                        <a:lnTo>
                          <a:pt x="60" y="185"/>
                        </a:lnTo>
                        <a:lnTo>
                          <a:pt x="63" y="189"/>
                        </a:lnTo>
                        <a:lnTo>
                          <a:pt x="61" y="190"/>
                        </a:lnTo>
                        <a:lnTo>
                          <a:pt x="58" y="189"/>
                        </a:lnTo>
                        <a:lnTo>
                          <a:pt x="61" y="190"/>
                        </a:lnTo>
                        <a:lnTo>
                          <a:pt x="58" y="189"/>
                        </a:lnTo>
                        <a:lnTo>
                          <a:pt x="61" y="192"/>
                        </a:lnTo>
                        <a:lnTo>
                          <a:pt x="56" y="190"/>
                        </a:lnTo>
                        <a:lnTo>
                          <a:pt x="61" y="192"/>
                        </a:lnTo>
                        <a:lnTo>
                          <a:pt x="56" y="192"/>
                        </a:lnTo>
                        <a:lnTo>
                          <a:pt x="61" y="194"/>
                        </a:lnTo>
                        <a:lnTo>
                          <a:pt x="61" y="194"/>
                        </a:lnTo>
                        <a:lnTo>
                          <a:pt x="61" y="235"/>
                        </a:lnTo>
                        <a:lnTo>
                          <a:pt x="61" y="235"/>
                        </a:lnTo>
                        <a:lnTo>
                          <a:pt x="56" y="236"/>
                        </a:lnTo>
                        <a:lnTo>
                          <a:pt x="61" y="236"/>
                        </a:lnTo>
                        <a:lnTo>
                          <a:pt x="56" y="238"/>
                        </a:lnTo>
                        <a:lnTo>
                          <a:pt x="61" y="236"/>
                        </a:lnTo>
                        <a:lnTo>
                          <a:pt x="58" y="238"/>
                        </a:lnTo>
                        <a:lnTo>
                          <a:pt x="61" y="238"/>
                        </a:lnTo>
                        <a:lnTo>
                          <a:pt x="63" y="238"/>
                        </a:lnTo>
                        <a:lnTo>
                          <a:pt x="60" y="241"/>
                        </a:lnTo>
                        <a:lnTo>
                          <a:pt x="63" y="240"/>
                        </a:lnTo>
                        <a:lnTo>
                          <a:pt x="60" y="243"/>
                        </a:lnTo>
                        <a:lnTo>
                          <a:pt x="63" y="240"/>
                        </a:lnTo>
                        <a:lnTo>
                          <a:pt x="61" y="243"/>
                        </a:lnTo>
                        <a:lnTo>
                          <a:pt x="64" y="241"/>
                        </a:lnTo>
                        <a:lnTo>
                          <a:pt x="63" y="245"/>
                        </a:lnTo>
                        <a:lnTo>
                          <a:pt x="64" y="241"/>
                        </a:lnTo>
                        <a:lnTo>
                          <a:pt x="63" y="245"/>
                        </a:lnTo>
                        <a:lnTo>
                          <a:pt x="66" y="241"/>
                        </a:lnTo>
                        <a:lnTo>
                          <a:pt x="66" y="246"/>
                        </a:lnTo>
                        <a:lnTo>
                          <a:pt x="66" y="241"/>
                        </a:lnTo>
                        <a:close/>
                        <a:moveTo>
                          <a:pt x="253" y="230"/>
                        </a:moveTo>
                        <a:lnTo>
                          <a:pt x="250" y="230"/>
                        </a:lnTo>
                        <a:lnTo>
                          <a:pt x="250" y="225"/>
                        </a:lnTo>
                        <a:lnTo>
                          <a:pt x="249" y="230"/>
                        </a:lnTo>
                        <a:lnTo>
                          <a:pt x="247" y="228"/>
                        </a:lnTo>
                        <a:lnTo>
                          <a:pt x="249" y="225"/>
                        </a:lnTo>
                        <a:lnTo>
                          <a:pt x="245" y="228"/>
                        </a:lnTo>
                        <a:lnTo>
                          <a:pt x="242" y="225"/>
                        </a:lnTo>
                        <a:lnTo>
                          <a:pt x="244" y="222"/>
                        </a:lnTo>
                        <a:lnTo>
                          <a:pt x="240" y="225"/>
                        </a:lnTo>
                        <a:lnTo>
                          <a:pt x="237" y="220"/>
                        </a:lnTo>
                        <a:lnTo>
                          <a:pt x="242" y="218"/>
                        </a:lnTo>
                        <a:lnTo>
                          <a:pt x="237" y="218"/>
                        </a:lnTo>
                        <a:lnTo>
                          <a:pt x="237" y="213"/>
                        </a:lnTo>
                        <a:lnTo>
                          <a:pt x="237" y="210"/>
                        </a:lnTo>
                        <a:lnTo>
                          <a:pt x="242" y="212"/>
                        </a:lnTo>
                        <a:lnTo>
                          <a:pt x="237" y="210"/>
                        </a:lnTo>
                        <a:lnTo>
                          <a:pt x="239" y="205"/>
                        </a:lnTo>
                        <a:lnTo>
                          <a:pt x="244" y="207"/>
                        </a:lnTo>
                        <a:lnTo>
                          <a:pt x="240" y="203"/>
                        </a:lnTo>
                        <a:lnTo>
                          <a:pt x="245" y="200"/>
                        </a:lnTo>
                        <a:lnTo>
                          <a:pt x="245" y="200"/>
                        </a:lnTo>
                        <a:lnTo>
                          <a:pt x="249" y="203"/>
                        </a:lnTo>
                        <a:lnTo>
                          <a:pt x="247" y="199"/>
                        </a:lnTo>
                        <a:lnTo>
                          <a:pt x="249" y="199"/>
                        </a:lnTo>
                        <a:lnTo>
                          <a:pt x="250" y="203"/>
                        </a:lnTo>
                        <a:lnTo>
                          <a:pt x="250" y="199"/>
                        </a:lnTo>
                        <a:lnTo>
                          <a:pt x="253" y="199"/>
                        </a:lnTo>
                        <a:lnTo>
                          <a:pt x="258" y="199"/>
                        </a:lnTo>
                        <a:lnTo>
                          <a:pt x="257" y="203"/>
                        </a:lnTo>
                        <a:lnTo>
                          <a:pt x="258" y="200"/>
                        </a:lnTo>
                        <a:lnTo>
                          <a:pt x="262" y="200"/>
                        </a:lnTo>
                        <a:lnTo>
                          <a:pt x="260" y="205"/>
                        </a:lnTo>
                        <a:lnTo>
                          <a:pt x="262" y="202"/>
                        </a:lnTo>
                        <a:lnTo>
                          <a:pt x="265" y="203"/>
                        </a:lnTo>
                        <a:lnTo>
                          <a:pt x="262" y="207"/>
                        </a:lnTo>
                        <a:lnTo>
                          <a:pt x="265" y="205"/>
                        </a:lnTo>
                        <a:lnTo>
                          <a:pt x="267" y="208"/>
                        </a:lnTo>
                        <a:lnTo>
                          <a:pt x="263" y="210"/>
                        </a:lnTo>
                        <a:lnTo>
                          <a:pt x="268" y="208"/>
                        </a:lnTo>
                        <a:lnTo>
                          <a:pt x="268" y="213"/>
                        </a:lnTo>
                        <a:lnTo>
                          <a:pt x="268" y="217"/>
                        </a:lnTo>
                        <a:lnTo>
                          <a:pt x="263" y="217"/>
                        </a:lnTo>
                        <a:lnTo>
                          <a:pt x="268" y="218"/>
                        </a:lnTo>
                        <a:lnTo>
                          <a:pt x="267" y="222"/>
                        </a:lnTo>
                        <a:lnTo>
                          <a:pt x="263" y="225"/>
                        </a:lnTo>
                        <a:lnTo>
                          <a:pt x="260" y="223"/>
                        </a:lnTo>
                        <a:lnTo>
                          <a:pt x="263" y="226"/>
                        </a:lnTo>
                        <a:lnTo>
                          <a:pt x="258" y="228"/>
                        </a:lnTo>
                        <a:lnTo>
                          <a:pt x="257" y="225"/>
                        </a:lnTo>
                        <a:lnTo>
                          <a:pt x="257" y="230"/>
                        </a:lnTo>
                        <a:lnTo>
                          <a:pt x="253" y="230"/>
                        </a:lnTo>
                        <a:close/>
                        <a:moveTo>
                          <a:pt x="252" y="222"/>
                        </a:moveTo>
                        <a:lnTo>
                          <a:pt x="253" y="225"/>
                        </a:lnTo>
                        <a:lnTo>
                          <a:pt x="253" y="222"/>
                        </a:lnTo>
                        <a:lnTo>
                          <a:pt x="253" y="222"/>
                        </a:lnTo>
                        <a:lnTo>
                          <a:pt x="255" y="225"/>
                        </a:lnTo>
                        <a:lnTo>
                          <a:pt x="255" y="222"/>
                        </a:lnTo>
                        <a:lnTo>
                          <a:pt x="255" y="220"/>
                        </a:lnTo>
                        <a:lnTo>
                          <a:pt x="258" y="225"/>
                        </a:lnTo>
                        <a:lnTo>
                          <a:pt x="257" y="220"/>
                        </a:lnTo>
                        <a:lnTo>
                          <a:pt x="258" y="223"/>
                        </a:lnTo>
                        <a:lnTo>
                          <a:pt x="257" y="220"/>
                        </a:lnTo>
                        <a:lnTo>
                          <a:pt x="258" y="218"/>
                        </a:lnTo>
                        <a:lnTo>
                          <a:pt x="262" y="220"/>
                        </a:lnTo>
                        <a:lnTo>
                          <a:pt x="258" y="217"/>
                        </a:lnTo>
                        <a:lnTo>
                          <a:pt x="260" y="217"/>
                        </a:lnTo>
                        <a:lnTo>
                          <a:pt x="260" y="215"/>
                        </a:lnTo>
                        <a:lnTo>
                          <a:pt x="263" y="215"/>
                        </a:lnTo>
                        <a:lnTo>
                          <a:pt x="260" y="213"/>
                        </a:lnTo>
                        <a:lnTo>
                          <a:pt x="263" y="213"/>
                        </a:lnTo>
                        <a:lnTo>
                          <a:pt x="260" y="213"/>
                        </a:lnTo>
                        <a:lnTo>
                          <a:pt x="263" y="212"/>
                        </a:lnTo>
                        <a:lnTo>
                          <a:pt x="260" y="212"/>
                        </a:lnTo>
                        <a:lnTo>
                          <a:pt x="258" y="210"/>
                        </a:lnTo>
                        <a:lnTo>
                          <a:pt x="263" y="208"/>
                        </a:lnTo>
                        <a:lnTo>
                          <a:pt x="258" y="210"/>
                        </a:lnTo>
                        <a:lnTo>
                          <a:pt x="258" y="210"/>
                        </a:lnTo>
                        <a:lnTo>
                          <a:pt x="262" y="207"/>
                        </a:lnTo>
                        <a:lnTo>
                          <a:pt x="258" y="208"/>
                        </a:lnTo>
                        <a:lnTo>
                          <a:pt x="257" y="208"/>
                        </a:lnTo>
                        <a:lnTo>
                          <a:pt x="258" y="205"/>
                        </a:lnTo>
                        <a:lnTo>
                          <a:pt x="257" y="208"/>
                        </a:lnTo>
                        <a:lnTo>
                          <a:pt x="258" y="203"/>
                        </a:lnTo>
                        <a:lnTo>
                          <a:pt x="255" y="207"/>
                        </a:lnTo>
                        <a:lnTo>
                          <a:pt x="255" y="207"/>
                        </a:lnTo>
                        <a:lnTo>
                          <a:pt x="255" y="203"/>
                        </a:lnTo>
                        <a:lnTo>
                          <a:pt x="253" y="207"/>
                        </a:lnTo>
                        <a:lnTo>
                          <a:pt x="253" y="202"/>
                        </a:lnTo>
                        <a:lnTo>
                          <a:pt x="252" y="207"/>
                        </a:lnTo>
                        <a:lnTo>
                          <a:pt x="252" y="202"/>
                        </a:lnTo>
                        <a:lnTo>
                          <a:pt x="252" y="207"/>
                        </a:lnTo>
                        <a:lnTo>
                          <a:pt x="249" y="207"/>
                        </a:lnTo>
                        <a:lnTo>
                          <a:pt x="247" y="203"/>
                        </a:lnTo>
                        <a:lnTo>
                          <a:pt x="249" y="208"/>
                        </a:lnTo>
                        <a:lnTo>
                          <a:pt x="249" y="208"/>
                        </a:lnTo>
                        <a:lnTo>
                          <a:pt x="245" y="205"/>
                        </a:lnTo>
                        <a:lnTo>
                          <a:pt x="247" y="208"/>
                        </a:lnTo>
                        <a:lnTo>
                          <a:pt x="244" y="207"/>
                        </a:lnTo>
                        <a:lnTo>
                          <a:pt x="247" y="210"/>
                        </a:lnTo>
                        <a:lnTo>
                          <a:pt x="247" y="210"/>
                        </a:lnTo>
                        <a:lnTo>
                          <a:pt x="242" y="208"/>
                        </a:lnTo>
                        <a:lnTo>
                          <a:pt x="245" y="212"/>
                        </a:lnTo>
                        <a:lnTo>
                          <a:pt x="245" y="212"/>
                        </a:lnTo>
                        <a:lnTo>
                          <a:pt x="242" y="212"/>
                        </a:lnTo>
                        <a:lnTo>
                          <a:pt x="244" y="212"/>
                        </a:lnTo>
                        <a:lnTo>
                          <a:pt x="245" y="212"/>
                        </a:lnTo>
                        <a:lnTo>
                          <a:pt x="244" y="212"/>
                        </a:lnTo>
                        <a:lnTo>
                          <a:pt x="245" y="213"/>
                        </a:lnTo>
                        <a:lnTo>
                          <a:pt x="244" y="212"/>
                        </a:lnTo>
                        <a:lnTo>
                          <a:pt x="240" y="212"/>
                        </a:lnTo>
                        <a:lnTo>
                          <a:pt x="245" y="213"/>
                        </a:lnTo>
                        <a:lnTo>
                          <a:pt x="240" y="213"/>
                        </a:lnTo>
                        <a:lnTo>
                          <a:pt x="245" y="215"/>
                        </a:lnTo>
                        <a:lnTo>
                          <a:pt x="240" y="215"/>
                        </a:lnTo>
                        <a:lnTo>
                          <a:pt x="245" y="215"/>
                        </a:lnTo>
                        <a:lnTo>
                          <a:pt x="245" y="217"/>
                        </a:lnTo>
                        <a:lnTo>
                          <a:pt x="242" y="218"/>
                        </a:lnTo>
                        <a:lnTo>
                          <a:pt x="245" y="217"/>
                        </a:lnTo>
                        <a:lnTo>
                          <a:pt x="242" y="220"/>
                        </a:lnTo>
                        <a:lnTo>
                          <a:pt x="247" y="218"/>
                        </a:lnTo>
                        <a:lnTo>
                          <a:pt x="244" y="220"/>
                        </a:lnTo>
                        <a:lnTo>
                          <a:pt x="247" y="218"/>
                        </a:lnTo>
                        <a:lnTo>
                          <a:pt x="249" y="220"/>
                        </a:lnTo>
                        <a:lnTo>
                          <a:pt x="247" y="223"/>
                        </a:lnTo>
                        <a:lnTo>
                          <a:pt x="249" y="220"/>
                        </a:lnTo>
                        <a:lnTo>
                          <a:pt x="247" y="225"/>
                        </a:lnTo>
                        <a:lnTo>
                          <a:pt x="250" y="220"/>
                        </a:lnTo>
                        <a:lnTo>
                          <a:pt x="250" y="220"/>
                        </a:lnTo>
                        <a:lnTo>
                          <a:pt x="250" y="220"/>
                        </a:lnTo>
                        <a:lnTo>
                          <a:pt x="252" y="222"/>
                        </a:lnTo>
                        <a:lnTo>
                          <a:pt x="252" y="225"/>
                        </a:lnTo>
                        <a:lnTo>
                          <a:pt x="252" y="222"/>
                        </a:lnTo>
                        <a:close/>
                        <a:moveTo>
                          <a:pt x="69" y="159"/>
                        </a:moveTo>
                        <a:lnTo>
                          <a:pt x="64" y="157"/>
                        </a:lnTo>
                        <a:lnTo>
                          <a:pt x="61" y="157"/>
                        </a:lnTo>
                        <a:lnTo>
                          <a:pt x="63" y="153"/>
                        </a:lnTo>
                        <a:lnTo>
                          <a:pt x="61" y="156"/>
                        </a:lnTo>
                        <a:lnTo>
                          <a:pt x="63" y="153"/>
                        </a:lnTo>
                        <a:lnTo>
                          <a:pt x="60" y="156"/>
                        </a:lnTo>
                        <a:lnTo>
                          <a:pt x="58" y="154"/>
                        </a:lnTo>
                        <a:lnTo>
                          <a:pt x="60" y="151"/>
                        </a:lnTo>
                        <a:lnTo>
                          <a:pt x="56" y="153"/>
                        </a:lnTo>
                        <a:lnTo>
                          <a:pt x="55" y="149"/>
                        </a:lnTo>
                        <a:lnTo>
                          <a:pt x="53" y="141"/>
                        </a:lnTo>
                        <a:lnTo>
                          <a:pt x="53" y="95"/>
                        </a:lnTo>
                        <a:lnTo>
                          <a:pt x="56" y="90"/>
                        </a:lnTo>
                        <a:lnTo>
                          <a:pt x="60" y="93"/>
                        </a:lnTo>
                        <a:lnTo>
                          <a:pt x="56" y="90"/>
                        </a:lnTo>
                        <a:lnTo>
                          <a:pt x="61" y="87"/>
                        </a:lnTo>
                        <a:lnTo>
                          <a:pt x="64" y="85"/>
                        </a:lnTo>
                        <a:lnTo>
                          <a:pt x="66" y="90"/>
                        </a:lnTo>
                        <a:lnTo>
                          <a:pt x="66" y="85"/>
                        </a:lnTo>
                        <a:lnTo>
                          <a:pt x="69" y="85"/>
                        </a:lnTo>
                        <a:lnTo>
                          <a:pt x="285" y="85"/>
                        </a:lnTo>
                        <a:lnTo>
                          <a:pt x="291" y="88"/>
                        </a:lnTo>
                        <a:lnTo>
                          <a:pt x="288" y="92"/>
                        </a:lnTo>
                        <a:lnTo>
                          <a:pt x="291" y="88"/>
                        </a:lnTo>
                        <a:lnTo>
                          <a:pt x="296" y="97"/>
                        </a:lnTo>
                        <a:lnTo>
                          <a:pt x="298" y="102"/>
                        </a:lnTo>
                        <a:lnTo>
                          <a:pt x="298" y="141"/>
                        </a:lnTo>
                        <a:lnTo>
                          <a:pt x="296" y="148"/>
                        </a:lnTo>
                        <a:lnTo>
                          <a:pt x="296" y="148"/>
                        </a:lnTo>
                        <a:lnTo>
                          <a:pt x="291" y="148"/>
                        </a:lnTo>
                        <a:lnTo>
                          <a:pt x="296" y="149"/>
                        </a:lnTo>
                        <a:lnTo>
                          <a:pt x="295" y="149"/>
                        </a:lnTo>
                        <a:lnTo>
                          <a:pt x="291" y="148"/>
                        </a:lnTo>
                        <a:lnTo>
                          <a:pt x="295" y="151"/>
                        </a:lnTo>
                        <a:lnTo>
                          <a:pt x="291" y="154"/>
                        </a:lnTo>
                        <a:lnTo>
                          <a:pt x="286" y="157"/>
                        </a:lnTo>
                        <a:lnTo>
                          <a:pt x="285" y="154"/>
                        </a:lnTo>
                        <a:lnTo>
                          <a:pt x="286" y="157"/>
                        </a:lnTo>
                        <a:lnTo>
                          <a:pt x="285" y="157"/>
                        </a:lnTo>
                        <a:lnTo>
                          <a:pt x="283" y="154"/>
                        </a:lnTo>
                        <a:lnTo>
                          <a:pt x="283" y="157"/>
                        </a:lnTo>
                        <a:lnTo>
                          <a:pt x="280" y="159"/>
                        </a:lnTo>
                        <a:lnTo>
                          <a:pt x="69" y="159"/>
                        </a:lnTo>
                        <a:close/>
                        <a:moveTo>
                          <a:pt x="66" y="149"/>
                        </a:moveTo>
                        <a:lnTo>
                          <a:pt x="68" y="149"/>
                        </a:lnTo>
                        <a:lnTo>
                          <a:pt x="68" y="154"/>
                        </a:lnTo>
                        <a:lnTo>
                          <a:pt x="68" y="149"/>
                        </a:lnTo>
                        <a:lnTo>
                          <a:pt x="69" y="149"/>
                        </a:lnTo>
                        <a:lnTo>
                          <a:pt x="281" y="149"/>
                        </a:lnTo>
                        <a:lnTo>
                          <a:pt x="283" y="154"/>
                        </a:lnTo>
                        <a:lnTo>
                          <a:pt x="283" y="149"/>
                        </a:lnTo>
                        <a:lnTo>
                          <a:pt x="283" y="149"/>
                        </a:lnTo>
                        <a:lnTo>
                          <a:pt x="285" y="153"/>
                        </a:lnTo>
                        <a:lnTo>
                          <a:pt x="285" y="149"/>
                        </a:lnTo>
                        <a:lnTo>
                          <a:pt x="286" y="148"/>
                        </a:lnTo>
                        <a:lnTo>
                          <a:pt x="290" y="149"/>
                        </a:lnTo>
                        <a:lnTo>
                          <a:pt x="288" y="146"/>
                        </a:lnTo>
                        <a:lnTo>
                          <a:pt x="291" y="149"/>
                        </a:lnTo>
                        <a:lnTo>
                          <a:pt x="288" y="146"/>
                        </a:lnTo>
                        <a:lnTo>
                          <a:pt x="291" y="148"/>
                        </a:lnTo>
                        <a:lnTo>
                          <a:pt x="288" y="146"/>
                        </a:lnTo>
                        <a:lnTo>
                          <a:pt x="291" y="146"/>
                        </a:lnTo>
                        <a:lnTo>
                          <a:pt x="288" y="144"/>
                        </a:lnTo>
                        <a:lnTo>
                          <a:pt x="293" y="146"/>
                        </a:lnTo>
                        <a:lnTo>
                          <a:pt x="288" y="143"/>
                        </a:lnTo>
                        <a:lnTo>
                          <a:pt x="293" y="144"/>
                        </a:lnTo>
                        <a:lnTo>
                          <a:pt x="288" y="143"/>
                        </a:lnTo>
                        <a:lnTo>
                          <a:pt x="290" y="141"/>
                        </a:lnTo>
                        <a:lnTo>
                          <a:pt x="288" y="100"/>
                        </a:lnTo>
                        <a:lnTo>
                          <a:pt x="293" y="98"/>
                        </a:lnTo>
                        <a:lnTo>
                          <a:pt x="288" y="100"/>
                        </a:lnTo>
                        <a:lnTo>
                          <a:pt x="288" y="98"/>
                        </a:lnTo>
                        <a:lnTo>
                          <a:pt x="291" y="97"/>
                        </a:lnTo>
                        <a:lnTo>
                          <a:pt x="288" y="98"/>
                        </a:lnTo>
                        <a:lnTo>
                          <a:pt x="291" y="95"/>
                        </a:lnTo>
                        <a:lnTo>
                          <a:pt x="288" y="98"/>
                        </a:lnTo>
                        <a:lnTo>
                          <a:pt x="291" y="93"/>
                        </a:lnTo>
                        <a:lnTo>
                          <a:pt x="286" y="97"/>
                        </a:lnTo>
                        <a:lnTo>
                          <a:pt x="286" y="97"/>
                        </a:lnTo>
                        <a:lnTo>
                          <a:pt x="290" y="92"/>
                        </a:lnTo>
                        <a:lnTo>
                          <a:pt x="286" y="95"/>
                        </a:lnTo>
                        <a:lnTo>
                          <a:pt x="288" y="92"/>
                        </a:lnTo>
                        <a:lnTo>
                          <a:pt x="285" y="95"/>
                        </a:lnTo>
                        <a:lnTo>
                          <a:pt x="286" y="90"/>
                        </a:lnTo>
                        <a:lnTo>
                          <a:pt x="285" y="95"/>
                        </a:lnTo>
                        <a:lnTo>
                          <a:pt x="286" y="90"/>
                        </a:lnTo>
                        <a:lnTo>
                          <a:pt x="283" y="93"/>
                        </a:lnTo>
                        <a:lnTo>
                          <a:pt x="285" y="90"/>
                        </a:lnTo>
                        <a:lnTo>
                          <a:pt x="283" y="93"/>
                        </a:lnTo>
                        <a:lnTo>
                          <a:pt x="281" y="93"/>
                        </a:lnTo>
                        <a:lnTo>
                          <a:pt x="281" y="88"/>
                        </a:lnTo>
                        <a:lnTo>
                          <a:pt x="281" y="93"/>
                        </a:lnTo>
                        <a:lnTo>
                          <a:pt x="280" y="93"/>
                        </a:lnTo>
                        <a:lnTo>
                          <a:pt x="68" y="93"/>
                        </a:lnTo>
                        <a:lnTo>
                          <a:pt x="66" y="90"/>
                        </a:lnTo>
                        <a:lnTo>
                          <a:pt x="68" y="93"/>
                        </a:lnTo>
                        <a:lnTo>
                          <a:pt x="66" y="90"/>
                        </a:lnTo>
                        <a:lnTo>
                          <a:pt x="66" y="93"/>
                        </a:lnTo>
                        <a:lnTo>
                          <a:pt x="64" y="90"/>
                        </a:lnTo>
                        <a:lnTo>
                          <a:pt x="66" y="93"/>
                        </a:lnTo>
                        <a:lnTo>
                          <a:pt x="64" y="95"/>
                        </a:lnTo>
                        <a:lnTo>
                          <a:pt x="63" y="92"/>
                        </a:lnTo>
                        <a:lnTo>
                          <a:pt x="64" y="95"/>
                        </a:lnTo>
                        <a:lnTo>
                          <a:pt x="61" y="92"/>
                        </a:lnTo>
                        <a:lnTo>
                          <a:pt x="63" y="95"/>
                        </a:lnTo>
                        <a:lnTo>
                          <a:pt x="63" y="97"/>
                        </a:lnTo>
                        <a:lnTo>
                          <a:pt x="58" y="95"/>
                        </a:lnTo>
                        <a:lnTo>
                          <a:pt x="63" y="97"/>
                        </a:lnTo>
                        <a:lnTo>
                          <a:pt x="58" y="95"/>
                        </a:lnTo>
                        <a:lnTo>
                          <a:pt x="61" y="98"/>
                        </a:lnTo>
                        <a:lnTo>
                          <a:pt x="58" y="97"/>
                        </a:lnTo>
                        <a:lnTo>
                          <a:pt x="61" y="98"/>
                        </a:lnTo>
                        <a:lnTo>
                          <a:pt x="61" y="100"/>
                        </a:lnTo>
                        <a:lnTo>
                          <a:pt x="56" y="100"/>
                        </a:lnTo>
                        <a:lnTo>
                          <a:pt x="61" y="100"/>
                        </a:lnTo>
                        <a:lnTo>
                          <a:pt x="61" y="102"/>
                        </a:lnTo>
                        <a:lnTo>
                          <a:pt x="61" y="143"/>
                        </a:lnTo>
                        <a:lnTo>
                          <a:pt x="56" y="144"/>
                        </a:lnTo>
                        <a:lnTo>
                          <a:pt x="61" y="144"/>
                        </a:lnTo>
                        <a:lnTo>
                          <a:pt x="63" y="146"/>
                        </a:lnTo>
                        <a:lnTo>
                          <a:pt x="60" y="149"/>
                        </a:lnTo>
                        <a:lnTo>
                          <a:pt x="63" y="148"/>
                        </a:lnTo>
                        <a:lnTo>
                          <a:pt x="60" y="151"/>
                        </a:lnTo>
                        <a:lnTo>
                          <a:pt x="63" y="148"/>
                        </a:lnTo>
                        <a:lnTo>
                          <a:pt x="61" y="151"/>
                        </a:lnTo>
                        <a:lnTo>
                          <a:pt x="64" y="148"/>
                        </a:lnTo>
                        <a:lnTo>
                          <a:pt x="61" y="151"/>
                        </a:lnTo>
                        <a:lnTo>
                          <a:pt x="64" y="149"/>
                        </a:lnTo>
                        <a:lnTo>
                          <a:pt x="63" y="153"/>
                        </a:lnTo>
                        <a:lnTo>
                          <a:pt x="64" y="149"/>
                        </a:lnTo>
                        <a:lnTo>
                          <a:pt x="64" y="153"/>
                        </a:lnTo>
                        <a:lnTo>
                          <a:pt x="66" y="149"/>
                        </a:lnTo>
                        <a:close/>
                        <a:moveTo>
                          <a:pt x="253" y="138"/>
                        </a:moveTo>
                        <a:lnTo>
                          <a:pt x="247" y="138"/>
                        </a:lnTo>
                        <a:lnTo>
                          <a:pt x="249" y="133"/>
                        </a:lnTo>
                        <a:lnTo>
                          <a:pt x="245" y="136"/>
                        </a:lnTo>
                        <a:lnTo>
                          <a:pt x="244" y="136"/>
                        </a:lnTo>
                        <a:lnTo>
                          <a:pt x="245" y="131"/>
                        </a:lnTo>
                        <a:lnTo>
                          <a:pt x="244" y="136"/>
                        </a:lnTo>
                        <a:lnTo>
                          <a:pt x="242" y="134"/>
                        </a:lnTo>
                        <a:lnTo>
                          <a:pt x="244" y="131"/>
                        </a:lnTo>
                        <a:lnTo>
                          <a:pt x="240" y="133"/>
                        </a:lnTo>
                        <a:lnTo>
                          <a:pt x="237" y="126"/>
                        </a:lnTo>
                        <a:lnTo>
                          <a:pt x="242" y="125"/>
                        </a:lnTo>
                        <a:lnTo>
                          <a:pt x="237" y="126"/>
                        </a:lnTo>
                        <a:lnTo>
                          <a:pt x="237" y="123"/>
                        </a:lnTo>
                        <a:lnTo>
                          <a:pt x="240" y="121"/>
                        </a:lnTo>
                        <a:lnTo>
                          <a:pt x="237" y="121"/>
                        </a:lnTo>
                        <a:lnTo>
                          <a:pt x="237" y="118"/>
                        </a:lnTo>
                        <a:lnTo>
                          <a:pt x="242" y="120"/>
                        </a:lnTo>
                        <a:lnTo>
                          <a:pt x="237" y="118"/>
                        </a:lnTo>
                        <a:lnTo>
                          <a:pt x="240" y="113"/>
                        </a:lnTo>
                        <a:lnTo>
                          <a:pt x="245" y="108"/>
                        </a:lnTo>
                        <a:lnTo>
                          <a:pt x="250" y="107"/>
                        </a:lnTo>
                        <a:lnTo>
                          <a:pt x="252" y="111"/>
                        </a:lnTo>
                        <a:lnTo>
                          <a:pt x="252" y="107"/>
                        </a:lnTo>
                        <a:lnTo>
                          <a:pt x="257" y="107"/>
                        </a:lnTo>
                        <a:lnTo>
                          <a:pt x="255" y="111"/>
                        </a:lnTo>
                        <a:lnTo>
                          <a:pt x="257" y="108"/>
                        </a:lnTo>
                        <a:lnTo>
                          <a:pt x="262" y="110"/>
                        </a:lnTo>
                        <a:lnTo>
                          <a:pt x="267" y="115"/>
                        </a:lnTo>
                        <a:lnTo>
                          <a:pt x="262" y="116"/>
                        </a:lnTo>
                        <a:lnTo>
                          <a:pt x="267" y="115"/>
                        </a:lnTo>
                        <a:lnTo>
                          <a:pt x="267" y="116"/>
                        </a:lnTo>
                        <a:lnTo>
                          <a:pt x="263" y="118"/>
                        </a:lnTo>
                        <a:lnTo>
                          <a:pt x="268" y="118"/>
                        </a:lnTo>
                        <a:lnTo>
                          <a:pt x="268" y="123"/>
                        </a:lnTo>
                        <a:lnTo>
                          <a:pt x="263" y="123"/>
                        </a:lnTo>
                        <a:lnTo>
                          <a:pt x="268" y="125"/>
                        </a:lnTo>
                        <a:lnTo>
                          <a:pt x="268" y="128"/>
                        </a:lnTo>
                        <a:lnTo>
                          <a:pt x="263" y="126"/>
                        </a:lnTo>
                        <a:lnTo>
                          <a:pt x="267" y="128"/>
                        </a:lnTo>
                        <a:lnTo>
                          <a:pt x="267" y="130"/>
                        </a:lnTo>
                        <a:lnTo>
                          <a:pt x="263" y="128"/>
                        </a:lnTo>
                        <a:lnTo>
                          <a:pt x="267" y="130"/>
                        </a:lnTo>
                        <a:lnTo>
                          <a:pt x="265" y="131"/>
                        </a:lnTo>
                        <a:lnTo>
                          <a:pt x="262" y="130"/>
                        </a:lnTo>
                        <a:lnTo>
                          <a:pt x="265" y="133"/>
                        </a:lnTo>
                        <a:lnTo>
                          <a:pt x="262" y="134"/>
                        </a:lnTo>
                        <a:lnTo>
                          <a:pt x="260" y="131"/>
                        </a:lnTo>
                        <a:lnTo>
                          <a:pt x="262" y="136"/>
                        </a:lnTo>
                        <a:lnTo>
                          <a:pt x="258" y="136"/>
                        </a:lnTo>
                        <a:lnTo>
                          <a:pt x="257" y="133"/>
                        </a:lnTo>
                        <a:lnTo>
                          <a:pt x="258" y="138"/>
                        </a:lnTo>
                        <a:lnTo>
                          <a:pt x="253" y="138"/>
                        </a:lnTo>
                        <a:close/>
                        <a:moveTo>
                          <a:pt x="253" y="130"/>
                        </a:moveTo>
                        <a:lnTo>
                          <a:pt x="253" y="134"/>
                        </a:lnTo>
                        <a:lnTo>
                          <a:pt x="253" y="130"/>
                        </a:lnTo>
                        <a:lnTo>
                          <a:pt x="255" y="134"/>
                        </a:lnTo>
                        <a:lnTo>
                          <a:pt x="255" y="131"/>
                        </a:lnTo>
                        <a:lnTo>
                          <a:pt x="255" y="130"/>
                        </a:lnTo>
                        <a:lnTo>
                          <a:pt x="257" y="130"/>
                        </a:lnTo>
                        <a:lnTo>
                          <a:pt x="258" y="133"/>
                        </a:lnTo>
                        <a:lnTo>
                          <a:pt x="257" y="128"/>
                        </a:lnTo>
                        <a:lnTo>
                          <a:pt x="257" y="128"/>
                        </a:lnTo>
                        <a:lnTo>
                          <a:pt x="260" y="131"/>
                        </a:lnTo>
                        <a:lnTo>
                          <a:pt x="258" y="128"/>
                        </a:lnTo>
                        <a:lnTo>
                          <a:pt x="258" y="126"/>
                        </a:lnTo>
                        <a:lnTo>
                          <a:pt x="263" y="128"/>
                        </a:lnTo>
                        <a:lnTo>
                          <a:pt x="262" y="126"/>
                        </a:lnTo>
                        <a:lnTo>
                          <a:pt x="260" y="126"/>
                        </a:lnTo>
                        <a:lnTo>
                          <a:pt x="260" y="125"/>
                        </a:lnTo>
                        <a:lnTo>
                          <a:pt x="263" y="125"/>
                        </a:lnTo>
                        <a:lnTo>
                          <a:pt x="260" y="123"/>
                        </a:lnTo>
                        <a:lnTo>
                          <a:pt x="260" y="123"/>
                        </a:lnTo>
                        <a:lnTo>
                          <a:pt x="263" y="121"/>
                        </a:lnTo>
                        <a:lnTo>
                          <a:pt x="260" y="121"/>
                        </a:lnTo>
                        <a:lnTo>
                          <a:pt x="263" y="120"/>
                        </a:lnTo>
                        <a:lnTo>
                          <a:pt x="260" y="121"/>
                        </a:lnTo>
                        <a:lnTo>
                          <a:pt x="258" y="120"/>
                        </a:lnTo>
                        <a:lnTo>
                          <a:pt x="262" y="116"/>
                        </a:lnTo>
                        <a:lnTo>
                          <a:pt x="260" y="118"/>
                        </a:lnTo>
                        <a:lnTo>
                          <a:pt x="258" y="120"/>
                        </a:lnTo>
                        <a:lnTo>
                          <a:pt x="258" y="118"/>
                        </a:lnTo>
                        <a:lnTo>
                          <a:pt x="262" y="115"/>
                        </a:lnTo>
                        <a:lnTo>
                          <a:pt x="258" y="118"/>
                        </a:lnTo>
                        <a:lnTo>
                          <a:pt x="260" y="115"/>
                        </a:lnTo>
                        <a:lnTo>
                          <a:pt x="257" y="116"/>
                        </a:lnTo>
                        <a:lnTo>
                          <a:pt x="257" y="116"/>
                        </a:lnTo>
                        <a:lnTo>
                          <a:pt x="258" y="113"/>
                        </a:lnTo>
                        <a:lnTo>
                          <a:pt x="255" y="116"/>
                        </a:lnTo>
                        <a:lnTo>
                          <a:pt x="253" y="115"/>
                        </a:lnTo>
                        <a:lnTo>
                          <a:pt x="253" y="111"/>
                        </a:lnTo>
                        <a:lnTo>
                          <a:pt x="252" y="115"/>
                        </a:lnTo>
                        <a:lnTo>
                          <a:pt x="252" y="111"/>
                        </a:lnTo>
                        <a:lnTo>
                          <a:pt x="252" y="115"/>
                        </a:lnTo>
                        <a:lnTo>
                          <a:pt x="250" y="115"/>
                        </a:lnTo>
                        <a:lnTo>
                          <a:pt x="249" y="111"/>
                        </a:lnTo>
                        <a:lnTo>
                          <a:pt x="250" y="116"/>
                        </a:lnTo>
                        <a:lnTo>
                          <a:pt x="249" y="116"/>
                        </a:lnTo>
                        <a:lnTo>
                          <a:pt x="247" y="113"/>
                        </a:lnTo>
                        <a:lnTo>
                          <a:pt x="249" y="116"/>
                        </a:lnTo>
                        <a:lnTo>
                          <a:pt x="245" y="113"/>
                        </a:lnTo>
                        <a:lnTo>
                          <a:pt x="249" y="116"/>
                        </a:lnTo>
                        <a:lnTo>
                          <a:pt x="245" y="115"/>
                        </a:lnTo>
                        <a:lnTo>
                          <a:pt x="247" y="118"/>
                        </a:lnTo>
                        <a:lnTo>
                          <a:pt x="244" y="115"/>
                        </a:lnTo>
                        <a:lnTo>
                          <a:pt x="247" y="118"/>
                        </a:lnTo>
                        <a:lnTo>
                          <a:pt x="244" y="116"/>
                        </a:lnTo>
                        <a:lnTo>
                          <a:pt x="247" y="118"/>
                        </a:lnTo>
                        <a:lnTo>
                          <a:pt x="242" y="116"/>
                        </a:lnTo>
                        <a:lnTo>
                          <a:pt x="245" y="120"/>
                        </a:lnTo>
                        <a:lnTo>
                          <a:pt x="245" y="121"/>
                        </a:lnTo>
                        <a:lnTo>
                          <a:pt x="242" y="121"/>
                        </a:lnTo>
                        <a:lnTo>
                          <a:pt x="240" y="121"/>
                        </a:lnTo>
                        <a:lnTo>
                          <a:pt x="245" y="121"/>
                        </a:lnTo>
                        <a:lnTo>
                          <a:pt x="240" y="121"/>
                        </a:lnTo>
                        <a:lnTo>
                          <a:pt x="245" y="123"/>
                        </a:lnTo>
                        <a:lnTo>
                          <a:pt x="240" y="123"/>
                        </a:lnTo>
                        <a:lnTo>
                          <a:pt x="245" y="125"/>
                        </a:lnTo>
                        <a:lnTo>
                          <a:pt x="245" y="125"/>
                        </a:lnTo>
                        <a:lnTo>
                          <a:pt x="242" y="126"/>
                        </a:lnTo>
                        <a:lnTo>
                          <a:pt x="245" y="126"/>
                        </a:lnTo>
                        <a:lnTo>
                          <a:pt x="242" y="128"/>
                        </a:lnTo>
                        <a:lnTo>
                          <a:pt x="247" y="126"/>
                        </a:lnTo>
                        <a:lnTo>
                          <a:pt x="247" y="126"/>
                        </a:lnTo>
                        <a:lnTo>
                          <a:pt x="244" y="130"/>
                        </a:lnTo>
                        <a:lnTo>
                          <a:pt x="247" y="128"/>
                        </a:lnTo>
                        <a:lnTo>
                          <a:pt x="245" y="131"/>
                        </a:lnTo>
                        <a:lnTo>
                          <a:pt x="249" y="128"/>
                        </a:lnTo>
                        <a:lnTo>
                          <a:pt x="249" y="128"/>
                        </a:lnTo>
                        <a:lnTo>
                          <a:pt x="247" y="133"/>
                        </a:lnTo>
                        <a:lnTo>
                          <a:pt x="249" y="130"/>
                        </a:lnTo>
                        <a:lnTo>
                          <a:pt x="250" y="130"/>
                        </a:lnTo>
                        <a:lnTo>
                          <a:pt x="250" y="134"/>
                        </a:lnTo>
                        <a:lnTo>
                          <a:pt x="252" y="130"/>
                        </a:lnTo>
                        <a:lnTo>
                          <a:pt x="250" y="134"/>
                        </a:lnTo>
                        <a:lnTo>
                          <a:pt x="252" y="130"/>
                        </a:lnTo>
                        <a:lnTo>
                          <a:pt x="253" y="13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14" name="Freeform 838"/>
                  <p:cNvSpPr>
                    <a:spLocks noEditPoints="1"/>
                  </p:cNvSpPr>
                  <p:nvPr/>
                </p:nvSpPr>
                <p:spPr bwMode="auto">
                  <a:xfrm>
                    <a:off x="12966700" y="4162425"/>
                    <a:ext cx="555625" cy="973138"/>
                  </a:xfrm>
                  <a:custGeom>
                    <a:avLst/>
                    <a:gdLst/>
                    <a:ahLst/>
                    <a:cxnLst>
                      <a:cxn ang="0">
                        <a:pos x="350" y="29"/>
                      </a:cxn>
                      <a:cxn ang="0">
                        <a:pos x="329" y="603"/>
                      </a:cxn>
                      <a:cxn ang="0">
                        <a:pos x="53" y="465"/>
                      </a:cxn>
                      <a:cxn ang="0">
                        <a:pos x="298" y="470"/>
                      </a:cxn>
                      <a:cxn ang="0">
                        <a:pos x="288" y="514"/>
                      </a:cxn>
                      <a:cxn ang="0">
                        <a:pos x="66" y="458"/>
                      </a:cxn>
                      <a:cxn ang="0">
                        <a:pos x="61" y="514"/>
                      </a:cxn>
                      <a:cxn ang="0">
                        <a:pos x="240" y="501"/>
                      </a:cxn>
                      <a:cxn ang="0">
                        <a:pos x="268" y="489"/>
                      </a:cxn>
                      <a:cxn ang="0">
                        <a:pos x="250" y="498"/>
                      </a:cxn>
                      <a:cxn ang="0">
                        <a:pos x="260" y="489"/>
                      </a:cxn>
                      <a:cxn ang="0">
                        <a:pos x="245" y="481"/>
                      </a:cxn>
                      <a:cxn ang="0">
                        <a:pos x="240" y="493"/>
                      </a:cxn>
                      <a:cxn ang="0">
                        <a:pos x="63" y="433"/>
                      </a:cxn>
                      <a:cxn ang="0">
                        <a:pos x="298" y="379"/>
                      </a:cxn>
                      <a:cxn ang="0">
                        <a:pos x="290" y="427"/>
                      </a:cxn>
                      <a:cxn ang="0">
                        <a:pos x="291" y="371"/>
                      </a:cxn>
                      <a:cxn ang="0">
                        <a:pos x="63" y="368"/>
                      </a:cxn>
                      <a:cxn ang="0">
                        <a:pos x="61" y="422"/>
                      </a:cxn>
                      <a:cxn ang="0">
                        <a:pos x="237" y="402"/>
                      </a:cxn>
                      <a:cxn ang="0">
                        <a:pos x="263" y="394"/>
                      </a:cxn>
                      <a:cxn ang="0">
                        <a:pos x="253" y="406"/>
                      </a:cxn>
                      <a:cxn ang="0">
                        <a:pos x="258" y="394"/>
                      </a:cxn>
                      <a:cxn ang="0">
                        <a:pos x="245" y="391"/>
                      </a:cxn>
                      <a:cxn ang="0">
                        <a:pos x="245" y="402"/>
                      </a:cxn>
                      <a:cxn ang="0">
                        <a:pos x="63" y="337"/>
                      </a:cxn>
                      <a:cxn ang="0">
                        <a:pos x="288" y="271"/>
                      </a:cxn>
                      <a:cxn ang="0">
                        <a:pos x="283" y="333"/>
                      </a:cxn>
                      <a:cxn ang="0">
                        <a:pos x="288" y="282"/>
                      </a:cxn>
                      <a:cxn ang="0">
                        <a:pos x="66" y="279"/>
                      </a:cxn>
                      <a:cxn ang="0">
                        <a:pos x="56" y="330"/>
                      </a:cxn>
                      <a:cxn ang="0">
                        <a:pos x="240" y="317"/>
                      </a:cxn>
                      <a:cxn ang="0">
                        <a:pos x="265" y="297"/>
                      </a:cxn>
                      <a:cxn ang="0">
                        <a:pos x="253" y="314"/>
                      </a:cxn>
                      <a:cxn ang="0">
                        <a:pos x="263" y="304"/>
                      </a:cxn>
                      <a:cxn ang="0">
                        <a:pos x="250" y="299"/>
                      </a:cxn>
                      <a:cxn ang="0">
                        <a:pos x="244" y="305"/>
                      </a:cxn>
                      <a:cxn ang="0">
                        <a:pos x="250" y="317"/>
                      </a:cxn>
                      <a:cxn ang="0">
                        <a:pos x="69" y="177"/>
                      </a:cxn>
                      <a:cxn ang="0">
                        <a:pos x="285" y="246"/>
                      </a:cxn>
                      <a:cxn ang="0">
                        <a:pos x="288" y="194"/>
                      </a:cxn>
                      <a:cxn ang="0">
                        <a:pos x="280" y="185"/>
                      </a:cxn>
                      <a:cxn ang="0">
                        <a:pos x="61" y="192"/>
                      </a:cxn>
                      <a:cxn ang="0">
                        <a:pos x="66" y="246"/>
                      </a:cxn>
                      <a:cxn ang="0">
                        <a:pos x="245" y="200"/>
                      </a:cxn>
                      <a:cxn ang="0">
                        <a:pos x="267" y="222"/>
                      </a:cxn>
                      <a:cxn ang="0">
                        <a:pos x="260" y="215"/>
                      </a:cxn>
                      <a:cxn ang="0">
                        <a:pos x="252" y="202"/>
                      </a:cxn>
                      <a:cxn ang="0">
                        <a:pos x="245" y="215"/>
                      </a:cxn>
                      <a:cxn ang="0">
                        <a:pos x="63" y="153"/>
                      </a:cxn>
                      <a:cxn ang="0">
                        <a:pos x="298" y="102"/>
                      </a:cxn>
                      <a:cxn ang="0">
                        <a:pos x="281" y="149"/>
                      </a:cxn>
                      <a:cxn ang="0">
                        <a:pos x="288" y="98"/>
                      </a:cxn>
                      <a:cxn ang="0">
                        <a:pos x="66" y="90"/>
                      </a:cxn>
                      <a:cxn ang="0">
                        <a:pos x="56" y="144"/>
                      </a:cxn>
                      <a:cxn ang="0">
                        <a:pos x="244" y="131"/>
                      </a:cxn>
                      <a:cxn ang="0">
                        <a:pos x="267" y="116"/>
                      </a:cxn>
                      <a:cxn ang="0">
                        <a:pos x="253" y="134"/>
                      </a:cxn>
                      <a:cxn ang="0">
                        <a:pos x="258" y="120"/>
                      </a:cxn>
                      <a:cxn ang="0">
                        <a:pos x="245" y="113"/>
                      </a:cxn>
                      <a:cxn ang="0">
                        <a:pos x="247" y="126"/>
                      </a:cxn>
                    </a:cxnLst>
                    <a:rect l="0" t="0" r="r" b="b"/>
                    <a:pathLst>
                      <a:path w="350" h="613">
                        <a:moveTo>
                          <a:pt x="319" y="613"/>
                        </a:moveTo>
                        <a:lnTo>
                          <a:pt x="25" y="613"/>
                        </a:lnTo>
                        <a:lnTo>
                          <a:pt x="17" y="611"/>
                        </a:lnTo>
                        <a:lnTo>
                          <a:pt x="10" y="606"/>
                        </a:lnTo>
                        <a:lnTo>
                          <a:pt x="5" y="599"/>
                        </a:lnTo>
                        <a:lnTo>
                          <a:pt x="2" y="593"/>
                        </a:lnTo>
                        <a:lnTo>
                          <a:pt x="0" y="588"/>
                        </a:lnTo>
                        <a:lnTo>
                          <a:pt x="0" y="583"/>
                        </a:lnTo>
                        <a:lnTo>
                          <a:pt x="0" y="28"/>
                        </a:lnTo>
                        <a:lnTo>
                          <a:pt x="0" y="21"/>
                        </a:lnTo>
                        <a:lnTo>
                          <a:pt x="4" y="15"/>
                        </a:lnTo>
                        <a:lnTo>
                          <a:pt x="9" y="8"/>
                        </a:lnTo>
                        <a:lnTo>
                          <a:pt x="15" y="3"/>
                        </a:lnTo>
                        <a:lnTo>
                          <a:pt x="25" y="0"/>
                        </a:lnTo>
                        <a:lnTo>
                          <a:pt x="30" y="0"/>
                        </a:lnTo>
                        <a:lnTo>
                          <a:pt x="319" y="0"/>
                        </a:lnTo>
                        <a:lnTo>
                          <a:pt x="324" y="0"/>
                        </a:lnTo>
                        <a:lnTo>
                          <a:pt x="332" y="1"/>
                        </a:lnTo>
                        <a:lnTo>
                          <a:pt x="339" y="6"/>
                        </a:lnTo>
                        <a:lnTo>
                          <a:pt x="344" y="13"/>
                        </a:lnTo>
                        <a:lnTo>
                          <a:pt x="347" y="19"/>
                        </a:lnTo>
                        <a:lnTo>
                          <a:pt x="349" y="24"/>
                        </a:lnTo>
                        <a:lnTo>
                          <a:pt x="350" y="29"/>
                        </a:lnTo>
                        <a:lnTo>
                          <a:pt x="350" y="585"/>
                        </a:lnTo>
                        <a:lnTo>
                          <a:pt x="349" y="591"/>
                        </a:lnTo>
                        <a:lnTo>
                          <a:pt x="345" y="598"/>
                        </a:lnTo>
                        <a:lnTo>
                          <a:pt x="341" y="604"/>
                        </a:lnTo>
                        <a:lnTo>
                          <a:pt x="334" y="609"/>
                        </a:lnTo>
                        <a:lnTo>
                          <a:pt x="327" y="613"/>
                        </a:lnTo>
                        <a:lnTo>
                          <a:pt x="321" y="613"/>
                        </a:lnTo>
                        <a:lnTo>
                          <a:pt x="319" y="613"/>
                        </a:lnTo>
                        <a:moveTo>
                          <a:pt x="319" y="8"/>
                        </a:moveTo>
                        <a:lnTo>
                          <a:pt x="27" y="8"/>
                        </a:lnTo>
                        <a:lnTo>
                          <a:pt x="20" y="11"/>
                        </a:lnTo>
                        <a:lnTo>
                          <a:pt x="14" y="15"/>
                        </a:lnTo>
                        <a:lnTo>
                          <a:pt x="10" y="21"/>
                        </a:lnTo>
                        <a:lnTo>
                          <a:pt x="9" y="26"/>
                        </a:lnTo>
                        <a:lnTo>
                          <a:pt x="9" y="29"/>
                        </a:lnTo>
                        <a:lnTo>
                          <a:pt x="9" y="585"/>
                        </a:lnTo>
                        <a:lnTo>
                          <a:pt x="10" y="591"/>
                        </a:lnTo>
                        <a:lnTo>
                          <a:pt x="14" y="596"/>
                        </a:lnTo>
                        <a:lnTo>
                          <a:pt x="18" y="601"/>
                        </a:lnTo>
                        <a:lnTo>
                          <a:pt x="25" y="604"/>
                        </a:lnTo>
                        <a:lnTo>
                          <a:pt x="32" y="604"/>
                        </a:lnTo>
                        <a:lnTo>
                          <a:pt x="322" y="604"/>
                        </a:lnTo>
                        <a:lnTo>
                          <a:pt x="329" y="603"/>
                        </a:lnTo>
                        <a:lnTo>
                          <a:pt x="336" y="598"/>
                        </a:lnTo>
                        <a:lnTo>
                          <a:pt x="339" y="591"/>
                        </a:lnTo>
                        <a:lnTo>
                          <a:pt x="341" y="585"/>
                        </a:lnTo>
                        <a:lnTo>
                          <a:pt x="341" y="583"/>
                        </a:lnTo>
                        <a:lnTo>
                          <a:pt x="341" y="29"/>
                        </a:lnTo>
                        <a:lnTo>
                          <a:pt x="339" y="21"/>
                        </a:lnTo>
                        <a:lnTo>
                          <a:pt x="336" y="16"/>
                        </a:lnTo>
                        <a:lnTo>
                          <a:pt x="331" y="11"/>
                        </a:lnTo>
                        <a:lnTo>
                          <a:pt x="324" y="8"/>
                        </a:lnTo>
                        <a:lnTo>
                          <a:pt x="319" y="8"/>
                        </a:lnTo>
                        <a:moveTo>
                          <a:pt x="69" y="527"/>
                        </a:moveTo>
                        <a:lnTo>
                          <a:pt x="61" y="525"/>
                        </a:lnTo>
                        <a:lnTo>
                          <a:pt x="63" y="522"/>
                        </a:lnTo>
                        <a:lnTo>
                          <a:pt x="61" y="525"/>
                        </a:lnTo>
                        <a:lnTo>
                          <a:pt x="56" y="522"/>
                        </a:lnTo>
                        <a:lnTo>
                          <a:pt x="60" y="519"/>
                        </a:lnTo>
                        <a:lnTo>
                          <a:pt x="56" y="522"/>
                        </a:lnTo>
                        <a:lnTo>
                          <a:pt x="53" y="516"/>
                        </a:lnTo>
                        <a:lnTo>
                          <a:pt x="53" y="511"/>
                        </a:lnTo>
                        <a:lnTo>
                          <a:pt x="53" y="471"/>
                        </a:lnTo>
                        <a:lnTo>
                          <a:pt x="53" y="466"/>
                        </a:lnTo>
                        <a:lnTo>
                          <a:pt x="58" y="466"/>
                        </a:lnTo>
                        <a:lnTo>
                          <a:pt x="53" y="465"/>
                        </a:lnTo>
                        <a:lnTo>
                          <a:pt x="55" y="463"/>
                        </a:lnTo>
                        <a:lnTo>
                          <a:pt x="58" y="465"/>
                        </a:lnTo>
                        <a:lnTo>
                          <a:pt x="55" y="461"/>
                        </a:lnTo>
                        <a:lnTo>
                          <a:pt x="60" y="456"/>
                        </a:lnTo>
                        <a:lnTo>
                          <a:pt x="63" y="455"/>
                        </a:lnTo>
                        <a:lnTo>
                          <a:pt x="64" y="460"/>
                        </a:lnTo>
                        <a:lnTo>
                          <a:pt x="64" y="455"/>
                        </a:lnTo>
                        <a:lnTo>
                          <a:pt x="64" y="455"/>
                        </a:lnTo>
                        <a:lnTo>
                          <a:pt x="66" y="458"/>
                        </a:lnTo>
                        <a:lnTo>
                          <a:pt x="66" y="455"/>
                        </a:lnTo>
                        <a:lnTo>
                          <a:pt x="69" y="455"/>
                        </a:lnTo>
                        <a:lnTo>
                          <a:pt x="285" y="455"/>
                        </a:lnTo>
                        <a:lnTo>
                          <a:pt x="288" y="456"/>
                        </a:lnTo>
                        <a:lnTo>
                          <a:pt x="286" y="460"/>
                        </a:lnTo>
                        <a:lnTo>
                          <a:pt x="290" y="456"/>
                        </a:lnTo>
                        <a:lnTo>
                          <a:pt x="288" y="460"/>
                        </a:lnTo>
                        <a:lnTo>
                          <a:pt x="290" y="456"/>
                        </a:lnTo>
                        <a:lnTo>
                          <a:pt x="295" y="461"/>
                        </a:lnTo>
                        <a:lnTo>
                          <a:pt x="291" y="465"/>
                        </a:lnTo>
                        <a:lnTo>
                          <a:pt x="295" y="463"/>
                        </a:lnTo>
                        <a:lnTo>
                          <a:pt x="291" y="465"/>
                        </a:lnTo>
                        <a:lnTo>
                          <a:pt x="296" y="463"/>
                        </a:lnTo>
                        <a:lnTo>
                          <a:pt x="298" y="470"/>
                        </a:lnTo>
                        <a:lnTo>
                          <a:pt x="298" y="471"/>
                        </a:lnTo>
                        <a:lnTo>
                          <a:pt x="296" y="517"/>
                        </a:lnTo>
                        <a:lnTo>
                          <a:pt x="293" y="522"/>
                        </a:lnTo>
                        <a:lnTo>
                          <a:pt x="290" y="519"/>
                        </a:lnTo>
                        <a:lnTo>
                          <a:pt x="293" y="522"/>
                        </a:lnTo>
                        <a:lnTo>
                          <a:pt x="288" y="525"/>
                        </a:lnTo>
                        <a:lnTo>
                          <a:pt x="280" y="527"/>
                        </a:lnTo>
                        <a:lnTo>
                          <a:pt x="69" y="527"/>
                        </a:lnTo>
                        <a:moveTo>
                          <a:pt x="281" y="519"/>
                        </a:moveTo>
                        <a:lnTo>
                          <a:pt x="283" y="524"/>
                        </a:lnTo>
                        <a:lnTo>
                          <a:pt x="283" y="519"/>
                        </a:lnTo>
                        <a:lnTo>
                          <a:pt x="285" y="522"/>
                        </a:lnTo>
                        <a:lnTo>
                          <a:pt x="283" y="519"/>
                        </a:lnTo>
                        <a:lnTo>
                          <a:pt x="286" y="522"/>
                        </a:lnTo>
                        <a:lnTo>
                          <a:pt x="285" y="519"/>
                        </a:lnTo>
                        <a:lnTo>
                          <a:pt x="285" y="517"/>
                        </a:lnTo>
                        <a:lnTo>
                          <a:pt x="290" y="521"/>
                        </a:lnTo>
                        <a:lnTo>
                          <a:pt x="286" y="517"/>
                        </a:lnTo>
                        <a:lnTo>
                          <a:pt x="286" y="516"/>
                        </a:lnTo>
                        <a:lnTo>
                          <a:pt x="291" y="519"/>
                        </a:lnTo>
                        <a:lnTo>
                          <a:pt x="288" y="516"/>
                        </a:lnTo>
                        <a:lnTo>
                          <a:pt x="291" y="517"/>
                        </a:lnTo>
                        <a:lnTo>
                          <a:pt x="288" y="514"/>
                        </a:lnTo>
                        <a:lnTo>
                          <a:pt x="291" y="516"/>
                        </a:lnTo>
                        <a:lnTo>
                          <a:pt x="288" y="514"/>
                        </a:lnTo>
                        <a:lnTo>
                          <a:pt x="290" y="511"/>
                        </a:lnTo>
                        <a:lnTo>
                          <a:pt x="288" y="470"/>
                        </a:lnTo>
                        <a:lnTo>
                          <a:pt x="293" y="468"/>
                        </a:lnTo>
                        <a:lnTo>
                          <a:pt x="288" y="468"/>
                        </a:lnTo>
                        <a:lnTo>
                          <a:pt x="293" y="466"/>
                        </a:lnTo>
                        <a:lnTo>
                          <a:pt x="288" y="468"/>
                        </a:lnTo>
                        <a:lnTo>
                          <a:pt x="288" y="466"/>
                        </a:lnTo>
                        <a:lnTo>
                          <a:pt x="291" y="463"/>
                        </a:lnTo>
                        <a:lnTo>
                          <a:pt x="286" y="466"/>
                        </a:lnTo>
                        <a:lnTo>
                          <a:pt x="290" y="461"/>
                        </a:lnTo>
                        <a:lnTo>
                          <a:pt x="286" y="465"/>
                        </a:lnTo>
                        <a:lnTo>
                          <a:pt x="285" y="463"/>
                        </a:lnTo>
                        <a:lnTo>
                          <a:pt x="285" y="460"/>
                        </a:lnTo>
                        <a:lnTo>
                          <a:pt x="283" y="463"/>
                        </a:lnTo>
                        <a:lnTo>
                          <a:pt x="285" y="458"/>
                        </a:lnTo>
                        <a:lnTo>
                          <a:pt x="283" y="463"/>
                        </a:lnTo>
                        <a:lnTo>
                          <a:pt x="283" y="458"/>
                        </a:lnTo>
                        <a:lnTo>
                          <a:pt x="281" y="463"/>
                        </a:lnTo>
                        <a:lnTo>
                          <a:pt x="280" y="463"/>
                        </a:lnTo>
                        <a:lnTo>
                          <a:pt x="68" y="463"/>
                        </a:lnTo>
                        <a:lnTo>
                          <a:pt x="66" y="458"/>
                        </a:lnTo>
                        <a:lnTo>
                          <a:pt x="68" y="463"/>
                        </a:lnTo>
                        <a:lnTo>
                          <a:pt x="66" y="463"/>
                        </a:lnTo>
                        <a:lnTo>
                          <a:pt x="64" y="460"/>
                        </a:lnTo>
                        <a:lnTo>
                          <a:pt x="64" y="463"/>
                        </a:lnTo>
                        <a:lnTo>
                          <a:pt x="64" y="465"/>
                        </a:lnTo>
                        <a:lnTo>
                          <a:pt x="60" y="461"/>
                        </a:lnTo>
                        <a:lnTo>
                          <a:pt x="63" y="465"/>
                        </a:lnTo>
                        <a:lnTo>
                          <a:pt x="60" y="463"/>
                        </a:lnTo>
                        <a:lnTo>
                          <a:pt x="63" y="466"/>
                        </a:lnTo>
                        <a:lnTo>
                          <a:pt x="58" y="465"/>
                        </a:lnTo>
                        <a:lnTo>
                          <a:pt x="63" y="466"/>
                        </a:lnTo>
                        <a:lnTo>
                          <a:pt x="61" y="466"/>
                        </a:lnTo>
                        <a:lnTo>
                          <a:pt x="58" y="466"/>
                        </a:lnTo>
                        <a:lnTo>
                          <a:pt x="61" y="468"/>
                        </a:lnTo>
                        <a:lnTo>
                          <a:pt x="56" y="468"/>
                        </a:lnTo>
                        <a:lnTo>
                          <a:pt x="61" y="468"/>
                        </a:lnTo>
                        <a:lnTo>
                          <a:pt x="56" y="468"/>
                        </a:lnTo>
                        <a:lnTo>
                          <a:pt x="61" y="470"/>
                        </a:lnTo>
                        <a:lnTo>
                          <a:pt x="61" y="471"/>
                        </a:lnTo>
                        <a:lnTo>
                          <a:pt x="61" y="511"/>
                        </a:lnTo>
                        <a:lnTo>
                          <a:pt x="61" y="514"/>
                        </a:lnTo>
                        <a:lnTo>
                          <a:pt x="58" y="516"/>
                        </a:lnTo>
                        <a:lnTo>
                          <a:pt x="61" y="514"/>
                        </a:lnTo>
                        <a:lnTo>
                          <a:pt x="58" y="517"/>
                        </a:lnTo>
                        <a:lnTo>
                          <a:pt x="61" y="516"/>
                        </a:lnTo>
                        <a:lnTo>
                          <a:pt x="60" y="519"/>
                        </a:lnTo>
                        <a:lnTo>
                          <a:pt x="63" y="516"/>
                        </a:lnTo>
                        <a:lnTo>
                          <a:pt x="63" y="517"/>
                        </a:lnTo>
                        <a:lnTo>
                          <a:pt x="61" y="521"/>
                        </a:lnTo>
                        <a:lnTo>
                          <a:pt x="64" y="517"/>
                        </a:lnTo>
                        <a:lnTo>
                          <a:pt x="66" y="519"/>
                        </a:lnTo>
                        <a:lnTo>
                          <a:pt x="66" y="522"/>
                        </a:lnTo>
                        <a:lnTo>
                          <a:pt x="66" y="519"/>
                        </a:lnTo>
                        <a:lnTo>
                          <a:pt x="68" y="519"/>
                        </a:lnTo>
                        <a:lnTo>
                          <a:pt x="66" y="524"/>
                        </a:lnTo>
                        <a:lnTo>
                          <a:pt x="68" y="519"/>
                        </a:lnTo>
                        <a:lnTo>
                          <a:pt x="69" y="519"/>
                        </a:lnTo>
                        <a:lnTo>
                          <a:pt x="281" y="519"/>
                        </a:lnTo>
                        <a:moveTo>
                          <a:pt x="253" y="507"/>
                        </a:moveTo>
                        <a:lnTo>
                          <a:pt x="247" y="506"/>
                        </a:lnTo>
                        <a:lnTo>
                          <a:pt x="249" y="501"/>
                        </a:lnTo>
                        <a:lnTo>
                          <a:pt x="245" y="506"/>
                        </a:lnTo>
                        <a:lnTo>
                          <a:pt x="245" y="504"/>
                        </a:lnTo>
                        <a:lnTo>
                          <a:pt x="247" y="501"/>
                        </a:lnTo>
                        <a:lnTo>
                          <a:pt x="244" y="504"/>
                        </a:lnTo>
                        <a:lnTo>
                          <a:pt x="240" y="501"/>
                        </a:lnTo>
                        <a:lnTo>
                          <a:pt x="244" y="498"/>
                        </a:lnTo>
                        <a:lnTo>
                          <a:pt x="239" y="499"/>
                        </a:lnTo>
                        <a:lnTo>
                          <a:pt x="237" y="498"/>
                        </a:lnTo>
                        <a:lnTo>
                          <a:pt x="237" y="491"/>
                        </a:lnTo>
                        <a:lnTo>
                          <a:pt x="237" y="488"/>
                        </a:lnTo>
                        <a:lnTo>
                          <a:pt x="242" y="488"/>
                        </a:lnTo>
                        <a:lnTo>
                          <a:pt x="237" y="486"/>
                        </a:lnTo>
                        <a:lnTo>
                          <a:pt x="240" y="481"/>
                        </a:lnTo>
                        <a:lnTo>
                          <a:pt x="247" y="476"/>
                        </a:lnTo>
                        <a:lnTo>
                          <a:pt x="250" y="475"/>
                        </a:lnTo>
                        <a:lnTo>
                          <a:pt x="252" y="479"/>
                        </a:lnTo>
                        <a:lnTo>
                          <a:pt x="252" y="475"/>
                        </a:lnTo>
                        <a:lnTo>
                          <a:pt x="253" y="475"/>
                        </a:lnTo>
                        <a:lnTo>
                          <a:pt x="253" y="479"/>
                        </a:lnTo>
                        <a:lnTo>
                          <a:pt x="255" y="475"/>
                        </a:lnTo>
                        <a:lnTo>
                          <a:pt x="260" y="476"/>
                        </a:lnTo>
                        <a:lnTo>
                          <a:pt x="265" y="481"/>
                        </a:lnTo>
                        <a:lnTo>
                          <a:pt x="262" y="484"/>
                        </a:lnTo>
                        <a:lnTo>
                          <a:pt x="265" y="481"/>
                        </a:lnTo>
                        <a:lnTo>
                          <a:pt x="267" y="484"/>
                        </a:lnTo>
                        <a:lnTo>
                          <a:pt x="263" y="488"/>
                        </a:lnTo>
                        <a:lnTo>
                          <a:pt x="268" y="486"/>
                        </a:lnTo>
                        <a:lnTo>
                          <a:pt x="268" y="489"/>
                        </a:lnTo>
                        <a:lnTo>
                          <a:pt x="263" y="491"/>
                        </a:lnTo>
                        <a:lnTo>
                          <a:pt x="268" y="491"/>
                        </a:lnTo>
                        <a:lnTo>
                          <a:pt x="268" y="493"/>
                        </a:lnTo>
                        <a:lnTo>
                          <a:pt x="263" y="493"/>
                        </a:lnTo>
                        <a:lnTo>
                          <a:pt x="268" y="494"/>
                        </a:lnTo>
                        <a:lnTo>
                          <a:pt x="267" y="498"/>
                        </a:lnTo>
                        <a:lnTo>
                          <a:pt x="263" y="496"/>
                        </a:lnTo>
                        <a:lnTo>
                          <a:pt x="267" y="498"/>
                        </a:lnTo>
                        <a:lnTo>
                          <a:pt x="265" y="501"/>
                        </a:lnTo>
                        <a:lnTo>
                          <a:pt x="262" y="498"/>
                        </a:lnTo>
                        <a:lnTo>
                          <a:pt x="265" y="501"/>
                        </a:lnTo>
                        <a:lnTo>
                          <a:pt x="263" y="502"/>
                        </a:lnTo>
                        <a:lnTo>
                          <a:pt x="260" y="499"/>
                        </a:lnTo>
                        <a:lnTo>
                          <a:pt x="263" y="502"/>
                        </a:lnTo>
                        <a:lnTo>
                          <a:pt x="262" y="502"/>
                        </a:lnTo>
                        <a:lnTo>
                          <a:pt x="260" y="501"/>
                        </a:lnTo>
                        <a:lnTo>
                          <a:pt x="262" y="504"/>
                        </a:lnTo>
                        <a:lnTo>
                          <a:pt x="258" y="506"/>
                        </a:lnTo>
                        <a:lnTo>
                          <a:pt x="257" y="501"/>
                        </a:lnTo>
                        <a:lnTo>
                          <a:pt x="258" y="506"/>
                        </a:lnTo>
                        <a:lnTo>
                          <a:pt x="253" y="507"/>
                        </a:lnTo>
                        <a:moveTo>
                          <a:pt x="250" y="498"/>
                        </a:moveTo>
                        <a:lnTo>
                          <a:pt x="250" y="498"/>
                        </a:lnTo>
                        <a:lnTo>
                          <a:pt x="250" y="502"/>
                        </a:lnTo>
                        <a:lnTo>
                          <a:pt x="252" y="498"/>
                        </a:lnTo>
                        <a:lnTo>
                          <a:pt x="253" y="498"/>
                        </a:lnTo>
                        <a:lnTo>
                          <a:pt x="255" y="502"/>
                        </a:lnTo>
                        <a:lnTo>
                          <a:pt x="255" y="498"/>
                        </a:lnTo>
                        <a:lnTo>
                          <a:pt x="257" y="501"/>
                        </a:lnTo>
                        <a:lnTo>
                          <a:pt x="255" y="498"/>
                        </a:lnTo>
                        <a:lnTo>
                          <a:pt x="257" y="496"/>
                        </a:lnTo>
                        <a:lnTo>
                          <a:pt x="260" y="501"/>
                        </a:lnTo>
                        <a:lnTo>
                          <a:pt x="258" y="499"/>
                        </a:lnTo>
                        <a:lnTo>
                          <a:pt x="257" y="496"/>
                        </a:lnTo>
                        <a:lnTo>
                          <a:pt x="258" y="496"/>
                        </a:lnTo>
                        <a:lnTo>
                          <a:pt x="260" y="499"/>
                        </a:lnTo>
                        <a:lnTo>
                          <a:pt x="258" y="496"/>
                        </a:lnTo>
                        <a:lnTo>
                          <a:pt x="260" y="493"/>
                        </a:lnTo>
                        <a:lnTo>
                          <a:pt x="262" y="494"/>
                        </a:lnTo>
                        <a:lnTo>
                          <a:pt x="263" y="494"/>
                        </a:lnTo>
                        <a:lnTo>
                          <a:pt x="260" y="493"/>
                        </a:lnTo>
                        <a:lnTo>
                          <a:pt x="260" y="491"/>
                        </a:lnTo>
                        <a:lnTo>
                          <a:pt x="263" y="489"/>
                        </a:lnTo>
                        <a:lnTo>
                          <a:pt x="260" y="489"/>
                        </a:lnTo>
                        <a:lnTo>
                          <a:pt x="263" y="489"/>
                        </a:lnTo>
                        <a:lnTo>
                          <a:pt x="260" y="489"/>
                        </a:lnTo>
                        <a:lnTo>
                          <a:pt x="258" y="486"/>
                        </a:lnTo>
                        <a:lnTo>
                          <a:pt x="262" y="483"/>
                        </a:lnTo>
                        <a:lnTo>
                          <a:pt x="258" y="486"/>
                        </a:lnTo>
                        <a:lnTo>
                          <a:pt x="257" y="484"/>
                        </a:lnTo>
                        <a:lnTo>
                          <a:pt x="258" y="481"/>
                        </a:lnTo>
                        <a:lnTo>
                          <a:pt x="257" y="484"/>
                        </a:lnTo>
                        <a:lnTo>
                          <a:pt x="258" y="481"/>
                        </a:lnTo>
                        <a:lnTo>
                          <a:pt x="255" y="484"/>
                        </a:lnTo>
                        <a:lnTo>
                          <a:pt x="257" y="481"/>
                        </a:lnTo>
                        <a:lnTo>
                          <a:pt x="255" y="484"/>
                        </a:lnTo>
                        <a:lnTo>
                          <a:pt x="255" y="479"/>
                        </a:lnTo>
                        <a:lnTo>
                          <a:pt x="253" y="484"/>
                        </a:lnTo>
                        <a:lnTo>
                          <a:pt x="252" y="484"/>
                        </a:lnTo>
                        <a:lnTo>
                          <a:pt x="252" y="479"/>
                        </a:lnTo>
                        <a:lnTo>
                          <a:pt x="252" y="484"/>
                        </a:lnTo>
                        <a:lnTo>
                          <a:pt x="250" y="484"/>
                        </a:lnTo>
                        <a:lnTo>
                          <a:pt x="250" y="479"/>
                        </a:lnTo>
                        <a:lnTo>
                          <a:pt x="250" y="484"/>
                        </a:lnTo>
                        <a:lnTo>
                          <a:pt x="249" y="481"/>
                        </a:lnTo>
                        <a:lnTo>
                          <a:pt x="250" y="484"/>
                        </a:lnTo>
                        <a:lnTo>
                          <a:pt x="247" y="481"/>
                        </a:lnTo>
                        <a:lnTo>
                          <a:pt x="249" y="484"/>
                        </a:lnTo>
                        <a:lnTo>
                          <a:pt x="245" y="481"/>
                        </a:lnTo>
                        <a:lnTo>
                          <a:pt x="247" y="483"/>
                        </a:lnTo>
                        <a:lnTo>
                          <a:pt x="249" y="484"/>
                        </a:lnTo>
                        <a:lnTo>
                          <a:pt x="249" y="486"/>
                        </a:lnTo>
                        <a:lnTo>
                          <a:pt x="245" y="483"/>
                        </a:lnTo>
                        <a:lnTo>
                          <a:pt x="247" y="486"/>
                        </a:lnTo>
                        <a:lnTo>
                          <a:pt x="244" y="483"/>
                        </a:lnTo>
                        <a:lnTo>
                          <a:pt x="247" y="486"/>
                        </a:lnTo>
                        <a:lnTo>
                          <a:pt x="244" y="484"/>
                        </a:lnTo>
                        <a:lnTo>
                          <a:pt x="247" y="488"/>
                        </a:lnTo>
                        <a:lnTo>
                          <a:pt x="242" y="486"/>
                        </a:lnTo>
                        <a:lnTo>
                          <a:pt x="245" y="488"/>
                        </a:lnTo>
                        <a:lnTo>
                          <a:pt x="245" y="489"/>
                        </a:lnTo>
                        <a:lnTo>
                          <a:pt x="242" y="488"/>
                        </a:lnTo>
                        <a:lnTo>
                          <a:pt x="244" y="489"/>
                        </a:lnTo>
                        <a:lnTo>
                          <a:pt x="245" y="489"/>
                        </a:lnTo>
                        <a:lnTo>
                          <a:pt x="244" y="489"/>
                        </a:lnTo>
                        <a:lnTo>
                          <a:pt x="245" y="489"/>
                        </a:lnTo>
                        <a:lnTo>
                          <a:pt x="244" y="489"/>
                        </a:lnTo>
                        <a:lnTo>
                          <a:pt x="240" y="489"/>
                        </a:lnTo>
                        <a:lnTo>
                          <a:pt x="245" y="491"/>
                        </a:lnTo>
                        <a:lnTo>
                          <a:pt x="240" y="491"/>
                        </a:lnTo>
                        <a:lnTo>
                          <a:pt x="245" y="491"/>
                        </a:lnTo>
                        <a:lnTo>
                          <a:pt x="240" y="493"/>
                        </a:lnTo>
                        <a:lnTo>
                          <a:pt x="245" y="493"/>
                        </a:lnTo>
                        <a:lnTo>
                          <a:pt x="245" y="493"/>
                        </a:lnTo>
                        <a:lnTo>
                          <a:pt x="242" y="494"/>
                        </a:lnTo>
                        <a:lnTo>
                          <a:pt x="245" y="494"/>
                        </a:lnTo>
                        <a:lnTo>
                          <a:pt x="242" y="496"/>
                        </a:lnTo>
                        <a:lnTo>
                          <a:pt x="247" y="494"/>
                        </a:lnTo>
                        <a:lnTo>
                          <a:pt x="244" y="498"/>
                        </a:lnTo>
                        <a:lnTo>
                          <a:pt x="247" y="496"/>
                        </a:lnTo>
                        <a:lnTo>
                          <a:pt x="244" y="498"/>
                        </a:lnTo>
                        <a:lnTo>
                          <a:pt x="247" y="496"/>
                        </a:lnTo>
                        <a:lnTo>
                          <a:pt x="249" y="496"/>
                        </a:lnTo>
                        <a:lnTo>
                          <a:pt x="245" y="501"/>
                        </a:lnTo>
                        <a:lnTo>
                          <a:pt x="249" y="498"/>
                        </a:lnTo>
                        <a:lnTo>
                          <a:pt x="249" y="498"/>
                        </a:lnTo>
                        <a:lnTo>
                          <a:pt x="249" y="498"/>
                        </a:lnTo>
                        <a:lnTo>
                          <a:pt x="250" y="498"/>
                        </a:lnTo>
                        <a:lnTo>
                          <a:pt x="249" y="499"/>
                        </a:lnTo>
                        <a:lnTo>
                          <a:pt x="247" y="501"/>
                        </a:lnTo>
                        <a:lnTo>
                          <a:pt x="250" y="498"/>
                        </a:lnTo>
                        <a:moveTo>
                          <a:pt x="69" y="435"/>
                        </a:moveTo>
                        <a:lnTo>
                          <a:pt x="63" y="435"/>
                        </a:lnTo>
                        <a:lnTo>
                          <a:pt x="64" y="430"/>
                        </a:lnTo>
                        <a:lnTo>
                          <a:pt x="63" y="433"/>
                        </a:lnTo>
                        <a:lnTo>
                          <a:pt x="61" y="433"/>
                        </a:lnTo>
                        <a:lnTo>
                          <a:pt x="63" y="430"/>
                        </a:lnTo>
                        <a:lnTo>
                          <a:pt x="61" y="433"/>
                        </a:lnTo>
                        <a:lnTo>
                          <a:pt x="60" y="432"/>
                        </a:lnTo>
                        <a:lnTo>
                          <a:pt x="61" y="429"/>
                        </a:lnTo>
                        <a:lnTo>
                          <a:pt x="58" y="432"/>
                        </a:lnTo>
                        <a:lnTo>
                          <a:pt x="53" y="424"/>
                        </a:lnTo>
                        <a:lnTo>
                          <a:pt x="53" y="419"/>
                        </a:lnTo>
                        <a:lnTo>
                          <a:pt x="53" y="373"/>
                        </a:lnTo>
                        <a:lnTo>
                          <a:pt x="56" y="368"/>
                        </a:lnTo>
                        <a:lnTo>
                          <a:pt x="60" y="369"/>
                        </a:lnTo>
                        <a:lnTo>
                          <a:pt x="58" y="366"/>
                        </a:lnTo>
                        <a:lnTo>
                          <a:pt x="66" y="363"/>
                        </a:lnTo>
                        <a:lnTo>
                          <a:pt x="69" y="361"/>
                        </a:lnTo>
                        <a:lnTo>
                          <a:pt x="285" y="363"/>
                        </a:lnTo>
                        <a:lnTo>
                          <a:pt x="290" y="364"/>
                        </a:lnTo>
                        <a:lnTo>
                          <a:pt x="288" y="368"/>
                        </a:lnTo>
                        <a:lnTo>
                          <a:pt x="290" y="364"/>
                        </a:lnTo>
                        <a:lnTo>
                          <a:pt x="291" y="366"/>
                        </a:lnTo>
                        <a:lnTo>
                          <a:pt x="290" y="369"/>
                        </a:lnTo>
                        <a:lnTo>
                          <a:pt x="293" y="368"/>
                        </a:lnTo>
                        <a:lnTo>
                          <a:pt x="296" y="371"/>
                        </a:lnTo>
                        <a:lnTo>
                          <a:pt x="298" y="379"/>
                        </a:lnTo>
                        <a:lnTo>
                          <a:pt x="296" y="425"/>
                        </a:lnTo>
                        <a:lnTo>
                          <a:pt x="291" y="432"/>
                        </a:lnTo>
                        <a:lnTo>
                          <a:pt x="288" y="429"/>
                        </a:lnTo>
                        <a:lnTo>
                          <a:pt x="291" y="432"/>
                        </a:lnTo>
                        <a:lnTo>
                          <a:pt x="290" y="433"/>
                        </a:lnTo>
                        <a:lnTo>
                          <a:pt x="286" y="430"/>
                        </a:lnTo>
                        <a:lnTo>
                          <a:pt x="288" y="433"/>
                        </a:lnTo>
                        <a:lnTo>
                          <a:pt x="285" y="430"/>
                        </a:lnTo>
                        <a:lnTo>
                          <a:pt x="286" y="433"/>
                        </a:lnTo>
                        <a:lnTo>
                          <a:pt x="283" y="435"/>
                        </a:lnTo>
                        <a:lnTo>
                          <a:pt x="280" y="435"/>
                        </a:lnTo>
                        <a:lnTo>
                          <a:pt x="69" y="435"/>
                        </a:lnTo>
                        <a:moveTo>
                          <a:pt x="68" y="427"/>
                        </a:moveTo>
                        <a:lnTo>
                          <a:pt x="68" y="432"/>
                        </a:lnTo>
                        <a:lnTo>
                          <a:pt x="68" y="427"/>
                        </a:lnTo>
                        <a:lnTo>
                          <a:pt x="69" y="427"/>
                        </a:lnTo>
                        <a:lnTo>
                          <a:pt x="281" y="427"/>
                        </a:lnTo>
                        <a:lnTo>
                          <a:pt x="283" y="430"/>
                        </a:lnTo>
                        <a:lnTo>
                          <a:pt x="283" y="427"/>
                        </a:lnTo>
                        <a:lnTo>
                          <a:pt x="285" y="430"/>
                        </a:lnTo>
                        <a:lnTo>
                          <a:pt x="283" y="427"/>
                        </a:lnTo>
                        <a:lnTo>
                          <a:pt x="286" y="425"/>
                        </a:lnTo>
                        <a:lnTo>
                          <a:pt x="290" y="427"/>
                        </a:lnTo>
                        <a:lnTo>
                          <a:pt x="286" y="424"/>
                        </a:lnTo>
                        <a:lnTo>
                          <a:pt x="290" y="427"/>
                        </a:lnTo>
                        <a:lnTo>
                          <a:pt x="288" y="424"/>
                        </a:lnTo>
                        <a:lnTo>
                          <a:pt x="291" y="425"/>
                        </a:lnTo>
                        <a:lnTo>
                          <a:pt x="288" y="422"/>
                        </a:lnTo>
                        <a:lnTo>
                          <a:pt x="291" y="425"/>
                        </a:lnTo>
                        <a:lnTo>
                          <a:pt x="288" y="422"/>
                        </a:lnTo>
                        <a:lnTo>
                          <a:pt x="291" y="424"/>
                        </a:lnTo>
                        <a:lnTo>
                          <a:pt x="288" y="422"/>
                        </a:lnTo>
                        <a:lnTo>
                          <a:pt x="293" y="422"/>
                        </a:lnTo>
                        <a:lnTo>
                          <a:pt x="288" y="420"/>
                        </a:lnTo>
                        <a:lnTo>
                          <a:pt x="293" y="420"/>
                        </a:lnTo>
                        <a:lnTo>
                          <a:pt x="288" y="420"/>
                        </a:lnTo>
                        <a:lnTo>
                          <a:pt x="290" y="419"/>
                        </a:lnTo>
                        <a:lnTo>
                          <a:pt x="288" y="378"/>
                        </a:lnTo>
                        <a:lnTo>
                          <a:pt x="293" y="376"/>
                        </a:lnTo>
                        <a:lnTo>
                          <a:pt x="288" y="376"/>
                        </a:lnTo>
                        <a:lnTo>
                          <a:pt x="293" y="374"/>
                        </a:lnTo>
                        <a:lnTo>
                          <a:pt x="288" y="376"/>
                        </a:lnTo>
                        <a:lnTo>
                          <a:pt x="291" y="374"/>
                        </a:lnTo>
                        <a:lnTo>
                          <a:pt x="288" y="374"/>
                        </a:lnTo>
                        <a:lnTo>
                          <a:pt x="288" y="374"/>
                        </a:lnTo>
                        <a:lnTo>
                          <a:pt x="291" y="371"/>
                        </a:lnTo>
                        <a:lnTo>
                          <a:pt x="286" y="373"/>
                        </a:lnTo>
                        <a:lnTo>
                          <a:pt x="286" y="373"/>
                        </a:lnTo>
                        <a:lnTo>
                          <a:pt x="288" y="369"/>
                        </a:lnTo>
                        <a:lnTo>
                          <a:pt x="286" y="373"/>
                        </a:lnTo>
                        <a:lnTo>
                          <a:pt x="285" y="371"/>
                        </a:lnTo>
                        <a:lnTo>
                          <a:pt x="286" y="368"/>
                        </a:lnTo>
                        <a:lnTo>
                          <a:pt x="285" y="371"/>
                        </a:lnTo>
                        <a:lnTo>
                          <a:pt x="285" y="368"/>
                        </a:lnTo>
                        <a:lnTo>
                          <a:pt x="283" y="371"/>
                        </a:lnTo>
                        <a:lnTo>
                          <a:pt x="285" y="366"/>
                        </a:lnTo>
                        <a:lnTo>
                          <a:pt x="283" y="371"/>
                        </a:lnTo>
                        <a:lnTo>
                          <a:pt x="283" y="366"/>
                        </a:lnTo>
                        <a:lnTo>
                          <a:pt x="281" y="371"/>
                        </a:lnTo>
                        <a:lnTo>
                          <a:pt x="280" y="371"/>
                        </a:lnTo>
                        <a:lnTo>
                          <a:pt x="68" y="371"/>
                        </a:lnTo>
                        <a:lnTo>
                          <a:pt x="66" y="366"/>
                        </a:lnTo>
                        <a:lnTo>
                          <a:pt x="68" y="371"/>
                        </a:lnTo>
                        <a:lnTo>
                          <a:pt x="66" y="371"/>
                        </a:lnTo>
                        <a:lnTo>
                          <a:pt x="64" y="368"/>
                        </a:lnTo>
                        <a:lnTo>
                          <a:pt x="66" y="371"/>
                        </a:lnTo>
                        <a:lnTo>
                          <a:pt x="63" y="368"/>
                        </a:lnTo>
                        <a:lnTo>
                          <a:pt x="64" y="371"/>
                        </a:lnTo>
                        <a:lnTo>
                          <a:pt x="63" y="368"/>
                        </a:lnTo>
                        <a:lnTo>
                          <a:pt x="64" y="373"/>
                        </a:lnTo>
                        <a:lnTo>
                          <a:pt x="61" y="369"/>
                        </a:lnTo>
                        <a:lnTo>
                          <a:pt x="63" y="373"/>
                        </a:lnTo>
                        <a:lnTo>
                          <a:pt x="63" y="373"/>
                        </a:lnTo>
                        <a:lnTo>
                          <a:pt x="60" y="371"/>
                        </a:lnTo>
                        <a:lnTo>
                          <a:pt x="63" y="374"/>
                        </a:lnTo>
                        <a:lnTo>
                          <a:pt x="58" y="371"/>
                        </a:lnTo>
                        <a:lnTo>
                          <a:pt x="61" y="374"/>
                        </a:lnTo>
                        <a:lnTo>
                          <a:pt x="58" y="373"/>
                        </a:lnTo>
                        <a:lnTo>
                          <a:pt x="61" y="374"/>
                        </a:lnTo>
                        <a:lnTo>
                          <a:pt x="58" y="374"/>
                        </a:lnTo>
                        <a:lnTo>
                          <a:pt x="61" y="376"/>
                        </a:lnTo>
                        <a:lnTo>
                          <a:pt x="56" y="374"/>
                        </a:lnTo>
                        <a:lnTo>
                          <a:pt x="61" y="376"/>
                        </a:lnTo>
                        <a:lnTo>
                          <a:pt x="56" y="376"/>
                        </a:lnTo>
                        <a:lnTo>
                          <a:pt x="61" y="378"/>
                        </a:lnTo>
                        <a:lnTo>
                          <a:pt x="61" y="378"/>
                        </a:lnTo>
                        <a:lnTo>
                          <a:pt x="61" y="419"/>
                        </a:lnTo>
                        <a:lnTo>
                          <a:pt x="61" y="420"/>
                        </a:lnTo>
                        <a:lnTo>
                          <a:pt x="56" y="420"/>
                        </a:lnTo>
                        <a:lnTo>
                          <a:pt x="61" y="420"/>
                        </a:lnTo>
                        <a:lnTo>
                          <a:pt x="56" y="422"/>
                        </a:lnTo>
                        <a:lnTo>
                          <a:pt x="61" y="422"/>
                        </a:lnTo>
                        <a:lnTo>
                          <a:pt x="58" y="424"/>
                        </a:lnTo>
                        <a:lnTo>
                          <a:pt x="61" y="422"/>
                        </a:lnTo>
                        <a:lnTo>
                          <a:pt x="58" y="425"/>
                        </a:lnTo>
                        <a:lnTo>
                          <a:pt x="61" y="424"/>
                        </a:lnTo>
                        <a:lnTo>
                          <a:pt x="58" y="425"/>
                        </a:lnTo>
                        <a:lnTo>
                          <a:pt x="63" y="424"/>
                        </a:lnTo>
                        <a:lnTo>
                          <a:pt x="63" y="424"/>
                        </a:lnTo>
                        <a:lnTo>
                          <a:pt x="60" y="427"/>
                        </a:lnTo>
                        <a:lnTo>
                          <a:pt x="63" y="425"/>
                        </a:lnTo>
                        <a:lnTo>
                          <a:pt x="66" y="427"/>
                        </a:lnTo>
                        <a:lnTo>
                          <a:pt x="66" y="430"/>
                        </a:lnTo>
                        <a:lnTo>
                          <a:pt x="68" y="427"/>
                        </a:lnTo>
                        <a:moveTo>
                          <a:pt x="253" y="414"/>
                        </a:moveTo>
                        <a:lnTo>
                          <a:pt x="247" y="414"/>
                        </a:lnTo>
                        <a:lnTo>
                          <a:pt x="247" y="409"/>
                        </a:lnTo>
                        <a:lnTo>
                          <a:pt x="245" y="412"/>
                        </a:lnTo>
                        <a:lnTo>
                          <a:pt x="240" y="409"/>
                        </a:lnTo>
                        <a:lnTo>
                          <a:pt x="240" y="409"/>
                        </a:lnTo>
                        <a:lnTo>
                          <a:pt x="244" y="406"/>
                        </a:lnTo>
                        <a:lnTo>
                          <a:pt x="239" y="407"/>
                        </a:lnTo>
                        <a:lnTo>
                          <a:pt x="237" y="404"/>
                        </a:lnTo>
                        <a:lnTo>
                          <a:pt x="242" y="401"/>
                        </a:lnTo>
                        <a:lnTo>
                          <a:pt x="237" y="402"/>
                        </a:lnTo>
                        <a:lnTo>
                          <a:pt x="237" y="399"/>
                        </a:lnTo>
                        <a:lnTo>
                          <a:pt x="240" y="397"/>
                        </a:lnTo>
                        <a:lnTo>
                          <a:pt x="237" y="397"/>
                        </a:lnTo>
                        <a:lnTo>
                          <a:pt x="237" y="396"/>
                        </a:lnTo>
                        <a:lnTo>
                          <a:pt x="242" y="396"/>
                        </a:lnTo>
                        <a:lnTo>
                          <a:pt x="237" y="394"/>
                        </a:lnTo>
                        <a:lnTo>
                          <a:pt x="239" y="391"/>
                        </a:lnTo>
                        <a:lnTo>
                          <a:pt x="242" y="387"/>
                        </a:lnTo>
                        <a:lnTo>
                          <a:pt x="245" y="389"/>
                        </a:lnTo>
                        <a:lnTo>
                          <a:pt x="244" y="386"/>
                        </a:lnTo>
                        <a:lnTo>
                          <a:pt x="247" y="384"/>
                        </a:lnTo>
                        <a:lnTo>
                          <a:pt x="253" y="383"/>
                        </a:lnTo>
                        <a:lnTo>
                          <a:pt x="258" y="384"/>
                        </a:lnTo>
                        <a:lnTo>
                          <a:pt x="257" y="387"/>
                        </a:lnTo>
                        <a:lnTo>
                          <a:pt x="258" y="384"/>
                        </a:lnTo>
                        <a:lnTo>
                          <a:pt x="262" y="386"/>
                        </a:lnTo>
                        <a:lnTo>
                          <a:pt x="260" y="389"/>
                        </a:lnTo>
                        <a:lnTo>
                          <a:pt x="262" y="386"/>
                        </a:lnTo>
                        <a:lnTo>
                          <a:pt x="265" y="389"/>
                        </a:lnTo>
                        <a:lnTo>
                          <a:pt x="262" y="392"/>
                        </a:lnTo>
                        <a:lnTo>
                          <a:pt x="265" y="389"/>
                        </a:lnTo>
                        <a:lnTo>
                          <a:pt x="267" y="392"/>
                        </a:lnTo>
                        <a:lnTo>
                          <a:pt x="263" y="394"/>
                        </a:lnTo>
                        <a:lnTo>
                          <a:pt x="268" y="394"/>
                        </a:lnTo>
                        <a:lnTo>
                          <a:pt x="268" y="397"/>
                        </a:lnTo>
                        <a:lnTo>
                          <a:pt x="263" y="397"/>
                        </a:lnTo>
                        <a:lnTo>
                          <a:pt x="268" y="399"/>
                        </a:lnTo>
                        <a:lnTo>
                          <a:pt x="268" y="401"/>
                        </a:lnTo>
                        <a:lnTo>
                          <a:pt x="263" y="401"/>
                        </a:lnTo>
                        <a:lnTo>
                          <a:pt x="268" y="402"/>
                        </a:lnTo>
                        <a:lnTo>
                          <a:pt x="267" y="406"/>
                        </a:lnTo>
                        <a:lnTo>
                          <a:pt x="263" y="404"/>
                        </a:lnTo>
                        <a:lnTo>
                          <a:pt x="267" y="406"/>
                        </a:lnTo>
                        <a:lnTo>
                          <a:pt x="265" y="407"/>
                        </a:lnTo>
                        <a:lnTo>
                          <a:pt x="262" y="406"/>
                        </a:lnTo>
                        <a:lnTo>
                          <a:pt x="265" y="409"/>
                        </a:lnTo>
                        <a:lnTo>
                          <a:pt x="262" y="410"/>
                        </a:lnTo>
                        <a:lnTo>
                          <a:pt x="260" y="407"/>
                        </a:lnTo>
                        <a:lnTo>
                          <a:pt x="262" y="412"/>
                        </a:lnTo>
                        <a:lnTo>
                          <a:pt x="258" y="414"/>
                        </a:lnTo>
                        <a:lnTo>
                          <a:pt x="257" y="409"/>
                        </a:lnTo>
                        <a:lnTo>
                          <a:pt x="258" y="414"/>
                        </a:lnTo>
                        <a:lnTo>
                          <a:pt x="253" y="414"/>
                        </a:lnTo>
                        <a:moveTo>
                          <a:pt x="252" y="406"/>
                        </a:moveTo>
                        <a:lnTo>
                          <a:pt x="253" y="410"/>
                        </a:lnTo>
                        <a:lnTo>
                          <a:pt x="253" y="406"/>
                        </a:lnTo>
                        <a:lnTo>
                          <a:pt x="253" y="406"/>
                        </a:lnTo>
                        <a:lnTo>
                          <a:pt x="253" y="410"/>
                        </a:lnTo>
                        <a:lnTo>
                          <a:pt x="253" y="406"/>
                        </a:lnTo>
                        <a:lnTo>
                          <a:pt x="255" y="410"/>
                        </a:lnTo>
                        <a:lnTo>
                          <a:pt x="255" y="406"/>
                        </a:lnTo>
                        <a:lnTo>
                          <a:pt x="257" y="406"/>
                        </a:lnTo>
                        <a:lnTo>
                          <a:pt x="258" y="409"/>
                        </a:lnTo>
                        <a:lnTo>
                          <a:pt x="257" y="404"/>
                        </a:lnTo>
                        <a:lnTo>
                          <a:pt x="257" y="404"/>
                        </a:lnTo>
                        <a:lnTo>
                          <a:pt x="260" y="407"/>
                        </a:lnTo>
                        <a:lnTo>
                          <a:pt x="258" y="404"/>
                        </a:lnTo>
                        <a:lnTo>
                          <a:pt x="258" y="402"/>
                        </a:lnTo>
                        <a:lnTo>
                          <a:pt x="263" y="404"/>
                        </a:lnTo>
                        <a:lnTo>
                          <a:pt x="262" y="402"/>
                        </a:lnTo>
                        <a:lnTo>
                          <a:pt x="260" y="402"/>
                        </a:lnTo>
                        <a:lnTo>
                          <a:pt x="260" y="399"/>
                        </a:lnTo>
                        <a:lnTo>
                          <a:pt x="263" y="397"/>
                        </a:lnTo>
                        <a:lnTo>
                          <a:pt x="260" y="397"/>
                        </a:lnTo>
                        <a:lnTo>
                          <a:pt x="263" y="396"/>
                        </a:lnTo>
                        <a:lnTo>
                          <a:pt x="260" y="397"/>
                        </a:lnTo>
                        <a:lnTo>
                          <a:pt x="258" y="396"/>
                        </a:lnTo>
                        <a:lnTo>
                          <a:pt x="263" y="392"/>
                        </a:lnTo>
                        <a:lnTo>
                          <a:pt x="258" y="394"/>
                        </a:lnTo>
                        <a:lnTo>
                          <a:pt x="257" y="392"/>
                        </a:lnTo>
                        <a:lnTo>
                          <a:pt x="258" y="389"/>
                        </a:lnTo>
                        <a:lnTo>
                          <a:pt x="257" y="392"/>
                        </a:lnTo>
                        <a:lnTo>
                          <a:pt x="258" y="387"/>
                        </a:lnTo>
                        <a:lnTo>
                          <a:pt x="255" y="392"/>
                        </a:lnTo>
                        <a:lnTo>
                          <a:pt x="255" y="392"/>
                        </a:lnTo>
                        <a:lnTo>
                          <a:pt x="255" y="389"/>
                        </a:lnTo>
                        <a:lnTo>
                          <a:pt x="257" y="387"/>
                        </a:lnTo>
                        <a:lnTo>
                          <a:pt x="255" y="392"/>
                        </a:lnTo>
                        <a:lnTo>
                          <a:pt x="255" y="387"/>
                        </a:lnTo>
                        <a:lnTo>
                          <a:pt x="253" y="391"/>
                        </a:lnTo>
                        <a:lnTo>
                          <a:pt x="253" y="387"/>
                        </a:lnTo>
                        <a:lnTo>
                          <a:pt x="253" y="391"/>
                        </a:lnTo>
                        <a:lnTo>
                          <a:pt x="252" y="387"/>
                        </a:lnTo>
                        <a:lnTo>
                          <a:pt x="252" y="391"/>
                        </a:lnTo>
                        <a:lnTo>
                          <a:pt x="252" y="387"/>
                        </a:lnTo>
                        <a:lnTo>
                          <a:pt x="252" y="391"/>
                        </a:lnTo>
                        <a:lnTo>
                          <a:pt x="249" y="392"/>
                        </a:lnTo>
                        <a:lnTo>
                          <a:pt x="247" y="389"/>
                        </a:lnTo>
                        <a:lnTo>
                          <a:pt x="249" y="392"/>
                        </a:lnTo>
                        <a:lnTo>
                          <a:pt x="245" y="389"/>
                        </a:lnTo>
                        <a:lnTo>
                          <a:pt x="249" y="392"/>
                        </a:lnTo>
                        <a:lnTo>
                          <a:pt x="245" y="391"/>
                        </a:lnTo>
                        <a:lnTo>
                          <a:pt x="247" y="394"/>
                        </a:lnTo>
                        <a:lnTo>
                          <a:pt x="244" y="391"/>
                        </a:lnTo>
                        <a:lnTo>
                          <a:pt x="247" y="394"/>
                        </a:lnTo>
                        <a:lnTo>
                          <a:pt x="244" y="392"/>
                        </a:lnTo>
                        <a:lnTo>
                          <a:pt x="247" y="396"/>
                        </a:lnTo>
                        <a:lnTo>
                          <a:pt x="242" y="392"/>
                        </a:lnTo>
                        <a:lnTo>
                          <a:pt x="245" y="396"/>
                        </a:lnTo>
                        <a:lnTo>
                          <a:pt x="245" y="397"/>
                        </a:lnTo>
                        <a:lnTo>
                          <a:pt x="242" y="396"/>
                        </a:lnTo>
                        <a:lnTo>
                          <a:pt x="244" y="396"/>
                        </a:lnTo>
                        <a:lnTo>
                          <a:pt x="245" y="397"/>
                        </a:lnTo>
                        <a:lnTo>
                          <a:pt x="244" y="397"/>
                        </a:lnTo>
                        <a:lnTo>
                          <a:pt x="245" y="397"/>
                        </a:lnTo>
                        <a:lnTo>
                          <a:pt x="244" y="397"/>
                        </a:lnTo>
                        <a:lnTo>
                          <a:pt x="240" y="397"/>
                        </a:lnTo>
                        <a:lnTo>
                          <a:pt x="245" y="397"/>
                        </a:lnTo>
                        <a:lnTo>
                          <a:pt x="240" y="397"/>
                        </a:lnTo>
                        <a:lnTo>
                          <a:pt x="245" y="399"/>
                        </a:lnTo>
                        <a:lnTo>
                          <a:pt x="240" y="399"/>
                        </a:lnTo>
                        <a:lnTo>
                          <a:pt x="245" y="401"/>
                        </a:lnTo>
                        <a:lnTo>
                          <a:pt x="245" y="401"/>
                        </a:lnTo>
                        <a:lnTo>
                          <a:pt x="242" y="402"/>
                        </a:lnTo>
                        <a:lnTo>
                          <a:pt x="245" y="402"/>
                        </a:lnTo>
                        <a:lnTo>
                          <a:pt x="242" y="404"/>
                        </a:lnTo>
                        <a:lnTo>
                          <a:pt x="247" y="402"/>
                        </a:lnTo>
                        <a:lnTo>
                          <a:pt x="247" y="402"/>
                        </a:lnTo>
                        <a:lnTo>
                          <a:pt x="244" y="406"/>
                        </a:lnTo>
                        <a:lnTo>
                          <a:pt x="247" y="404"/>
                        </a:lnTo>
                        <a:lnTo>
                          <a:pt x="245" y="407"/>
                        </a:lnTo>
                        <a:lnTo>
                          <a:pt x="249" y="404"/>
                        </a:lnTo>
                        <a:lnTo>
                          <a:pt x="249" y="406"/>
                        </a:lnTo>
                        <a:lnTo>
                          <a:pt x="247" y="409"/>
                        </a:lnTo>
                        <a:lnTo>
                          <a:pt x="250" y="406"/>
                        </a:lnTo>
                        <a:lnTo>
                          <a:pt x="250" y="406"/>
                        </a:lnTo>
                        <a:lnTo>
                          <a:pt x="250" y="410"/>
                        </a:lnTo>
                        <a:lnTo>
                          <a:pt x="252" y="406"/>
                        </a:lnTo>
                        <a:lnTo>
                          <a:pt x="250" y="410"/>
                        </a:lnTo>
                        <a:lnTo>
                          <a:pt x="252" y="406"/>
                        </a:lnTo>
                        <a:lnTo>
                          <a:pt x="252" y="410"/>
                        </a:lnTo>
                        <a:lnTo>
                          <a:pt x="252" y="406"/>
                        </a:lnTo>
                        <a:moveTo>
                          <a:pt x="69" y="343"/>
                        </a:moveTo>
                        <a:lnTo>
                          <a:pt x="63" y="341"/>
                        </a:lnTo>
                        <a:lnTo>
                          <a:pt x="64" y="338"/>
                        </a:lnTo>
                        <a:lnTo>
                          <a:pt x="63" y="341"/>
                        </a:lnTo>
                        <a:lnTo>
                          <a:pt x="61" y="341"/>
                        </a:lnTo>
                        <a:lnTo>
                          <a:pt x="63" y="337"/>
                        </a:lnTo>
                        <a:lnTo>
                          <a:pt x="61" y="341"/>
                        </a:lnTo>
                        <a:lnTo>
                          <a:pt x="60" y="340"/>
                        </a:lnTo>
                        <a:lnTo>
                          <a:pt x="61" y="337"/>
                        </a:lnTo>
                        <a:lnTo>
                          <a:pt x="58" y="338"/>
                        </a:lnTo>
                        <a:lnTo>
                          <a:pt x="55" y="337"/>
                        </a:lnTo>
                        <a:lnTo>
                          <a:pt x="58" y="333"/>
                        </a:lnTo>
                        <a:lnTo>
                          <a:pt x="55" y="335"/>
                        </a:lnTo>
                        <a:lnTo>
                          <a:pt x="53" y="327"/>
                        </a:lnTo>
                        <a:lnTo>
                          <a:pt x="53" y="327"/>
                        </a:lnTo>
                        <a:lnTo>
                          <a:pt x="53" y="281"/>
                        </a:lnTo>
                        <a:lnTo>
                          <a:pt x="55" y="277"/>
                        </a:lnTo>
                        <a:lnTo>
                          <a:pt x="58" y="279"/>
                        </a:lnTo>
                        <a:lnTo>
                          <a:pt x="55" y="276"/>
                        </a:lnTo>
                        <a:lnTo>
                          <a:pt x="58" y="274"/>
                        </a:lnTo>
                        <a:lnTo>
                          <a:pt x="61" y="277"/>
                        </a:lnTo>
                        <a:lnTo>
                          <a:pt x="60" y="272"/>
                        </a:lnTo>
                        <a:lnTo>
                          <a:pt x="61" y="272"/>
                        </a:lnTo>
                        <a:lnTo>
                          <a:pt x="63" y="276"/>
                        </a:lnTo>
                        <a:lnTo>
                          <a:pt x="61" y="271"/>
                        </a:lnTo>
                        <a:lnTo>
                          <a:pt x="64" y="271"/>
                        </a:lnTo>
                        <a:lnTo>
                          <a:pt x="69" y="269"/>
                        </a:lnTo>
                        <a:lnTo>
                          <a:pt x="283" y="269"/>
                        </a:lnTo>
                        <a:lnTo>
                          <a:pt x="288" y="271"/>
                        </a:lnTo>
                        <a:lnTo>
                          <a:pt x="286" y="276"/>
                        </a:lnTo>
                        <a:lnTo>
                          <a:pt x="290" y="272"/>
                        </a:lnTo>
                        <a:lnTo>
                          <a:pt x="291" y="272"/>
                        </a:lnTo>
                        <a:lnTo>
                          <a:pt x="288" y="277"/>
                        </a:lnTo>
                        <a:lnTo>
                          <a:pt x="291" y="274"/>
                        </a:lnTo>
                        <a:lnTo>
                          <a:pt x="296" y="279"/>
                        </a:lnTo>
                        <a:lnTo>
                          <a:pt x="298" y="286"/>
                        </a:lnTo>
                        <a:lnTo>
                          <a:pt x="296" y="333"/>
                        </a:lnTo>
                        <a:lnTo>
                          <a:pt x="291" y="338"/>
                        </a:lnTo>
                        <a:lnTo>
                          <a:pt x="288" y="337"/>
                        </a:lnTo>
                        <a:lnTo>
                          <a:pt x="291" y="340"/>
                        </a:lnTo>
                        <a:lnTo>
                          <a:pt x="290" y="341"/>
                        </a:lnTo>
                        <a:lnTo>
                          <a:pt x="286" y="337"/>
                        </a:lnTo>
                        <a:lnTo>
                          <a:pt x="288" y="341"/>
                        </a:lnTo>
                        <a:lnTo>
                          <a:pt x="285" y="338"/>
                        </a:lnTo>
                        <a:lnTo>
                          <a:pt x="286" y="341"/>
                        </a:lnTo>
                        <a:lnTo>
                          <a:pt x="280" y="343"/>
                        </a:lnTo>
                        <a:lnTo>
                          <a:pt x="69" y="343"/>
                        </a:lnTo>
                        <a:moveTo>
                          <a:pt x="281" y="335"/>
                        </a:moveTo>
                        <a:lnTo>
                          <a:pt x="283" y="338"/>
                        </a:lnTo>
                        <a:lnTo>
                          <a:pt x="281" y="335"/>
                        </a:lnTo>
                        <a:lnTo>
                          <a:pt x="285" y="338"/>
                        </a:lnTo>
                        <a:lnTo>
                          <a:pt x="283" y="333"/>
                        </a:lnTo>
                        <a:lnTo>
                          <a:pt x="286" y="333"/>
                        </a:lnTo>
                        <a:lnTo>
                          <a:pt x="290" y="335"/>
                        </a:lnTo>
                        <a:lnTo>
                          <a:pt x="286" y="332"/>
                        </a:lnTo>
                        <a:lnTo>
                          <a:pt x="290" y="335"/>
                        </a:lnTo>
                        <a:lnTo>
                          <a:pt x="288" y="332"/>
                        </a:lnTo>
                        <a:lnTo>
                          <a:pt x="291" y="333"/>
                        </a:lnTo>
                        <a:lnTo>
                          <a:pt x="288" y="330"/>
                        </a:lnTo>
                        <a:lnTo>
                          <a:pt x="291" y="332"/>
                        </a:lnTo>
                        <a:lnTo>
                          <a:pt x="288" y="330"/>
                        </a:lnTo>
                        <a:lnTo>
                          <a:pt x="291" y="332"/>
                        </a:lnTo>
                        <a:lnTo>
                          <a:pt x="288" y="328"/>
                        </a:lnTo>
                        <a:lnTo>
                          <a:pt x="293" y="330"/>
                        </a:lnTo>
                        <a:lnTo>
                          <a:pt x="288" y="328"/>
                        </a:lnTo>
                        <a:lnTo>
                          <a:pt x="293" y="328"/>
                        </a:lnTo>
                        <a:lnTo>
                          <a:pt x="288" y="327"/>
                        </a:lnTo>
                        <a:lnTo>
                          <a:pt x="290" y="327"/>
                        </a:lnTo>
                        <a:lnTo>
                          <a:pt x="288" y="286"/>
                        </a:lnTo>
                        <a:lnTo>
                          <a:pt x="293" y="284"/>
                        </a:lnTo>
                        <a:lnTo>
                          <a:pt x="288" y="284"/>
                        </a:lnTo>
                        <a:lnTo>
                          <a:pt x="293" y="282"/>
                        </a:lnTo>
                        <a:lnTo>
                          <a:pt x="288" y="284"/>
                        </a:lnTo>
                        <a:lnTo>
                          <a:pt x="291" y="281"/>
                        </a:lnTo>
                        <a:lnTo>
                          <a:pt x="288" y="282"/>
                        </a:lnTo>
                        <a:lnTo>
                          <a:pt x="291" y="281"/>
                        </a:lnTo>
                        <a:lnTo>
                          <a:pt x="288" y="282"/>
                        </a:lnTo>
                        <a:lnTo>
                          <a:pt x="291" y="279"/>
                        </a:lnTo>
                        <a:lnTo>
                          <a:pt x="286" y="281"/>
                        </a:lnTo>
                        <a:lnTo>
                          <a:pt x="290" y="277"/>
                        </a:lnTo>
                        <a:lnTo>
                          <a:pt x="286" y="281"/>
                        </a:lnTo>
                        <a:lnTo>
                          <a:pt x="285" y="279"/>
                        </a:lnTo>
                        <a:lnTo>
                          <a:pt x="288" y="276"/>
                        </a:lnTo>
                        <a:lnTo>
                          <a:pt x="285" y="279"/>
                        </a:lnTo>
                        <a:lnTo>
                          <a:pt x="283" y="279"/>
                        </a:lnTo>
                        <a:lnTo>
                          <a:pt x="285" y="274"/>
                        </a:lnTo>
                        <a:lnTo>
                          <a:pt x="283" y="279"/>
                        </a:lnTo>
                        <a:lnTo>
                          <a:pt x="283" y="274"/>
                        </a:lnTo>
                        <a:lnTo>
                          <a:pt x="281" y="277"/>
                        </a:lnTo>
                        <a:lnTo>
                          <a:pt x="280" y="277"/>
                        </a:lnTo>
                        <a:lnTo>
                          <a:pt x="68" y="277"/>
                        </a:lnTo>
                        <a:lnTo>
                          <a:pt x="66" y="274"/>
                        </a:lnTo>
                        <a:lnTo>
                          <a:pt x="68" y="277"/>
                        </a:lnTo>
                        <a:lnTo>
                          <a:pt x="66" y="274"/>
                        </a:lnTo>
                        <a:lnTo>
                          <a:pt x="66" y="279"/>
                        </a:lnTo>
                        <a:lnTo>
                          <a:pt x="64" y="274"/>
                        </a:lnTo>
                        <a:lnTo>
                          <a:pt x="64" y="276"/>
                        </a:lnTo>
                        <a:lnTo>
                          <a:pt x="66" y="279"/>
                        </a:lnTo>
                        <a:lnTo>
                          <a:pt x="64" y="279"/>
                        </a:lnTo>
                        <a:lnTo>
                          <a:pt x="63" y="276"/>
                        </a:lnTo>
                        <a:lnTo>
                          <a:pt x="64" y="279"/>
                        </a:lnTo>
                        <a:lnTo>
                          <a:pt x="64" y="281"/>
                        </a:lnTo>
                        <a:lnTo>
                          <a:pt x="60" y="277"/>
                        </a:lnTo>
                        <a:lnTo>
                          <a:pt x="63" y="281"/>
                        </a:lnTo>
                        <a:lnTo>
                          <a:pt x="60" y="279"/>
                        </a:lnTo>
                        <a:lnTo>
                          <a:pt x="63" y="281"/>
                        </a:lnTo>
                        <a:lnTo>
                          <a:pt x="61" y="282"/>
                        </a:lnTo>
                        <a:lnTo>
                          <a:pt x="58" y="281"/>
                        </a:lnTo>
                        <a:lnTo>
                          <a:pt x="61" y="282"/>
                        </a:lnTo>
                        <a:lnTo>
                          <a:pt x="58" y="281"/>
                        </a:lnTo>
                        <a:lnTo>
                          <a:pt x="61" y="284"/>
                        </a:lnTo>
                        <a:lnTo>
                          <a:pt x="56" y="282"/>
                        </a:lnTo>
                        <a:lnTo>
                          <a:pt x="61" y="284"/>
                        </a:lnTo>
                        <a:lnTo>
                          <a:pt x="56" y="284"/>
                        </a:lnTo>
                        <a:lnTo>
                          <a:pt x="61" y="286"/>
                        </a:lnTo>
                        <a:lnTo>
                          <a:pt x="61" y="286"/>
                        </a:lnTo>
                        <a:lnTo>
                          <a:pt x="61" y="327"/>
                        </a:lnTo>
                        <a:lnTo>
                          <a:pt x="61" y="327"/>
                        </a:lnTo>
                        <a:lnTo>
                          <a:pt x="56" y="328"/>
                        </a:lnTo>
                        <a:lnTo>
                          <a:pt x="61" y="328"/>
                        </a:lnTo>
                        <a:lnTo>
                          <a:pt x="56" y="330"/>
                        </a:lnTo>
                        <a:lnTo>
                          <a:pt x="61" y="328"/>
                        </a:lnTo>
                        <a:lnTo>
                          <a:pt x="58" y="332"/>
                        </a:lnTo>
                        <a:lnTo>
                          <a:pt x="61" y="330"/>
                        </a:lnTo>
                        <a:lnTo>
                          <a:pt x="58" y="332"/>
                        </a:lnTo>
                        <a:lnTo>
                          <a:pt x="61" y="330"/>
                        </a:lnTo>
                        <a:lnTo>
                          <a:pt x="63" y="332"/>
                        </a:lnTo>
                        <a:lnTo>
                          <a:pt x="60" y="335"/>
                        </a:lnTo>
                        <a:lnTo>
                          <a:pt x="63" y="333"/>
                        </a:lnTo>
                        <a:lnTo>
                          <a:pt x="68" y="335"/>
                        </a:lnTo>
                        <a:lnTo>
                          <a:pt x="66" y="338"/>
                        </a:lnTo>
                        <a:lnTo>
                          <a:pt x="68" y="335"/>
                        </a:lnTo>
                        <a:lnTo>
                          <a:pt x="69" y="335"/>
                        </a:lnTo>
                        <a:lnTo>
                          <a:pt x="281" y="335"/>
                        </a:lnTo>
                        <a:moveTo>
                          <a:pt x="253" y="322"/>
                        </a:moveTo>
                        <a:lnTo>
                          <a:pt x="247" y="320"/>
                        </a:lnTo>
                        <a:lnTo>
                          <a:pt x="249" y="317"/>
                        </a:lnTo>
                        <a:lnTo>
                          <a:pt x="245" y="320"/>
                        </a:lnTo>
                        <a:lnTo>
                          <a:pt x="244" y="320"/>
                        </a:lnTo>
                        <a:lnTo>
                          <a:pt x="245" y="315"/>
                        </a:lnTo>
                        <a:lnTo>
                          <a:pt x="244" y="318"/>
                        </a:lnTo>
                        <a:lnTo>
                          <a:pt x="242" y="318"/>
                        </a:lnTo>
                        <a:lnTo>
                          <a:pt x="244" y="314"/>
                        </a:lnTo>
                        <a:lnTo>
                          <a:pt x="240" y="317"/>
                        </a:lnTo>
                        <a:lnTo>
                          <a:pt x="237" y="312"/>
                        </a:lnTo>
                        <a:lnTo>
                          <a:pt x="237" y="310"/>
                        </a:lnTo>
                        <a:lnTo>
                          <a:pt x="242" y="309"/>
                        </a:lnTo>
                        <a:lnTo>
                          <a:pt x="237" y="310"/>
                        </a:lnTo>
                        <a:lnTo>
                          <a:pt x="237" y="305"/>
                        </a:lnTo>
                        <a:lnTo>
                          <a:pt x="237" y="302"/>
                        </a:lnTo>
                        <a:lnTo>
                          <a:pt x="242" y="304"/>
                        </a:lnTo>
                        <a:lnTo>
                          <a:pt x="237" y="302"/>
                        </a:lnTo>
                        <a:lnTo>
                          <a:pt x="239" y="297"/>
                        </a:lnTo>
                        <a:lnTo>
                          <a:pt x="244" y="299"/>
                        </a:lnTo>
                        <a:lnTo>
                          <a:pt x="240" y="297"/>
                        </a:lnTo>
                        <a:lnTo>
                          <a:pt x="245" y="292"/>
                        </a:lnTo>
                        <a:lnTo>
                          <a:pt x="247" y="291"/>
                        </a:lnTo>
                        <a:lnTo>
                          <a:pt x="249" y="295"/>
                        </a:lnTo>
                        <a:lnTo>
                          <a:pt x="249" y="291"/>
                        </a:lnTo>
                        <a:lnTo>
                          <a:pt x="252" y="291"/>
                        </a:lnTo>
                        <a:lnTo>
                          <a:pt x="258" y="292"/>
                        </a:lnTo>
                        <a:lnTo>
                          <a:pt x="257" y="295"/>
                        </a:lnTo>
                        <a:lnTo>
                          <a:pt x="258" y="292"/>
                        </a:lnTo>
                        <a:lnTo>
                          <a:pt x="262" y="294"/>
                        </a:lnTo>
                        <a:lnTo>
                          <a:pt x="260" y="297"/>
                        </a:lnTo>
                        <a:lnTo>
                          <a:pt x="262" y="294"/>
                        </a:lnTo>
                        <a:lnTo>
                          <a:pt x="265" y="297"/>
                        </a:lnTo>
                        <a:lnTo>
                          <a:pt x="262" y="299"/>
                        </a:lnTo>
                        <a:lnTo>
                          <a:pt x="265" y="297"/>
                        </a:lnTo>
                        <a:lnTo>
                          <a:pt x="267" y="300"/>
                        </a:lnTo>
                        <a:lnTo>
                          <a:pt x="263" y="302"/>
                        </a:lnTo>
                        <a:lnTo>
                          <a:pt x="268" y="302"/>
                        </a:lnTo>
                        <a:lnTo>
                          <a:pt x="268" y="305"/>
                        </a:lnTo>
                        <a:lnTo>
                          <a:pt x="268" y="307"/>
                        </a:lnTo>
                        <a:lnTo>
                          <a:pt x="267" y="312"/>
                        </a:lnTo>
                        <a:lnTo>
                          <a:pt x="267" y="314"/>
                        </a:lnTo>
                        <a:lnTo>
                          <a:pt x="262" y="312"/>
                        </a:lnTo>
                        <a:lnTo>
                          <a:pt x="267" y="315"/>
                        </a:lnTo>
                        <a:lnTo>
                          <a:pt x="265" y="315"/>
                        </a:lnTo>
                        <a:lnTo>
                          <a:pt x="262" y="314"/>
                        </a:lnTo>
                        <a:lnTo>
                          <a:pt x="265" y="315"/>
                        </a:lnTo>
                        <a:lnTo>
                          <a:pt x="262" y="318"/>
                        </a:lnTo>
                        <a:lnTo>
                          <a:pt x="260" y="315"/>
                        </a:lnTo>
                        <a:lnTo>
                          <a:pt x="262" y="318"/>
                        </a:lnTo>
                        <a:lnTo>
                          <a:pt x="255" y="322"/>
                        </a:lnTo>
                        <a:lnTo>
                          <a:pt x="253" y="322"/>
                        </a:lnTo>
                        <a:moveTo>
                          <a:pt x="252" y="314"/>
                        </a:moveTo>
                        <a:lnTo>
                          <a:pt x="253" y="318"/>
                        </a:lnTo>
                        <a:lnTo>
                          <a:pt x="253" y="314"/>
                        </a:lnTo>
                        <a:lnTo>
                          <a:pt x="253" y="314"/>
                        </a:lnTo>
                        <a:lnTo>
                          <a:pt x="253" y="317"/>
                        </a:lnTo>
                        <a:lnTo>
                          <a:pt x="253" y="314"/>
                        </a:lnTo>
                        <a:lnTo>
                          <a:pt x="255" y="317"/>
                        </a:lnTo>
                        <a:lnTo>
                          <a:pt x="255" y="314"/>
                        </a:lnTo>
                        <a:lnTo>
                          <a:pt x="257" y="312"/>
                        </a:lnTo>
                        <a:lnTo>
                          <a:pt x="258" y="317"/>
                        </a:lnTo>
                        <a:lnTo>
                          <a:pt x="257" y="312"/>
                        </a:lnTo>
                        <a:lnTo>
                          <a:pt x="260" y="315"/>
                        </a:lnTo>
                        <a:lnTo>
                          <a:pt x="257" y="312"/>
                        </a:lnTo>
                        <a:lnTo>
                          <a:pt x="260" y="314"/>
                        </a:lnTo>
                        <a:lnTo>
                          <a:pt x="258" y="310"/>
                        </a:lnTo>
                        <a:lnTo>
                          <a:pt x="260" y="309"/>
                        </a:lnTo>
                        <a:lnTo>
                          <a:pt x="260" y="309"/>
                        </a:lnTo>
                        <a:lnTo>
                          <a:pt x="260" y="309"/>
                        </a:lnTo>
                        <a:lnTo>
                          <a:pt x="260" y="309"/>
                        </a:lnTo>
                        <a:lnTo>
                          <a:pt x="263" y="310"/>
                        </a:lnTo>
                        <a:lnTo>
                          <a:pt x="260" y="309"/>
                        </a:lnTo>
                        <a:lnTo>
                          <a:pt x="263" y="309"/>
                        </a:lnTo>
                        <a:lnTo>
                          <a:pt x="260" y="307"/>
                        </a:lnTo>
                        <a:lnTo>
                          <a:pt x="260" y="305"/>
                        </a:lnTo>
                        <a:lnTo>
                          <a:pt x="263" y="305"/>
                        </a:lnTo>
                        <a:lnTo>
                          <a:pt x="260" y="305"/>
                        </a:lnTo>
                        <a:lnTo>
                          <a:pt x="263" y="304"/>
                        </a:lnTo>
                        <a:lnTo>
                          <a:pt x="260" y="304"/>
                        </a:lnTo>
                        <a:lnTo>
                          <a:pt x="258" y="304"/>
                        </a:lnTo>
                        <a:lnTo>
                          <a:pt x="263" y="300"/>
                        </a:lnTo>
                        <a:lnTo>
                          <a:pt x="258" y="302"/>
                        </a:lnTo>
                        <a:lnTo>
                          <a:pt x="258" y="302"/>
                        </a:lnTo>
                        <a:lnTo>
                          <a:pt x="262" y="299"/>
                        </a:lnTo>
                        <a:lnTo>
                          <a:pt x="258" y="302"/>
                        </a:lnTo>
                        <a:lnTo>
                          <a:pt x="257" y="300"/>
                        </a:lnTo>
                        <a:lnTo>
                          <a:pt x="258" y="297"/>
                        </a:lnTo>
                        <a:lnTo>
                          <a:pt x="257" y="300"/>
                        </a:lnTo>
                        <a:lnTo>
                          <a:pt x="255" y="299"/>
                        </a:lnTo>
                        <a:lnTo>
                          <a:pt x="255" y="299"/>
                        </a:lnTo>
                        <a:lnTo>
                          <a:pt x="255" y="299"/>
                        </a:lnTo>
                        <a:lnTo>
                          <a:pt x="255" y="299"/>
                        </a:lnTo>
                        <a:lnTo>
                          <a:pt x="255" y="295"/>
                        </a:lnTo>
                        <a:lnTo>
                          <a:pt x="253" y="299"/>
                        </a:lnTo>
                        <a:lnTo>
                          <a:pt x="253" y="295"/>
                        </a:lnTo>
                        <a:lnTo>
                          <a:pt x="253" y="299"/>
                        </a:lnTo>
                        <a:lnTo>
                          <a:pt x="252" y="299"/>
                        </a:lnTo>
                        <a:lnTo>
                          <a:pt x="252" y="295"/>
                        </a:lnTo>
                        <a:lnTo>
                          <a:pt x="252" y="299"/>
                        </a:lnTo>
                        <a:lnTo>
                          <a:pt x="250" y="295"/>
                        </a:lnTo>
                        <a:lnTo>
                          <a:pt x="250" y="299"/>
                        </a:lnTo>
                        <a:lnTo>
                          <a:pt x="250" y="299"/>
                        </a:lnTo>
                        <a:lnTo>
                          <a:pt x="250" y="299"/>
                        </a:lnTo>
                        <a:lnTo>
                          <a:pt x="250" y="300"/>
                        </a:lnTo>
                        <a:lnTo>
                          <a:pt x="250" y="300"/>
                        </a:lnTo>
                        <a:lnTo>
                          <a:pt x="250" y="300"/>
                        </a:lnTo>
                        <a:lnTo>
                          <a:pt x="250" y="299"/>
                        </a:lnTo>
                        <a:lnTo>
                          <a:pt x="247" y="295"/>
                        </a:lnTo>
                        <a:lnTo>
                          <a:pt x="249" y="300"/>
                        </a:lnTo>
                        <a:lnTo>
                          <a:pt x="249" y="300"/>
                        </a:lnTo>
                        <a:lnTo>
                          <a:pt x="245" y="297"/>
                        </a:lnTo>
                        <a:lnTo>
                          <a:pt x="247" y="302"/>
                        </a:lnTo>
                        <a:lnTo>
                          <a:pt x="244" y="299"/>
                        </a:lnTo>
                        <a:lnTo>
                          <a:pt x="247" y="302"/>
                        </a:lnTo>
                        <a:lnTo>
                          <a:pt x="247" y="302"/>
                        </a:lnTo>
                        <a:lnTo>
                          <a:pt x="242" y="300"/>
                        </a:lnTo>
                        <a:lnTo>
                          <a:pt x="245" y="304"/>
                        </a:lnTo>
                        <a:lnTo>
                          <a:pt x="245" y="304"/>
                        </a:lnTo>
                        <a:lnTo>
                          <a:pt x="242" y="304"/>
                        </a:lnTo>
                        <a:lnTo>
                          <a:pt x="244" y="304"/>
                        </a:lnTo>
                        <a:lnTo>
                          <a:pt x="245" y="304"/>
                        </a:lnTo>
                        <a:lnTo>
                          <a:pt x="244" y="305"/>
                        </a:lnTo>
                        <a:lnTo>
                          <a:pt x="245" y="305"/>
                        </a:lnTo>
                        <a:lnTo>
                          <a:pt x="244" y="305"/>
                        </a:lnTo>
                        <a:lnTo>
                          <a:pt x="240" y="305"/>
                        </a:lnTo>
                        <a:lnTo>
                          <a:pt x="245" y="305"/>
                        </a:lnTo>
                        <a:lnTo>
                          <a:pt x="240" y="305"/>
                        </a:lnTo>
                        <a:lnTo>
                          <a:pt x="245" y="307"/>
                        </a:lnTo>
                        <a:lnTo>
                          <a:pt x="240" y="307"/>
                        </a:lnTo>
                        <a:lnTo>
                          <a:pt x="245" y="307"/>
                        </a:lnTo>
                        <a:lnTo>
                          <a:pt x="245" y="309"/>
                        </a:lnTo>
                        <a:lnTo>
                          <a:pt x="242" y="310"/>
                        </a:lnTo>
                        <a:lnTo>
                          <a:pt x="245" y="309"/>
                        </a:lnTo>
                        <a:lnTo>
                          <a:pt x="242" y="312"/>
                        </a:lnTo>
                        <a:lnTo>
                          <a:pt x="247" y="310"/>
                        </a:lnTo>
                        <a:lnTo>
                          <a:pt x="247" y="310"/>
                        </a:lnTo>
                        <a:lnTo>
                          <a:pt x="244" y="314"/>
                        </a:lnTo>
                        <a:lnTo>
                          <a:pt x="247" y="312"/>
                        </a:lnTo>
                        <a:lnTo>
                          <a:pt x="245" y="315"/>
                        </a:lnTo>
                        <a:lnTo>
                          <a:pt x="249" y="312"/>
                        </a:lnTo>
                        <a:lnTo>
                          <a:pt x="249" y="312"/>
                        </a:lnTo>
                        <a:lnTo>
                          <a:pt x="247" y="317"/>
                        </a:lnTo>
                        <a:lnTo>
                          <a:pt x="249" y="314"/>
                        </a:lnTo>
                        <a:lnTo>
                          <a:pt x="250" y="314"/>
                        </a:lnTo>
                        <a:lnTo>
                          <a:pt x="249" y="317"/>
                        </a:lnTo>
                        <a:lnTo>
                          <a:pt x="250" y="314"/>
                        </a:lnTo>
                        <a:lnTo>
                          <a:pt x="250" y="317"/>
                        </a:lnTo>
                        <a:lnTo>
                          <a:pt x="252" y="314"/>
                        </a:lnTo>
                        <a:lnTo>
                          <a:pt x="252" y="318"/>
                        </a:lnTo>
                        <a:lnTo>
                          <a:pt x="252" y="314"/>
                        </a:lnTo>
                        <a:moveTo>
                          <a:pt x="69" y="251"/>
                        </a:moveTo>
                        <a:lnTo>
                          <a:pt x="61" y="248"/>
                        </a:lnTo>
                        <a:lnTo>
                          <a:pt x="56" y="246"/>
                        </a:lnTo>
                        <a:lnTo>
                          <a:pt x="55" y="245"/>
                        </a:lnTo>
                        <a:lnTo>
                          <a:pt x="58" y="241"/>
                        </a:lnTo>
                        <a:lnTo>
                          <a:pt x="55" y="243"/>
                        </a:lnTo>
                        <a:lnTo>
                          <a:pt x="53" y="236"/>
                        </a:lnTo>
                        <a:lnTo>
                          <a:pt x="53" y="235"/>
                        </a:lnTo>
                        <a:lnTo>
                          <a:pt x="55" y="187"/>
                        </a:lnTo>
                        <a:lnTo>
                          <a:pt x="55" y="185"/>
                        </a:lnTo>
                        <a:lnTo>
                          <a:pt x="58" y="187"/>
                        </a:lnTo>
                        <a:lnTo>
                          <a:pt x="55" y="184"/>
                        </a:lnTo>
                        <a:lnTo>
                          <a:pt x="58" y="180"/>
                        </a:lnTo>
                        <a:lnTo>
                          <a:pt x="61" y="184"/>
                        </a:lnTo>
                        <a:lnTo>
                          <a:pt x="60" y="180"/>
                        </a:lnTo>
                        <a:lnTo>
                          <a:pt x="61" y="179"/>
                        </a:lnTo>
                        <a:lnTo>
                          <a:pt x="63" y="182"/>
                        </a:lnTo>
                        <a:lnTo>
                          <a:pt x="61" y="179"/>
                        </a:lnTo>
                        <a:lnTo>
                          <a:pt x="63" y="179"/>
                        </a:lnTo>
                        <a:lnTo>
                          <a:pt x="69" y="177"/>
                        </a:lnTo>
                        <a:lnTo>
                          <a:pt x="285" y="177"/>
                        </a:lnTo>
                        <a:lnTo>
                          <a:pt x="288" y="179"/>
                        </a:lnTo>
                        <a:lnTo>
                          <a:pt x="286" y="182"/>
                        </a:lnTo>
                        <a:lnTo>
                          <a:pt x="290" y="179"/>
                        </a:lnTo>
                        <a:lnTo>
                          <a:pt x="291" y="180"/>
                        </a:lnTo>
                        <a:lnTo>
                          <a:pt x="288" y="184"/>
                        </a:lnTo>
                        <a:lnTo>
                          <a:pt x="291" y="180"/>
                        </a:lnTo>
                        <a:lnTo>
                          <a:pt x="296" y="189"/>
                        </a:lnTo>
                        <a:lnTo>
                          <a:pt x="298" y="194"/>
                        </a:lnTo>
                        <a:lnTo>
                          <a:pt x="296" y="241"/>
                        </a:lnTo>
                        <a:lnTo>
                          <a:pt x="293" y="245"/>
                        </a:lnTo>
                        <a:lnTo>
                          <a:pt x="286" y="249"/>
                        </a:lnTo>
                        <a:lnTo>
                          <a:pt x="280" y="251"/>
                        </a:lnTo>
                        <a:lnTo>
                          <a:pt x="69" y="251"/>
                        </a:lnTo>
                        <a:moveTo>
                          <a:pt x="66" y="241"/>
                        </a:moveTo>
                        <a:lnTo>
                          <a:pt x="68" y="241"/>
                        </a:lnTo>
                        <a:lnTo>
                          <a:pt x="68" y="246"/>
                        </a:lnTo>
                        <a:lnTo>
                          <a:pt x="68" y="243"/>
                        </a:lnTo>
                        <a:lnTo>
                          <a:pt x="69" y="243"/>
                        </a:lnTo>
                        <a:lnTo>
                          <a:pt x="281" y="243"/>
                        </a:lnTo>
                        <a:lnTo>
                          <a:pt x="283" y="246"/>
                        </a:lnTo>
                        <a:lnTo>
                          <a:pt x="283" y="241"/>
                        </a:lnTo>
                        <a:lnTo>
                          <a:pt x="285" y="246"/>
                        </a:lnTo>
                        <a:lnTo>
                          <a:pt x="283" y="241"/>
                        </a:lnTo>
                        <a:lnTo>
                          <a:pt x="285" y="246"/>
                        </a:lnTo>
                        <a:lnTo>
                          <a:pt x="285" y="241"/>
                        </a:lnTo>
                        <a:lnTo>
                          <a:pt x="286" y="245"/>
                        </a:lnTo>
                        <a:lnTo>
                          <a:pt x="285" y="241"/>
                        </a:lnTo>
                        <a:lnTo>
                          <a:pt x="288" y="245"/>
                        </a:lnTo>
                        <a:lnTo>
                          <a:pt x="286" y="240"/>
                        </a:lnTo>
                        <a:lnTo>
                          <a:pt x="288" y="243"/>
                        </a:lnTo>
                        <a:lnTo>
                          <a:pt x="286" y="240"/>
                        </a:lnTo>
                        <a:lnTo>
                          <a:pt x="290" y="241"/>
                        </a:lnTo>
                        <a:lnTo>
                          <a:pt x="286" y="240"/>
                        </a:lnTo>
                        <a:lnTo>
                          <a:pt x="291" y="241"/>
                        </a:lnTo>
                        <a:lnTo>
                          <a:pt x="288" y="238"/>
                        </a:lnTo>
                        <a:lnTo>
                          <a:pt x="291" y="240"/>
                        </a:lnTo>
                        <a:lnTo>
                          <a:pt x="288" y="238"/>
                        </a:lnTo>
                        <a:lnTo>
                          <a:pt x="291" y="238"/>
                        </a:lnTo>
                        <a:lnTo>
                          <a:pt x="288" y="236"/>
                        </a:lnTo>
                        <a:lnTo>
                          <a:pt x="293" y="238"/>
                        </a:lnTo>
                        <a:lnTo>
                          <a:pt x="288" y="236"/>
                        </a:lnTo>
                        <a:lnTo>
                          <a:pt x="293" y="236"/>
                        </a:lnTo>
                        <a:lnTo>
                          <a:pt x="288" y="235"/>
                        </a:lnTo>
                        <a:lnTo>
                          <a:pt x="290" y="233"/>
                        </a:lnTo>
                        <a:lnTo>
                          <a:pt x="288" y="194"/>
                        </a:lnTo>
                        <a:lnTo>
                          <a:pt x="293" y="192"/>
                        </a:lnTo>
                        <a:lnTo>
                          <a:pt x="288" y="192"/>
                        </a:lnTo>
                        <a:lnTo>
                          <a:pt x="293" y="190"/>
                        </a:lnTo>
                        <a:lnTo>
                          <a:pt x="288" y="192"/>
                        </a:lnTo>
                        <a:lnTo>
                          <a:pt x="291" y="189"/>
                        </a:lnTo>
                        <a:lnTo>
                          <a:pt x="288" y="190"/>
                        </a:lnTo>
                        <a:lnTo>
                          <a:pt x="291" y="189"/>
                        </a:lnTo>
                        <a:lnTo>
                          <a:pt x="288" y="190"/>
                        </a:lnTo>
                        <a:lnTo>
                          <a:pt x="291" y="187"/>
                        </a:lnTo>
                        <a:lnTo>
                          <a:pt x="286" y="189"/>
                        </a:lnTo>
                        <a:lnTo>
                          <a:pt x="286" y="189"/>
                        </a:lnTo>
                        <a:lnTo>
                          <a:pt x="290" y="185"/>
                        </a:lnTo>
                        <a:lnTo>
                          <a:pt x="286" y="187"/>
                        </a:lnTo>
                        <a:lnTo>
                          <a:pt x="285" y="187"/>
                        </a:lnTo>
                        <a:lnTo>
                          <a:pt x="286" y="185"/>
                        </a:lnTo>
                        <a:lnTo>
                          <a:pt x="288" y="184"/>
                        </a:lnTo>
                        <a:lnTo>
                          <a:pt x="285" y="187"/>
                        </a:lnTo>
                        <a:lnTo>
                          <a:pt x="283" y="187"/>
                        </a:lnTo>
                        <a:lnTo>
                          <a:pt x="285" y="182"/>
                        </a:lnTo>
                        <a:lnTo>
                          <a:pt x="283" y="185"/>
                        </a:lnTo>
                        <a:lnTo>
                          <a:pt x="283" y="182"/>
                        </a:lnTo>
                        <a:lnTo>
                          <a:pt x="281" y="185"/>
                        </a:lnTo>
                        <a:lnTo>
                          <a:pt x="280" y="185"/>
                        </a:lnTo>
                        <a:lnTo>
                          <a:pt x="68" y="185"/>
                        </a:lnTo>
                        <a:lnTo>
                          <a:pt x="66" y="182"/>
                        </a:lnTo>
                        <a:lnTo>
                          <a:pt x="68" y="185"/>
                        </a:lnTo>
                        <a:lnTo>
                          <a:pt x="66" y="182"/>
                        </a:lnTo>
                        <a:lnTo>
                          <a:pt x="66" y="185"/>
                        </a:lnTo>
                        <a:lnTo>
                          <a:pt x="64" y="182"/>
                        </a:lnTo>
                        <a:lnTo>
                          <a:pt x="64" y="184"/>
                        </a:lnTo>
                        <a:lnTo>
                          <a:pt x="66" y="187"/>
                        </a:lnTo>
                        <a:lnTo>
                          <a:pt x="64" y="187"/>
                        </a:lnTo>
                        <a:lnTo>
                          <a:pt x="63" y="184"/>
                        </a:lnTo>
                        <a:lnTo>
                          <a:pt x="64" y="187"/>
                        </a:lnTo>
                        <a:lnTo>
                          <a:pt x="64" y="187"/>
                        </a:lnTo>
                        <a:lnTo>
                          <a:pt x="60" y="185"/>
                        </a:lnTo>
                        <a:lnTo>
                          <a:pt x="63" y="189"/>
                        </a:lnTo>
                        <a:lnTo>
                          <a:pt x="60" y="185"/>
                        </a:lnTo>
                        <a:lnTo>
                          <a:pt x="63" y="189"/>
                        </a:lnTo>
                        <a:lnTo>
                          <a:pt x="61" y="190"/>
                        </a:lnTo>
                        <a:lnTo>
                          <a:pt x="58" y="189"/>
                        </a:lnTo>
                        <a:lnTo>
                          <a:pt x="61" y="190"/>
                        </a:lnTo>
                        <a:lnTo>
                          <a:pt x="58" y="189"/>
                        </a:lnTo>
                        <a:lnTo>
                          <a:pt x="61" y="192"/>
                        </a:lnTo>
                        <a:lnTo>
                          <a:pt x="56" y="190"/>
                        </a:lnTo>
                        <a:lnTo>
                          <a:pt x="61" y="192"/>
                        </a:lnTo>
                        <a:lnTo>
                          <a:pt x="56" y="192"/>
                        </a:lnTo>
                        <a:lnTo>
                          <a:pt x="61" y="194"/>
                        </a:lnTo>
                        <a:lnTo>
                          <a:pt x="61" y="194"/>
                        </a:lnTo>
                        <a:lnTo>
                          <a:pt x="61" y="235"/>
                        </a:lnTo>
                        <a:lnTo>
                          <a:pt x="61" y="235"/>
                        </a:lnTo>
                        <a:lnTo>
                          <a:pt x="56" y="236"/>
                        </a:lnTo>
                        <a:lnTo>
                          <a:pt x="61" y="236"/>
                        </a:lnTo>
                        <a:lnTo>
                          <a:pt x="56" y="238"/>
                        </a:lnTo>
                        <a:lnTo>
                          <a:pt x="61" y="236"/>
                        </a:lnTo>
                        <a:lnTo>
                          <a:pt x="58" y="238"/>
                        </a:lnTo>
                        <a:lnTo>
                          <a:pt x="61" y="238"/>
                        </a:lnTo>
                        <a:lnTo>
                          <a:pt x="63" y="238"/>
                        </a:lnTo>
                        <a:lnTo>
                          <a:pt x="60" y="241"/>
                        </a:lnTo>
                        <a:lnTo>
                          <a:pt x="63" y="240"/>
                        </a:lnTo>
                        <a:lnTo>
                          <a:pt x="60" y="243"/>
                        </a:lnTo>
                        <a:lnTo>
                          <a:pt x="63" y="240"/>
                        </a:lnTo>
                        <a:lnTo>
                          <a:pt x="61" y="243"/>
                        </a:lnTo>
                        <a:lnTo>
                          <a:pt x="64" y="241"/>
                        </a:lnTo>
                        <a:lnTo>
                          <a:pt x="63" y="245"/>
                        </a:lnTo>
                        <a:lnTo>
                          <a:pt x="64" y="241"/>
                        </a:lnTo>
                        <a:lnTo>
                          <a:pt x="63" y="245"/>
                        </a:lnTo>
                        <a:lnTo>
                          <a:pt x="66" y="241"/>
                        </a:lnTo>
                        <a:lnTo>
                          <a:pt x="66" y="246"/>
                        </a:lnTo>
                        <a:lnTo>
                          <a:pt x="66" y="241"/>
                        </a:lnTo>
                        <a:moveTo>
                          <a:pt x="253" y="230"/>
                        </a:moveTo>
                        <a:lnTo>
                          <a:pt x="250" y="230"/>
                        </a:lnTo>
                        <a:lnTo>
                          <a:pt x="250" y="225"/>
                        </a:lnTo>
                        <a:lnTo>
                          <a:pt x="249" y="230"/>
                        </a:lnTo>
                        <a:lnTo>
                          <a:pt x="247" y="228"/>
                        </a:lnTo>
                        <a:lnTo>
                          <a:pt x="249" y="225"/>
                        </a:lnTo>
                        <a:lnTo>
                          <a:pt x="245" y="228"/>
                        </a:lnTo>
                        <a:lnTo>
                          <a:pt x="242" y="225"/>
                        </a:lnTo>
                        <a:lnTo>
                          <a:pt x="244" y="222"/>
                        </a:lnTo>
                        <a:lnTo>
                          <a:pt x="240" y="225"/>
                        </a:lnTo>
                        <a:lnTo>
                          <a:pt x="237" y="220"/>
                        </a:lnTo>
                        <a:lnTo>
                          <a:pt x="242" y="218"/>
                        </a:lnTo>
                        <a:lnTo>
                          <a:pt x="237" y="218"/>
                        </a:lnTo>
                        <a:lnTo>
                          <a:pt x="237" y="213"/>
                        </a:lnTo>
                        <a:lnTo>
                          <a:pt x="237" y="210"/>
                        </a:lnTo>
                        <a:lnTo>
                          <a:pt x="242" y="212"/>
                        </a:lnTo>
                        <a:lnTo>
                          <a:pt x="237" y="210"/>
                        </a:lnTo>
                        <a:lnTo>
                          <a:pt x="239" y="205"/>
                        </a:lnTo>
                        <a:lnTo>
                          <a:pt x="244" y="207"/>
                        </a:lnTo>
                        <a:lnTo>
                          <a:pt x="240" y="203"/>
                        </a:lnTo>
                        <a:lnTo>
                          <a:pt x="245" y="200"/>
                        </a:lnTo>
                        <a:lnTo>
                          <a:pt x="245" y="200"/>
                        </a:lnTo>
                        <a:lnTo>
                          <a:pt x="249" y="203"/>
                        </a:lnTo>
                        <a:lnTo>
                          <a:pt x="247" y="199"/>
                        </a:lnTo>
                        <a:lnTo>
                          <a:pt x="249" y="199"/>
                        </a:lnTo>
                        <a:lnTo>
                          <a:pt x="250" y="203"/>
                        </a:lnTo>
                        <a:lnTo>
                          <a:pt x="250" y="199"/>
                        </a:lnTo>
                        <a:lnTo>
                          <a:pt x="253" y="199"/>
                        </a:lnTo>
                        <a:lnTo>
                          <a:pt x="258" y="199"/>
                        </a:lnTo>
                        <a:lnTo>
                          <a:pt x="257" y="203"/>
                        </a:lnTo>
                        <a:lnTo>
                          <a:pt x="258" y="200"/>
                        </a:lnTo>
                        <a:lnTo>
                          <a:pt x="262" y="200"/>
                        </a:lnTo>
                        <a:lnTo>
                          <a:pt x="260" y="205"/>
                        </a:lnTo>
                        <a:lnTo>
                          <a:pt x="262" y="202"/>
                        </a:lnTo>
                        <a:lnTo>
                          <a:pt x="265" y="203"/>
                        </a:lnTo>
                        <a:lnTo>
                          <a:pt x="262" y="207"/>
                        </a:lnTo>
                        <a:lnTo>
                          <a:pt x="265" y="205"/>
                        </a:lnTo>
                        <a:lnTo>
                          <a:pt x="267" y="208"/>
                        </a:lnTo>
                        <a:lnTo>
                          <a:pt x="263" y="210"/>
                        </a:lnTo>
                        <a:lnTo>
                          <a:pt x="268" y="208"/>
                        </a:lnTo>
                        <a:lnTo>
                          <a:pt x="268" y="213"/>
                        </a:lnTo>
                        <a:lnTo>
                          <a:pt x="268" y="217"/>
                        </a:lnTo>
                        <a:lnTo>
                          <a:pt x="263" y="217"/>
                        </a:lnTo>
                        <a:lnTo>
                          <a:pt x="268" y="218"/>
                        </a:lnTo>
                        <a:lnTo>
                          <a:pt x="267" y="222"/>
                        </a:lnTo>
                        <a:lnTo>
                          <a:pt x="263" y="225"/>
                        </a:lnTo>
                        <a:lnTo>
                          <a:pt x="260" y="223"/>
                        </a:lnTo>
                        <a:lnTo>
                          <a:pt x="263" y="226"/>
                        </a:lnTo>
                        <a:lnTo>
                          <a:pt x="258" y="228"/>
                        </a:lnTo>
                        <a:lnTo>
                          <a:pt x="257" y="225"/>
                        </a:lnTo>
                        <a:lnTo>
                          <a:pt x="257" y="230"/>
                        </a:lnTo>
                        <a:lnTo>
                          <a:pt x="253" y="230"/>
                        </a:lnTo>
                        <a:moveTo>
                          <a:pt x="252" y="222"/>
                        </a:moveTo>
                        <a:lnTo>
                          <a:pt x="253" y="225"/>
                        </a:lnTo>
                        <a:lnTo>
                          <a:pt x="253" y="222"/>
                        </a:lnTo>
                        <a:lnTo>
                          <a:pt x="253" y="222"/>
                        </a:lnTo>
                        <a:lnTo>
                          <a:pt x="255" y="225"/>
                        </a:lnTo>
                        <a:lnTo>
                          <a:pt x="255" y="222"/>
                        </a:lnTo>
                        <a:lnTo>
                          <a:pt x="255" y="220"/>
                        </a:lnTo>
                        <a:lnTo>
                          <a:pt x="258" y="225"/>
                        </a:lnTo>
                        <a:lnTo>
                          <a:pt x="257" y="220"/>
                        </a:lnTo>
                        <a:lnTo>
                          <a:pt x="258" y="223"/>
                        </a:lnTo>
                        <a:lnTo>
                          <a:pt x="257" y="220"/>
                        </a:lnTo>
                        <a:lnTo>
                          <a:pt x="258" y="218"/>
                        </a:lnTo>
                        <a:lnTo>
                          <a:pt x="262" y="220"/>
                        </a:lnTo>
                        <a:lnTo>
                          <a:pt x="258" y="217"/>
                        </a:lnTo>
                        <a:lnTo>
                          <a:pt x="260" y="217"/>
                        </a:lnTo>
                        <a:lnTo>
                          <a:pt x="260" y="215"/>
                        </a:lnTo>
                        <a:lnTo>
                          <a:pt x="263" y="215"/>
                        </a:lnTo>
                        <a:lnTo>
                          <a:pt x="260" y="213"/>
                        </a:lnTo>
                        <a:lnTo>
                          <a:pt x="263" y="213"/>
                        </a:lnTo>
                        <a:lnTo>
                          <a:pt x="260" y="213"/>
                        </a:lnTo>
                        <a:lnTo>
                          <a:pt x="263" y="212"/>
                        </a:lnTo>
                        <a:lnTo>
                          <a:pt x="260" y="212"/>
                        </a:lnTo>
                        <a:lnTo>
                          <a:pt x="258" y="210"/>
                        </a:lnTo>
                        <a:lnTo>
                          <a:pt x="263" y="208"/>
                        </a:lnTo>
                        <a:lnTo>
                          <a:pt x="258" y="210"/>
                        </a:lnTo>
                        <a:lnTo>
                          <a:pt x="258" y="210"/>
                        </a:lnTo>
                        <a:lnTo>
                          <a:pt x="262" y="207"/>
                        </a:lnTo>
                        <a:lnTo>
                          <a:pt x="258" y="208"/>
                        </a:lnTo>
                        <a:lnTo>
                          <a:pt x="257" y="208"/>
                        </a:lnTo>
                        <a:lnTo>
                          <a:pt x="258" y="205"/>
                        </a:lnTo>
                        <a:lnTo>
                          <a:pt x="257" y="208"/>
                        </a:lnTo>
                        <a:lnTo>
                          <a:pt x="258" y="203"/>
                        </a:lnTo>
                        <a:lnTo>
                          <a:pt x="255" y="207"/>
                        </a:lnTo>
                        <a:lnTo>
                          <a:pt x="255" y="207"/>
                        </a:lnTo>
                        <a:lnTo>
                          <a:pt x="255" y="203"/>
                        </a:lnTo>
                        <a:lnTo>
                          <a:pt x="253" y="207"/>
                        </a:lnTo>
                        <a:lnTo>
                          <a:pt x="253" y="202"/>
                        </a:lnTo>
                        <a:lnTo>
                          <a:pt x="252" y="207"/>
                        </a:lnTo>
                        <a:lnTo>
                          <a:pt x="252" y="202"/>
                        </a:lnTo>
                        <a:lnTo>
                          <a:pt x="252" y="207"/>
                        </a:lnTo>
                        <a:lnTo>
                          <a:pt x="249" y="207"/>
                        </a:lnTo>
                        <a:lnTo>
                          <a:pt x="247" y="203"/>
                        </a:lnTo>
                        <a:lnTo>
                          <a:pt x="249" y="208"/>
                        </a:lnTo>
                        <a:lnTo>
                          <a:pt x="249" y="208"/>
                        </a:lnTo>
                        <a:lnTo>
                          <a:pt x="245" y="205"/>
                        </a:lnTo>
                        <a:lnTo>
                          <a:pt x="247" y="208"/>
                        </a:lnTo>
                        <a:lnTo>
                          <a:pt x="244" y="207"/>
                        </a:lnTo>
                        <a:lnTo>
                          <a:pt x="247" y="210"/>
                        </a:lnTo>
                        <a:lnTo>
                          <a:pt x="247" y="210"/>
                        </a:lnTo>
                        <a:lnTo>
                          <a:pt x="242" y="208"/>
                        </a:lnTo>
                        <a:lnTo>
                          <a:pt x="245" y="212"/>
                        </a:lnTo>
                        <a:lnTo>
                          <a:pt x="245" y="212"/>
                        </a:lnTo>
                        <a:lnTo>
                          <a:pt x="242" y="212"/>
                        </a:lnTo>
                        <a:lnTo>
                          <a:pt x="244" y="212"/>
                        </a:lnTo>
                        <a:lnTo>
                          <a:pt x="245" y="212"/>
                        </a:lnTo>
                        <a:lnTo>
                          <a:pt x="244" y="212"/>
                        </a:lnTo>
                        <a:lnTo>
                          <a:pt x="245" y="213"/>
                        </a:lnTo>
                        <a:lnTo>
                          <a:pt x="244" y="212"/>
                        </a:lnTo>
                        <a:lnTo>
                          <a:pt x="240" y="212"/>
                        </a:lnTo>
                        <a:lnTo>
                          <a:pt x="245" y="213"/>
                        </a:lnTo>
                        <a:lnTo>
                          <a:pt x="240" y="213"/>
                        </a:lnTo>
                        <a:lnTo>
                          <a:pt x="245" y="215"/>
                        </a:lnTo>
                        <a:lnTo>
                          <a:pt x="240" y="215"/>
                        </a:lnTo>
                        <a:lnTo>
                          <a:pt x="245" y="215"/>
                        </a:lnTo>
                        <a:lnTo>
                          <a:pt x="245" y="217"/>
                        </a:lnTo>
                        <a:lnTo>
                          <a:pt x="242" y="218"/>
                        </a:lnTo>
                        <a:lnTo>
                          <a:pt x="245" y="217"/>
                        </a:lnTo>
                        <a:lnTo>
                          <a:pt x="242" y="220"/>
                        </a:lnTo>
                        <a:lnTo>
                          <a:pt x="247" y="218"/>
                        </a:lnTo>
                        <a:lnTo>
                          <a:pt x="244" y="220"/>
                        </a:lnTo>
                        <a:lnTo>
                          <a:pt x="247" y="218"/>
                        </a:lnTo>
                        <a:lnTo>
                          <a:pt x="249" y="220"/>
                        </a:lnTo>
                        <a:lnTo>
                          <a:pt x="247" y="223"/>
                        </a:lnTo>
                        <a:lnTo>
                          <a:pt x="249" y="220"/>
                        </a:lnTo>
                        <a:lnTo>
                          <a:pt x="247" y="225"/>
                        </a:lnTo>
                        <a:lnTo>
                          <a:pt x="250" y="220"/>
                        </a:lnTo>
                        <a:lnTo>
                          <a:pt x="250" y="220"/>
                        </a:lnTo>
                        <a:lnTo>
                          <a:pt x="250" y="220"/>
                        </a:lnTo>
                        <a:lnTo>
                          <a:pt x="252" y="222"/>
                        </a:lnTo>
                        <a:lnTo>
                          <a:pt x="252" y="225"/>
                        </a:lnTo>
                        <a:lnTo>
                          <a:pt x="252" y="222"/>
                        </a:lnTo>
                        <a:moveTo>
                          <a:pt x="69" y="159"/>
                        </a:moveTo>
                        <a:lnTo>
                          <a:pt x="64" y="157"/>
                        </a:lnTo>
                        <a:lnTo>
                          <a:pt x="61" y="157"/>
                        </a:lnTo>
                        <a:lnTo>
                          <a:pt x="63" y="153"/>
                        </a:lnTo>
                        <a:lnTo>
                          <a:pt x="61" y="156"/>
                        </a:lnTo>
                        <a:lnTo>
                          <a:pt x="63" y="153"/>
                        </a:lnTo>
                        <a:lnTo>
                          <a:pt x="60" y="156"/>
                        </a:lnTo>
                        <a:lnTo>
                          <a:pt x="58" y="154"/>
                        </a:lnTo>
                        <a:lnTo>
                          <a:pt x="60" y="151"/>
                        </a:lnTo>
                        <a:lnTo>
                          <a:pt x="56" y="153"/>
                        </a:lnTo>
                        <a:lnTo>
                          <a:pt x="55" y="149"/>
                        </a:lnTo>
                        <a:lnTo>
                          <a:pt x="53" y="141"/>
                        </a:lnTo>
                        <a:lnTo>
                          <a:pt x="53" y="95"/>
                        </a:lnTo>
                        <a:lnTo>
                          <a:pt x="56" y="90"/>
                        </a:lnTo>
                        <a:lnTo>
                          <a:pt x="60" y="93"/>
                        </a:lnTo>
                        <a:lnTo>
                          <a:pt x="56" y="90"/>
                        </a:lnTo>
                        <a:lnTo>
                          <a:pt x="61" y="87"/>
                        </a:lnTo>
                        <a:lnTo>
                          <a:pt x="64" y="85"/>
                        </a:lnTo>
                        <a:lnTo>
                          <a:pt x="66" y="90"/>
                        </a:lnTo>
                        <a:lnTo>
                          <a:pt x="66" y="85"/>
                        </a:lnTo>
                        <a:lnTo>
                          <a:pt x="69" y="85"/>
                        </a:lnTo>
                        <a:lnTo>
                          <a:pt x="285" y="85"/>
                        </a:lnTo>
                        <a:lnTo>
                          <a:pt x="291" y="88"/>
                        </a:lnTo>
                        <a:lnTo>
                          <a:pt x="288" y="92"/>
                        </a:lnTo>
                        <a:lnTo>
                          <a:pt x="291" y="88"/>
                        </a:lnTo>
                        <a:lnTo>
                          <a:pt x="296" y="97"/>
                        </a:lnTo>
                        <a:lnTo>
                          <a:pt x="298" y="102"/>
                        </a:lnTo>
                        <a:lnTo>
                          <a:pt x="298" y="141"/>
                        </a:lnTo>
                        <a:lnTo>
                          <a:pt x="296" y="148"/>
                        </a:lnTo>
                        <a:lnTo>
                          <a:pt x="296" y="148"/>
                        </a:lnTo>
                        <a:lnTo>
                          <a:pt x="291" y="148"/>
                        </a:lnTo>
                        <a:lnTo>
                          <a:pt x="296" y="149"/>
                        </a:lnTo>
                        <a:lnTo>
                          <a:pt x="295" y="149"/>
                        </a:lnTo>
                        <a:lnTo>
                          <a:pt x="291" y="148"/>
                        </a:lnTo>
                        <a:lnTo>
                          <a:pt x="295" y="151"/>
                        </a:lnTo>
                        <a:lnTo>
                          <a:pt x="291" y="154"/>
                        </a:lnTo>
                        <a:lnTo>
                          <a:pt x="286" y="157"/>
                        </a:lnTo>
                        <a:lnTo>
                          <a:pt x="285" y="154"/>
                        </a:lnTo>
                        <a:lnTo>
                          <a:pt x="286" y="157"/>
                        </a:lnTo>
                        <a:lnTo>
                          <a:pt x="285" y="157"/>
                        </a:lnTo>
                        <a:lnTo>
                          <a:pt x="283" y="154"/>
                        </a:lnTo>
                        <a:lnTo>
                          <a:pt x="283" y="157"/>
                        </a:lnTo>
                        <a:lnTo>
                          <a:pt x="280" y="159"/>
                        </a:lnTo>
                        <a:lnTo>
                          <a:pt x="69" y="159"/>
                        </a:lnTo>
                        <a:moveTo>
                          <a:pt x="66" y="149"/>
                        </a:moveTo>
                        <a:lnTo>
                          <a:pt x="68" y="149"/>
                        </a:lnTo>
                        <a:lnTo>
                          <a:pt x="68" y="154"/>
                        </a:lnTo>
                        <a:lnTo>
                          <a:pt x="68" y="149"/>
                        </a:lnTo>
                        <a:lnTo>
                          <a:pt x="69" y="149"/>
                        </a:lnTo>
                        <a:lnTo>
                          <a:pt x="281" y="149"/>
                        </a:lnTo>
                        <a:lnTo>
                          <a:pt x="283" y="154"/>
                        </a:lnTo>
                        <a:lnTo>
                          <a:pt x="283" y="149"/>
                        </a:lnTo>
                        <a:lnTo>
                          <a:pt x="283" y="149"/>
                        </a:lnTo>
                        <a:lnTo>
                          <a:pt x="285" y="153"/>
                        </a:lnTo>
                        <a:lnTo>
                          <a:pt x="285" y="149"/>
                        </a:lnTo>
                        <a:lnTo>
                          <a:pt x="286" y="148"/>
                        </a:lnTo>
                        <a:lnTo>
                          <a:pt x="290" y="149"/>
                        </a:lnTo>
                        <a:lnTo>
                          <a:pt x="288" y="146"/>
                        </a:lnTo>
                        <a:lnTo>
                          <a:pt x="291" y="149"/>
                        </a:lnTo>
                        <a:lnTo>
                          <a:pt x="288" y="146"/>
                        </a:lnTo>
                        <a:lnTo>
                          <a:pt x="291" y="148"/>
                        </a:lnTo>
                        <a:lnTo>
                          <a:pt x="288" y="146"/>
                        </a:lnTo>
                        <a:lnTo>
                          <a:pt x="291" y="146"/>
                        </a:lnTo>
                        <a:lnTo>
                          <a:pt x="288" y="144"/>
                        </a:lnTo>
                        <a:lnTo>
                          <a:pt x="293" y="146"/>
                        </a:lnTo>
                        <a:lnTo>
                          <a:pt x="288" y="143"/>
                        </a:lnTo>
                        <a:lnTo>
                          <a:pt x="293" y="144"/>
                        </a:lnTo>
                        <a:lnTo>
                          <a:pt x="288" y="143"/>
                        </a:lnTo>
                        <a:lnTo>
                          <a:pt x="290" y="141"/>
                        </a:lnTo>
                        <a:lnTo>
                          <a:pt x="288" y="100"/>
                        </a:lnTo>
                        <a:lnTo>
                          <a:pt x="293" y="98"/>
                        </a:lnTo>
                        <a:lnTo>
                          <a:pt x="288" y="100"/>
                        </a:lnTo>
                        <a:lnTo>
                          <a:pt x="288" y="98"/>
                        </a:lnTo>
                        <a:lnTo>
                          <a:pt x="291" y="97"/>
                        </a:lnTo>
                        <a:lnTo>
                          <a:pt x="288" y="98"/>
                        </a:lnTo>
                        <a:lnTo>
                          <a:pt x="291" y="95"/>
                        </a:lnTo>
                        <a:lnTo>
                          <a:pt x="288" y="98"/>
                        </a:lnTo>
                        <a:lnTo>
                          <a:pt x="291" y="93"/>
                        </a:lnTo>
                        <a:lnTo>
                          <a:pt x="286" y="97"/>
                        </a:lnTo>
                        <a:lnTo>
                          <a:pt x="286" y="97"/>
                        </a:lnTo>
                        <a:lnTo>
                          <a:pt x="290" y="92"/>
                        </a:lnTo>
                        <a:lnTo>
                          <a:pt x="286" y="95"/>
                        </a:lnTo>
                        <a:lnTo>
                          <a:pt x="288" y="92"/>
                        </a:lnTo>
                        <a:lnTo>
                          <a:pt x="285" y="95"/>
                        </a:lnTo>
                        <a:lnTo>
                          <a:pt x="286" y="90"/>
                        </a:lnTo>
                        <a:lnTo>
                          <a:pt x="285" y="95"/>
                        </a:lnTo>
                        <a:lnTo>
                          <a:pt x="286" y="90"/>
                        </a:lnTo>
                        <a:lnTo>
                          <a:pt x="283" y="93"/>
                        </a:lnTo>
                        <a:lnTo>
                          <a:pt x="285" y="90"/>
                        </a:lnTo>
                        <a:lnTo>
                          <a:pt x="283" y="93"/>
                        </a:lnTo>
                        <a:lnTo>
                          <a:pt x="281" y="93"/>
                        </a:lnTo>
                        <a:lnTo>
                          <a:pt x="281" y="88"/>
                        </a:lnTo>
                        <a:lnTo>
                          <a:pt x="281" y="93"/>
                        </a:lnTo>
                        <a:lnTo>
                          <a:pt x="280" y="93"/>
                        </a:lnTo>
                        <a:lnTo>
                          <a:pt x="68" y="93"/>
                        </a:lnTo>
                        <a:lnTo>
                          <a:pt x="66" y="90"/>
                        </a:lnTo>
                        <a:lnTo>
                          <a:pt x="68" y="93"/>
                        </a:lnTo>
                        <a:lnTo>
                          <a:pt x="66" y="90"/>
                        </a:lnTo>
                        <a:lnTo>
                          <a:pt x="66" y="93"/>
                        </a:lnTo>
                        <a:lnTo>
                          <a:pt x="64" y="90"/>
                        </a:lnTo>
                        <a:lnTo>
                          <a:pt x="66" y="93"/>
                        </a:lnTo>
                        <a:lnTo>
                          <a:pt x="64" y="95"/>
                        </a:lnTo>
                        <a:lnTo>
                          <a:pt x="63" y="92"/>
                        </a:lnTo>
                        <a:lnTo>
                          <a:pt x="64" y="95"/>
                        </a:lnTo>
                        <a:lnTo>
                          <a:pt x="61" y="92"/>
                        </a:lnTo>
                        <a:lnTo>
                          <a:pt x="63" y="95"/>
                        </a:lnTo>
                        <a:lnTo>
                          <a:pt x="63" y="97"/>
                        </a:lnTo>
                        <a:lnTo>
                          <a:pt x="58" y="95"/>
                        </a:lnTo>
                        <a:lnTo>
                          <a:pt x="63" y="97"/>
                        </a:lnTo>
                        <a:lnTo>
                          <a:pt x="58" y="95"/>
                        </a:lnTo>
                        <a:lnTo>
                          <a:pt x="61" y="98"/>
                        </a:lnTo>
                        <a:lnTo>
                          <a:pt x="58" y="97"/>
                        </a:lnTo>
                        <a:lnTo>
                          <a:pt x="61" y="98"/>
                        </a:lnTo>
                        <a:lnTo>
                          <a:pt x="61" y="100"/>
                        </a:lnTo>
                        <a:lnTo>
                          <a:pt x="56" y="100"/>
                        </a:lnTo>
                        <a:lnTo>
                          <a:pt x="61" y="100"/>
                        </a:lnTo>
                        <a:lnTo>
                          <a:pt x="61" y="102"/>
                        </a:lnTo>
                        <a:lnTo>
                          <a:pt x="61" y="143"/>
                        </a:lnTo>
                        <a:lnTo>
                          <a:pt x="56" y="144"/>
                        </a:lnTo>
                        <a:lnTo>
                          <a:pt x="61" y="144"/>
                        </a:lnTo>
                        <a:lnTo>
                          <a:pt x="63" y="146"/>
                        </a:lnTo>
                        <a:lnTo>
                          <a:pt x="60" y="149"/>
                        </a:lnTo>
                        <a:lnTo>
                          <a:pt x="63" y="148"/>
                        </a:lnTo>
                        <a:lnTo>
                          <a:pt x="60" y="151"/>
                        </a:lnTo>
                        <a:lnTo>
                          <a:pt x="63" y="148"/>
                        </a:lnTo>
                        <a:lnTo>
                          <a:pt x="61" y="151"/>
                        </a:lnTo>
                        <a:lnTo>
                          <a:pt x="64" y="148"/>
                        </a:lnTo>
                        <a:lnTo>
                          <a:pt x="61" y="151"/>
                        </a:lnTo>
                        <a:lnTo>
                          <a:pt x="64" y="149"/>
                        </a:lnTo>
                        <a:lnTo>
                          <a:pt x="63" y="153"/>
                        </a:lnTo>
                        <a:lnTo>
                          <a:pt x="64" y="149"/>
                        </a:lnTo>
                        <a:lnTo>
                          <a:pt x="64" y="153"/>
                        </a:lnTo>
                        <a:lnTo>
                          <a:pt x="66" y="149"/>
                        </a:lnTo>
                        <a:moveTo>
                          <a:pt x="253" y="138"/>
                        </a:moveTo>
                        <a:lnTo>
                          <a:pt x="247" y="138"/>
                        </a:lnTo>
                        <a:lnTo>
                          <a:pt x="249" y="133"/>
                        </a:lnTo>
                        <a:lnTo>
                          <a:pt x="245" y="136"/>
                        </a:lnTo>
                        <a:lnTo>
                          <a:pt x="244" y="136"/>
                        </a:lnTo>
                        <a:lnTo>
                          <a:pt x="245" y="131"/>
                        </a:lnTo>
                        <a:lnTo>
                          <a:pt x="244" y="136"/>
                        </a:lnTo>
                        <a:lnTo>
                          <a:pt x="242" y="134"/>
                        </a:lnTo>
                        <a:lnTo>
                          <a:pt x="244" y="131"/>
                        </a:lnTo>
                        <a:lnTo>
                          <a:pt x="240" y="133"/>
                        </a:lnTo>
                        <a:lnTo>
                          <a:pt x="237" y="126"/>
                        </a:lnTo>
                        <a:lnTo>
                          <a:pt x="242" y="125"/>
                        </a:lnTo>
                        <a:lnTo>
                          <a:pt x="237" y="126"/>
                        </a:lnTo>
                        <a:lnTo>
                          <a:pt x="237" y="123"/>
                        </a:lnTo>
                        <a:lnTo>
                          <a:pt x="240" y="121"/>
                        </a:lnTo>
                        <a:lnTo>
                          <a:pt x="237" y="121"/>
                        </a:lnTo>
                        <a:lnTo>
                          <a:pt x="237" y="118"/>
                        </a:lnTo>
                        <a:lnTo>
                          <a:pt x="242" y="120"/>
                        </a:lnTo>
                        <a:lnTo>
                          <a:pt x="237" y="118"/>
                        </a:lnTo>
                        <a:lnTo>
                          <a:pt x="240" y="113"/>
                        </a:lnTo>
                        <a:lnTo>
                          <a:pt x="245" y="108"/>
                        </a:lnTo>
                        <a:lnTo>
                          <a:pt x="250" y="107"/>
                        </a:lnTo>
                        <a:lnTo>
                          <a:pt x="252" y="111"/>
                        </a:lnTo>
                        <a:lnTo>
                          <a:pt x="252" y="107"/>
                        </a:lnTo>
                        <a:lnTo>
                          <a:pt x="257" y="107"/>
                        </a:lnTo>
                        <a:lnTo>
                          <a:pt x="255" y="111"/>
                        </a:lnTo>
                        <a:lnTo>
                          <a:pt x="257" y="108"/>
                        </a:lnTo>
                        <a:lnTo>
                          <a:pt x="262" y="110"/>
                        </a:lnTo>
                        <a:lnTo>
                          <a:pt x="267" y="115"/>
                        </a:lnTo>
                        <a:lnTo>
                          <a:pt x="262" y="116"/>
                        </a:lnTo>
                        <a:lnTo>
                          <a:pt x="267" y="115"/>
                        </a:lnTo>
                        <a:lnTo>
                          <a:pt x="267" y="116"/>
                        </a:lnTo>
                        <a:lnTo>
                          <a:pt x="263" y="118"/>
                        </a:lnTo>
                        <a:lnTo>
                          <a:pt x="268" y="118"/>
                        </a:lnTo>
                        <a:lnTo>
                          <a:pt x="268" y="123"/>
                        </a:lnTo>
                        <a:lnTo>
                          <a:pt x="263" y="123"/>
                        </a:lnTo>
                        <a:lnTo>
                          <a:pt x="268" y="125"/>
                        </a:lnTo>
                        <a:lnTo>
                          <a:pt x="268" y="128"/>
                        </a:lnTo>
                        <a:lnTo>
                          <a:pt x="263" y="126"/>
                        </a:lnTo>
                        <a:lnTo>
                          <a:pt x="267" y="128"/>
                        </a:lnTo>
                        <a:lnTo>
                          <a:pt x="267" y="130"/>
                        </a:lnTo>
                        <a:lnTo>
                          <a:pt x="263" y="128"/>
                        </a:lnTo>
                        <a:lnTo>
                          <a:pt x="267" y="130"/>
                        </a:lnTo>
                        <a:lnTo>
                          <a:pt x="265" y="131"/>
                        </a:lnTo>
                        <a:lnTo>
                          <a:pt x="262" y="130"/>
                        </a:lnTo>
                        <a:lnTo>
                          <a:pt x="265" y="133"/>
                        </a:lnTo>
                        <a:lnTo>
                          <a:pt x="262" y="134"/>
                        </a:lnTo>
                        <a:lnTo>
                          <a:pt x="260" y="131"/>
                        </a:lnTo>
                        <a:lnTo>
                          <a:pt x="262" y="136"/>
                        </a:lnTo>
                        <a:lnTo>
                          <a:pt x="258" y="136"/>
                        </a:lnTo>
                        <a:lnTo>
                          <a:pt x="257" y="133"/>
                        </a:lnTo>
                        <a:lnTo>
                          <a:pt x="258" y="138"/>
                        </a:lnTo>
                        <a:lnTo>
                          <a:pt x="253" y="138"/>
                        </a:lnTo>
                        <a:moveTo>
                          <a:pt x="253" y="130"/>
                        </a:moveTo>
                        <a:lnTo>
                          <a:pt x="253" y="134"/>
                        </a:lnTo>
                        <a:lnTo>
                          <a:pt x="253" y="130"/>
                        </a:lnTo>
                        <a:lnTo>
                          <a:pt x="255" y="134"/>
                        </a:lnTo>
                        <a:lnTo>
                          <a:pt x="255" y="131"/>
                        </a:lnTo>
                        <a:lnTo>
                          <a:pt x="255" y="130"/>
                        </a:lnTo>
                        <a:lnTo>
                          <a:pt x="257" y="130"/>
                        </a:lnTo>
                        <a:lnTo>
                          <a:pt x="258" y="133"/>
                        </a:lnTo>
                        <a:lnTo>
                          <a:pt x="257" y="128"/>
                        </a:lnTo>
                        <a:lnTo>
                          <a:pt x="257" y="128"/>
                        </a:lnTo>
                        <a:lnTo>
                          <a:pt x="260" y="131"/>
                        </a:lnTo>
                        <a:lnTo>
                          <a:pt x="258" y="128"/>
                        </a:lnTo>
                        <a:lnTo>
                          <a:pt x="258" y="126"/>
                        </a:lnTo>
                        <a:lnTo>
                          <a:pt x="263" y="128"/>
                        </a:lnTo>
                        <a:lnTo>
                          <a:pt x="262" y="126"/>
                        </a:lnTo>
                        <a:lnTo>
                          <a:pt x="260" y="126"/>
                        </a:lnTo>
                        <a:lnTo>
                          <a:pt x="260" y="125"/>
                        </a:lnTo>
                        <a:lnTo>
                          <a:pt x="263" y="125"/>
                        </a:lnTo>
                        <a:lnTo>
                          <a:pt x="260" y="123"/>
                        </a:lnTo>
                        <a:lnTo>
                          <a:pt x="260" y="123"/>
                        </a:lnTo>
                        <a:lnTo>
                          <a:pt x="263" y="121"/>
                        </a:lnTo>
                        <a:lnTo>
                          <a:pt x="260" y="121"/>
                        </a:lnTo>
                        <a:lnTo>
                          <a:pt x="263" y="120"/>
                        </a:lnTo>
                        <a:lnTo>
                          <a:pt x="260" y="121"/>
                        </a:lnTo>
                        <a:lnTo>
                          <a:pt x="258" y="120"/>
                        </a:lnTo>
                        <a:lnTo>
                          <a:pt x="262" y="116"/>
                        </a:lnTo>
                        <a:lnTo>
                          <a:pt x="260" y="118"/>
                        </a:lnTo>
                        <a:lnTo>
                          <a:pt x="258" y="120"/>
                        </a:lnTo>
                        <a:lnTo>
                          <a:pt x="258" y="118"/>
                        </a:lnTo>
                        <a:lnTo>
                          <a:pt x="262" y="115"/>
                        </a:lnTo>
                        <a:lnTo>
                          <a:pt x="258" y="118"/>
                        </a:lnTo>
                        <a:lnTo>
                          <a:pt x="260" y="115"/>
                        </a:lnTo>
                        <a:lnTo>
                          <a:pt x="257" y="116"/>
                        </a:lnTo>
                        <a:lnTo>
                          <a:pt x="257" y="116"/>
                        </a:lnTo>
                        <a:lnTo>
                          <a:pt x="258" y="113"/>
                        </a:lnTo>
                        <a:lnTo>
                          <a:pt x="255" y="116"/>
                        </a:lnTo>
                        <a:lnTo>
                          <a:pt x="253" y="115"/>
                        </a:lnTo>
                        <a:lnTo>
                          <a:pt x="253" y="111"/>
                        </a:lnTo>
                        <a:lnTo>
                          <a:pt x="252" y="115"/>
                        </a:lnTo>
                        <a:lnTo>
                          <a:pt x="252" y="111"/>
                        </a:lnTo>
                        <a:lnTo>
                          <a:pt x="252" y="115"/>
                        </a:lnTo>
                        <a:lnTo>
                          <a:pt x="250" y="115"/>
                        </a:lnTo>
                        <a:lnTo>
                          <a:pt x="249" y="111"/>
                        </a:lnTo>
                        <a:lnTo>
                          <a:pt x="250" y="116"/>
                        </a:lnTo>
                        <a:lnTo>
                          <a:pt x="249" y="116"/>
                        </a:lnTo>
                        <a:lnTo>
                          <a:pt x="247" y="113"/>
                        </a:lnTo>
                        <a:lnTo>
                          <a:pt x="249" y="116"/>
                        </a:lnTo>
                        <a:lnTo>
                          <a:pt x="245" y="113"/>
                        </a:lnTo>
                        <a:lnTo>
                          <a:pt x="249" y="116"/>
                        </a:lnTo>
                        <a:lnTo>
                          <a:pt x="245" y="115"/>
                        </a:lnTo>
                        <a:lnTo>
                          <a:pt x="247" y="118"/>
                        </a:lnTo>
                        <a:lnTo>
                          <a:pt x="244" y="115"/>
                        </a:lnTo>
                        <a:lnTo>
                          <a:pt x="247" y="118"/>
                        </a:lnTo>
                        <a:lnTo>
                          <a:pt x="244" y="116"/>
                        </a:lnTo>
                        <a:lnTo>
                          <a:pt x="247" y="118"/>
                        </a:lnTo>
                        <a:lnTo>
                          <a:pt x="242" y="116"/>
                        </a:lnTo>
                        <a:lnTo>
                          <a:pt x="245" y="120"/>
                        </a:lnTo>
                        <a:lnTo>
                          <a:pt x="245" y="121"/>
                        </a:lnTo>
                        <a:lnTo>
                          <a:pt x="242" y="121"/>
                        </a:lnTo>
                        <a:lnTo>
                          <a:pt x="240" y="121"/>
                        </a:lnTo>
                        <a:lnTo>
                          <a:pt x="245" y="121"/>
                        </a:lnTo>
                        <a:lnTo>
                          <a:pt x="240" y="121"/>
                        </a:lnTo>
                        <a:lnTo>
                          <a:pt x="245" y="123"/>
                        </a:lnTo>
                        <a:lnTo>
                          <a:pt x="240" y="123"/>
                        </a:lnTo>
                        <a:lnTo>
                          <a:pt x="245" y="125"/>
                        </a:lnTo>
                        <a:lnTo>
                          <a:pt x="245" y="125"/>
                        </a:lnTo>
                        <a:lnTo>
                          <a:pt x="242" y="126"/>
                        </a:lnTo>
                        <a:lnTo>
                          <a:pt x="245" y="126"/>
                        </a:lnTo>
                        <a:lnTo>
                          <a:pt x="242" y="128"/>
                        </a:lnTo>
                        <a:lnTo>
                          <a:pt x="247" y="126"/>
                        </a:lnTo>
                        <a:lnTo>
                          <a:pt x="247" y="126"/>
                        </a:lnTo>
                        <a:lnTo>
                          <a:pt x="244" y="130"/>
                        </a:lnTo>
                        <a:lnTo>
                          <a:pt x="247" y="128"/>
                        </a:lnTo>
                        <a:lnTo>
                          <a:pt x="245" y="131"/>
                        </a:lnTo>
                        <a:lnTo>
                          <a:pt x="249" y="128"/>
                        </a:lnTo>
                        <a:lnTo>
                          <a:pt x="249" y="128"/>
                        </a:lnTo>
                        <a:lnTo>
                          <a:pt x="247" y="133"/>
                        </a:lnTo>
                        <a:lnTo>
                          <a:pt x="249" y="130"/>
                        </a:lnTo>
                        <a:lnTo>
                          <a:pt x="250" y="130"/>
                        </a:lnTo>
                        <a:lnTo>
                          <a:pt x="250" y="134"/>
                        </a:lnTo>
                        <a:lnTo>
                          <a:pt x="252" y="130"/>
                        </a:lnTo>
                        <a:lnTo>
                          <a:pt x="250" y="134"/>
                        </a:lnTo>
                        <a:lnTo>
                          <a:pt x="252" y="130"/>
                        </a:lnTo>
                        <a:lnTo>
                          <a:pt x="253" y="13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15" name="Freeform 839"/>
                  <p:cNvSpPr>
                    <a:spLocks/>
                  </p:cNvSpPr>
                  <p:nvPr/>
                </p:nvSpPr>
                <p:spPr bwMode="auto">
                  <a:xfrm>
                    <a:off x="13066713" y="4443413"/>
                    <a:ext cx="200025" cy="15875"/>
                  </a:xfrm>
                  <a:custGeom>
                    <a:avLst/>
                    <a:gdLst/>
                    <a:ahLst/>
                    <a:cxnLst>
                      <a:cxn ang="0">
                        <a:pos x="6" y="0"/>
                      </a:cxn>
                      <a:cxn ang="0">
                        <a:pos x="0" y="2"/>
                      </a:cxn>
                      <a:cxn ang="0">
                        <a:pos x="0" y="2"/>
                      </a:cxn>
                      <a:cxn ang="0">
                        <a:pos x="0" y="5"/>
                      </a:cxn>
                      <a:cxn ang="0">
                        <a:pos x="0" y="5"/>
                      </a:cxn>
                      <a:cxn ang="0">
                        <a:pos x="0" y="5"/>
                      </a:cxn>
                      <a:cxn ang="0">
                        <a:pos x="0" y="7"/>
                      </a:cxn>
                      <a:cxn ang="0">
                        <a:pos x="1" y="10"/>
                      </a:cxn>
                      <a:cxn ang="0">
                        <a:pos x="3" y="10"/>
                      </a:cxn>
                      <a:cxn ang="0">
                        <a:pos x="1" y="7"/>
                      </a:cxn>
                      <a:cxn ang="0">
                        <a:pos x="1" y="5"/>
                      </a:cxn>
                      <a:cxn ang="0">
                        <a:pos x="3" y="8"/>
                      </a:cxn>
                      <a:cxn ang="0">
                        <a:pos x="3" y="5"/>
                      </a:cxn>
                      <a:cxn ang="0">
                        <a:pos x="5" y="8"/>
                      </a:cxn>
                      <a:cxn ang="0">
                        <a:pos x="3" y="5"/>
                      </a:cxn>
                      <a:cxn ang="0">
                        <a:pos x="5" y="8"/>
                      </a:cxn>
                      <a:cxn ang="0">
                        <a:pos x="8" y="8"/>
                      </a:cxn>
                      <a:cxn ang="0">
                        <a:pos x="8" y="3"/>
                      </a:cxn>
                      <a:cxn ang="0">
                        <a:pos x="118" y="3"/>
                      </a:cxn>
                      <a:cxn ang="0">
                        <a:pos x="118" y="8"/>
                      </a:cxn>
                      <a:cxn ang="0">
                        <a:pos x="126" y="8"/>
                      </a:cxn>
                      <a:cxn ang="0">
                        <a:pos x="126" y="0"/>
                      </a:cxn>
                      <a:cxn ang="0">
                        <a:pos x="6" y="0"/>
                      </a:cxn>
                    </a:cxnLst>
                    <a:rect l="0" t="0" r="r" b="b"/>
                    <a:pathLst>
                      <a:path w="126" h="10">
                        <a:moveTo>
                          <a:pt x="6" y="0"/>
                        </a:moveTo>
                        <a:lnTo>
                          <a:pt x="0" y="2"/>
                        </a:lnTo>
                        <a:lnTo>
                          <a:pt x="0" y="2"/>
                        </a:lnTo>
                        <a:lnTo>
                          <a:pt x="0" y="5"/>
                        </a:lnTo>
                        <a:lnTo>
                          <a:pt x="0" y="5"/>
                        </a:lnTo>
                        <a:lnTo>
                          <a:pt x="0" y="5"/>
                        </a:lnTo>
                        <a:lnTo>
                          <a:pt x="0" y="7"/>
                        </a:lnTo>
                        <a:lnTo>
                          <a:pt x="1" y="10"/>
                        </a:lnTo>
                        <a:lnTo>
                          <a:pt x="3" y="10"/>
                        </a:lnTo>
                        <a:lnTo>
                          <a:pt x="1" y="7"/>
                        </a:lnTo>
                        <a:lnTo>
                          <a:pt x="1" y="5"/>
                        </a:lnTo>
                        <a:lnTo>
                          <a:pt x="3" y="8"/>
                        </a:lnTo>
                        <a:lnTo>
                          <a:pt x="3" y="5"/>
                        </a:lnTo>
                        <a:lnTo>
                          <a:pt x="5" y="8"/>
                        </a:lnTo>
                        <a:lnTo>
                          <a:pt x="3" y="5"/>
                        </a:lnTo>
                        <a:lnTo>
                          <a:pt x="5" y="8"/>
                        </a:lnTo>
                        <a:lnTo>
                          <a:pt x="8" y="8"/>
                        </a:lnTo>
                        <a:lnTo>
                          <a:pt x="8" y="3"/>
                        </a:lnTo>
                        <a:lnTo>
                          <a:pt x="118" y="3"/>
                        </a:lnTo>
                        <a:lnTo>
                          <a:pt x="118" y="8"/>
                        </a:lnTo>
                        <a:lnTo>
                          <a:pt x="126" y="8"/>
                        </a:lnTo>
                        <a:lnTo>
                          <a:pt x="126"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17" name="Freeform 840"/>
                  <p:cNvSpPr>
                    <a:spLocks/>
                  </p:cNvSpPr>
                  <p:nvPr/>
                </p:nvSpPr>
                <p:spPr bwMode="auto">
                  <a:xfrm>
                    <a:off x="13066713" y="4443413"/>
                    <a:ext cx="200025" cy="15875"/>
                  </a:xfrm>
                  <a:custGeom>
                    <a:avLst/>
                    <a:gdLst/>
                    <a:ahLst/>
                    <a:cxnLst>
                      <a:cxn ang="0">
                        <a:pos x="6" y="0"/>
                      </a:cxn>
                      <a:cxn ang="0">
                        <a:pos x="0" y="2"/>
                      </a:cxn>
                      <a:cxn ang="0">
                        <a:pos x="0" y="2"/>
                      </a:cxn>
                      <a:cxn ang="0">
                        <a:pos x="0" y="5"/>
                      </a:cxn>
                      <a:cxn ang="0">
                        <a:pos x="0" y="5"/>
                      </a:cxn>
                      <a:cxn ang="0">
                        <a:pos x="0" y="5"/>
                      </a:cxn>
                      <a:cxn ang="0">
                        <a:pos x="0" y="7"/>
                      </a:cxn>
                      <a:cxn ang="0">
                        <a:pos x="1" y="10"/>
                      </a:cxn>
                      <a:cxn ang="0">
                        <a:pos x="3" y="10"/>
                      </a:cxn>
                      <a:cxn ang="0">
                        <a:pos x="1" y="7"/>
                      </a:cxn>
                      <a:cxn ang="0">
                        <a:pos x="1" y="5"/>
                      </a:cxn>
                      <a:cxn ang="0">
                        <a:pos x="3" y="8"/>
                      </a:cxn>
                      <a:cxn ang="0">
                        <a:pos x="3" y="5"/>
                      </a:cxn>
                      <a:cxn ang="0">
                        <a:pos x="5" y="8"/>
                      </a:cxn>
                      <a:cxn ang="0">
                        <a:pos x="3" y="5"/>
                      </a:cxn>
                      <a:cxn ang="0">
                        <a:pos x="5" y="8"/>
                      </a:cxn>
                      <a:cxn ang="0">
                        <a:pos x="8" y="8"/>
                      </a:cxn>
                      <a:cxn ang="0">
                        <a:pos x="8" y="3"/>
                      </a:cxn>
                      <a:cxn ang="0">
                        <a:pos x="118" y="3"/>
                      </a:cxn>
                      <a:cxn ang="0">
                        <a:pos x="118" y="8"/>
                      </a:cxn>
                      <a:cxn ang="0">
                        <a:pos x="126" y="8"/>
                      </a:cxn>
                      <a:cxn ang="0">
                        <a:pos x="126" y="0"/>
                      </a:cxn>
                      <a:cxn ang="0">
                        <a:pos x="6" y="0"/>
                      </a:cxn>
                    </a:cxnLst>
                    <a:rect l="0" t="0" r="r" b="b"/>
                    <a:pathLst>
                      <a:path w="126" h="10">
                        <a:moveTo>
                          <a:pt x="6" y="0"/>
                        </a:moveTo>
                        <a:lnTo>
                          <a:pt x="0" y="2"/>
                        </a:lnTo>
                        <a:lnTo>
                          <a:pt x="0" y="2"/>
                        </a:lnTo>
                        <a:lnTo>
                          <a:pt x="0" y="5"/>
                        </a:lnTo>
                        <a:lnTo>
                          <a:pt x="0" y="5"/>
                        </a:lnTo>
                        <a:lnTo>
                          <a:pt x="0" y="5"/>
                        </a:lnTo>
                        <a:lnTo>
                          <a:pt x="0" y="7"/>
                        </a:lnTo>
                        <a:lnTo>
                          <a:pt x="1" y="10"/>
                        </a:lnTo>
                        <a:lnTo>
                          <a:pt x="3" y="10"/>
                        </a:lnTo>
                        <a:lnTo>
                          <a:pt x="1" y="7"/>
                        </a:lnTo>
                        <a:lnTo>
                          <a:pt x="1" y="5"/>
                        </a:lnTo>
                        <a:lnTo>
                          <a:pt x="3" y="8"/>
                        </a:lnTo>
                        <a:lnTo>
                          <a:pt x="3" y="5"/>
                        </a:lnTo>
                        <a:lnTo>
                          <a:pt x="5" y="8"/>
                        </a:lnTo>
                        <a:lnTo>
                          <a:pt x="3" y="5"/>
                        </a:lnTo>
                        <a:lnTo>
                          <a:pt x="5" y="8"/>
                        </a:lnTo>
                        <a:lnTo>
                          <a:pt x="8" y="8"/>
                        </a:lnTo>
                        <a:lnTo>
                          <a:pt x="8" y="3"/>
                        </a:lnTo>
                        <a:lnTo>
                          <a:pt x="118" y="3"/>
                        </a:lnTo>
                        <a:lnTo>
                          <a:pt x="118" y="8"/>
                        </a:lnTo>
                        <a:lnTo>
                          <a:pt x="126" y="8"/>
                        </a:lnTo>
                        <a:lnTo>
                          <a:pt x="126"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19" name="Freeform 841"/>
                  <p:cNvSpPr>
                    <a:spLocks/>
                  </p:cNvSpPr>
                  <p:nvPr/>
                </p:nvSpPr>
                <p:spPr bwMode="auto">
                  <a:xfrm>
                    <a:off x="13066713" y="4456113"/>
                    <a:ext cx="1588" cy="3175"/>
                  </a:xfrm>
                  <a:custGeom>
                    <a:avLst/>
                    <a:gdLst/>
                    <a:ahLst/>
                    <a:cxnLst>
                      <a:cxn ang="0">
                        <a:pos x="0" y="0"/>
                      </a:cxn>
                      <a:cxn ang="0">
                        <a:pos x="0" y="2"/>
                      </a:cxn>
                      <a:cxn ang="0">
                        <a:pos x="1" y="2"/>
                      </a:cxn>
                      <a:cxn ang="0">
                        <a:pos x="1" y="2"/>
                      </a:cxn>
                      <a:cxn ang="0">
                        <a:pos x="0" y="0"/>
                      </a:cxn>
                    </a:cxnLst>
                    <a:rect l="0" t="0" r="r" b="b"/>
                    <a:pathLst>
                      <a:path w="1" h="2">
                        <a:moveTo>
                          <a:pt x="0" y="0"/>
                        </a:moveTo>
                        <a:lnTo>
                          <a:pt x="0" y="2"/>
                        </a:lnTo>
                        <a:lnTo>
                          <a:pt x="1" y="2"/>
                        </a:lnTo>
                        <a:lnTo>
                          <a:pt x="1"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0" name="Freeform 842"/>
                  <p:cNvSpPr>
                    <a:spLocks/>
                  </p:cNvSpPr>
                  <p:nvPr/>
                </p:nvSpPr>
                <p:spPr bwMode="auto">
                  <a:xfrm>
                    <a:off x="13066713" y="4456113"/>
                    <a:ext cx="1588" cy="3175"/>
                  </a:xfrm>
                  <a:custGeom>
                    <a:avLst/>
                    <a:gdLst/>
                    <a:ahLst/>
                    <a:cxnLst>
                      <a:cxn ang="0">
                        <a:pos x="0" y="0"/>
                      </a:cxn>
                      <a:cxn ang="0">
                        <a:pos x="0" y="2"/>
                      </a:cxn>
                      <a:cxn ang="0">
                        <a:pos x="1" y="2"/>
                      </a:cxn>
                      <a:cxn ang="0">
                        <a:pos x="1" y="2"/>
                      </a:cxn>
                      <a:cxn ang="0">
                        <a:pos x="0" y="0"/>
                      </a:cxn>
                    </a:cxnLst>
                    <a:rect l="0" t="0" r="r" b="b"/>
                    <a:pathLst>
                      <a:path w="1" h="2">
                        <a:moveTo>
                          <a:pt x="0" y="0"/>
                        </a:moveTo>
                        <a:lnTo>
                          <a:pt x="0" y="2"/>
                        </a:lnTo>
                        <a:lnTo>
                          <a:pt x="1" y="2"/>
                        </a:lnTo>
                        <a:lnTo>
                          <a:pt x="1"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1" name="Rectangle 843"/>
                  <p:cNvSpPr>
                    <a:spLocks noChangeArrowheads="1"/>
                  </p:cNvSpPr>
                  <p:nvPr/>
                </p:nvSpPr>
                <p:spPr bwMode="auto">
                  <a:xfrm>
                    <a:off x="13066713" y="4462463"/>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2" name="Freeform 844"/>
                  <p:cNvSpPr>
                    <a:spLocks/>
                  </p:cNvSpPr>
                  <p:nvPr/>
                </p:nvSpPr>
                <p:spPr bwMode="auto">
                  <a:xfrm>
                    <a:off x="13066713" y="446246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3" name="Rectangle 845"/>
                  <p:cNvSpPr>
                    <a:spLocks noChangeArrowheads="1"/>
                  </p:cNvSpPr>
                  <p:nvPr/>
                </p:nvSpPr>
                <p:spPr bwMode="auto">
                  <a:xfrm>
                    <a:off x="13066713" y="454342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4" name="Freeform 846"/>
                  <p:cNvSpPr>
                    <a:spLocks/>
                  </p:cNvSpPr>
                  <p:nvPr/>
                </p:nvSpPr>
                <p:spPr bwMode="auto">
                  <a:xfrm>
                    <a:off x="13066713" y="4543425"/>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5" name="Rectangle 847"/>
                  <p:cNvSpPr>
                    <a:spLocks noChangeArrowheads="1"/>
                  </p:cNvSpPr>
                  <p:nvPr/>
                </p:nvSpPr>
                <p:spPr bwMode="auto">
                  <a:xfrm>
                    <a:off x="13066713" y="454342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6" name="Freeform 848"/>
                  <p:cNvSpPr>
                    <a:spLocks/>
                  </p:cNvSpPr>
                  <p:nvPr/>
                </p:nvSpPr>
                <p:spPr bwMode="auto">
                  <a:xfrm>
                    <a:off x="13066713" y="4543425"/>
                    <a:ext cx="1588" cy="1588"/>
                  </a:xfrm>
                  <a:custGeom>
                    <a:avLst/>
                    <a:gdLst/>
                    <a:ahLst/>
                    <a:cxnLst>
                      <a:cxn ang="0">
                        <a:pos x="0" y="0"/>
                      </a:cxn>
                      <a:cxn ang="0">
                        <a:pos x="0" y="1"/>
                      </a:cxn>
                      <a:cxn ang="0">
                        <a:pos x="0" y="1"/>
                      </a:cxn>
                      <a:cxn ang="0">
                        <a:pos x="0" y="0"/>
                      </a:cxn>
                    </a:cxnLst>
                    <a:rect l="0" t="0" r="r" b="b"/>
                    <a:pathLst>
                      <a:path h="1">
                        <a:moveTo>
                          <a:pt x="0" y="0"/>
                        </a:moveTo>
                        <a:lnTo>
                          <a:pt x="0" y="1"/>
                        </a:lnTo>
                        <a:lnTo>
                          <a:pt x="0" y="1"/>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7" name="Freeform 849"/>
                  <p:cNvSpPr>
                    <a:spLocks/>
                  </p:cNvSpPr>
                  <p:nvPr/>
                </p:nvSpPr>
                <p:spPr bwMode="auto">
                  <a:xfrm>
                    <a:off x="13066713" y="4545013"/>
                    <a:ext cx="1588" cy="3175"/>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8" name="Freeform 850"/>
                  <p:cNvSpPr>
                    <a:spLocks/>
                  </p:cNvSpPr>
                  <p:nvPr/>
                </p:nvSpPr>
                <p:spPr bwMode="auto">
                  <a:xfrm>
                    <a:off x="13066713" y="4545013"/>
                    <a:ext cx="1588" cy="3175"/>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29" name="Freeform 851"/>
                  <p:cNvSpPr>
                    <a:spLocks/>
                  </p:cNvSpPr>
                  <p:nvPr/>
                </p:nvSpPr>
                <p:spPr bwMode="auto">
                  <a:xfrm>
                    <a:off x="13066713" y="4545013"/>
                    <a:ext cx="12700" cy="15875"/>
                  </a:xfrm>
                  <a:custGeom>
                    <a:avLst/>
                    <a:gdLst/>
                    <a:ahLst/>
                    <a:cxnLst>
                      <a:cxn ang="0">
                        <a:pos x="1" y="0"/>
                      </a:cxn>
                      <a:cxn ang="0">
                        <a:pos x="0" y="2"/>
                      </a:cxn>
                      <a:cxn ang="0">
                        <a:pos x="0" y="8"/>
                      </a:cxn>
                      <a:cxn ang="0">
                        <a:pos x="6" y="10"/>
                      </a:cxn>
                      <a:cxn ang="0">
                        <a:pos x="8" y="10"/>
                      </a:cxn>
                      <a:cxn ang="0">
                        <a:pos x="8" y="2"/>
                      </a:cxn>
                      <a:cxn ang="0">
                        <a:pos x="6" y="2"/>
                      </a:cxn>
                      <a:cxn ang="0">
                        <a:pos x="5" y="2"/>
                      </a:cxn>
                      <a:cxn ang="0">
                        <a:pos x="5" y="5"/>
                      </a:cxn>
                      <a:cxn ang="0">
                        <a:pos x="5" y="0"/>
                      </a:cxn>
                      <a:cxn ang="0">
                        <a:pos x="3" y="0"/>
                      </a:cxn>
                      <a:cxn ang="0">
                        <a:pos x="3" y="5"/>
                      </a:cxn>
                      <a:cxn ang="0">
                        <a:pos x="3" y="0"/>
                      </a:cxn>
                      <a:cxn ang="0">
                        <a:pos x="0" y="4"/>
                      </a:cxn>
                      <a:cxn ang="0">
                        <a:pos x="1" y="0"/>
                      </a:cxn>
                    </a:cxnLst>
                    <a:rect l="0" t="0" r="r" b="b"/>
                    <a:pathLst>
                      <a:path w="8" h="10">
                        <a:moveTo>
                          <a:pt x="1" y="0"/>
                        </a:moveTo>
                        <a:lnTo>
                          <a:pt x="0" y="2"/>
                        </a:lnTo>
                        <a:lnTo>
                          <a:pt x="0" y="8"/>
                        </a:lnTo>
                        <a:lnTo>
                          <a:pt x="6" y="10"/>
                        </a:lnTo>
                        <a:lnTo>
                          <a:pt x="8" y="10"/>
                        </a:lnTo>
                        <a:lnTo>
                          <a:pt x="8" y="2"/>
                        </a:lnTo>
                        <a:lnTo>
                          <a:pt x="6" y="2"/>
                        </a:lnTo>
                        <a:lnTo>
                          <a:pt x="5" y="2"/>
                        </a:lnTo>
                        <a:lnTo>
                          <a:pt x="5" y="5"/>
                        </a:lnTo>
                        <a:lnTo>
                          <a:pt x="5" y="0"/>
                        </a:lnTo>
                        <a:lnTo>
                          <a:pt x="3" y="0"/>
                        </a:lnTo>
                        <a:lnTo>
                          <a:pt x="3" y="5"/>
                        </a:lnTo>
                        <a:lnTo>
                          <a:pt x="3" y="0"/>
                        </a:lnTo>
                        <a:lnTo>
                          <a:pt x="0" y="4"/>
                        </a:lnTo>
                        <a:lnTo>
                          <a:pt x="1"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0" name="Freeform 852"/>
                  <p:cNvSpPr>
                    <a:spLocks/>
                  </p:cNvSpPr>
                  <p:nvPr/>
                </p:nvSpPr>
                <p:spPr bwMode="auto">
                  <a:xfrm>
                    <a:off x="13066713" y="4545013"/>
                    <a:ext cx="12700" cy="15875"/>
                  </a:xfrm>
                  <a:custGeom>
                    <a:avLst/>
                    <a:gdLst/>
                    <a:ahLst/>
                    <a:cxnLst>
                      <a:cxn ang="0">
                        <a:pos x="1" y="0"/>
                      </a:cxn>
                      <a:cxn ang="0">
                        <a:pos x="0" y="2"/>
                      </a:cxn>
                      <a:cxn ang="0">
                        <a:pos x="0" y="8"/>
                      </a:cxn>
                      <a:cxn ang="0">
                        <a:pos x="6" y="10"/>
                      </a:cxn>
                      <a:cxn ang="0">
                        <a:pos x="8" y="10"/>
                      </a:cxn>
                      <a:cxn ang="0">
                        <a:pos x="8" y="2"/>
                      </a:cxn>
                      <a:cxn ang="0">
                        <a:pos x="6" y="2"/>
                      </a:cxn>
                      <a:cxn ang="0">
                        <a:pos x="5" y="2"/>
                      </a:cxn>
                      <a:cxn ang="0">
                        <a:pos x="5" y="5"/>
                      </a:cxn>
                      <a:cxn ang="0">
                        <a:pos x="5" y="0"/>
                      </a:cxn>
                      <a:cxn ang="0">
                        <a:pos x="3" y="0"/>
                      </a:cxn>
                      <a:cxn ang="0">
                        <a:pos x="3" y="5"/>
                      </a:cxn>
                      <a:cxn ang="0">
                        <a:pos x="3" y="0"/>
                      </a:cxn>
                      <a:cxn ang="0">
                        <a:pos x="0" y="4"/>
                      </a:cxn>
                      <a:cxn ang="0">
                        <a:pos x="1" y="0"/>
                      </a:cxn>
                    </a:cxnLst>
                    <a:rect l="0" t="0" r="r" b="b"/>
                    <a:pathLst>
                      <a:path w="8" h="10">
                        <a:moveTo>
                          <a:pt x="1" y="0"/>
                        </a:moveTo>
                        <a:lnTo>
                          <a:pt x="0" y="2"/>
                        </a:lnTo>
                        <a:lnTo>
                          <a:pt x="0" y="8"/>
                        </a:lnTo>
                        <a:lnTo>
                          <a:pt x="6" y="10"/>
                        </a:lnTo>
                        <a:lnTo>
                          <a:pt x="8" y="10"/>
                        </a:lnTo>
                        <a:lnTo>
                          <a:pt x="8" y="2"/>
                        </a:lnTo>
                        <a:lnTo>
                          <a:pt x="6" y="2"/>
                        </a:lnTo>
                        <a:lnTo>
                          <a:pt x="5" y="2"/>
                        </a:lnTo>
                        <a:lnTo>
                          <a:pt x="5" y="5"/>
                        </a:lnTo>
                        <a:lnTo>
                          <a:pt x="5" y="0"/>
                        </a:lnTo>
                        <a:lnTo>
                          <a:pt x="3" y="0"/>
                        </a:lnTo>
                        <a:lnTo>
                          <a:pt x="3" y="5"/>
                        </a:lnTo>
                        <a:lnTo>
                          <a:pt x="3" y="0"/>
                        </a:lnTo>
                        <a:lnTo>
                          <a:pt x="0" y="4"/>
                        </a:lnTo>
                        <a:lnTo>
                          <a:pt x="1"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1" name="Rectangle 853"/>
                  <p:cNvSpPr>
                    <a:spLocks noChangeArrowheads="1"/>
                  </p:cNvSpPr>
                  <p:nvPr/>
                </p:nvSpPr>
                <p:spPr bwMode="auto">
                  <a:xfrm>
                    <a:off x="13254038" y="454818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2" name="Rectangle 854"/>
                  <p:cNvSpPr>
                    <a:spLocks noChangeArrowheads="1"/>
                  </p:cNvSpPr>
                  <p:nvPr/>
                </p:nvSpPr>
                <p:spPr bwMode="auto">
                  <a:xfrm>
                    <a:off x="13254038" y="454818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3" name="Freeform 855"/>
                  <p:cNvSpPr>
                    <a:spLocks/>
                  </p:cNvSpPr>
                  <p:nvPr/>
                </p:nvSpPr>
                <p:spPr bwMode="auto">
                  <a:xfrm>
                    <a:off x="13066713" y="4589463"/>
                    <a:ext cx="12700" cy="15875"/>
                  </a:xfrm>
                  <a:custGeom>
                    <a:avLst/>
                    <a:gdLst/>
                    <a:ahLst/>
                    <a:cxnLst>
                      <a:cxn ang="0">
                        <a:pos x="6" y="0"/>
                      </a:cxn>
                      <a:cxn ang="0">
                        <a:pos x="1" y="2"/>
                      </a:cxn>
                      <a:cxn ang="0">
                        <a:pos x="0" y="2"/>
                      </a:cxn>
                      <a:cxn ang="0">
                        <a:pos x="0" y="5"/>
                      </a:cxn>
                      <a:cxn ang="0">
                        <a:pos x="0" y="7"/>
                      </a:cxn>
                      <a:cxn ang="0">
                        <a:pos x="0" y="5"/>
                      </a:cxn>
                      <a:cxn ang="0">
                        <a:pos x="0" y="7"/>
                      </a:cxn>
                      <a:cxn ang="0">
                        <a:pos x="1" y="10"/>
                      </a:cxn>
                      <a:cxn ang="0">
                        <a:pos x="3" y="10"/>
                      </a:cxn>
                      <a:cxn ang="0">
                        <a:pos x="1" y="7"/>
                      </a:cxn>
                      <a:cxn ang="0">
                        <a:pos x="1" y="5"/>
                      </a:cxn>
                      <a:cxn ang="0">
                        <a:pos x="3" y="10"/>
                      </a:cxn>
                      <a:cxn ang="0">
                        <a:pos x="3" y="5"/>
                      </a:cxn>
                      <a:cxn ang="0">
                        <a:pos x="5" y="8"/>
                      </a:cxn>
                      <a:cxn ang="0">
                        <a:pos x="3" y="5"/>
                      </a:cxn>
                      <a:cxn ang="0">
                        <a:pos x="5" y="8"/>
                      </a:cxn>
                      <a:cxn ang="0">
                        <a:pos x="8" y="8"/>
                      </a:cxn>
                      <a:cxn ang="0">
                        <a:pos x="8" y="0"/>
                      </a:cxn>
                      <a:cxn ang="0">
                        <a:pos x="6" y="0"/>
                      </a:cxn>
                    </a:cxnLst>
                    <a:rect l="0" t="0" r="r" b="b"/>
                    <a:pathLst>
                      <a:path w="8" h="10">
                        <a:moveTo>
                          <a:pt x="6" y="0"/>
                        </a:moveTo>
                        <a:lnTo>
                          <a:pt x="1" y="2"/>
                        </a:lnTo>
                        <a:lnTo>
                          <a:pt x="0" y="2"/>
                        </a:lnTo>
                        <a:lnTo>
                          <a:pt x="0" y="5"/>
                        </a:lnTo>
                        <a:lnTo>
                          <a:pt x="0" y="7"/>
                        </a:lnTo>
                        <a:lnTo>
                          <a:pt x="0" y="5"/>
                        </a:lnTo>
                        <a:lnTo>
                          <a:pt x="0" y="7"/>
                        </a:lnTo>
                        <a:lnTo>
                          <a:pt x="1" y="10"/>
                        </a:lnTo>
                        <a:lnTo>
                          <a:pt x="3" y="10"/>
                        </a:lnTo>
                        <a:lnTo>
                          <a:pt x="1" y="7"/>
                        </a:lnTo>
                        <a:lnTo>
                          <a:pt x="1" y="5"/>
                        </a:lnTo>
                        <a:lnTo>
                          <a:pt x="3" y="10"/>
                        </a:lnTo>
                        <a:lnTo>
                          <a:pt x="3" y="5"/>
                        </a:lnTo>
                        <a:lnTo>
                          <a:pt x="5" y="8"/>
                        </a:lnTo>
                        <a:lnTo>
                          <a:pt x="3" y="5"/>
                        </a:lnTo>
                        <a:lnTo>
                          <a:pt x="5" y="8"/>
                        </a:lnTo>
                        <a:lnTo>
                          <a:pt x="8" y="8"/>
                        </a:lnTo>
                        <a:lnTo>
                          <a:pt x="8"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4" name="Freeform 856"/>
                  <p:cNvSpPr>
                    <a:spLocks/>
                  </p:cNvSpPr>
                  <p:nvPr/>
                </p:nvSpPr>
                <p:spPr bwMode="auto">
                  <a:xfrm>
                    <a:off x="13066713" y="4589463"/>
                    <a:ext cx="12700" cy="15875"/>
                  </a:xfrm>
                  <a:custGeom>
                    <a:avLst/>
                    <a:gdLst/>
                    <a:ahLst/>
                    <a:cxnLst>
                      <a:cxn ang="0">
                        <a:pos x="6" y="0"/>
                      </a:cxn>
                      <a:cxn ang="0">
                        <a:pos x="1" y="2"/>
                      </a:cxn>
                      <a:cxn ang="0">
                        <a:pos x="0" y="2"/>
                      </a:cxn>
                      <a:cxn ang="0">
                        <a:pos x="0" y="5"/>
                      </a:cxn>
                      <a:cxn ang="0">
                        <a:pos x="0" y="7"/>
                      </a:cxn>
                      <a:cxn ang="0">
                        <a:pos x="0" y="5"/>
                      </a:cxn>
                      <a:cxn ang="0">
                        <a:pos x="0" y="7"/>
                      </a:cxn>
                      <a:cxn ang="0">
                        <a:pos x="1" y="10"/>
                      </a:cxn>
                      <a:cxn ang="0">
                        <a:pos x="3" y="10"/>
                      </a:cxn>
                      <a:cxn ang="0">
                        <a:pos x="1" y="7"/>
                      </a:cxn>
                      <a:cxn ang="0">
                        <a:pos x="1" y="5"/>
                      </a:cxn>
                      <a:cxn ang="0">
                        <a:pos x="3" y="10"/>
                      </a:cxn>
                      <a:cxn ang="0">
                        <a:pos x="3" y="5"/>
                      </a:cxn>
                      <a:cxn ang="0">
                        <a:pos x="5" y="8"/>
                      </a:cxn>
                      <a:cxn ang="0">
                        <a:pos x="3" y="5"/>
                      </a:cxn>
                      <a:cxn ang="0">
                        <a:pos x="5" y="8"/>
                      </a:cxn>
                      <a:cxn ang="0">
                        <a:pos x="8" y="8"/>
                      </a:cxn>
                      <a:cxn ang="0">
                        <a:pos x="8" y="0"/>
                      </a:cxn>
                      <a:cxn ang="0">
                        <a:pos x="6" y="0"/>
                      </a:cxn>
                    </a:cxnLst>
                    <a:rect l="0" t="0" r="r" b="b"/>
                    <a:pathLst>
                      <a:path w="8" h="10">
                        <a:moveTo>
                          <a:pt x="6" y="0"/>
                        </a:moveTo>
                        <a:lnTo>
                          <a:pt x="1" y="2"/>
                        </a:lnTo>
                        <a:lnTo>
                          <a:pt x="0" y="2"/>
                        </a:lnTo>
                        <a:lnTo>
                          <a:pt x="0" y="5"/>
                        </a:lnTo>
                        <a:lnTo>
                          <a:pt x="0" y="7"/>
                        </a:lnTo>
                        <a:lnTo>
                          <a:pt x="0" y="5"/>
                        </a:lnTo>
                        <a:lnTo>
                          <a:pt x="0" y="7"/>
                        </a:lnTo>
                        <a:lnTo>
                          <a:pt x="1" y="10"/>
                        </a:lnTo>
                        <a:lnTo>
                          <a:pt x="3" y="10"/>
                        </a:lnTo>
                        <a:lnTo>
                          <a:pt x="1" y="7"/>
                        </a:lnTo>
                        <a:lnTo>
                          <a:pt x="1" y="5"/>
                        </a:lnTo>
                        <a:lnTo>
                          <a:pt x="3" y="10"/>
                        </a:lnTo>
                        <a:lnTo>
                          <a:pt x="3" y="5"/>
                        </a:lnTo>
                        <a:lnTo>
                          <a:pt x="5" y="8"/>
                        </a:lnTo>
                        <a:lnTo>
                          <a:pt x="3" y="5"/>
                        </a:lnTo>
                        <a:lnTo>
                          <a:pt x="5" y="8"/>
                        </a:lnTo>
                        <a:lnTo>
                          <a:pt x="8" y="8"/>
                        </a:lnTo>
                        <a:lnTo>
                          <a:pt x="8"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5" name="Rectangle 857"/>
                  <p:cNvSpPr>
                    <a:spLocks noChangeArrowheads="1"/>
                  </p:cNvSpPr>
                  <p:nvPr/>
                </p:nvSpPr>
                <p:spPr bwMode="auto">
                  <a:xfrm>
                    <a:off x="13254038" y="4589463"/>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6" name="Rectangle 858"/>
                  <p:cNvSpPr>
                    <a:spLocks noChangeArrowheads="1"/>
                  </p:cNvSpPr>
                  <p:nvPr/>
                </p:nvSpPr>
                <p:spPr bwMode="auto">
                  <a:xfrm>
                    <a:off x="13254038" y="4589463"/>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7" name="Freeform 859"/>
                  <p:cNvSpPr>
                    <a:spLocks/>
                  </p:cNvSpPr>
                  <p:nvPr/>
                </p:nvSpPr>
                <p:spPr bwMode="auto">
                  <a:xfrm>
                    <a:off x="13066713" y="4602163"/>
                    <a:ext cx="1588" cy="6350"/>
                  </a:xfrm>
                  <a:custGeom>
                    <a:avLst/>
                    <a:gdLst/>
                    <a:ahLst/>
                    <a:cxnLst>
                      <a:cxn ang="0">
                        <a:pos x="0" y="0"/>
                      </a:cxn>
                      <a:cxn ang="0">
                        <a:pos x="0" y="2"/>
                      </a:cxn>
                      <a:cxn ang="0">
                        <a:pos x="1" y="4"/>
                      </a:cxn>
                      <a:cxn ang="0">
                        <a:pos x="1" y="2"/>
                      </a:cxn>
                      <a:cxn ang="0">
                        <a:pos x="0" y="0"/>
                      </a:cxn>
                    </a:cxnLst>
                    <a:rect l="0" t="0" r="r" b="b"/>
                    <a:pathLst>
                      <a:path w="1" h="4">
                        <a:moveTo>
                          <a:pt x="0" y="0"/>
                        </a:moveTo>
                        <a:lnTo>
                          <a:pt x="0" y="2"/>
                        </a:lnTo>
                        <a:lnTo>
                          <a:pt x="1" y="4"/>
                        </a:lnTo>
                        <a:lnTo>
                          <a:pt x="1"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8" name="Freeform 860"/>
                  <p:cNvSpPr>
                    <a:spLocks/>
                  </p:cNvSpPr>
                  <p:nvPr/>
                </p:nvSpPr>
                <p:spPr bwMode="auto">
                  <a:xfrm>
                    <a:off x="13066713" y="4602163"/>
                    <a:ext cx="1588" cy="6350"/>
                  </a:xfrm>
                  <a:custGeom>
                    <a:avLst/>
                    <a:gdLst/>
                    <a:ahLst/>
                    <a:cxnLst>
                      <a:cxn ang="0">
                        <a:pos x="0" y="0"/>
                      </a:cxn>
                      <a:cxn ang="0">
                        <a:pos x="0" y="2"/>
                      </a:cxn>
                      <a:cxn ang="0">
                        <a:pos x="1" y="4"/>
                      </a:cxn>
                      <a:cxn ang="0">
                        <a:pos x="1" y="2"/>
                      </a:cxn>
                      <a:cxn ang="0">
                        <a:pos x="0" y="0"/>
                      </a:cxn>
                    </a:cxnLst>
                    <a:rect l="0" t="0" r="r" b="b"/>
                    <a:pathLst>
                      <a:path w="1" h="4">
                        <a:moveTo>
                          <a:pt x="0" y="0"/>
                        </a:moveTo>
                        <a:lnTo>
                          <a:pt x="0" y="2"/>
                        </a:lnTo>
                        <a:lnTo>
                          <a:pt x="1" y="4"/>
                        </a:lnTo>
                        <a:lnTo>
                          <a:pt x="1"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39" name="Rectangle 861"/>
                  <p:cNvSpPr>
                    <a:spLocks noChangeArrowheads="1"/>
                  </p:cNvSpPr>
                  <p:nvPr/>
                </p:nvSpPr>
                <p:spPr bwMode="auto">
                  <a:xfrm>
                    <a:off x="13066713" y="4608513"/>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0" name="Freeform 862"/>
                  <p:cNvSpPr>
                    <a:spLocks/>
                  </p:cNvSpPr>
                  <p:nvPr/>
                </p:nvSpPr>
                <p:spPr bwMode="auto">
                  <a:xfrm>
                    <a:off x="13066713" y="4608513"/>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1" name="Rectangle 863"/>
                  <p:cNvSpPr>
                    <a:spLocks noChangeArrowheads="1"/>
                  </p:cNvSpPr>
                  <p:nvPr/>
                </p:nvSpPr>
                <p:spPr bwMode="auto">
                  <a:xfrm>
                    <a:off x="13066713" y="4689475"/>
                    <a:ext cx="1588" cy="1588"/>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2" name="Freeform 864"/>
                  <p:cNvSpPr>
                    <a:spLocks/>
                  </p:cNvSpPr>
                  <p:nvPr/>
                </p:nvSpPr>
                <p:spPr bwMode="auto">
                  <a:xfrm>
                    <a:off x="13066713" y="4689475"/>
                    <a:ext cx="1588" cy="158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3" name="Freeform 865"/>
                  <p:cNvSpPr>
                    <a:spLocks/>
                  </p:cNvSpPr>
                  <p:nvPr/>
                </p:nvSpPr>
                <p:spPr bwMode="auto">
                  <a:xfrm>
                    <a:off x="13066713" y="4691063"/>
                    <a:ext cx="12700" cy="15875"/>
                  </a:xfrm>
                  <a:custGeom>
                    <a:avLst/>
                    <a:gdLst/>
                    <a:ahLst/>
                    <a:cxnLst>
                      <a:cxn ang="0">
                        <a:pos x="0" y="0"/>
                      </a:cxn>
                      <a:cxn ang="0">
                        <a:pos x="0" y="0"/>
                      </a:cxn>
                      <a:cxn ang="0">
                        <a:pos x="0" y="5"/>
                      </a:cxn>
                      <a:cxn ang="0">
                        <a:pos x="0" y="4"/>
                      </a:cxn>
                      <a:cxn ang="0">
                        <a:pos x="0" y="5"/>
                      </a:cxn>
                      <a:cxn ang="0">
                        <a:pos x="0" y="7"/>
                      </a:cxn>
                      <a:cxn ang="0">
                        <a:pos x="1" y="5"/>
                      </a:cxn>
                      <a:cxn ang="0">
                        <a:pos x="0" y="8"/>
                      </a:cxn>
                      <a:cxn ang="0">
                        <a:pos x="6" y="10"/>
                      </a:cxn>
                      <a:cxn ang="0">
                        <a:pos x="8" y="10"/>
                      </a:cxn>
                      <a:cxn ang="0">
                        <a:pos x="8" y="2"/>
                      </a:cxn>
                      <a:cxn ang="0">
                        <a:pos x="6" y="2"/>
                      </a:cxn>
                      <a:cxn ang="0">
                        <a:pos x="5" y="2"/>
                      </a:cxn>
                      <a:cxn ang="0">
                        <a:pos x="3" y="5"/>
                      </a:cxn>
                      <a:cxn ang="0">
                        <a:pos x="5" y="2"/>
                      </a:cxn>
                      <a:cxn ang="0">
                        <a:pos x="0" y="0"/>
                      </a:cxn>
                    </a:cxnLst>
                    <a:rect l="0" t="0" r="r" b="b"/>
                    <a:pathLst>
                      <a:path w="8" h="10">
                        <a:moveTo>
                          <a:pt x="0" y="0"/>
                        </a:moveTo>
                        <a:lnTo>
                          <a:pt x="0" y="0"/>
                        </a:lnTo>
                        <a:lnTo>
                          <a:pt x="0" y="5"/>
                        </a:lnTo>
                        <a:lnTo>
                          <a:pt x="0" y="4"/>
                        </a:lnTo>
                        <a:lnTo>
                          <a:pt x="0" y="5"/>
                        </a:lnTo>
                        <a:lnTo>
                          <a:pt x="0" y="7"/>
                        </a:lnTo>
                        <a:lnTo>
                          <a:pt x="1" y="5"/>
                        </a:lnTo>
                        <a:lnTo>
                          <a:pt x="0" y="8"/>
                        </a:lnTo>
                        <a:lnTo>
                          <a:pt x="6" y="10"/>
                        </a:lnTo>
                        <a:lnTo>
                          <a:pt x="8" y="10"/>
                        </a:lnTo>
                        <a:lnTo>
                          <a:pt x="8" y="2"/>
                        </a:lnTo>
                        <a:lnTo>
                          <a:pt x="6" y="2"/>
                        </a:lnTo>
                        <a:lnTo>
                          <a:pt x="5" y="2"/>
                        </a:lnTo>
                        <a:lnTo>
                          <a:pt x="3" y="5"/>
                        </a:lnTo>
                        <a:lnTo>
                          <a:pt x="5" y="2"/>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4" name="Freeform 866"/>
                  <p:cNvSpPr>
                    <a:spLocks/>
                  </p:cNvSpPr>
                  <p:nvPr/>
                </p:nvSpPr>
                <p:spPr bwMode="auto">
                  <a:xfrm>
                    <a:off x="13066713" y="4691063"/>
                    <a:ext cx="12700" cy="15875"/>
                  </a:xfrm>
                  <a:custGeom>
                    <a:avLst/>
                    <a:gdLst/>
                    <a:ahLst/>
                    <a:cxnLst>
                      <a:cxn ang="0">
                        <a:pos x="0" y="0"/>
                      </a:cxn>
                      <a:cxn ang="0">
                        <a:pos x="0" y="0"/>
                      </a:cxn>
                      <a:cxn ang="0">
                        <a:pos x="0" y="5"/>
                      </a:cxn>
                      <a:cxn ang="0">
                        <a:pos x="0" y="4"/>
                      </a:cxn>
                      <a:cxn ang="0">
                        <a:pos x="0" y="5"/>
                      </a:cxn>
                      <a:cxn ang="0">
                        <a:pos x="0" y="7"/>
                      </a:cxn>
                      <a:cxn ang="0">
                        <a:pos x="1" y="5"/>
                      </a:cxn>
                      <a:cxn ang="0">
                        <a:pos x="0" y="8"/>
                      </a:cxn>
                      <a:cxn ang="0">
                        <a:pos x="6" y="10"/>
                      </a:cxn>
                      <a:cxn ang="0">
                        <a:pos x="8" y="10"/>
                      </a:cxn>
                      <a:cxn ang="0">
                        <a:pos x="8" y="2"/>
                      </a:cxn>
                      <a:cxn ang="0">
                        <a:pos x="6" y="2"/>
                      </a:cxn>
                      <a:cxn ang="0">
                        <a:pos x="5" y="2"/>
                      </a:cxn>
                      <a:cxn ang="0">
                        <a:pos x="3" y="5"/>
                      </a:cxn>
                      <a:cxn ang="0">
                        <a:pos x="5" y="2"/>
                      </a:cxn>
                      <a:cxn ang="0">
                        <a:pos x="0" y="0"/>
                      </a:cxn>
                    </a:cxnLst>
                    <a:rect l="0" t="0" r="r" b="b"/>
                    <a:pathLst>
                      <a:path w="8" h="10">
                        <a:moveTo>
                          <a:pt x="0" y="0"/>
                        </a:moveTo>
                        <a:lnTo>
                          <a:pt x="0" y="0"/>
                        </a:lnTo>
                        <a:lnTo>
                          <a:pt x="0" y="5"/>
                        </a:lnTo>
                        <a:lnTo>
                          <a:pt x="0" y="4"/>
                        </a:lnTo>
                        <a:lnTo>
                          <a:pt x="0" y="5"/>
                        </a:lnTo>
                        <a:lnTo>
                          <a:pt x="0" y="7"/>
                        </a:lnTo>
                        <a:lnTo>
                          <a:pt x="1" y="5"/>
                        </a:lnTo>
                        <a:lnTo>
                          <a:pt x="0" y="8"/>
                        </a:lnTo>
                        <a:lnTo>
                          <a:pt x="6" y="10"/>
                        </a:lnTo>
                        <a:lnTo>
                          <a:pt x="8" y="10"/>
                        </a:lnTo>
                        <a:lnTo>
                          <a:pt x="8" y="2"/>
                        </a:lnTo>
                        <a:lnTo>
                          <a:pt x="6" y="2"/>
                        </a:lnTo>
                        <a:lnTo>
                          <a:pt x="5" y="2"/>
                        </a:lnTo>
                        <a:lnTo>
                          <a:pt x="3" y="5"/>
                        </a:lnTo>
                        <a:lnTo>
                          <a:pt x="5"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5" name="Rectangle 867"/>
                  <p:cNvSpPr>
                    <a:spLocks noChangeArrowheads="1"/>
                  </p:cNvSpPr>
                  <p:nvPr/>
                </p:nvSpPr>
                <p:spPr bwMode="auto">
                  <a:xfrm>
                    <a:off x="13254038" y="469423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6" name="Rectangle 868"/>
                  <p:cNvSpPr>
                    <a:spLocks noChangeArrowheads="1"/>
                  </p:cNvSpPr>
                  <p:nvPr/>
                </p:nvSpPr>
                <p:spPr bwMode="auto">
                  <a:xfrm>
                    <a:off x="13254038" y="4694238"/>
                    <a:ext cx="12700" cy="12700"/>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7" name="Freeform 869"/>
                  <p:cNvSpPr>
                    <a:spLocks/>
                  </p:cNvSpPr>
                  <p:nvPr/>
                </p:nvSpPr>
                <p:spPr bwMode="auto">
                  <a:xfrm>
                    <a:off x="13066713" y="4735513"/>
                    <a:ext cx="200025" cy="15875"/>
                  </a:xfrm>
                  <a:custGeom>
                    <a:avLst/>
                    <a:gdLst/>
                    <a:ahLst/>
                    <a:cxnLst>
                      <a:cxn ang="0">
                        <a:pos x="6" y="0"/>
                      </a:cxn>
                      <a:cxn ang="0">
                        <a:pos x="3" y="2"/>
                      </a:cxn>
                      <a:cxn ang="0">
                        <a:pos x="0" y="2"/>
                      </a:cxn>
                      <a:cxn ang="0">
                        <a:pos x="0" y="8"/>
                      </a:cxn>
                      <a:cxn ang="0">
                        <a:pos x="1" y="10"/>
                      </a:cxn>
                      <a:cxn ang="0">
                        <a:pos x="0" y="7"/>
                      </a:cxn>
                      <a:cxn ang="0">
                        <a:pos x="3" y="10"/>
                      </a:cxn>
                      <a:cxn ang="0">
                        <a:pos x="1" y="7"/>
                      </a:cxn>
                      <a:cxn ang="0">
                        <a:pos x="3" y="10"/>
                      </a:cxn>
                      <a:cxn ang="0">
                        <a:pos x="5" y="10"/>
                      </a:cxn>
                      <a:cxn ang="0">
                        <a:pos x="3" y="5"/>
                      </a:cxn>
                      <a:cxn ang="0">
                        <a:pos x="5" y="10"/>
                      </a:cxn>
                      <a:cxn ang="0">
                        <a:pos x="126" y="10"/>
                      </a:cxn>
                      <a:cxn ang="0">
                        <a:pos x="126" y="2"/>
                      </a:cxn>
                      <a:cxn ang="0">
                        <a:pos x="118" y="2"/>
                      </a:cxn>
                      <a:cxn ang="0">
                        <a:pos x="118" y="2"/>
                      </a:cxn>
                      <a:cxn ang="0">
                        <a:pos x="8" y="2"/>
                      </a:cxn>
                      <a:cxn ang="0">
                        <a:pos x="8" y="0"/>
                      </a:cxn>
                      <a:cxn ang="0">
                        <a:pos x="6" y="0"/>
                      </a:cxn>
                    </a:cxnLst>
                    <a:rect l="0" t="0" r="r" b="b"/>
                    <a:pathLst>
                      <a:path w="126" h="10">
                        <a:moveTo>
                          <a:pt x="6" y="0"/>
                        </a:moveTo>
                        <a:lnTo>
                          <a:pt x="3" y="2"/>
                        </a:lnTo>
                        <a:lnTo>
                          <a:pt x="0" y="2"/>
                        </a:lnTo>
                        <a:lnTo>
                          <a:pt x="0" y="8"/>
                        </a:lnTo>
                        <a:lnTo>
                          <a:pt x="1" y="10"/>
                        </a:lnTo>
                        <a:lnTo>
                          <a:pt x="0" y="7"/>
                        </a:lnTo>
                        <a:lnTo>
                          <a:pt x="3" y="10"/>
                        </a:lnTo>
                        <a:lnTo>
                          <a:pt x="1" y="7"/>
                        </a:lnTo>
                        <a:lnTo>
                          <a:pt x="3" y="10"/>
                        </a:lnTo>
                        <a:lnTo>
                          <a:pt x="5" y="10"/>
                        </a:lnTo>
                        <a:lnTo>
                          <a:pt x="3" y="5"/>
                        </a:lnTo>
                        <a:lnTo>
                          <a:pt x="5" y="10"/>
                        </a:lnTo>
                        <a:lnTo>
                          <a:pt x="126" y="10"/>
                        </a:lnTo>
                        <a:lnTo>
                          <a:pt x="126" y="2"/>
                        </a:lnTo>
                        <a:lnTo>
                          <a:pt x="118" y="2"/>
                        </a:lnTo>
                        <a:lnTo>
                          <a:pt x="118" y="2"/>
                        </a:lnTo>
                        <a:lnTo>
                          <a:pt x="8" y="2"/>
                        </a:lnTo>
                        <a:lnTo>
                          <a:pt x="8" y="0"/>
                        </a:lnTo>
                        <a:lnTo>
                          <a:pt x="6"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8" name="Freeform 870"/>
                  <p:cNvSpPr>
                    <a:spLocks/>
                  </p:cNvSpPr>
                  <p:nvPr/>
                </p:nvSpPr>
                <p:spPr bwMode="auto">
                  <a:xfrm>
                    <a:off x="13066713" y="4735513"/>
                    <a:ext cx="200025" cy="15875"/>
                  </a:xfrm>
                  <a:custGeom>
                    <a:avLst/>
                    <a:gdLst/>
                    <a:ahLst/>
                    <a:cxnLst>
                      <a:cxn ang="0">
                        <a:pos x="6" y="0"/>
                      </a:cxn>
                      <a:cxn ang="0">
                        <a:pos x="3" y="2"/>
                      </a:cxn>
                      <a:cxn ang="0">
                        <a:pos x="0" y="2"/>
                      </a:cxn>
                      <a:cxn ang="0">
                        <a:pos x="0" y="8"/>
                      </a:cxn>
                      <a:cxn ang="0">
                        <a:pos x="1" y="10"/>
                      </a:cxn>
                      <a:cxn ang="0">
                        <a:pos x="0" y="7"/>
                      </a:cxn>
                      <a:cxn ang="0">
                        <a:pos x="3" y="10"/>
                      </a:cxn>
                      <a:cxn ang="0">
                        <a:pos x="1" y="7"/>
                      </a:cxn>
                      <a:cxn ang="0">
                        <a:pos x="3" y="10"/>
                      </a:cxn>
                      <a:cxn ang="0">
                        <a:pos x="5" y="10"/>
                      </a:cxn>
                      <a:cxn ang="0">
                        <a:pos x="3" y="5"/>
                      </a:cxn>
                      <a:cxn ang="0">
                        <a:pos x="5" y="10"/>
                      </a:cxn>
                      <a:cxn ang="0">
                        <a:pos x="126" y="10"/>
                      </a:cxn>
                      <a:cxn ang="0">
                        <a:pos x="126" y="2"/>
                      </a:cxn>
                      <a:cxn ang="0">
                        <a:pos x="118" y="2"/>
                      </a:cxn>
                      <a:cxn ang="0">
                        <a:pos x="118" y="2"/>
                      </a:cxn>
                      <a:cxn ang="0">
                        <a:pos x="8" y="2"/>
                      </a:cxn>
                      <a:cxn ang="0">
                        <a:pos x="8" y="0"/>
                      </a:cxn>
                      <a:cxn ang="0">
                        <a:pos x="6" y="0"/>
                      </a:cxn>
                    </a:cxnLst>
                    <a:rect l="0" t="0" r="r" b="b"/>
                    <a:pathLst>
                      <a:path w="126" h="10">
                        <a:moveTo>
                          <a:pt x="6" y="0"/>
                        </a:moveTo>
                        <a:lnTo>
                          <a:pt x="3" y="2"/>
                        </a:lnTo>
                        <a:lnTo>
                          <a:pt x="0" y="2"/>
                        </a:lnTo>
                        <a:lnTo>
                          <a:pt x="0" y="8"/>
                        </a:lnTo>
                        <a:lnTo>
                          <a:pt x="1" y="10"/>
                        </a:lnTo>
                        <a:lnTo>
                          <a:pt x="0" y="7"/>
                        </a:lnTo>
                        <a:lnTo>
                          <a:pt x="3" y="10"/>
                        </a:lnTo>
                        <a:lnTo>
                          <a:pt x="1" y="7"/>
                        </a:lnTo>
                        <a:lnTo>
                          <a:pt x="3" y="10"/>
                        </a:lnTo>
                        <a:lnTo>
                          <a:pt x="5" y="10"/>
                        </a:lnTo>
                        <a:lnTo>
                          <a:pt x="3" y="5"/>
                        </a:lnTo>
                        <a:lnTo>
                          <a:pt x="5" y="10"/>
                        </a:lnTo>
                        <a:lnTo>
                          <a:pt x="126" y="10"/>
                        </a:lnTo>
                        <a:lnTo>
                          <a:pt x="126" y="2"/>
                        </a:lnTo>
                        <a:lnTo>
                          <a:pt x="118" y="2"/>
                        </a:lnTo>
                        <a:lnTo>
                          <a:pt x="118" y="2"/>
                        </a:lnTo>
                        <a:lnTo>
                          <a:pt x="8" y="2"/>
                        </a:lnTo>
                        <a:lnTo>
                          <a:pt x="8" y="0"/>
                        </a:lnTo>
                        <a:lnTo>
                          <a:pt x="6"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49" name="Freeform 871"/>
                  <p:cNvSpPr>
                    <a:spLocks/>
                  </p:cNvSpPr>
                  <p:nvPr/>
                </p:nvSpPr>
                <p:spPr bwMode="auto">
                  <a:xfrm>
                    <a:off x="13066713" y="4748213"/>
                    <a:ext cx="1588" cy="6350"/>
                  </a:xfrm>
                  <a:custGeom>
                    <a:avLst/>
                    <a:gdLst/>
                    <a:ahLst/>
                    <a:cxnLst>
                      <a:cxn ang="0">
                        <a:pos x="0" y="0"/>
                      </a:cxn>
                      <a:cxn ang="0">
                        <a:pos x="0" y="2"/>
                      </a:cxn>
                      <a:cxn ang="0">
                        <a:pos x="1" y="4"/>
                      </a:cxn>
                      <a:cxn ang="0">
                        <a:pos x="1" y="4"/>
                      </a:cxn>
                      <a:cxn ang="0">
                        <a:pos x="0" y="0"/>
                      </a:cxn>
                    </a:cxnLst>
                    <a:rect l="0" t="0" r="r" b="b"/>
                    <a:pathLst>
                      <a:path w="1" h="4">
                        <a:moveTo>
                          <a:pt x="0" y="0"/>
                        </a:moveTo>
                        <a:lnTo>
                          <a:pt x="0" y="2"/>
                        </a:lnTo>
                        <a:lnTo>
                          <a:pt x="1" y="4"/>
                        </a:lnTo>
                        <a:lnTo>
                          <a:pt x="1" y="4"/>
                        </a:lnTo>
                        <a:lnTo>
                          <a:pt x="0" y="0"/>
                        </a:lnTo>
                        <a:close/>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51" name="Freeform 872"/>
                  <p:cNvSpPr>
                    <a:spLocks/>
                  </p:cNvSpPr>
                  <p:nvPr/>
                </p:nvSpPr>
                <p:spPr bwMode="auto">
                  <a:xfrm>
                    <a:off x="13066713" y="4748213"/>
                    <a:ext cx="1588" cy="6350"/>
                  </a:xfrm>
                  <a:custGeom>
                    <a:avLst/>
                    <a:gdLst/>
                    <a:ahLst/>
                    <a:cxnLst>
                      <a:cxn ang="0">
                        <a:pos x="0" y="0"/>
                      </a:cxn>
                      <a:cxn ang="0">
                        <a:pos x="0" y="2"/>
                      </a:cxn>
                      <a:cxn ang="0">
                        <a:pos x="1" y="4"/>
                      </a:cxn>
                      <a:cxn ang="0">
                        <a:pos x="1" y="4"/>
                      </a:cxn>
                      <a:cxn ang="0">
                        <a:pos x="0" y="0"/>
                      </a:cxn>
                    </a:cxnLst>
                    <a:rect l="0" t="0" r="r" b="b"/>
                    <a:pathLst>
                      <a:path w="1" h="4">
                        <a:moveTo>
                          <a:pt x="0" y="0"/>
                        </a:moveTo>
                        <a:lnTo>
                          <a:pt x="0" y="2"/>
                        </a:lnTo>
                        <a:lnTo>
                          <a:pt x="1" y="4"/>
                        </a:lnTo>
                        <a:lnTo>
                          <a:pt x="1" y="4"/>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54" name="Rectangle 873"/>
                  <p:cNvSpPr>
                    <a:spLocks noChangeArrowheads="1"/>
                  </p:cNvSpPr>
                  <p:nvPr/>
                </p:nvSpPr>
                <p:spPr bwMode="auto">
                  <a:xfrm>
                    <a:off x="13066713" y="4751388"/>
                    <a:ext cx="1588" cy="3175"/>
                  </a:xfrm>
                  <a:prstGeom prst="rect">
                    <a:avLst/>
                  </a:pr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sp>
                <p:nvSpPr>
                  <p:cNvPr id="355" name="Freeform 874"/>
                  <p:cNvSpPr>
                    <a:spLocks/>
                  </p:cNvSpPr>
                  <p:nvPr/>
                </p:nvSpPr>
                <p:spPr bwMode="auto">
                  <a:xfrm>
                    <a:off x="13066713" y="4751388"/>
                    <a:ext cx="1588" cy="3175"/>
                  </a:xfrm>
                  <a:custGeom>
                    <a:avLst/>
                    <a:gdLst/>
                    <a:ahLst/>
                    <a:cxnLst>
                      <a:cxn ang="0">
                        <a:pos x="0" y="0"/>
                      </a:cxn>
                      <a:cxn ang="0">
                        <a:pos x="0" y="2"/>
                      </a:cxn>
                      <a:cxn ang="0">
                        <a:pos x="0" y="2"/>
                      </a:cxn>
                      <a:cxn ang="0">
                        <a:pos x="0" y="0"/>
                      </a:cxn>
                    </a:cxnLst>
                    <a:rect l="0" t="0" r="r" b="b"/>
                    <a:pathLst>
                      <a:path h="2">
                        <a:moveTo>
                          <a:pt x="0" y="0"/>
                        </a:moveTo>
                        <a:lnTo>
                          <a:pt x="0" y="2"/>
                        </a:lnTo>
                        <a:lnTo>
                          <a:pt x="0" y="2"/>
                        </a:lnTo>
                        <a:lnTo>
                          <a:pt x="0" y="0"/>
                        </a:lnTo>
                      </a:path>
                    </a:pathLst>
                  </a:custGeom>
                  <a:gradFill flip="none" rotWithShape="1">
                    <a:gsLst>
                      <a:gs pos="0">
                        <a:srgbClr val="21DFE9">
                          <a:lumMod val="100000"/>
                        </a:srgbClr>
                      </a:gs>
                      <a:gs pos="10000">
                        <a:srgbClr val="21DFE9">
                          <a:alpha val="50000"/>
                        </a:srgbClr>
                      </a:gs>
                      <a:gs pos="83000">
                        <a:srgbClr val="21DFE9">
                          <a:alpha val="0"/>
                        </a:srgbClr>
                      </a:gs>
                    </a:gsLst>
                    <a:lin ang="5400000" scaled="1"/>
                    <a:tileRect/>
                  </a:gradFill>
                  <a:ln w="12700">
                    <a:gradFill>
                      <a:gsLst>
                        <a:gs pos="0">
                          <a:srgbClr val="4BF0F0">
                            <a:alpha val="0"/>
                          </a:srgbClr>
                        </a:gs>
                        <a:gs pos="50000">
                          <a:srgbClr val="4BF0F0"/>
                        </a:gs>
                        <a:gs pos="100000">
                          <a:srgbClr val="4BF0F0"/>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2000" b="1">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grpSp>
          </p:grpSp>
          <p:sp>
            <p:nvSpPr>
              <p:cNvPr id="236" name="Freeform 39"/>
              <p:cNvSpPr>
                <a:spLocks/>
              </p:cNvSpPr>
              <p:nvPr/>
            </p:nvSpPr>
            <p:spPr bwMode="auto">
              <a:xfrm>
                <a:off x="7347290" y="2350541"/>
                <a:ext cx="1666257" cy="1057164"/>
              </a:xfrm>
              <a:custGeom>
                <a:avLst/>
                <a:gdLst>
                  <a:gd name="T0" fmla="*/ 312 w 403"/>
                  <a:gd name="T1" fmla="*/ 73 h 256"/>
                  <a:gd name="T2" fmla="*/ 286 w 403"/>
                  <a:gd name="T3" fmla="*/ 77 h 256"/>
                  <a:gd name="T4" fmla="*/ 188 w 403"/>
                  <a:gd name="T5" fmla="*/ 0 h 256"/>
                  <a:gd name="T6" fmla="*/ 88 w 403"/>
                  <a:gd name="T7" fmla="*/ 100 h 256"/>
                  <a:gd name="T8" fmla="*/ 88 w 403"/>
                  <a:gd name="T9" fmla="*/ 106 h 256"/>
                  <a:gd name="T10" fmla="*/ 75 w 403"/>
                  <a:gd name="T11" fmla="*/ 105 h 256"/>
                  <a:gd name="T12" fmla="*/ 0 w 403"/>
                  <a:gd name="T13" fmla="*/ 180 h 256"/>
                  <a:gd name="T14" fmla="*/ 75 w 403"/>
                  <a:gd name="T15" fmla="*/ 256 h 256"/>
                  <a:gd name="T16" fmla="*/ 312 w 403"/>
                  <a:gd name="T17" fmla="*/ 256 h 256"/>
                  <a:gd name="T18" fmla="*/ 403 w 403"/>
                  <a:gd name="T19" fmla="*/ 165 h 256"/>
                  <a:gd name="T20" fmla="*/ 312 w 403"/>
                  <a:gd name="T21" fmla="*/ 7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3" h="256">
                    <a:moveTo>
                      <a:pt x="312" y="73"/>
                    </a:moveTo>
                    <a:cubicBezTo>
                      <a:pt x="303" y="73"/>
                      <a:pt x="294" y="75"/>
                      <a:pt x="286" y="77"/>
                    </a:cubicBezTo>
                    <a:cubicBezTo>
                      <a:pt x="275" y="33"/>
                      <a:pt x="236" y="0"/>
                      <a:pt x="188" y="0"/>
                    </a:cubicBezTo>
                    <a:cubicBezTo>
                      <a:pt x="133" y="0"/>
                      <a:pt x="88" y="45"/>
                      <a:pt x="88" y="100"/>
                    </a:cubicBezTo>
                    <a:cubicBezTo>
                      <a:pt x="88" y="102"/>
                      <a:pt x="88" y="104"/>
                      <a:pt x="88" y="106"/>
                    </a:cubicBezTo>
                    <a:cubicBezTo>
                      <a:pt x="84" y="105"/>
                      <a:pt x="80" y="105"/>
                      <a:pt x="75" y="105"/>
                    </a:cubicBezTo>
                    <a:cubicBezTo>
                      <a:pt x="34" y="105"/>
                      <a:pt x="0" y="138"/>
                      <a:pt x="0" y="180"/>
                    </a:cubicBezTo>
                    <a:cubicBezTo>
                      <a:pt x="0" y="222"/>
                      <a:pt x="34" y="256"/>
                      <a:pt x="75" y="256"/>
                    </a:cubicBezTo>
                    <a:cubicBezTo>
                      <a:pt x="312" y="256"/>
                      <a:pt x="312" y="256"/>
                      <a:pt x="312" y="256"/>
                    </a:cubicBezTo>
                    <a:cubicBezTo>
                      <a:pt x="362" y="256"/>
                      <a:pt x="403" y="215"/>
                      <a:pt x="403" y="165"/>
                    </a:cubicBezTo>
                    <a:cubicBezTo>
                      <a:pt x="403" y="114"/>
                      <a:pt x="362" y="73"/>
                      <a:pt x="312" y="73"/>
                    </a:cubicBezTo>
                    <a:close/>
                  </a:path>
                </a:pathLst>
              </a:cu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lt1"/>
                  </a:solidFill>
                  <a:effectLst>
                    <a:outerShdw blurRad="38100" dist="38100" dir="2700000" algn="tl">
                      <a:srgbClr val="000000">
                        <a:alpha val="43137"/>
                      </a:srgbClr>
                    </a:outerShdw>
                  </a:effectLst>
                </a:endParaRPr>
              </a:p>
            </p:txBody>
          </p:sp>
        </p:grpSp>
        <p:sp>
          <p:nvSpPr>
            <p:cNvPr id="171" name="圆角矩形 170"/>
            <p:cNvSpPr/>
            <p:nvPr/>
          </p:nvSpPr>
          <p:spPr>
            <a:xfrm>
              <a:off x="8998080" y="3232643"/>
              <a:ext cx="699732" cy="226726"/>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spcBef>
                  <a:spcPct val="20000"/>
                </a:spcBef>
              </a:pPr>
              <a:r>
                <a:rPr kumimoji="1" lang="zh-CN" altLang="en-US" sz="1000" b="1" kern="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Standard Interface</a:t>
              </a:r>
              <a:endParaRPr kumimoji="1" lang="zh-CN" altLang="en-US" sz="1000" b="1" kern="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endParaRPr>
            </a:p>
          </p:txBody>
        </p:sp>
        <p:cxnSp>
          <p:nvCxnSpPr>
            <p:cNvPr id="174" name="直接连接符 173"/>
            <p:cNvCxnSpPr/>
            <p:nvPr/>
          </p:nvCxnSpPr>
          <p:spPr>
            <a:xfrm flipV="1">
              <a:off x="5049450" y="1307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p:nvPr/>
          </p:nvCxnSpPr>
          <p:spPr>
            <a:xfrm flipV="1">
              <a:off x="7353706" y="1307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76" name="直接连接符 175"/>
            <p:cNvCxnSpPr/>
            <p:nvPr/>
          </p:nvCxnSpPr>
          <p:spPr>
            <a:xfrm flipV="1">
              <a:off x="9446430" y="1307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77" name="椭圆 176"/>
            <p:cNvSpPr/>
            <p:nvPr/>
          </p:nvSpPr>
          <p:spPr>
            <a:xfrm>
              <a:off x="3485784" y="2155859"/>
              <a:ext cx="1275634" cy="1275634"/>
            </a:xfrm>
            <a:prstGeom prst="ellipse">
              <a:avLst/>
            </a:pr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ffectLst>
                  <a:outerShdw blurRad="38100" dist="38100" dir="2700000" algn="tl">
                    <a:srgbClr val="000000">
                      <a:alpha val="43137"/>
                    </a:srgbClr>
                  </a:outerShdw>
                </a:effectLst>
              </a:endParaRPr>
            </a:p>
          </p:txBody>
        </p:sp>
        <p:grpSp>
          <p:nvGrpSpPr>
            <p:cNvPr id="178" name="组合 186"/>
            <p:cNvGrpSpPr/>
            <p:nvPr/>
          </p:nvGrpSpPr>
          <p:grpSpPr>
            <a:xfrm>
              <a:off x="584432" y="4242656"/>
              <a:ext cx="11090275" cy="339266"/>
              <a:chOff x="783477" y="5225020"/>
              <a:chExt cx="2260187" cy="339266"/>
            </a:xfrm>
          </p:grpSpPr>
          <p:sp>
            <p:nvSpPr>
              <p:cNvPr id="231" name="Freeform 6"/>
              <p:cNvSpPr>
                <a:spLocks/>
              </p:cNvSpPr>
              <p:nvPr/>
            </p:nvSpPr>
            <p:spPr bwMode="gray">
              <a:xfrm>
                <a:off x="783477" y="5225020"/>
                <a:ext cx="2255319" cy="248123"/>
              </a:xfrm>
              <a:prstGeom prst="trapezoid">
                <a:avLst>
                  <a:gd name="adj" fmla="val 265997"/>
                </a:avLst>
              </a:prstGeom>
              <a:gradFill flip="none" rotWithShape="1">
                <a:gsLst>
                  <a:gs pos="10000">
                    <a:srgbClr val="0070C0"/>
                  </a:gs>
                  <a:gs pos="83000">
                    <a:srgbClr val="21DFE9">
                      <a:alpha val="0"/>
                    </a:srgbClr>
                  </a:gs>
                </a:gsLst>
                <a:lin ang="162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12472" algn="ctr">
                  <a:lnSpc>
                    <a:spcPts val="1749"/>
                  </a:lnSpc>
                  <a:buFont typeface="Arial" pitchFamily="34" charset="0"/>
                  <a:buChar char="•"/>
                </a:pPr>
                <a:endParaRPr lang="zh-CN" altLang="en-US">
                  <a:solidFill>
                    <a:schemeClr val="lt1"/>
                  </a:solidFill>
                  <a:effectLst>
                    <a:outerShdw blurRad="38100" dist="38100" dir="2700000" algn="tl">
                      <a:srgbClr val="000000">
                        <a:alpha val="43137"/>
                      </a:srgbClr>
                    </a:outerShdw>
                  </a:effectLst>
                  <a:latin typeface="Arial" pitchFamily="34" charset="0"/>
                  <a:cs typeface="Arial" pitchFamily="34" charset="0"/>
                </a:endParaRPr>
              </a:p>
            </p:txBody>
          </p:sp>
          <p:pic>
            <p:nvPicPr>
              <p:cNvPr id="232" name="Picture 4" descr="D:\mary\正在进行中\兰波\link\线条.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3009" y="5376202"/>
                <a:ext cx="2190655" cy="18808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79" name="组合 9"/>
            <p:cNvGrpSpPr/>
            <p:nvPr/>
          </p:nvGrpSpPr>
          <p:grpSpPr>
            <a:xfrm flipV="1">
              <a:off x="5013370" y="3263119"/>
              <a:ext cx="4433060" cy="1206630"/>
              <a:chOff x="4585419" y="3789834"/>
              <a:chExt cx="4829028" cy="1206630"/>
            </a:xfrm>
          </p:grpSpPr>
          <p:cxnSp>
            <p:nvCxnSpPr>
              <p:cNvPr id="228" name="直接连接符 227"/>
              <p:cNvCxnSpPr/>
              <p:nvPr/>
            </p:nvCxnSpPr>
            <p:spPr>
              <a:xfrm flipV="1">
                <a:off x="4585419" y="3789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p:nvPr/>
            </p:nvCxnSpPr>
            <p:spPr>
              <a:xfrm flipV="1">
                <a:off x="7062517" y="3789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p:nvPr/>
            </p:nvCxnSpPr>
            <p:spPr>
              <a:xfrm flipV="1">
                <a:off x="9414447" y="3789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80" name="组合 128"/>
            <p:cNvGrpSpPr>
              <a:grpSpLocks noChangeAspect="1"/>
            </p:cNvGrpSpPr>
            <p:nvPr/>
          </p:nvGrpSpPr>
          <p:grpSpPr>
            <a:xfrm>
              <a:off x="5409490" y="2172279"/>
              <a:ext cx="1683144" cy="1005462"/>
              <a:chOff x="6754694" y="1949450"/>
              <a:chExt cx="1929847" cy="1037204"/>
            </a:xfrm>
          </p:grpSpPr>
          <p:sp>
            <p:nvSpPr>
              <p:cNvPr id="225" name="Freeform 8"/>
              <p:cNvSpPr>
                <a:spLocks/>
              </p:cNvSpPr>
              <p:nvPr/>
            </p:nvSpPr>
            <p:spPr bwMode="auto">
              <a:xfrm>
                <a:off x="6761958" y="1950696"/>
                <a:ext cx="1922583" cy="1035958"/>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gradFill flip="none" rotWithShape="1">
                <a:gsLst>
                  <a:gs pos="22000">
                    <a:srgbClr val="00B0F0">
                      <a:alpha val="46000"/>
                    </a:srgbClr>
                  </a:gs>
                  <a:gs pos="100000">
                    <a:srgbClr val="0070C0">
                      <a:alpha val="29000"/>
                    </a:srgbClr>
                  </a:gs>
                </a:gsLst>
                <a:path path="circle">
                  <a:fillToRect l="50000" t="50000" r="50000" b="50000"/>
                </a:path>
                <a:tileRect/>
              </a:gradFill>
              <a:ln w="25400" cap="flat" cmpd="sng" algn="ctr">
                <a:noFill/>
                <a:prstDash val="solid"/>
              </a:ln>
              <a:effectLst/>
            </p:spPr>
            <p:txBody>
              <a:bodyPr rtlCol="0" anchor="ctr"/>
              <a:lstStyle/>
              <a:p>
                <a:pPr algn="ctr" defTabSz="914400">
                  <a:defRPr/>
                </a:pPr>
                <a:endParaRPr lang="zh-CN" altLang="en-US" sz="1100" kern="0">
                  <a:solidFill>
                    <a:srgbClr val="FFFFFF"/>
                  </a:solidFill>
                  <a:latin typeface="微软雅黑" panose="020B0503020204020204" pitchFamily="34" charset="-122"/>
                  <a:ea typeface="微软雅黑" panose="020B0503020204020204" pitchFamily="34" charset="-122"/>
                </a:endParaRPr>
              </a:p>
            </p:txBody>
          </p:sp>
          <p:sp>
            <p:nvSpPr>
              <p:cNvPr id="226" name="Freeform 8"/>
              <p:cNvSpPr>
                <a:spLocks/>
              </p:cNvSpPr>
              <p:nvPr/>
            </p:nvSpPr>
            <p:spPr bwMode="auto">
              <a:xfrm>
                <a:off x="6754694" y="1949450"/>
                <a:ext cx="1922582" cy="1035957"/>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noFill/>
              <a:ln w="25400" cap="flat" cmpd="sng" algn="ctr">
                <a:gradFill>
                  <a:gsLst>
                    <a:gs pos="0">
                      <a:srgbClr val="FFFFFF"/>
                    </a:gs>
                    <a:gs pos="50000">
                      <a:srgbClr val="00B0F0">
                        <a:alpha val="83000"/>
                      </a:srgbClr>
                    </a:gs>
                    <a:gs pos="100000">
                      <a:srgbClr val="4F81BD">
                        <a:tint val="23500"/>
                        <a:satMod val="160000"/>
                      </a:srgbClr>
                    </a:gs>
                  </a:gsLst>
                  <a:lin ang="5400000" scaled="0"/>
                </a:gradFill>
                <a:prstDash val="solid"/>
              </a:ln>
              <a:effectLst>
                <a:glow rad="63500">
                  <a:srgbClr val="267DE6">
                    <a:alpha val="23922"/>
                  </a:srgbClr>
                </a:glow>
              </a:effectLst>
            </p:spPr>
            <p:txBody>
              <a:bodyPr rtlCol="0" anchor="ctr"/>
              <a:lstStyle/>
              <a:p>
                <a:pPr algn="ctr" defTabSz="914400">
                  <a:defRPr/>
                </a:pPr>
                <a:endParaRPr lang="zh-CN" altLang="en-US" sz="1100" kern="0">
                  <a:solidFill>
                    <a:srgbClr val="FFFFFF"/>
                  </a:solidFill>
                  <a:latin typeface="微软雅黑" panose="020B0503020204020204" pitchFamily="34" charset="-122"/>
                  <a:ea typeface="微软雅黑" panose="020B0503020204020204" pitchFamily="34" charset="-122"/>
                </a:endParaRPr>
              </a:p>
            </p:txBody>
          </p:sp>
          <p:pic>
            <p:nvPicPr>
              <p:cNvPr id="227" name="Picture 10" descr="C:\Users\Administrator\Desktop\云2-02.png"/>
              <p:cNvPicPr>
                <a:picLocks noChangeAspect="1" noChangeArrowheads="1"/>
              </p:cNvPicPr>
              <p:nvPr/>
            </p:nvPicPr>
            <p:blipFill>
              <a:blip r:embed="rId12" cstate="print">
                <a:lum contrast="100000"/>
              </a:blip>
              <a:srcRect/>
              <a:stretch>
                <a:fillRect/>
              </a:stretch>
            </p:blipFill>
            <p:spPr bwMode="auto">
              <a:xfrm>
                <a:off x="6781663" y="1970889"/>
                <a:ext cx="1861715" cy="1003301"/>
              </a:xfrm>
              <a:prstGeom prst="rect">
                <a:avLst/>
              </a:prstGeom>
              <a:noFill/>
            </p:spPr>
          </p:pic>
        </p:grpSp>
        <p:cxnSp>
          <p:nvCxnSpPr>
            <p:cNvPr id="181" name="直接连接符 180"/>
            <p:cNvCxnSpPr/>
            <p:nvPr/>
          </p:nvCxnSpPr>
          <p:spPr>
            <a:xfrm flipH="1" flipV="1">
              <a:off x="6993754" y="2790816"/>
              <a:ext cx="648000" cy="0"/>
            </a:xfrm>
            <a:prstGeom prst="line">
              <a:avLst/>
            </a:pr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182" name="直接连接符 181"/>
            <p:cNvCxnSpPr/>
            <p:nvPr/>
          </p:nvCxnSpPr>
          <p:spPr>
            <a:xfrm>
              <a:off x="3177242" y="3213770"/>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83" name="直接连接符 182"/>
            <p:cNvCxnSpPr/>
            <p:nvPr/>
          </p:nvCxnSpPr>
          <p:spPr>
            <a:xfrm flipV="1">
              <a:off x="3177242" y="1307834"/>
              <a:ext cx="0" cy="1206630"/>
            </a:xfrm>
            <a:prstGeom prst="line">
              <a:avLst/>
            </a:prstGeom>
            <a:ln>
              <a:gradFill flip="none" rotWithShape="1">
                <a:gsLst>
                  <a:gs pos="0">
                    <a:schemeClr val="bg1"/>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84" name="Shape 489"/>
            <p:cNvSpPr/>
            <p:nvPr/>
          </p:nvSpPr>
          <p:spPr>
            <a:xfrm>
              <a:off x="3293614" y="1464895"/>
              <a:ext cx="1639116" cy="289756"/>
            </a:xfrm>
            <a:prstGeom prst="rect">
              <a:avLst/>
            </a:prstGeom>
            <a:noFill/>
            <a:ln>
              <a:noFill/>
            </a:ln>
            <a:effectLst/>
            <a:extLst>
              <a:ext uri="{C572A759-6A51-4108-AA02-DFA0A04FC94B}">
                <ma14:wrappingTextBoxFlag xmlns:ma14="http://schemas.microsoft.com/office/mac/drawingml/2011/main" xmlns="" val="1"/>
              </a:ext>
            </a:extLst>
          </p:spPr>
          <p:style>
            <a:lnRef idx="2">
              <a:schemeClr val="accent1">
                <a:shade val="50000"/>
              </a:schemeClr>
            </a:lnRef>
            <a:fillRef idx="1">
              <a:schemeClr val="accent1"/>
            </a:fillRef>
            <a:effectRef idx="0">
              <a:schemeClr val="accent1"/>
            </a:effectRef>
            <a:fontRef idx="minor">
              <a:schemeClr val="lt1"/>
            </a:fontRef>
          </p:style>
          <p:txBody>
            <a:bodyPr wrap="none" lIns="121944" tIns="60972" rIns="121944" bIns="60972" rtlCol="0" anchor="ctr"/>
            <a:lstStyle/>
            <a:p>
              <a:pPr algn="ctr">
                <a:lnSpc>
                  <a:spcPct val="120000"/>
                </a:lnSpc>
                <a:spcBef>
                  <a:spcPct val="20000"/>
                </a:spcBef>
              </a:pPr>
              <a:r>
                <a:rPr lang="zh-CN" altLang="en-US" sz="1400" b="1" dirty="0" smtClean="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rPr>
                <a:t>IoT Gateway</a:t>
              </a:r>
              <a:endParaRPr lang="zh-CN" altLang="en-US" sz="1400" b="1" dirty="0">
                <a:gradFill>
                  <a:gsLst>
                    <a:gs pos="0">
                      <a:srgbClr val="FFC901"/>
                    </a:gs>
                    <a:gs pos="100000">
                      <a:srgbClr val="FEE848"/>
                    </a:gs>
                  </a:gsLst>
                  <a:lin ang="16200000" scaled="1"/>
                </a:gradFill>
                <a:effectLst>
                  <a:outerShdw blurRad="38100" dist="38100" dir="2700000" algn="tl">
                    <a:srgbClr val="000000">
                      <a:alpha val="43137"/>
                    </a:srgbClr>
                  </a:outerShdw>
                </a:effectLst>
                <a:ea typeface="微软雅黑" pitchFamily="34" charset="-122"/>
                <a:sym typeface="Arial"/>
              </a:endParaRPr>
            </a:p>
          </p:txBody>
        </p:sp>
        <p:cxnSp>
          <p:nvCxnSpPr>
            <p:cNvPr id="185" name="直接连接符 184"/>
            <p:cNvCxnSpPr/>
            <p:nvPr/>
          </p:nvCxnSpPr>
          <p:spPr>
            <a:xfrm flipH="1" flipV="1">
              <a:off x="2817202" y="2793676"/>
              <a:ext cx="684000" cy="0"/>
            </a:xfrm>
            <a:prstGeom prst="line">
              <a:avLst/>
            </a:prstGeom>
            <a:noFill/>
            <a:ln w="19050">
              <a:gradFill>
                <a:gsLst>
                  <a:gs pos="0">
                    <a:schemeClr val="tx2">
                      <a:lumMod val="20000"/>
                      <a:lumOff val="80000"/>
                    </a:schemeClr>
                  </a:gs>
                  <a:gs pos="50000">
                    <a:srgbClr val="00B0F0">
                      <a:alpha val="83000"/>
                    </a:srgbClr>
                  </a:gs>
                  <a:gs pos="100000">
                    <a:schemeClr val="tx2">
                      <a:lumMod val="20000"/>
                      <a:lumOff val="80000"/>
                    </a:schemeClr>
                  </a:gs>
                </a:gsLst>
                <a:lin ang="5400000" scaled="0"/>
              </a:gradFill>
            </a:ln>
            <a:effectLst>
              <a:glow rad="63500">
                <a:srgbClr val="267DE6">
                  <a:alpha val="23922"/>
                </a:srgbClr>
              </a:glow>
            </a:effectLst>
          </p:spPr>
          <p:style>
            <a:lnRef idx="2">
              <a:schemeClr val="accent1">
                <a:shade val="50000"/>
              </a:schemeClr>
            </a:lnRef>
            <a:fillRef idx="1">
              <a:schemeClr val="accent1"/>
            </a:fillRef>
            <a:effectRef idx="0">
              <a:schemeClr val="accent1"/>
            </a:effectRef>
            <a:fontRef idx="minor">
              <a:schemeClr val="lt1"/>
            </a:fontRef>
          </p:style>
        </p:cxnSp>
        <p:sp>
          <p:nvSpPr>
            <p:cNvPr id="186" name="梯形 185"/>
            <p:cNvSpPr/>
            <p:nvPr/>
          </p:nvSpPr>
          <p:spPr>
            <a:xfrm rot="5400000">
              <a:off x="716245" y="2235617"/>
              <a:ext cx="1440000" cy="779252"/>
            </a:xfrm>
            <a:prstGeom prst="trapezoid">
              <a:avLst>
                <a:gd name="adj" fmla="val 59707"/>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7" name="1107454724"/>
            <p:cNvSpPr/>
            <p:nvPr/>
          </p:nvSpPr>
          <p:spPr>
            <a:xfrm>
              <a:off x="1250123" y="2245802"/>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198" name="1107454724"/>
            <p:cNvSpPr/>
            <p:nvPr/>
          </p:nvSpPr>
          <p:spPr>
            <a:xfrm>
              <a:off x="1239759" y="3450994"/>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grpSp>
          <p:nvGrpSpPr>
            <p:cNvPr id="199" name="组合 386"/>
            <p:cNvGrpSpPr>
              <a:grpSpLocks noChangeAspect="1"/>
            </p:cNvGrpSpPr>
            <p:nvPr/>
          </p:nvGrpSpPr>
          <p:grpSpPr>
            <a:xfrm>
              <a:off x="684950" y="2973734"/>
              <a:ext cx="291930" cy="284796"/>
              <a:chOff x="10167318" y="2876550"/>
              <a:chExt cx="1090747" cy="1064077"/>
            </a:xfrm>
          </p:grpSpPr>
          <p:sp>
            <p:nvSpPr>
              <p:cNvPr id="221" name="Freeform 593"/>
              <p:cNvSpPr>
                <a:spLocks/>
              </p:cNvSpPr>
              <p:nvPr/>
            </p:nvSpPr>
            <p:spPr bwMode="auto">
              <a:xfrm>
                <a:off x="10167318" y="3372392"/>
                <a:ext cx="1077913" cy="200025"/>
              </a:xfrm>
              <a:custGeom>
                <a:avLst/>
                <a:gdLst/>
                <a:ahLst/>
                <a:cxnLst>
                  <a:cxn ang="0">
                    <a:pos x="0" y="123"/>
                  </a:cxn>
                  <a:cxn ang="0">
                    <a:pos x="2" y="120"/>
                  </a:cxn>
                  <a:cxn ang="0">
                    <a:pos x="7" y="110"/>
                  </a:cxn>
                  <a:cxn ang="0">
                    <a:pos x="25" y="92"/>
                  </a:cxn>
                  <a:cxn ang="0">
                    <a:pos x="71" y="54"/>
                  </a:cxn>
                  <a:cxn ang="0">
                    <a:pos x="99" y="38"/>
                  </a:cxn>
                  <a:cxn ang="0">
                    <a:pos x="129" y="26"/>
                  </a:cxn>
                  <a:cxn ang="0">
                    <a:pos x="160" y="18"/>
                  </a:cxn>
                  <a:cxn ang="0">
                    <a:pos x="198" y="10"/>
                  </a:cxn>
                  <a:cxn ang="0">
                    <a:pos x="244" y="5"/>
                  </a:cxn>
                  <a:cxn ang="0">
                    <a:pos x="299" y="2"/>
                  </a:cxn>
                  <a:cxn ang="0">
                    <a:pos x="380" y="0"/>
                  </a:cxn>
                  <a:cxn ang="0">
                    <a:pos x="433" y="3"/>
                  </a:cxn>
                  <a:cxn ang="0">
                    <a:pos x="493" y="10"/>
                  </a:cxn>
                  <a:cxn ang="0">
                    <a:pos x="554" y="23"/>
                  </a:cxn>
                  <a:cxn ang="0">
                    <a:pos x="613" y="41"/>
                  </a:cxn>
                  <a:cxn ang="0">
                    <a:pos x="679" y="69"/>
                  </a:cxn>
                  <a:cxn ang="0">
                    <a:pos x="679" y="74"/>
                  </a:cxn>
                  <a:cxn ang="0">
                    <a:pos x="674" y="72"/>
                  </a:cxn>
                  <a:cxn ang="0">
                    <a:pos x="674" y="72"/>
                  </a:cxn>
                  <a:cxn ang="0">
                    <a:pos x="671" y="74"/>
                  </a:cxn>
                  <a:cxn ang="0">
                    <a:pos x="658" y="67"/>
                  </a:cxn>
                  <a:cxn ang="0">
                    <a:pos x="589" y="41"/>
                  </a:cxn>
                  <a:cxn ang="0">
                    <a:pos x="533" y="28"/>
                  </a:cxn>
                  <a:cxn ang="0">
                    <a:pos x="480" y="18"/>
                  </a:cxn>
                  <a:cxn ang="0">
                    <a:pos x="433" y="11"/>
                  </a:cxn>
                  <a:cxn ang="0">
                    <a:pos x="380" y="8"/>
                  </a:cxn>
                  <a:cxn ang="0">
                    <a:pos x="299" y="10"/>
                  </a:cxn>
                  <a:cxn ang="0">
                    <a:pos x="244" y="13"/>
                  </a:cxn>
                  <a:cxn ang="0">
                    <a:pos x="188" y="21"/>
                  </a:cxn>
                  <a:cxn ang="0">
                    <a:pos x="138" y="33"/>
                  </a:cxn>
                  <a:cxn ang="0">
                    <a:pos x="102" y="46"/>
                  </a:cxn>
                  <a:cxn ang="0">
                    <a:pos x="60" y="72"/>
                  </a:cxn>
                  <a:cxn ang="0">
                    <a:pos x="25" y="103"/>
                  </a:cxn>
                  <a:cxn ang="0">
                    <a:pos x="14" y="117"/>
                  </a:cxn>
                  <a:cxn ang="0">
                    <a:pos x="5" y="123"/>
                  </a:cxn>
                </a:cxnLst>
                <a:rect l="0" t="0" r="r" b="b"/>
                <a:pathLst>
                  <a:path w="679" h="126">
                    <a:moveTo>
                      <a:pt x="2" y="126"/>
                    </a:moveTo>
                    <a:lnTo>
                      <a:pt x="0" y="123"/>
                    </a:lnTo>
                    <a:lnTo>
                      <a:pt x="0" y="123"/>
                    </a:lnTo>
                    <a:lnTo>
                      <a:pt x="2" y="120"/>
                    </a:lnTo>
                    <a:lnTo>
                      <a:pt x="5" y="113"/>
                    </a:lnTo>
                    <a:lnTo>
                      <a:pt x="7" y="110"/>
                    </a:lnTo>
                    <a:lnTo>
                      <a:pt x="7" y="110"/>
                    </a:lnTo>
                    <a:lnTo>
                      <a:pt x="25" y="92"/>
                    </a:lnTo>
                    <a:lnTo>
                      <a:pt x="46" y="72"/>
                    </a:lnTo>
                    <a:lnTo>
                      <a:pt x="71" y="54"/>
                    </a:lnTo>
                    <a:lnTo>
                      <a:pt x="86" y="44"/>
                    </a:lnTo>
                    <a:lnTo>
                      <a:pt x="99" y="38"/>
                    </a:lnTo>
                    <a:lnTo>
                      <a:pt x="115" y="31"/>
                    </a:lnTo>
                    <a:lnTo>
                      <a:pt x="129" y="26"/>
                    </a:lnTo>
                    <a:lnTo>
                      <a:pt x="143" y="21"/>
                    </a:lnTo>
                    <a:lnTo>
                      <a:pt x="160" y="18"/>
                    </a:lnTo>
                    <a:lnTo>
                      <a:pt x="178" y="15"/>
                    </a:lnTo>
                    <a:lnTo>
                      <a:pt x="198" y="10"/>
                    </a:lnTo>
                    <a:lnTo>
                      <a:pt x="219" y="8"/>
                    </a:lnTo>
                    <a:lnTo>
                      <a:pt x="244" y="5"/>
                    </a:lnTo>
                    <a:lnTo>
                      <a:pt x="270" y="3"/>
                    </a:lnTo>
                    <a:lnTo>
                      <a:pt x="299" y="2"/>
                    </a:lnTo>
                    <a:lnTo>
                      <a:pt x="349" y="0"/>
                    </a:lnTo>
                    <a:lnTo>
                      <a:pt x="380" y="0"/>
                    </a:lnTo>
                    <a:lnTo>
                      <a:pt x="408" y="2"/>
                    </a:lnTo>
                    <a:lnTo>
                      <a:pt x="433" y="3"/>
                    </a:lnTo>
                    <a:lnTo>
                      <a:pt x="469" y="6"/>
                    </a:lnTo>
                    <a:lnTo>
                      <a:pt x="493" y="10"/>
                    </a:lnTo>
                    <a:lnTo>
                      <a:pt x="525" y="16"/>
                    </a:lnTo>
                    <a:lnTo>
                      <a:pt x="554" y="23"/>
                    </a:lnTo>
                    <a:lnTo>
                      <a:pt x="582" y="31"/>
                    </a:lnTo>
                    <a:lnTo>
                      <a:pt x="613" y="41"/>
                    </a:lnTo>
                    <a:lnTo>
                      <a:pt x="651" y="54"/>
                    </a:lnTo>
                    <a:lnTo>
                      <a:pt x="679" y="69"/>
                    </a:lnTo>
                    <a:lnTo>
                      <a:pt x="679" y="72"/>
                    </a:lnTo>
                    <a:lnTo>
                      <a:pt x="679" y="74"/>
                    </a:lnTo>
                    <a:lnTo>
                      <a:pt x="677" y="75"/>
                    </a:lnTo>
                    <a:lnTo>
                      <a:pt x="674" y="72"/>
                    </a:lnTo>
                    <a:lnTo>
                      <a:pt x="672" y="74"/>
                    </a:lnTo>
                    <a:lnTo>
                      <a:pt x="674" y="72"/>
                    </a:lnTo>
                    <a:lnTo>
                      <a:pt x="672" y="72"/>
                    </a:lnTo>
                    <a:lnTo>
                      <a:pt x="671" y="74"/>
                    </a:lnTo>
                    <a:lnTo>
                      <a:pt x="668" y="71"/>
                    </a:lnTo>
                    <a:lnTo>
                      <a:pt x="658" y="67"/>
                    </a:lnTo>
                    <a:lnTo>
                      <a:pt x="625" y="54"/>
                    </a:lnTo>
                    <a:lnTo>
                      <a:pt x="589" y="41"/>
                    </a:lnTo>
                    <a:lnTo>
                      <a:pt x="562" y="34"/>
                    </a:lnTo>
                    <a:lnTo>
                      <a:pt x="533" y="28"/>
                    </a:lnTo>
                    <a:lnTo>
                      <a:pt x="513" y="23"/>
                    </a:lnTo>
                    <a:lnTo>
                      <a:pt x="480" y="18"/>
                    </a:lnTo>
                    <a:lnTo>
                      <a:pt x="457" y="15"/>
                    </a:lnTo>
                    <a:lnTo>
                      <a:pt x="433" y="11"/>
                    </a:lnTo>
                    <a:lnTo>
                      <a:pt x="406" y="10"/>
                    </a:lnTo>
                    <a:lnTo>
                      <a:pt x="380" y="8"/>
                    </a:lnTo>
                    <a:lnTo>
                      <a:pt x="349" y="8"/>
                    </a:lnTo>
                    <a:lnTo>
                      <a:pt x="299" y="10"/>
                    </a:lnTo>
                    <a:lnTo>
                      <a:pt x="272" y="11"/>
                    </a:lnTo>
                    <a:lnTo>
                      <a:pt x="244" y="13"/>
                    </a:lnTo>
                    <a:lnTo>
                      <a:pt x="209" y="18"/>
                    </a:lnTo>
                    <a:lnTo>
                      <a:pt x="188" y="21"/>
                    </a:lnTo>
                    <a:lnTo>
                      <a:pt x="161" y="26"/>
                    </a:lnTo>
                    <a:lnTo>
                      <a:pt x="138" y="33"/>
                    </a:lnTo>
                    <a:lnTo>
                      <a:pt x="119" y="39"/>
                    </a:lnTo>
                    <a:lnTo>
                      <a:pt x="102" y="46"/>
                    </a:lnTo>
                    <a:lnTo>
                      <a:pt x="86" y="54"/>
                    </a:lnTo>
                    <a:lnTo>
                      <a:pt x="60" y="72"/>
                    </a:lnTo>
                    <a:lnTo>
                      <a:pt x="30" y="98"/>
                    </a:lnTo>
                    <a:lnTo>
                      <a:pt x="25" y="103"/>
                    </a:lnTo>
                    <a:lnTo>
                      <a:pt x="28" y="103"/>
                    </a:lnTo>
                    <a:lnTo>
                      <a:pt x="14" y="117"/>
                    </a:lnTo>
                    <a:lnTo>
                      <a:pt x="10" y="123"/>
                    </a:lnTo>
                    <a:lnTo>
                      <a:pt x="5" y="123"/>
                    </a:lnTo>
                    <a:lnTo>
                      <a:pt x="2" y="126"/>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1050">
                  <a:solidFill>
                    <a:prstClr val="black"/>
                  </a:solidFill>
                </a:endParaRPr>
              </a:p>
            </p:txBody>
          </p:sp>
          <p:sp>
            <p:nvSpPr>
              <p:cNvPr id="222" name="Freeform 594"/>
              <p:cNvSpPr>
                <a:spLocks noEditPoints="1"/>
              </p:cNvSpPr>
              <p:nvPr/>
            </p:nvSpPr>
            <p:spPr bwMode="auto">
              <a:xfrm>
                <a:off x="10175392" y="3685040"/>
                <a:ext cx="1082673" cy="255587"/>
              </a:xfrm>
              <a:custGeom>
                <a:avLst/>
                <a:gdLst/>
                <a:ahLst/>
                <a:cxnLst>
                  <a:cxn ang="0">
                    <a:pos x="353" y="156"/>
                  </a:cxn>
                  <a:cxn ang="0">
                    <a:pos x="159" y="138"/>
                  </a:cxn>
                  <a:cxn ang="0">
                    <a:pos x="156" y="59"/>
                  </a:cxn>
                  <a:cxn ang="0">
                    <a:pos x="23" y="112"/>
                  </a:cxn>
                  <a:cxn ang="0">
                    <a:pos x="21" y="110"/>
                  </a:cxn>
                  <a:cxn ang="0">
                    <a:pos x="19" y="108"/>
                  </a:cxn>
                  <a:cxn ang="0">
                    <a:pos x="18" y="107"/>
                  </a:cxn>
                  <a:cxn ang="0">
                    <a:pos x="0" y="59"/>
                  </a:cxn>
                  <a:cxn ang="0">
                    <a:pos x="6" y="49"/>
                  </a:cxn>
                  <a:cxn ang="0">
                    <a:pos x="57" y="39"/>
                  </a:cxn>
                  <a:cxn ang="0">
                    <a:pos x="143" y="33"/>
                  </a:cxn>
                  <a:cxn ang="0">
                    <a:pos x="218" y="38"/>
                  </a:cxn>
                  <a:cxn ang="0">
                    <a:pos x="340" y="64"/>
                  </a:cxn>
                  <a:cxn ang="0">
                    <a:pos x="494" y="115"/>
                  </a:cxn>
                  <a:cxn ang="0">
                    <a:pos x="494" y="112"/>
                  </a:cxn>
                  <a:cxn ang="0">
                    <a:pos x="499" y="108"/>
                  </a:cxn>
                  <a:cxn ang="0">
                    <a:pos x="534" y="66"/>
                  </a:cxn>
                  <a:cxn ang="0">
                    <a:pos x="576" y="31"/>
                  </a:cxn>
                  <a:cxn ang="0">
                    <a:pos x="654" y="3"/>
                  </a:cxn>
                  <a:cxn ang="0">
                    <a:pos x="672" y="5"/>
                  </a:cxn>
                  <a:cxn ang="0">
                    <a:pos x="680" y="8"/>
                  </a:cxn>
                  <a:cxn ang="0">
                    <a:pos x="682" y="12"/>
                  </a:cxn>
                  <a:cxn ang="0">
                    <a:pos x="654" y="69"/>
                  </a:cxn>
                  <a:cxn ang="0">
                    <a:pos x="604" y="99"/>
                  </a:cxn>
                  <a:cxn ang="0">
                    <a:pos x="481" y="156"/>
                  </a:cxn>
                  <a:cxn ang="0">
                    <a:pos x="363" y="156"/>
                  </a:cxn>
                  <a:cxn ang="0">
                    <a:pos x="410" y="148"/>
                  </a:cxn>
                  <a:cxn ang="0">
                    <a:pos x="524" y="131"/>
                  </a:cxn>
                  <a:cxn ang="0">
                    <a:pos x="655" y="51"/>
                  </a:cxn>
                  <a:cxn ang="0">
                    <a:pos x="673" y="12"/>
                  </a:cxn>
                  <a:cxn ang="0">
                    <a:pos x="670" y="10"/>
                  </a:cxn>
                  <a:cxn ang="0">
                    <a:pos x="621" y="20"/>
                  </a:cxn>
                  <a:cxn ang="0">
                    <a:pos x="576" y="41"/>
                  </a:cxn>
                  <a:cxn ang="0">
                    <a:pos x="532" y="81"/>
                  </a:cxn>
                  <a:cxn ang="0">
                    <a:pos x="496" y="115"/>
                  </a:cxn>
                  <a:cxn ang="0">
                    <a:pos x="494" y="115"/>
                  </a:cxn>
                  <a:cxn ang="0">
                    <a:pos x="493" y="120"/>
                  </a:cxn>
                  <a:cxn ang="0">
                    <a:pos x="473" y="117"/>
                  </a:cxn>
                  <a:cxn ang="0">
                    <a:pos x="276" y="58"/>
                  </a:cxn>
                  <a:cxn ang="0">
                    <a:pos x="197" y="44"/>
                  </a:cxn>
                  <a:cxn ang="0">
                    <a:pos x="116" y="41"/>
                  </a:cxn>
                  <a:cxn ang="0">
                    <a:pos x="16" y="56"/>
                  </a:cxn>
                  <a:cxn ang="0">
                    <a:pos x="5" y="56"/>
                  </a:cxn>
                  <a:cxn ang="0">
                    <a:pos x="8" y="59"/>
                  </a:cxn>
                  <a:cxn ang="0">
                    <a:pos x="24" y="102"/>
                  </a:cxn>
                  <a:cxn ang="0">
                    <a:pos x="26" y="104"/>
                  </a:cxn>
                  <a:cxn ang="0">
                    <a:pos x="148" y="59"/>
                  </a:cxn>
                  <a:cxn ang="0">
                    <a:pos x="264" y="61"/>
                  </a:cxn>
                  <a:cxn ang="0">
                    <a:pos x="340" y="87"/>
                  </a:cxn>
                  <a:cxn ang="0">
                    <a:pos x="356" y="102"/>
                  </a:cxn>
                  <a:cxn ang="0">
                    <a:pos x="363" y="148"/>
                  </a:cxn>
                  <a:cxn ang="0">
                    <a:pos x="346" y="131"/>
                  </a:cxn>
                  <a:cxn ang="0">
                    <a:pos x="325" y="85"/>
                  </a:cxn>
                  <a:cxn ang="0">
                    <a:pos x="215" y="69"/>
                  </a:cxn>
                  <a:cxn ang="0">
                    <a:pos x="167" y="127"/>
                  </a:cxn>
                  <a:cxn ang="0">
                    <a:pos x="345" y="97"/>
                  </a:cxn>
                  <a:cxn ang="0">
                    <a:pos x="325" y="120"/>
                  </a:cxn>
                </a:cxnLst>
                <a:rect l="0" t="0" r="r" b="b"/>
                <a:pathLst>
                  <a:path w="682" h="161">
                    <a:moveTo>
                      <a:pt x="363" y="161"/>
                    </a:moveTo>
                    <a:lnTo>
                      <a:pt x="358" y="156"/>
                    </a:lnTo>
                    <a:lnTo>
                      <a:pt x="353" y="156"/>
                    </a:lnTo>
                    <a:lnTo>
                      <a:pt x="353" y="151"/>
                    </a:lnTo>
                    <a:lnTo>
                      <a:pt x="166" y="135"/>
                    </a:lnTo>
                    <a:lnTo>
                      <a:pt x="159" y="138"/>
                    </a:lnTo>
                    <a:lnTo>
                      <a:pt x="159" y="62"/>
                    </a:lnTo>
                    <a:lnTo>
                      <a:pt x="184" y="61"/>
                    </a:lnTo>
                    <a:lnTo>
                      <a:pt x="156" y="59"/>
                    </a:lnTo>
                    <a:lnTo>
                      <a:pt x="156" y="59"/>
                    </a:lnTo>
                    <a:lnTo>
                      <a:pt x="156" y="140"/>
                    </a:lnTo>
                    <a:lnTo>
                      <a:pt x="23" y="112"/>
                    </a:lnTo>
                    <a:lnTo>
                      <a:pt x="21" y="110"/>
                    </a:lnTo>
                    <a:lnTo>
                      <a:pt x="23" y="107"/>
                    </a:lnTo>
                    <a:lnTo>
                      <a:pt x="21" y="110"/>
                    </a:lnTo>
                    <a:lnTo>
                      <a:pt x="19" y="108"/>
                    </a:lnTo>
                    <a:lnTo>
                      <a:pt x="23" y="105"/>
                    </a:lnTo>
                    <a:lnTo>
                      <a:pt x="19" y="108"/>
                    </a:lnTo>
                    <a:lnTo>
                      <a:pt x="19" y="108"/>
                    </a:lnTo>
                    <a:lnTo>
                      <a:pt x="21" y="105"/>
                    </a:lnTo>
                    <a:lnTo>
                      <a:pt x="18" y="107"/>
                    </a:lnTo>
                    <a:lnTo>
                      <a:pt x="16" y="104"/>
                    </a:lnTo>
                    <a:lnTo>
                      <a:pt x="0" y="61"/>
                    </a:lnTo>
                    <a:lnTo>
                      <a:pt x="0" y="59"/>
                    </a:lnTo>
                    <a:lnTo>
                      <a:pt x="0" y="56"/>
                    </a:lnTo>
                    <a:lnTo>
                      <a:pt x="1" y="53"/>
                    </a:lnTo>
                    <a:lnTo>
                      <a:pt x="6" y="49"/>
                    </a:lnTo>
                    <a:lnTo>
                      <a:pt x="5" y="49"/>
                    </a:lnTo>
                    <a:lnTo>
                      <a:pt x="29" y="43"/>
                    </a:lnTo>
                    <a:lnTo>
                      <a:pt x="57" y="39"/>
                    </a:lnTo>
                    <a:lnTo>
                      <a:pt x="85" y="35"/>
                    </a:lnTo>
                    <a:lnTo>
                      <a:pt x="116" y="33"/>
                    </a:lnTo>
                    <a:lnTo>
                      <a:pt x="143" y="33"/>
                    </a:lnTo>
                    <a:lnTo>
                      <a:pt x="169" y="33"/>
                    </a:lnTo>
                    <a:lnTo>
                      <a:pt x="199" y="35"/>
                    </a:lnTo>
                    <a:lnTo>
                      <a:pt x="218" y="38"/>
                    </a:lnTo>
                    <a:lnTo>
                      <a:pt x="240" y="41"/>
                    </a:lnTo>
                    <a:lnTo>
                      <a:pt x="277" y="49"/>
                    </a:lnTo>
                    <a:lnTo>
                      <a:pt x="340" y="64"/>
                    </a:lnTo>
                    <a:lnTo>
                      <a:pt x="429" y="90"/>
                    </a:lnTo>
                    <a:lnTo>
                      <a:pt x="493" y="112"/>
                    </a:lnTo>
                    <a:lnTo>
                      <a:pt x="494" y="115"/>
                    </a:lnTo>
                    <a:lnTo>
                      <a:pt x="494" y="112"/>
                    </a:lnTo>
                    <a:lnTo>
                      <a:pt x="494" y="115"/>
                    </a:lnTo>
                    <a:lnTo>
                      <a:pt x="494" y="112"/>
                    </a:lnTo>
                    <a:lnTo>
                      <a:pt x="496" y="115"/>
                    </a:lnTo>
                    <a:lnTo>
                      <a:pt x="494" y="110"/>
                    </a:lnTo>
                    <a:lnTo>
                      <a:pt x="499" y="108"/>
                    </a:lnTo>
                    <a:lnTo>
                      <a:pt x="503" y="104"/>
                    </a:lnTo>
                    <a:lnTo>
                      <a:pt x="517" y="85"/>
                    </a:lnTo>
                    <a:lnTo>
                      <a:pt x="534" y="66"/>
                    </a:lnTo>
                    <a:lnTo>
                      <a:pt x="550" y="51"/>
                    </a:lnTo>
                    <a:lnTo>
                      <a:pt x="563" y="39"/>
                    </a:lnTo>
                    <a:lnTo>
                      <a:pt x="576" y="31"/>
                    </a:lnTo>
                    <a:lnTo>
                      <a:pt x="588" y="25"/>
                    </a:lnTo>
                    <a:lnTo>
                      <a:pt x="616" y="13"/>
                    </a:lnTo>
                    <a:lnTo>
                      <a:pt x="654" y="3"/>
                    </a:lnTo>
                    <a:lnTo>
                      <a:pt x="668" y="0"/>
                    </a:lnTo>
                    <a:lnTo>
                      <a:pt x="673" y="2"/>
                    </a:lnTo>
                    <a:lnTo>
                      <a:pt x="672" y="5"/>
                    </a:lnTo>
                    <a:lnTo>
                      <a:pt x="673" y="2"/>
                    </a:lnTo>
                    <a:lnTo>
                      <a:pt x="678" y="3"/>
                    </a:lnTo>
                    <a:lnTo>
                      <a:pt x="680" y="8"/>
                    </a:lnTo>
                    <a:lnTo>
                      <a:pt x="677" y="10"/>
                    </a:lnTo>
                    <a:lnTo>
                      <a:pt x="682" y="8"/>
                    </a:lnTo>
                    <a:lnTo>
                      <a:pt x="682" y="12"/>
                    </a:lnTo>
                    <a:lnTo>
                      <a:pt x="682" y="15"/>
                    </a:lnTo>
                    <a:lnTo>
                      <a:pt x="680" y="20"/>
                    </a:lnTo>
                    <a:lnTo>
                      <a:pt x="654" y="69"/>
                    </a:lnTo>
                    <a:lnTo>
                      <a:pt x="650" y="72"/>
                    </a:lnTo>
                    <a:lnTo>
                      <a:pt x="636" y="81"/>
                    </a:lnTo>
                    <a:lnTo>
                      <a:pt x="604" y="99"/>
                    </a:lnTo>
                    <a:lnTo>
                      <a:pt x="499" y="153"/>
                    </a:lnTo>
                    <a:lnTo>
                      <a:pt x="494" y="154"/>
                    </a:lnTo>
                    <a:lnTo>
                      <a:pt x="481" y="156"/>
                    </a:lnTo>
                    <a:lnTo>
                      <a:pt x="448" y="156"/>
                    </a:lnTo>
                    <a:lnTo>
                      <a:pt x="410" y="156"/>
                    </a:lnTo>
                    <a:lnTo>
                      <a:pt x="363" y="156"/>
                    </a:lnTo>
                    <a:lnTo>
                      <a:pt x="363" y="161"/>
                    </a:lnTo>
                    <a:close/>
                    <a:moveTo>
                      <a:pt x="363" y="148"/>
                    </a:moveTo>
                    <a:lnTo>
                      <a:pt x="410" y="148"/>
                    </a:lnTo>
                    <a:lnTo>
                      <a:pt x="498" y="145"/>
                    </a:lnTo>
                    <a:lnTo>
                      <a:pt x="503" y="143"/>
                    </a:lnTo>
                    <a:lnTo>
                      <a:pt x="524" y="131"/>
                    </a:lnTo>
                    <a:lnTo>
                      <a:pt x="586" y="99"/>
                    </a:lnTo>
                    <a:lnTo>
                      <a:pt x="647" y="62"/>
                    </a:lnTo>
                    <a:lnTo>
                      <a:pt x="655" y="51"/>
                    </a:lnTo>
                    <a:lnTo>
                      <a:pt x="673" y="16"/>
                    </a:lnTo>
                    <a:lnTo>
                      <a:pt x="673" y="15"/>
                    </a:lnTo>
                    <a:lnTo>
                      <a:pt x="673" y="12"/>
                    </a:lnTo>
                    <a:lnTo>
                      <a:pt x="673" y="12"/>
                    </a:lnTo>
                    <a:lnTo>
                      <a:pt x="672" y="10"/>
                    </a:lnTo>
                    <a:lnTo>
                      <a:pt x="670" y="10"/>
                    </a:lnTo>
                    <a:lnTo>
                      <a:pt x="668" y="10"/>
                    </a:lnTo>
                    <a:lnTo>
                      <a:pt x="647" y="13"/>
                    </a:lnTo>
                    <a:lnTo>
                      <a:pt x="621" y="20"/>
                    </a:lnTo>
                    <a:lnTo>
                      <a:pt x="601" y="28"/>
                    </a:lnTo>
                    <a:lnTo>
                      <a:pt x="588" y="35"/>
                    </a:lnTo>
                    <a:lnTo>
                      <a:pt x="576" y="41"/>
                    </a:lnTo>
                    <a:lnTo>
                      <a:pt x="562" y="53"/>
                    </a:lnTo>
                    <a:lnTo>
                      <a:pt x="549" y="62"/>
                    </a:lnTo>
                    <a:lnTo>
                      <a:pt x="532" y="81"/>
                    </a:lnTo>
                    <a:lnTo>
                      <a:pt x="501" y="117"/>
                    </a:lnTo>
                    <a:lnTo>
                      <a:pt x="496" y="120"/>
                    </a:lnTo>
                    <a:lnTo>
                      <a:pt x="496" y="115"/>
                    </a:lnTo>
                    <a:lnTo>
                      <a:pt x="496" y="120"/>
                    </a:lnTo>
                    <a:lnTo>
                      <a:pt x="494" y="120"/>
                    </a:lnTo>
                    <a:lnTo>
                      <a:pt x="494" y="115"/>
                    </a:lnTo>
                    <a:lnTo>
                      <a:pt x="494" y="120"/>
                    </a:lnTo>
                    <a:lnTo>
                      <a:pt x="493" y="115"/>
                    </a:lnTo>
                    <a:lnTo>
                      <a:pt x="493" y="120"/>
                    </a:lnTo>
                    <a:lnTo>
                      <a:pt x="493" y="120"/>
                    </a:lnTo>
                    <a:lnTo>
                      <a:pt x="483" y="118"/>
                    </a:lnTo>
                    <a:lnTo>
                      <a:pt x="473" y="117"/>
                    </a:lnTo>
                    <a:lnTo>
                      <a:pt x="406" y="94"/>
                    </a:lnTo>
                    <a:lnTo>
                      <a:pt x="338" y="72"/>
                    </a:lnTo>
                    <a:lnTo>
                      <a:pt x="276" y="58"/>
                    </a:lnTo>
                    <a:lnTo>
                      <a:pt x="238" y="49"/>
                    </a:lnTo>
                    <a:lnTo>
                      <a:pt x="217" y="46"/>
                    </a:lnTo>
                    <a:lnTo>
                      <a:pt x="197" y="44"/>
                    </a:lnTo>
                    <a:lnTo>
                      <a:pt x="169" y="41"/>
                    </a:lnTo>
                    <a:lnTo>
                      <a:pt x="143" y="41"/>
                    </a:lnTo>
                    <a:lnTo>
                      <a:pt x="116" y="41"/>
                    </a:lnTo>
                    <a:lnTo>
                      <a:pt x="85" y="44"/>
                    </a:lnTo>
                    <a:lnTo>
                      <a:pt x="52" y="48"/>
                    </a:lnTo>
                    <a:lnTo>
                      <a:pt x="16" y="56"/>
                    </a:lnTo>
                    <a:lnTo>
                      <a:pt x="10" y="58"/>
                    </a:lnTo>
                    <a:lnTo>
                      <a:pt x="8" y="59"/>
                    </a:lnTo>
                    <a:lnTo>
                      <a:pt x="5" y="56"/>
                    </a:lnTo>
                    <a:lnTo>
                      <a:pt x="8" y="59"/>
                    </a:lnTo>
                    <a:lnTo>
                      <a:pt x="5" y="59"/>
                    </a:lnTo>
                    <a:lnTo>
                      <a:pt x="8" y="59"/>
                    </a:lnTo>
                    <a:lnTo>
                      <a:pt x="24" y="100"/>
                    </a:lnTo>
                    <a:lnTo>
                      <a:pt x="21" y="104"/>
                    </a:lnTo>
                    <a:lnTo>
                      <a:pt x="24" y="102"/>
                    </a:lnTo>
                    <a:lnTo>
                      <a:pt x="26" y="102"/>
                    </a:lnTo>
                    <a:lnTo>
                      <a:pt x="24" y="107"/>
                    </a:lnTo>
                    <a:lnTo>
                      <a:pt x="26" y="104"/>
                    </a:lnTo>
                    <a:lnTo>
                      <a:pt x="31" y="105"/>
                    </a:lnTo>
                    <a:lnTo>
                      <a:pt x="148" y="130"/>
                    </a:lnTo>
                    <a:lnTo>
                      <a:pt x="148" y="59"/>
                    </a:lnTo>
                    <a:lnTo>
                      <a:pt x="148" y="51"/>
                    </a:lnTo>
                    <a:lnTo>
                      <a:pt x="220" y="54"/>
                    </a:lnTo>
                    <a:lnTo>
                      <a:pt x="264" y="61"/>
                    </a:lnTo>
                    <a:lnTo>
                      <a:pt x="284" y="64"/>
                    </a:lnTo>
                    <a:lnTo>
                      <a:pt x="341" y="81"/>
                    </a:lnTo>
                    <a:lnTo>
                      <a:pt x="340" y="87"/>
                    </a:lnTo>
                    <a:lnTo>
                      <a:pt x="351" y="92"/>
                    </a:lnTo>
                    <a:lnTo>
                      <a:pt x="353" y="94"/>
                    </a:lnTo>
                    <a:lnTo>
                      <a:pt x="356" y="102"/>
                    </a:lnTo>
                    <a:lnTo>
                      <a:pt x="361" y="143"/>
                    </a:lnTo>
                    <a:lnTo>
                      <a:pt x="363" y="143"/>
                    </a:lnTo>
                    <a:lnTo>
                      <a:pt x="363" y="148"/>
                    </a:lnTo>
                    <a:close/>
                    <a:moveTo>
                      <a:pt x="167" y="127"/>
                    </a:moveTo>
                    <a:lnTo>
                      <a:pt x="350" y="141"/>
                    </a:lnTo>
                    <a:lnTo>
                      <a:pt x="346" y="131"/>
                    </a:lnTo>
                    <a:lnTo>
                      <a:pt x="317" y="128"/>
                    </a:lnTo>
                    <a:lnTo>
                      <a:pt x="317" y="84"/>
                    </a:lnTo>
                    <a:lnTo>
                      <a:pt x="325" y="85"/>
                    </a:lnTo>
                    <a:lnTo>
                      <a:pt x="271" y="74"/>
                    </a:lnTo>
                    <a:lnTo>
                      <a:pt x="236" y="71"/>
                    </a:lnTo>
                    <a:lnTo>
                      <a:pt x="215" y="69"/>
                    </a:lnTo>
                    <a:lnTo>
                      <a:pt x="205" y="69"/>
                    </a:lnTo>
                    <a:lnTo>
                      <a:pt x="167" y="69"/>
                    </a:lnTo>
                    <a:lnTo>
                      <a:pt x="167" y="127"/>
                    </a:lnTo>
                    <a:close/>
                    <a:moveTo>
                      <a:pt x="325" y="120"/>
                    </a:moveTo>
                    <a:lnTo>
                      <a:pt x="350" y="123"/>
                    </a:lnTo>
                    <a:lnTo>
                      <a:pt x="345" y="97"/>
                    </a:lnTo>
                    <a:lnTo>
                      <a:pt x="341" y="97"/>
                    </a:lnTo>
                    <a:lnTo>
                      <a:pt x="325" y="94"/>
                    </a:lnTo>
                    <a:lnTo>
                      <a:pt x="325" y="120"/>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1050">
                  <a:solidFill>
                    <a:prstClr val="black"/>
                  </a:solidFill>
                </a:endParaRPr>
              </a:p>
            </p:txBody>
          </p:sp>
          <p:sp>
            <p:nvSpPr>
              <p:cNvPr id="223" name="Freeform 595"/>
              <p:cNvSpPr>
                <a:spLocks noEditPoints="1"/>
              </p:cNvSpPr>
              <p:nvPr/>
            </p:nvSpPr>
            <p:spPr bwMode="auto">
              <a:xfrm>
                <a:off x="10398126" y="2876550"/>
                <a:ext cx="47625" cy="61913"/>
              </a:xfrm>
              <a:custGeom>
                <a:avLst/>
                <a:gdLst/>
                <a:ahLst/>
                <a:cxnLst>
                  <a:cxn ang="0">
                    <a:pos x="30" y="39"/>
                  </a:cxn>
                  <a:cxn ang="0">
                    <a:pos x="0" y="36"/>
                  </a:cxn>
                  <a:cxn ang="0">
                    <a:pos x="0" y="0"/>
                  </a:cxn>
                  <a:cxn ang="0">
                    <a:pos x="30" y="3"/>
                  </a:cxn>
                  <a:cxn ang="0">
                    <a:pos x="30" y="39"/>
                  </a:cxn>
                  <a:cxn ang="0">
                    <a:pos x="8" y="28"/>
                  </a:cxn>
                  <a:cxn ang="0">
                    <a:pos x="22" y="29"/>
                  </a:cxn>
                  <a:cxn ang="0">
                    <a:pos x="20" y="11"/>
                  </a:cxn>
                  <a:cxn ang="0">
                    <a:pos x="8" y="10"/>
                  </a:cxn>
                  <a:cxn ang="0">
                    <a:pos x="8" y="28"/>
                  </a:cxn>
                </a:cxnLst>
                <a:rect l="0" t="0" r="r" b="b"/>
                <a:pathLst>
                  <a:path w="30" h="39">
                    <a:moveTo>
                      <a:pt x="30" y="39"/>
                    </a:moveTo>
                    <a:lnTo>
                      <a:pt x="0" y="36"/>
                    </a:lnTo>
                    <a:lnTo>
                      <a:pt x="0" y="0"/>
                    </a:lnTo>
                    <a:lnTo>
                      <a:pt x="30" y="3"/>
                    </a:lnTo>
                    <a:lnTo>
                      <a:pt x="30" y="39"/>
                    </a:lnTo>
                    <a:close/>
                    <a:moveTo>
                      <a:pt x="8" y="28"/>
                    </a:moveTo>
                    <a:lnTo>
                      <a:pt x="22" y="29"/>
                    </a:lnTo>
                    <a:lnTo>
                      <a:pt x="20" y="11"/>
                    </a:lnTo>
                    <a:lnTo>
                      <a:pt x="8" y="10"/>
                    </a:lnTo>
                    <a:lnTo>
                      <a:pt x="8" y="28"/>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1050">
                  <a:solidFill>
                    <a:prstClr val="black"/>
                  </a:solidFill>
                </a:endParaRPr>
              </a:p>
            </p:txBody>
          </p:sp>
          <p:sp>
            <p:nvSpPr>
              <p:cNvPr id="224" name="Freeform 596"/>
              <p:cNvSpPr>
                <a:spLocks noEditPoints="1"/>
              </p:cNvSpPr>
              <p:nvPr/>
            </p:nvSpPr>
            <p:spPr bwMode="auto">
              <a:xfrm>
                <a:off x="10459858" y="3378411"/>
                <a:ext cx="77787" cy="76201"/>
              </a:xfrm>
              <a:custGeom>
                <a:avLst/>
                <a:gdLst/>
                <a:ahLst/>
                <a:cxnLst>
                  <a:cxn ang="0">
                    <a:pos x="49" y="48"/>
                  </a:cxn>
                  <a:cxn ang="0">
                    <a:pos x="0" y="43"/>
                  </a:cxn>
                  <a:cxn ang="0">
                    <a:pos x="0" y="0"/>
                  </a:cxn>
                  <a:cxn ang="0">
                    <a:pos x="49" y="5"/>
                  </a:cxn>
                  <a:cxn ang="0">
                    <a:pos x="49" y="48"/>
                  </a:cxn>
                  <a:cxn ang="0">
                    <a:pos x="10" y="35"/>
                  </a:cxn>
                  <a:cxn ang="0">
                    <a:pos x="41" y="38"/>
                  </a:cxn>
                  <a:cxn ang="0">
                    <a:pos x="41" y="13"/>
                  </a:cxn>
                  <a:cxn ang="0">
                    <a:pos x="8" y="10"/>
                  </a:cxn>
                  <a:cxn ang="0">
                    <a:pos x="10" y="35"/>
                  </a:cxn>
                </a:cxnLst>
                <a:rect l="0" t="0" r="r" b="b"/>
                <a:pathLst>
                  <a:path w="49" h="48">
                    <a:moveTo>
                      <a:pt x="49" y="48"/>
                    </a:moveTo>
                    <a:lnTo>
                      <a:pt x="0" y="43"/>
                    </a:lnTo>
                    <a:lnTo>
                      <a:pt x="0" y="0"/>
                    </a:lnTo>
                    <a:lnTo>
                      <a:pt x="49" y="5"/>
                    </a:lnTo>
                    <a:lnTo>
                      <a:pt x="49" y="48"/>
                    </a:lnTo>
                    <a:close/>
                    <a:moveTo>
                      <a:pt x="10" y="35"/>
                    </a:moveTo>
                    <a:lnTo>
                      <a:pt x="41" y="38"/>
                    </a:lnTo>
                    <a:lnTo>
                      <a:pt x="41" y="13"/>
                    </a:lnTo>
                    <a:lnTo>
                      <a:pt x="8" y="10"/>
                    </a:lnTo>
                    <a:lnTo>
                      <a:pt x="10" y="35"/>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sz="1050">
                  <a:solidFill>
                    <a:prstClr val="black"/>
                  </a:solidFill>
                </a:endParaRPr>
              </a:p>
            </p:txBody>
          </p:sp>
        </p:grpSp>
        <p:grpSp>
          <p:nvGrpSpPr>
            <p:cNvPr id="200" name="组合 348"/>
            <p:cNvGrpSpPr>
              <a:grpSpLocks noChangeAspect="1"/>
            </p:cNvGrpSpPr>
            <p:nvPr/>
          </p:nvGrpSpPr>
          <p:grpSpPr>
            <a:xfrm>
              <a:off x="1184784" y="2342617"/>
              <a:ext cx="339562" cy="180976"/>
              <a:chOff x="-1708150" y="3035300"/>
              <a:chExt cx="1697786" cy="904875"/>
            </a:xfrm>
            <a:solidFill>
              <a:schemeClr val="bg1">
                <a:lumMod val="95000"/>
              </a:schemeClr>
            </a:solidFill>
          </p:grpSpPr>
          <p:sp>
            <p:nvSpPr>
              <p:cNvPr id="215" name="Freeform 10"/>
              <p:cNvSpPr>
                <a:spLocks/>
              </p:cNvSpPr>
              <p:nvPr/>
            </p:nvSpPr>
            <p:spPr bwMode="auto">
              <a:xfrm>
                <a:off x="-1639888" y="3035300"/>
                <a:ext cx="1163638" cy="241300"/>
              </a:xfrm>
              <a:custGeom>
                <a:avLst/>
                <a:gdLst/>
                <a:ahLst/>
                <a:cxnLst>
                  <a:cxn ang="0">
                    <a:pos x="21" y="2263"/>
                  </a:cxn>
                  <a:cxn ang="0">
                    <a:pos x="128" y="2298"/>
                  </a:cxn>
                  <a:cxn ang="0">
                    <a:pos x="245" y="2334"/>
                  </a:cxn>
                  <a:cxn ang="0">
                    <a:pos x="395" y="2378"/>
                  </a:cxn>
                  <a:cxn ang="0">
                    <a:pos x="575" y="2426"/>
                  </a:cxn>
                  <a:cxn ang="0">
                    <a:pos x="781" y="2477"/>
                  </a:cxn>
                  <a:cxn ang="0">
                    <a:pos x="1011" y="2530"/>
                  </a:cxn>
                  <a:cxn ang="0">
                    <a:pos x="1263" y="2581"/>
                  </a:cxn>
                  <a:cxn ang="0">
                    <a:pos x="1532" y="2629"/>
                  </a:cxn>
                  <a:cxn ang="0">
                    <a:pos x="1816" y="2670"/>
                  </a:cxn>
                  <a:cxn ang="0">
                    <a:pos x="2111" y="2704"/>
                  </a:cxn>
                  <a:cxn ang="0">
                    <a:pos x="2415" y="2727"/>
                  </a:cxn>
                  <a:cxn ang="0">
                    <a:pos x="2724" y="2737"/>
                  </a:cxn>
                  <a:cxn ang="0">
                    <a:pos x="3036" y="2732"/>
                  </a:cxn>
                  <a:cxn ang="0">
                    <a:pos x="3347" y="2710"/>
                  </a:cxn>
                  <a:cxn ang="0">
                    <a:pos x="3673" y="2669"/>
                  </a:cxn>
                  <a:cxn ang="0">
                    <a:pos x="4115" y="2602"/>
                  </a:cxn>
                  <a:cxn ang="0">
                    <a:pos x="4671" y="2512"/>
                  </a:cxn>
                  <a:cxn ang="0">
                    <a:pos x="5322" y="2404"/>
                  </a:cxn>
                  <a:cxn ang="0">
                    <a:pos x="6428" y="2216"/>
                  </a:cxn>
                  <a:cxn ang="0">
                    <a:pos x="8040" y="1936"/>
                  </a:cxn>
                  <a:cxn ang="0">
                    <a:pos x="9659" y="1651"/>
                  </a:cxn>
                  <a:cxn ang="0">
                    <a:pos x="11117" y="1392"/>
                  </a:cxn>
                  <a:cxn ang="0">
                    <a:pos x="12251" y="1188"/>
                  </a:cxn>
                  <a:cxn ang="0">
                    <a:pos x="12897" y="1071"/>
                  </a:cxn>
                  <a:cxn ang="0">
                    <a:pos x="12996" y="1040"/>
                  </a:cxn>
                  <a:cxn ang="0">
                    <a:pos x="13044" y="972"/>
                  </a:cxn>
                  <a:cxn ang="0">
                    <a:pos x="13086" y="903"/>
                  </a:cxn>
                  <a:cxn ang="0">
                    <a:pos x="13131" y="822"/>
                  </a:cxn>
                  <a:cxn ang="0">
                    <a:pos x="13161" y="756"/>
                  </a:cxn>
                  <a:cxn ang="0">
                    <a:pos x="13178" y="710"/>
                  </a:cxn>
                  <a:cxn ang="0">
                    <a:pos x="13192" y="664"/>
                  </a:cxn>
                  <a:cxn ang="0">
                    <a:pos x="13202" y="618"/>
                  </a:cxn>
                  <a:cxn ang="0">
                    <a:pos x="13207" y="574"/>
                  </a:cxn>
                  <a:cxn ang="0">
                    <a:pos x="13207" y="531"/>
                  </a:cxn>
                  <a:cxn ang="0">
                    <a:pos x="13200" y="489"/>
                  </a:cxn>
                  <a:cxn ang="0">
                    <a:pos x="13182" y="447"/>
                  </a:cxn>
                  <a:cxn ang="0">
                    <a:pos x="13157" y="404"/>
                  </a:cxn>
                  <a:cxn ang="0">
                    <a:pos x="13122" y="360"/>
                  </a:cxn>
                  <a:cxn ang="0">
                    <a:pos x="13083" y="316"/>
                  </a:cxn>
                  <a:cxn ang="0">
                    <a:pos x="13039" y="274"/>
                  </a:cxn>
                  <a:cxn ang="0">
                    <a:pos x="12966" y="212"/>
                  </a:cxn>
                  <a:cxn ang="0">
                    <a:pos x="12868" y="137"/>
                  </a:cxn>
                  <a:cxn ang="0">
                    <a:pos x="12776" y="74"/>
                  </a:cxn>
                  <a:cxn ang="0">
                    <a:pos x="12679" y="13"/>
                  </a:cxn>
                  <a:cxn ang="0">
                    <a:pos x="0" y="2256"/>
                  </a:cxn>
                </a:cxnLst>
                <a:rect l="0" t="0" r="r" b="b"/>
                <a:pathLst>
                  <a:path w="13208" h="2737">
                    <a:moveTo>
                      <a:pt x="0" y="2256"/>
                    </a:moveTo>
                    <a:lnTo>
                      <a:pt x="21" y="2263"/>
                    </a:lnTo>
                    <a:lnTo>
                      <a:pt x="83" y="2284"/>
                    </a:lnTo>
                    <a:lnTo>
                      <a:pt x="128" y="2298"/>
                    </a:lnTo>
                    <a:lnTo>
                      <a:pt x="182" y="2315"/>
                    </a:lnTo>
                    <a:lnTo>
                      <a:pt x="245" y="2334"/>
                    </a:lnTo>
                    <a:lnTo>
                      <a:pt x="316" y="2355"/>
                    </a:lnTo>
                    <a:lnTo>
                      <a:pt x="395" y="2378"/>
                    </a:lnTo>
                    <a:lnTo>
                      <a:pt x="482" y="2401"/>
                    </a:lnTo>
                    <a:lnTo>
                      <a:pt x="575" y="2426"/>
                    </a:lnTo>
                    <a:lnTo>
                      <a:pt x="675" y="2452"/>
                    </a:lnTo>
                    <a:lnTo>
                      <a:pt x="781" y="2477"/>
                    </a:lnTo>
                    <a:lnTo>
                      <a:pt x="894" y="2504"/>
                    </a:lnTo>
                    <a:lnTo>
                      <a:pt x="1011" y="2530"/>
                    </a:lnTo>
                    <a:lnTo>
                      <a:pt x="1135" y="2556"/>
                    </a:lnTo>
                    <a:lnTo>
                      <a:pt x="1263" y="2581"/>
                    </a:lnTo>
                    <a:lnTo>
                      <a:pt x="1396" y="2606"/>
                    </a:lnTo>
                    <a:lnTo>
                      <a:pt x="1532" y="2629"/>
                    </a:lnTo>
                    <a:lnTo>
                      <a:pt x="1672" y="2651"/>
                    </a:lnTo>
                    <a:lnTo>
                      <a:pt x="1816" y="2670"/>
                    </a:lnTo>
                    <a:lnTo>
                      <a:pt x="1961" y="2688"/>
                    </a:lnTo>
                    <a:lnTo>
                      <a:pt x="2111" y="2704"/>
                    </a:lnTo>
                    <a:lnTo>
                      <a:pt x="2262" y="2716"/>
                    </a:lnTo>
                    <a:lnTo>
                      <a:pt x="2415" y="2727"/>
                    </a:lnTo>
                    <a:lnTo>
                      <a:pt x="2569" y="2733"/>
                    </a:lnTo>
                    <a:lnTo>
                      <a:pt x="2724" y="2737"/>
                    </a:lnTo>
                    <a:lnTo>
                      <a:pt x="2880" y="2736"/>
                    </a:lnTo>
                    <a:lnTo>
                      <a:pt x="3036" y="2732"/>
                    </a:lnTo>
                    <a:lnTo>
                      <a:pt x="3191" y="2724"/>
                    </a:lnTo>
                    <a:lnTo>
                      <a:pt x="3347" y="2710"/>
                    </a:lnTo>
                    <a:lnTo>
                      <a:pt x="3501" y="2693"/>
                    </a:lnTo>
                    <a:lnTo>
                      <a:pt x="3673" y="2669"/>
                    </a:lnTo>
                    <a:lnTo>
                      <a:pt x="3878" y="2638"/>
                    </a:lnTo>
                    <a:lnTo>
                      <a:pt x="4115" y="2602"/>
                    </a:lnTo>
                    <a:lnTo>
                      <a:pt x="4380" y="2560"/>
                    </a:lnTo>
                    <a:lnTo>
                      <a:pt x="4671" y="2512"/>
                    </a:lnTo>
                    <a:lnTo>
                      <a:pt x="4986" y="2461"/>
                    </a:lnTo>
                    <a:lnTo>
                      <a:pt x="5322" y="2404"/>
                    </a:lnTo>
                    <a:lnTo>
                      <a:pt x="5676" y="2345"/>
                    </a:lnTo>
                    <a:lnTo>
                      <a:pt x="6428" y="2216"/>
                    </a:lnTo>
                    <a:lnTo>
                      <a:pt x="7223" y="2079"/>
                    </a:lnTo>
                    <a:lnTo>
                      <a:pt x="8040" y="1936"/>
                    </a:lnTo>
                    <a:lnTo>
                      <a:pt x="8859" y="1792"/>
                    </a:lnTo>
                    <a:lnTo>
                      <a:pt x="9659" y="1651"/>
                    </a:lnTo>
                    <a:lnTo>
                      <a:pt x="10418" y="1516"/>
                    </a:lnTo>
                    <a:lnTo>
                      <a:pt x="11117" y="1392"/>
                    </a:lnTo>
                    <a:lnTo>
                      <a:pt x="11734" y="1280"/>
                    </a:lnTo>
                    <a:lnTo>
                      <a:pt x="12251" y="1188"/>
                    </a:lnTo>
                    <a:lnTo>
                      <a:pt x="12645" y="1117"/>
                    </a:lnTo>
                    <a:lnTo>
                      <a:pt x="12897" y="1071"/>
                    </a:lnTo>
                    <a:lnTo>
                      <a:pt x="12986" y="1055"/>
                    </a:lnTo>
                    <a:lnTo>
                      <a:pt x="12996" y="1040"/>
                    </a:lnTo>
                    <a:lnTo>
                      <a:pt x="13025" y="1000"/>
                    </a:lnTo>
                    <a:lnTo>
                      <a:pt x="13044" y="972"/>
                    </a:lnTo>
                    <a:lnTo>
                      <a:pt x="13065" y="941"/>
                    </a:lnTo>
                    <a:lnTo>
                      <a:pt x="13086" y="903"/>
                    </a:lnTo>
                    <a:lnTo>
                      <a:pt x="13109" y="864"/>
                    </a:lnTo>
                    <a:lnTo>
                      <a:pt x="13131" y="822"/>
                    </a:lnTo>
                    <a:lnTo>
                      <a:pt x="13151" y="778"/>
                    </a:lnTo>
                    <a:lnTo>
                      <a:pt x="13161" y="756"/>
                    </a:lnTo>
                    <a:lnTo>
                      <a:pt x="13170" y="733"/>
                    </a:lnTo>
                    <a:lnTo>
                      <a:pt x="13178" y="710"/>
                    </a:lnTo>
                    <a:lnTo>
                      <a:pt x="13185" y="687"/>
                    </a:lnTo>
                    <a:lnTo>
                      <a:pt x="13192" y="664"/>
                    </a:lnTo>
                    <a:lnTo>
                      <a:pt x="13198" y="641"/>
                    </a:lnTo>
                    <a:lnTo>
                      <a:pt x="13202" y="618"/>
                    </a:lnTo>
                    <a:lnTo>
                      <a:pt x="13205" y="595"/>
                    </a:lnTo>
                    <a:lnTo>
                      <a:pt x="13207" y="574"/>
                    </a:lnTo>
                    <a:lnTo>
                      <a:pt x="13208" y="552"/>
                    </a:lnTo>
                    <a:lnTo>
                      <a:pt x="13207" y="531"/>
                    </a:lnTo>
                    <a:lnTo>
                      <a:pt x="13205" y="509"/>
                    </a:lnTo>
                    <a:lnTo>
                      <a:pt x="13200" y="489"/>
                    </a:lnTo>
                    <a:lnTo>
                      <a:pt x="13192" y="468"/>
                    </a:lnTo>
                    <a:lnTo>
                      <a:pt x="13182" y="447"/>
                    </a:lnTo>
                    <a:lnTo>
                      <a:pt x="13170" y="425"/>
                    </a:lnTo>
                    <a:lnTo>
                      <a:pt x="13157" y="404"/>
                    </a:lnTo>
                    <a:lnTo>
                      <a:pt x="13140" y="382"/>
                    </a:lnTo>
                    <a:lnTo>
                      <a:pt x="13122" y="360"/>
                    </a:lnTo>
                    <a:lnTo>
                      <a:pt x="13104" y="338"/>
                    </a:lnTo>
                    <a:lnTo>
                      <a:pt x="13083" y="316"/>
                    </a:lnTo>
                    <a:lnTo>
                      <a:pt x="13061" y="295"/>
                    </a:lnTo>
                    <a:lnTo>
                      <a:pt x="13039" y="274"/>
                    </a:lnTo>
                    <a:lnTo>
                      <a:pt x="13015" y="252"/>
                    </a:lnTo>
                    <a:lnTo>
                      <a:pt x="12966" y="212"/>
                    </a:lnTo>
                    <a:lnTo>
                      <a:pt x="12917" y="173"/>
                    </a:lnTo>
                    <a:lnTo>
                      <a:pt x="12868" y="137"/>
                    </a:lnTo>
                    <a:lnTo>
                      <a:pt x="12821" y="104"/>
                    </a:lnTo>
                    <a:lnTo>
                      <a:pt x="12776" y="74"/>
                    </a:lnTo>
                    <a:lnTo>
                      <a:pt x="12737" y="49"/>
                    </a:lnTo>
                    <a:lnTo>
                      <a:pt x="12679" y="13"/>
                    </a:lnTo>
                    <a:lnTo>
                      <a:pt x="12658" y="0"/>
                    </a:lnTo>
                    <a:lnTo>
                      <a:pt x="0" y="2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sp>
            <p:nvSpPr>
              <p:cNvPr id="216" name="Freeform 11"/>
              <p:cNvSpPr>
                <a:spLocks/>
              </p:cNvSpPr>
              <p:nvPr/>
            </p:nvSpPr>
            <p:spPr bwMode="auto">
              <a:xfrm>
                <a:off x="-853327" y="3236609"/>
                <a:ext cx="842963" cy="327023"/>
              </a:xfrm>
              <a:custGeom>
                <a:avLst/>
                <a:gdLst/>
                <a:ahLst/>
                <a:cxnLst>
                  <a:cxn ang="0">
                    <a:pos x="9557" y="0"/>
                  </a:cxn>
                  <a:cxn ang="0">
                    <a:pos x="9514" y="696"/>
                  </a:cxn>
                  <a:cxn ang="0">
                    <a:pos x="9463" y="726"/>
                  </a:cxn>
                  <a:cxn ang="0">
                    <a:pos x="9370" y="783"/>
                  </a:cxn>
                  <a:cxn ang="0">
                    <a:pos x="9243" y="868"/>
                  </a:cxn>
                  <a:cxn ang="0">
                    <a:pos x="9089" y="977"/>
                  </a:cxn>
                  <a:cxn ang="0">
                    <a:pos x="8962" y="1074"/>
                  </a:cxn>
                  <a:cxn ang="0">
                    <a:pos x="8872" y="1146"/>
                  </a:cxn>
                  <a:cxn ang="0">
                    <a:pos x="8782" y="1222"/>
                  </a:cxn>
                  <a:cxn ang="0">
                    <a:pos x="8690" y="1305"/>
                  </a:cxn>
                  <a:cxn ang="0">
                    <a:pos x="8598" y="1391"/>
                  </a:cxn>
                  <a:cxn ang="0">
                    <a:pos x="8507" y="1482"/>
                  </a:cxn>
                  <a:cxn ang="0">
                    <a:pos x="8419" y="1577"/>
                  </a:cxn>
                  <a:cxn ang="0">
                    <a:pos x="8342" y="1668"/>
                  </a:cxn>
                  <a:cxn ang="0">
                    <a:pos x="8272" y="1757"/>
                  </a:cxn>
                  <a:cxn ang="0">
                    <a:pos x="8215" y="1840"/>
                  </a:cxn>
                  <a:cxn ang="0">
                    <a:pos x="8164" y="1920"/>
                  </a:cxn>
                  <a:cxn ang="0">
                    <a:pos x="8122" y="1994"/>
                  </a:cxn>
                  <a:cxn ang="0">
                    <a:pos x="8088" y="2063"/>
                  </a:cxn>
                  <a:cxn ang="0">
                    <a:pos x="8060" y="2127"/>
                  </a:cxn>
                  <a:cxn ang="0">
                    <a:pos x="8037" y="2185"/>
                  </a:cxn>
                  <a:cxn ang="0">
                    <a:pos x="8019" y="2237"/>
                  </a:cxn>
                  <a:cxn ang="0">
                    <a:pos x="8003" y="2302"/>
                  </a:cxn>
                  <a:cxn ang="0">
                    <a:pos x="7992" y="2366"/>
                  </a:cxn>
                  <a:cxn ang="0">
                    <a:pos x="7988" y="2398"/>
                  </a:cxn>
                  <a:cxn ang="0">
                    <a:pos x="182" y="3712"/>
                  </a:cxn>
                  <a:cxn ang="0">
                    <a:pos x="191" y="3678"/>
                  </a:cxn>
                  <a:cxn ang="0">
                    <a:pos x="215" y="3585"/>
                  </a:cxn>
                  <a:cxn ang="0">
                    <a:pos x="248" y="3445"/>
                  </a:cxn>
                  <a:cxn ang="0">
                    <a:pos x="283" y="3271"/>
                  </a:cxn>
                  <a:cxn ang="0">
                    <a:pos x="299" y="3174"/>
                  </a:cxn>
                  <a:cxn ang="0">
                    <a:pos x="314" y="3074"/>
                  </a:cxn>
                  <a:cxn ang="0">
                    <a:pos x="326" y="2971"/>
                  </a:cxn>
                  <a:cxn ang="0">
                    <a:pos x="336" y="2867"/>
                  </a:cxn>
                  <a:cxn ang="0">
                    <a:pos x="342" y="2764"/>
                  </a:cxn>
                  <a:cxn ang="0">
                    <a:pos x="343" y="2663"/>
                  </a:cxn>
                  <a:cxn ang="0">
                    <a:pos x="339" y="2566"/>
                  </a:cxn>
                  <a:cxn ang="0">
                    <a:pos x="329" y="2475"/>
                  </a:cxn>
                  <a:cxn ang="0">
                    <a:pos x="312" y="2388"/>
                  </a:cxn>
                  <a:cxn ang="0">
                    <a:pos x="293" y="2306"/>
                  </a:cxn>
                  <a:cxn ang="0">
                    <a:pos x="271" y="2229"/>
                  </a:cxn>
                  <a:cxn ang="0">
                    <a:pos x="246" y="2155"/>
                  </a:cxn>
                  <a:cxn ang="0">
                    <a:pos x="219" y="2088"/>
                  </a:cxn>
                  <a:cxn ang="0">
                    <a:pos x="192" y="2026"/>
                  </a:cxn>
                  <a:cxn ang="0">
                    <a:pos x="164" y="1968"/>
                  </a:cxn>
                  <a:cxn ang="0">
                    <a:pos x="136" y="1915"/>
                  </a:cxn>
                  <a:cxn ang="0">
                    <a:pos x="85" y="1828"/>
                  </a:cxn>
                  <a:cxn ang="0">
                    <a:pos x="40" y="1764"/>
                  </a:cxn>
                  <a:cxn ang="0">
                    <a:pos x="11" y="1724"/>
                  </a:cxn>
                  <a:cxn ang="0">
                    <a:pos x="0" y="1710"/>
                  </a:cxn>
                </a:cxnLst>
                <a:rect l="0" t="0" r="r" b="b"/>
                <a:pathLst>
                  <a:path w="9557" h="3712">
                    <a:moveTo>
                      <a:pt x="0" y="1710"/>
                    </a:moveTo>
                    <a:lnTo>
                      <a:pt x="9557" y="0"/>
                    </a:lnTo>
                    <a:lnTo>
                      <a:pt x="9520" y="692"/>
                    </a:lnTo>
                    <a:lnTo>
                      <a:pt x="9514" y="696"/>
                    </a:lnTo>
                    <a:lnTo>
                      <a:pt x="9494" y="707"/>
                    </a:lnTo>
                    <a:lnTo>
                      <a:pt x="9463" y="726"/>
                    </a:lnTo>
                    <a:lnTo>
                      <a:pt x="9422" y="751"/>
                    </a:lnTo>
                    <a:lnTo>
                      <a:pt x="9370" y="783"/>
                    </a:lnTo>
                    <a:lnTo>
                      <a:pt x="9310" y="822"/>
                    </a:lnTo>
                    <a:lnTo>
                      <a:pt x="9243" y="868"/>
                    </a:lnTo>
                    <a:lnTo>
                      <a:pt x="9169" y="919"/>
                    </a:lnTo>
                    <a:lnTo>
                      <a:pt x="9089" y="977"/>
                    </a:lnTo>
                    <a:lnTo>
                      <a:pt x="9006" y="1041"/>
                    </a:lnTo>
                    <a:lnTo>
                      <a:pt x="8962" y="1074"/>
                    </a:lnTo>
                    <a:lnTo>
                      <a:pt x="8918" y="1109"/>
                    </a:lnTo>
                    <a:lnTo>
                      <a:pt x="8872" y="1146"/>
                    </a:lnTo>
                    <a:lnTo>
                      <a:pt x="8828" y="1183"/>
                    </a:lnTo>
                    <a:lnTo>
                      <a:pt x="8782" y="1222"/>
                    </a:lnTo>
                    <a:lnTo>
                      <a:pt x="8736" y="1262"/>
                    </a:lnTo>
                    <a:lnTo>
                      <a:pt x="8690" y="1305"/>
                    </a:lnTo>
                    <a:lnTo>
                      <a:pt x="8644" y="1347"/>
                    </a:lnTo>
                    <a:lnTo>
                      <a:pt x="8598" y="1391"/>
                    </a:lnTo>
                    <a:lnTo>
                      <a:pt x="8552" y="1435"/>
                    </a:lnTo>
                    <a:lnTo>
                      <a:pt x="8507" y="1482"/>
                    </a:lnTo>
                    <a:lnTo>
                      <a:pt x="8462" y="1529"/>
                    </a:lnTo>
                    <a:lnTo>
                      <a:pt x="8419" y="1577"/>
                    </a:lnTo>
                    <a:lnTo>
                      <a:pt x="8379" y="1623"/>
                    </a:lnTo>
                    <a:lnTo>
                      <a:pt x="8342" y="1668"/>
                    </a:lnTo>
                    <a:lnTo>
                      <a:pt x="8305" y="1712"/>
                    </a:lnTo>
                    <a:lnTo>
                      <a:pt x="8272" y="1757"/>
                    </a:lnTo>
                    <a:lnTo>
                      <a:pt x="8242" y="1799"/>
                    </a:lnTo>
                    <a:lnTo>
                      <a:pt x="8215" y="1840"/>
                    </a:lnTo>
                    <a:lnTo>
                      <a:pt x="8188" y="1880"/>
                    </a:lnTo>
                    <a:lnTo>
                      <a:pt x="8164" y="1920"/>
                    </a:lnTo>
                    <a:lnTo>
                      <a:pt x="8142" y="1958"/>
                    </a:lnTo>
                    <a:lnTo>
                      <a:pt x="8122" y="1994"/>
                    </a:lnTo>
                    <a:lnTo>
                      <a:pt x="8104" y="2029"/>
                    </a:lnTo>
                    <a:lnTo>
                      <a:pt x="8088" y="2063"/>
                    </a:lnTo>
                    <a:lnTo>
                      <a:pt x="8072" y="2096"/>
                    </a:lnTo>
                    <a:lnTo>
                      <a:pt x="8060" y="2127"/>
                    </a:lnTo>
                    <a:lnTo>
                      <a:pt x="8047" y="2156"/>
                    </a:lnTo>
                    <a:lnTo>
                      <a:pt x="8037" y="2185"/>
                    </a:lnTo>
                    <a:lnTo>
                      <a:pt x="8028" y="2211"/>
                    </a:lnTo>
                    <a:lnTo>
                      <a:pt x="8019" y="2237"/>
                    </a:lnTo>
                    <a:lnTo>
                      <a:pt x="8013" y="2259"/>
                    </a:lnTo>
                    <a:lnTo>
                      <a:pt x="8003" y="2302"/>
                    </a:lnTo>
                    <a:lnTo>
                      <a:pt x="7996" y="2337"/>
                    </a:lnTo>
                    <a:lnTo>
                      <a:pt x="7992" y="2366"/>
                    </a:lnTo>
                    <a:lnTo>
                      <a:pt x="7989" y="2385"/>
                    </a:lnTo>
                    <a:lnTo>
                      <a:pt x="7988" y="2398"/>
                    </a:lnTo>
                    <a:lnTo>
                      <a:pt x="7988" y="2402"/>
                    </a:lnTo>
                    <a:lnTo>
                      <a:pt x="182" y="3712"/>
                    </a:lnTo>
                    <a:lnTo>
                      <a:pt x="185" y="3703"/>
                    </a:lnTo>
                    <a:lnTo>
                      <a:pt x="191" y="3678"/>
                    </a:lnTo>
                    <a:lnTo>
                      <a:pt x="201" y="3638"/>
                    </a:lnTo>
                    <a:lnTo>
                      <a:pt x="215" y="3585"/>
                    </a:lnTo>
                    <a:lnTo>
                      <a:pt x="230" y="3520"/>
                    </a:lnTo>
                    <a:lnTo>
                      <a:pt x="248" y="3445"/>
                    </a:lnTo>
                    <a:lnTo>
                      <a:pt x="264" y="3362"/>
                    </a:lnTo>
                    <a:lnTo>
                      <a:pt x="283" y="3271"/>
                    </a:lnTo>
                    <a:lnTo>
                      <a:pt x="290" y="3224"/>
                    </a:lnTo>
                    <a:lnTo>
                      <a:pt x="299" y="3174"/>
                    </a:lnTo>
                    <a:lnTo>
                      <a:pt x="307" y="3125"/>
                    </a:lnTo>
                    <a:lnTo>
                      <a:pt x="314" y="3074"/>
                    </a:lnTo>
                    <a:lnTo>
                      <a:pt x="320" y="3023"/>
                    </a:lnTo>
                    <a:lnTo>
                      <a:pt x="326" y="2971"/>
                    </a:lnTo>
                    <a:lnTo>
                      <a:pt x="332" y="2920"/>
                    </a:lnTo>
                    <a:lnTo>
                      <a:pt x="336" y="2867"/>
                    </a:lnTo>
                    <a:lnTo>
                      <a:pt x="339" y="2816"/>
                    </a:lnTo>
                    <a:lnTo>
                      <a:pt x="342" y="2764"/>
                    </a:lnTo>
                    <a:lnTo>
                      <a:pt x="343" y="2714"/>
                    </a:lnTo>
                    <a:lnTo>
                      <a:pt x="343" y="2663"/>
                    </a:lnTo>
                    <a:lnTo>
                      <a:pt x="341" y="2615"/>
                    </a:lnTo>
                    <a:lnTo>
                      <a:pt x="339" y="2566"/>
                    </a:lnTo>
                    <a:lnTo>
                      <a:pt x="335" y="2520"/>
                    </a:lnTo>
                    <a:lnTo>
                      <a:pt x="329" y="2475"/>
                    </a:lnTo>
                    <a:lnTo>
                      <a:pt x="320" y="2432"/>
                    </a:lnTo>
                    <a:lnTo>
                      <a:pt x="312" y="2388"/>
                    </a:lnTo>
                    <a:lnTo>
                      <a:pt x="303" y="2347"/>
                    </a:lnTo>
                    <a:lnTo>
                      <a:pt x="293" y="2306"/>
                    </a:lnTo>
                    <a:lnTo>
                      <a:pt x="282" y="2267"/>
                    </a:lnTo>
                    <a:lnTo>
                      <a:pt x="271" y="2229"/>
                    </a:lnTo>
                    <a:lnTo>
                      <a:pt x="258" y="2191"/>
                    </a:lnTo>
                    <a:lnTo>
                      <a:pt x="246" y="2155"/>
                    </a:lnTo>
                    <a:lnTo>
                      <a:pt x="232" y="2121"/>
                    </a:lnTo>
                    <a:lnTo>
                      <a:pt x="219" y="2088"/>
                    </a:lnTo>
                    <a:lnTo>
                      <a:pt x="206" y="2057"/>
                    </a:lnTo>
                    <a:lnTo>
                      <a:pt x="192" y="2026"/>
                    </a:lnTo>
                    <a:lnTo>
                      <a:pt x="178" y="1996"/>
                    </a:lnTo>
                    <a:lnTo>
                      <a:pt x="164" y="1968"/>
                    </a:lnTo>
                    <a:lnTo>
                      <a:pt x="150" y="1941"/>
                    </a:lnTo>
                    <a:lnTo>
                      <a:pt x="136" y="1915"/>
                    </a:lnTo>
                    <a:lnTo>
                      <a:pt x="110" y="1869"/>
                    </a:lnTo>
                    <a:lnTo>
                      <a:pt x="85" y="1828"/>
                    </a:lnTo>
                    <a:lnTo>
                      <a:pt x="61" y="1793"/>
                    </a:lnTo>
                    <a:lnTo>
                      <a:pt x="40" y="1764"/>
                    </a:lnTo>
                    <a:lnTo>
                      <a:pt x="24" y="1741"/>
                    </a:lnTo>
                    <a:lnTo>
                      <a:pt x="11" y="1724"/>
                    </a:lnTo>
                    <a:lnTo>
                      <a:pt x="3" y="1715"/>
                    </a:lnTo>
                    <a:lnTo>
                      <a:pt x="0" y="17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sp>
            <p:nvSpPr>
              <p:cNvPr id="217" name="Freeform 12"/>
              <p:cNvSpPr>
                <a:spLocks/>
              </p:cNvSpPr>
              <p:nvPr/>
            </p:nvSpPr>
            <p:spPr bwMode="auto">
              <a:xfrm>
                <a:off x="-1528763" y="3314700"/>
                <a:ext cx="158750" cy="184150"/>
              </a:xfrm>
              <a:custGeom>
                <a:avLst/>
                <a:gdLst/>
                <a:ahLst/>
                <a:cxnLst>
                  <a:cxn ang="0">
                    <a:pos x="911" y="80"/>
                  </a:cxn>
                  <a:cxn ang="0">
                    <a:pos x="904" y="185"/>
                  </a:cxn>
                  <a:cxn ang="0">
                    <a:pos x="904" y="342"/>
                  </a:cxn>
                  <a:cxn ang="0">
                    <a:pos x="912" y="454"/>
                  </a:cxn>
                  <a:cxn ang="0">
                    <a:pos x="926" y="575"/>
                  </a:cxn>
                  <a:cxn ang="0">
                    <a:pos x="950" y="698"/>
                  </a:cxn>
                  <a:cxn ang="0">
                    <a:pos x="986" y="817"/>
                  </a:cxn>
                  <a:cxn ang="0">
                    <a:pos x="1038" y="929"/>
                  </a:cxn>
                  <a:cxn ang="0">
                    <a:pos x="1104" y="1027"/>
                  </a:cxn>
                  <a:cxn ang="0">
                    <a:pos x="1185" y="1105"/>
                  </a:cxn>
                  <a:cxn ang="0">
                    <a:pos x="1270" y="1169"/>
                  </a:cxn>
                  <a:cxn ang="0">
                    <a:pos x="1356" y="1217"/>
                  </a:cxn>
                  <a:cxn ang="0">
                    <a:pos x="1439" y="1253"/>
                  </a:cxn>
                  <a:cxn ang="0">
                    <a:pos x="1518" y="1279"/>
                  </a:cxn>
                  <a:cxn ang="0">
                    <a:pos x="1591" y="1295"/>
                  </a:cxn>
                  <a:cxn ang="0">
                    <a:pos x="1656" y="1306"/>
                  </a:cxn>
                  <a:cxn ang="0">
                    <a:pos x="1771" y="1310"/>
                  </a:cxn>
                  <a:cxn ang="0">
                    <a:pos x="1791" y="1347"/>
                  </a:cxn>
                  <a:cxn ang="0">
                    <a:pos x="1794" y="1476"/>
                  </a:cxn>
                  <a:cxn ang="0">
                    <a:pos x="1786" y="1580"/>
                  </a:cxn>
                  <a:cxn ang="0">
                    <a:pos x="1769" y="1694"/>
                  </a:cxn>
                  <a:cxn ang="0">
                    <a:pos x="1735" y="1808"/>
                  </a:cxn>
                  <a:cxn ang="0">
                    <a:pos x="1681" y="1914"/>
                  </a:cxn>
                  <a:cxn ang="0">
                    <a:pos x="1603" y="2000"/>
                  </a:cxn>
                  <a:cxn ang="0">
                    <a:pos x="1494" y="2060"/>
                  </a:cxn>
                  <a:cxn ang="0">
                    <a:pos x="1354" y="2082"/>
                  </a:cxn>
                  <a:cxn ang="0">
                    <a:pos x="1179" y="2062"/>
                  </a:cxn>
                  <a:cxn ang="0">
                    <a:pos x="1013" y="2017"/>
                  </a:cxn>
                  <a:cxn ang="0">
                    <a:pos x="867" y="1954"/>
                  </a:cxn>
                  <a:cxn ang="0">
                    <a:pos x="740" y="1875"/>
                  </a:cxn>
                  <a:cxn ang="0">
                    <a:pos x="629" y="1785"/>
                  </a:cxn>
                  <a:cxn ang="0">
                    <a:pos x="533" y="1682"/>
                  </a:cxn>
                  <a:cxn ang="0">
                    <a:pos x="449" y="1570"/>
                  </a:cxn>
                  <a:cxn ang="0">
                    <a:pos x="376" y="1451"/>
                  </a:cxn>
                  <a:cxn ang="0">
                    <a:pos x="311" y="1325"/>
                  </a:cxn>
                  <a:cxn ang="0">
                    <a:pos x="253" y="1195"/>
                  </a:cxn>
                  <a:cxn ang="0">
                    <a:pos x="165" y="974"/>
                  </a:cxn>
                  <a:cxn ang="0">
                    <a:pos x="122" y="839"/>
                  </a:cxn>
                  <a:cxn ang="0">
                    <a:pos x="87" y="704"/>
                  </a:cxn>
                  <a:cxn ang="0">
                    <a:pos x="59" y="572"/>
                  </a:cxn>
                  <a:cxn ang="0">
                    <a:pos x="32" y="407"/>
                  </a:cxn>
                  <a:cxn ang="0">
                    <a:pos x="9" y="197"/>
                  </a:cxn>
                  <a:cxn ang="0">
                    <a:pos x="1" y="53"/>
                  </a:cxn>
                  <a:cxn ang="0">
                    <a:pos x="0" y="0"/>
                  </a:cxn>
                </a:cxnLst>
                <a:rect l="0" t="0" r="r" b="b"/>
                <a:pathLst>
                  <a:path w="1794" h="2082">
                    <a:moveTo>
                      <a:pt x="0" y="0"/>
                    </a:moveTo>
                    <a:lnTo>
                      <a:pt x="912" y="72"/>
                    </a:lnTo>
                    <a:lnTo>
                      <a:pt x="911" y="80"/>
                    </a:lnTo>
                    <a:lnTo>
                      <a:pt x="909" y="103"/>
                    </a:lnTo>
                    <a:lnTo>
                      <a:pt x="907" y="138"/>
                    </a:lnTo>
                    <a:lnTo>
                      <a:pt x="904" y="185"/>
                    </a:lnTo>
                    <a:lnTo>
                      <a:pt x="903" y="242"/>
                    </a:lnTo>
                    <a:lnTo>
                      <a:pt x="903" y="307"/>
                    </a:lnTo>
                    <a:lnTo>
                      <a:pt x="904" y="342"/>
                    </a:lnTo>
                    <a:lnTo>
                      <a:pt x="907" y="378"/>
                    </a:lnTo>
                    <a:lnTo>
                      <a:pt x="909" y="416"/>
                    </a:lnTo>
                    <a:lnTo>
                      <a:pt x="912" y="454"/>
                    </a:lnTo>
                    <a:lnTo>
                      <a:pt x="916" y="494"/>
                    </a:lnTo>
                    <a:lnTo>
                      <a:pt x="920" y="534"/>
                    </a:lnTo>
                    <a:lnTo>
                      <a:pt x="926" y="575"/>
                    </a:lnTo>
                    <a:lnTo>
                      <a:pt x="932" y="616"/>
                    </a:lnTo>
                    <a:lnTo>
                      <a:pt x="941" y="657"/>
                    </a:lnTo>
                    <a:lnTo>
                      <a:pt x="950" y="698"/>
                    </a:lnTo>
                    <a:lnTo>
                      <a:pt x="960" y="738"/>
                    </a:lnTo>
                    <a:lnTo>
                      <a:pt x="973" y="778"/>
                    </a:lnTo>
                    <a:lnTo>
                      <a:pt x="986" y="817"/>
                    </a:lnTo>
                    <a:lnTo>
                      <a:pt x="1002" y="856"/>
                    </a:lnTo>
                    <a:lnTo>
                      <a:pt x="1018" y="893"/>
                    </a:lnTo>
                    <a:lnTo>
                      <a:pt x="1038" y="929"/>
                    </a:lnTo>
                    <a:lnTo>
                      <a:pt x="1057" y="963"/>
                    </a:lnTo>
                    <a:lnTo>
                      <a:pt x="1080" y="996"/>
                    </a:lnTo>
                    <a:lnTo>
                      <a:pt x="1104" y="1027"/>
                    </a:lnTo>
                    <a:lnTo>
                      <a:pt x="1131" y="1054"/>
                    </a:lnTo>
                    <a:lnTo>
                      <a:pt x="1157" y="1081"/>
                    </a:lnTo>
                    <a:lnTo>
                      <a:pt x="1185" y="1105"/>
                    </a:lnTo>
                    <a:lnTo>
                      <a:pt x="1214" y="1129"/>
                    </a:lnTo>
                    <a:lnTo>
                      <a:pt x="1242" y="1149"/>
                    </a:lnTo>
                    <a:lnTo>
                      <a:pt x="1270" y="1169"/>
                    </a:lnTo>
                    <a:lnTo>
                      <a:pt x="1299" y="1186"/>
                    </a:lnTo>
                    <a:lnTo>
                      <a:pt x="1328" y="1203"/>
                    </a:lnTo>
                    <a:lnTo>
                      <a:pt x="1356" y="1217"/>
                    </a:lnTo>
                    <a:lnTo>
                      <a:pt x="1384" y="1231"/>
                    </a:lnTo>
                    <a:lnTo>
                      <a:pt x="1412" y="1243"/>
                    </a:lnTo>
                    <a:lnTo>
                      <a:pt x="1439" y="1253"/>
                    </a:lnTo>
                    <a:lnTo>
                      <a:pt x="1466" y="1264"/>
                    </a:lnTo>
                    <a:lnTo>
                      <a:pt x="1492" y="1272"/>
                    </a:lnTo>
                    <a:lnTo>
                      <a:pt x="1518" y="1279"/>
                    </a:lnTo>
                    <a:lnTo>
                      <a:pt x="1544" y="1285"/>
                    </a:lnTo>
                    <a:lnTo>
                      <a:pt x="1569" y="1291"/>
                    </a:lnTo>
                    <a:lnTo>
                      <a:pt x="1591" y="1295"/>
                    </a:lnTo>
                    <a:lnTo>
                      <a:pt x="1614" y="1300"/>
                    </a:lnTo>
                    <a:lnTo>
                      <a:pt x="1636" y="1303"/>
                    </a:lnTo>
                    <a:lnTo>
                      <a:pt x="1656" y="1306"/>
                    </a:lnTo>
                    <a:lnTo>
                      <a:pt x="1693" y="1309"/>
                    </a:lnTo>
                    <a:lnTo>
                      <a:pt x="1726" y="1310"/>
                    </a:lnTo>
                    <a:lnTo>
                      <a:pt x="1771" y="1310"/>
                    </a:lnTo>
                    <a:lnTo>
                      <a:pt x="1787" y="1309"/>
                    </a:lnTo>
                    <a:lnTo>
                      <a:pt x="1789" y="1319"/>
                    </a:lnTo>
                    <a:lnTo>
                      <a:pt x="1791" y="1347"/>
                    </a:lnTo>
                    <a:lnTo>
                      <a:pt x="1793" y="1389"/>
                    </a:lnTo>
                    <a:lnTo>
                      <a:pt x="1794" y="1444"/>
                    </a:lnTo>
                    <a:lnTo>
                      <a:pt x="1794" y="1476"/>
                    </a:lnTo>
                    <a:lnTo>
                      <a:pt x="1793" y="1509"/>
                    </a:lnTo>
                    <a:lnTo>
                      <a:pt x="1790" y="1544"/>
                    </a:lnTo>
                    <a:lnTo>
                      <a:pt x="1786" y="1580"/>
                    </a:lnTo>
                    <a:lnTo>
                      <a:pt x="1782" y="1617"/>
                    </a:lnTo>
                    <a:lnTo>
                      <a:pt x="1776" y="1655"/>
                    </a:lnTo>
                    <a:lnTo>
                      <a:pt x="1769" y="1694"/>
                    </a:lnTo>
                    <a:lnTo>
                      <a:pt x="1760" y="1732"/>
                    </a:lnTo>
                    <a:lnTo>
                      <a:pt x="1748" y="1770"/>
                    </a:lnTo>
                    <a:lnTo>
                      <a:pt x="1735" y="1808"/>
                    </a:lnTo>
                    <a:lnTo>
                      <a:pt x="1719" y="1845"/>
                    </a:lnTo>
                    <a:lnTo>
                      <a:pt x="1701" y="1880"/>
                    </a:lnTo>
                    <a:lnTo>
                      <a:pt x="1681" y="1914"/>
                    </a:lnTo>
                    <a:lnTo>
                      <a:pt x="1657" y="1944"/>
                    </a:lnTo>
                    <a:lnTo>
                      <a:pt x="1632" y="1973"/>
                    </a:lnTo>
                    <a:lnTo>
                      <a:pt x="1603" y="2000"/>
                    </a:lnTo>
                    <a:lnTo>
                      <a:pt x="1570" y="2024"/>
                    </a:lnTo>
                    <a:lnTo>
                      <a:pt x="1534" y="2043"/>
                    </a:lnTo>
                    <a:lnTo>
                      <a:pt x="1494" y="2060"/>
                    </a:lnTo>
                    <a:lnTo>
                      <a:pt x="1452" y="2072"/>
                    </a:lnTo>
                    <a:lnTo>
                      <a:pt x="1404" y="2079"/>
                    </a:lnTo>
                    <a:lnTo>
                      <a:pt x="1354" y="2082"/>
                    </a:lnTo>
                    <a:lnTo>
                      <a:pt x="1299" y="2080"/>
                    </a:lnTo>
                    <a:lnTo>
                      <a:pt x="1240" y="2073"/>
                    </a:lnTo>
                    <a:lnTo>
                      <a:pt x="1179" y="2062"/>
                    </a:lnTo>
                    <a:lnTo>
                      <a:pt x="1121" y="2048"/>
                    </a:lnTo>
                    <a:lnTo>
                      <a:pt x="1067" y="2033"/>
                    </a:lnTo>
                    <a:lnTo>
                      <a:pt x="1013" y="2017"/>
                    </a:lnTo>
                    <a:lnTo>
                      <a:pt x="962" y="1997"/>
                    </a:lnTo>
                    <a:lnTo>
                      <a:pt x="914" y="1976"/>
                    </a:lnTo>
                    <a:lnTo>
                      <a:pt x="867" y="1954"/>
                    </a:lnTo>
                    <a:lnTo>
                      <a:pt x="823" y="1929"/>
                    </a:lnTo>
                    <a:lnTo>
                      <a:pt x="781" y="1903"/>
                    </a:lnTo>
                    <a:lnTo>
                      <a:pt x="740" y="1875"/>
                    </a:lnTo>
                    <a:lnTo>
                      <a:pt x="701" y="1847"/>
                    </a:lnTo>
                    <a:lnTo>
                      <a:pt x="665" y="1817"/>
                    </a:lnTo>
                    <a:lnTo>
                      <a:pt x="629" y="1785"/>
                    </a:lnTo>
                    <a:lnTo>
                      <a:pt x="596" y="1752"/>
                    </a:lnTo>
                    <a:lnTo>
                      <a:pt x="564" y="1718"/>
                    </a:lnTo>
                    <a:lnTo>
                      <a:pt x="533" y="1682"/>
                    </a:lnTo>
                    <a:lnTo>
                      <a:pt x="504" y="1646"/>
                    </a:lnTo>
                    <a:lnTo>
                      <a:pt x="476" y="1609"/>
                    </a:lnTo>
                    <a:lnTo>
                      <a:pt x="449" y="1570"/>
                    </a:lnTo>
                    <a:lnTo>
                      <a:pt x="423" y="1531"/>
                    </a:lnTo>
                    <a:lnTo>
                      <a:pt x="399" y="1491"/>
                    </a:lnTo>
                    <a:lnTo>
                      <a:pt x="376" y="1451"/>
                    </a:lnTo>
                    <a:lnTo>
                      <a:pt x="353" y="1410"/>
                    </a:lnTo>
                    <a:lnTo>
                      <a:pt x="332" y="1368"/>
                    </a:lnTo>
                    <a:lnTo>
                      <a:pt x="311" y="1325"/>
                    </a:lnTo>
                    <a:lnTo>
                      <a:pt x="291" y="1282"/>
                    </a:lnTo>
                    <a:lnTo>
                      <a:pt x="271" y="1239"/>
                    </a:lnTo>
                    <a:lnTo>
                      <a:pt x="253" y="1195"/>
                    </a:lnTo>
                    <a:lnTo>
                      <a:pt x="217" y="1107"/>
                    </a:lnTo>
                    <a:lnTo>
                      <a:pt x="183" y="1018"/>
                    </a:lnTo>
                    <a:lnTo>
                      <a:pt x="165" y="974"/>
                    </a:lnTo>
                    <a:lnTo>
                      <a:pt x="150" y="929"/>
                    </a:lnTo>
                    <a:lnTo>
                      <a:pt x="135" y="884"/>
                    </a:lnTo>
                    <a:lnTo>
                      <a:pt x="122" y="839"/>
                    </a:lnTo>
                    <a:lnTo>
                      <a:pt x="109" y="794"/>
                    </a:lnTo>
                    <a:lnTo>
                      <a:pt x="97" y="748"/>
                    </a:lnTo>
                    <a:lnTo>
                      <a:pt x="87" y="704"/>
                    </a:lnTo>
                    <a:lnTo>
                      <a:pt x="76" y="660"/>
                    </a:lnTo>
                    <a:lnTo>
                      <a:pt x="67" y="616"/>
                    </a:lnTo>
                    <a:lnTo>
                      <a:pt x="59" y="572"/>
                    </a:lnTo>
                    <a:lnTo>
                      <a:pt x="50" y="530"/>
                    </a:lnTo>
                    <a:lnTo>
                      <a:pt x="44" y="488"/>
                    </a:lnTo>
                    <a:lnTo>
                      <a:pt x="32" y="407"/>
                    </a:lnTo>
                    <a:lnTo>
                      <a:pt x="23" y="331"/>
                    </a:lnTo>
                    <a:lnTo>
                      <a:pt x="14" y="261"/>
                    </a:lnTo>
                    <a:lnTo>
                      <a:pt x="9" y="197"/>
                    </a:lnTo>
                    <a:lnTo>
                      <a:pt x="5" y="141"/>
                    </a:lnTo>
                    <a:lnTo>
                      <a:pt x="3" y="92"/>
                    </a:lnTo>
                    <a:lnTo>
                      <a:pt x="1" y="53"/>
                    </a:lnTo>
                    <a:lnTo>
                      <a:pt x="0" y="24"/>
                    </a:lnTo>
                    <a:lnTo>
                      <a:pt x="0"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sp>
            <p:nvSpPr>
              <p:cNvPr id="218" name="Freeform 13"/>
              <p:cNvSpPr>
                <a:spLocks/>
              </p:cNvSpPr>
              <p:nvPr/>
            </p:nvSpPr>
            <p:spPr bwMode="auto">
              <a:xfrm>
                <a:off x="-1708150" y="3236913"/>
                <a:ext cx="166688" cy="173038"/>
              </a:xfrm>
              <a:custGeom>
                <a:avLst/>
                <a:gdLst/>
                <a:ahLst/>
                <a:cxnLst>
                  <a:cxn ang="0">
                    <a:pos x="255" y="36"/>
                  </a:cxn>
                  <a:cxn ang="0">
                    <a:pos x="296" y="84"/>
                  </a:cxn>
                  <a:cxn ang="0">
                    <a:pos x="347" y="137"/>
                  </a:cxn>
                  <a:cxn ang="0">
                    <a:pos x="419" y="200"/>
                  </a:cxn>
                  <a:cxn ang="0">
                    <a:pos x="463" y="236"/>
                  </a:cxn>
                  <a:cxn ang="0">
                    <a:pos x="511" y="271"/>
                  </a:cxn>
                  <a:cxn ang="0">
                    <a:pos x="565" y="308"/>
                  </a:cxn>
                  <a:cxn ang="0">
                    <a:pos x="625" y="344"/>
                  </a:cxn>
                  <a:cxn ang="0">
                    <a:pos x="689" y="379"/>
                  </a:cxn>
                  <a:cxn ang="0">
                    <a:pos x="758" y="413"/>
                  </a:cxn>
                  <a:cxn ang="0">
                    <a:pos x="832" y="444"/>
                  </a:cxn>
                  <a:cxn ang="0">
                    <a:pos x="912" y="473"/>
                  </a:cxn>
                  <a:cxn ang="0">
                    <a:pos x="992" y="499"/>
                  </a:cxn>
                  <a:cxn ang="0">
                    <a:pos x="1072" y="521"/>
                  </a:cxn>
                  <a:cxn ang="0">
                    <a:pos x="1148" y="541"/>
                  </a:cxn>
                  <a:cxn ang="0">
                    <a:pos x="1222" y="557"/>
                  </a:cxn>
                  <a:cxn ang="0">
                    <a:pos x="1358" y="583"/>
                  </a:cxn>
                  <a:cxn ang="0">
                    <a:pos x="1477" y="601"/>
                  </a:cxn>
                  <a:cxn ang="0">
                    <a:pos x="1576" y="611"/>
                  </a:cxn>
                  <a:cxn ang="0">
                    <a:pos x="1650" y="616"/>
                  </a:cxn>
                  <a:cxn ang="0">
                    <a:pos x="1698" y="618"/>
                  </a:cxn>
                  <a:cxn ang="0">
                    <a:pos x="1714" y="619"/>
                  </a:cxn>
                  <a:cxn ang="0">
                    <a:pos x="1711" y="639"/>
                  </a:cxn>
                  <a:cxn ang="0">
                    <a:pos x="1705" y="692"/>
                  </a:cxn>
                  <a:cxn ang="0">
                    <a:pos x="1697" y="776"/>
                  </a:cxn>
                  <a:cxn ang="0">
                    <a:pos x="1692" y="883"/>
                  </a:cxn>
                  <a:cxn ang="0">
                    <a:pos x="1692" y="1006"/>
                  </a:cxn>
                  <a:cxn ang="0">
                    <a:pos x="1694" y="1072"/>
                  </a:cxn>
                  <a:cxn ang="0">
                    <a:pos x="1699" y="1140"/>
                  </a:cxn>
                  <a:cxn ang="0">
                    <a:pos x="1706" y="1210"/>
                  </a:cxn>
                  <a:cxn ang="0">
                    <a:pos x="1717" y="1280"/>
                  </a:cxn>
                  <a:cxn ang="0">
                    <a:pos x="1732" y="1351"/>
                  </a:cxn>
                  <a:cxn ang="0">
                    <a:pos x="1751" y="1420"/>
                  </a:cxn>
                  <a:cxn ang="0">
                    <a:pos x="1820" y="1657"/>
                  </a:cxn>
                  <a:cxn ang="0">
                    <a:pos x="1865" y="1828"/>
                  </a:cxn>
                  <a:cxn ang="0">
                    <a:pos x="1889" y="1930"/>
                  </a:cxn>
                  <a:cxn ang="0">
                    <a:pos x="1897" y="1964"/>
                  </a:cxn>
                  <a:cxn ang="0">
                    <a:pos x="1858" y="1953"/>
                  </a:cxn>
                  <a:cxn ang="0">
                    <a:pos x="1754" y="1916"/>
                  </a:cxn>
                  <a:cxn ang="0">
                    <a:pos x="1681" y="1888"/>
                  </a:cxn>
                  <a:cxn ang="0">
                    <a:pos x="1599" y="1853"/>
                  </a:cxn>
                  <a:cxn ang="0">
                    <a:pos x="1507" y="1813"/>
                  </a:cxn>
                  <a:cxn ang="0">
                    <a:pos x="1409" y="1765"/>
                  </a:cxn>
                  <a:cxn ang="0">
                    <a:pos x="1305" y="1710"/>
                  </a:cxn>
                  <a:cxn ang="0">
                    <a:pos x="1200" y="1648"/>
                  </a:cxn>
                  <a:cxn ang="0">
                    <a:pos x="1094" y="1580"/>
                  </a:cxn>
                  <a:cxn ang="0">
                    <a:pos x="988" y="1504"/>
                  </a:cxn>
                  <a:cxn ang="0">
                    <a:pos x="887" y="1422"/>
                  </a:cxn>
                  <a:cxn ang="0">
                    <a:pos x="790" y="1331"/>
                  </a:cxn>
                  <a:cxn ang="0">
                    <a:pos x="700" y="1233"/>
                  </a:cxn>
                  <a:cxn ang="0">
                    <a:pos x="620" y="1128"/>
                  </a:cxn>
                  <a:cxn ang="0">
                    <a:pos x="547" y="1020"/>
                  </a:cxn>
                  <a:cxn ang="0">
                    <a:pos x="478" y="913"/>
                  </a:cxn>
                  <a:cxn ang="0">
                    <a:pos x="414" y="808"/>
                  </a:cxn>
                  <a:cxn ang="0">
                    <a:pos x="354" y="707"/>
                  </a:cxn>
                  <a:cxn ang="0">
                    <a:pos x="248" y="515"/>
                  </a:cxn>
                  <a:cxn ang="0">
                    <a:pos x="159" y="346"/>
                  </a:cxn>
                  <a:cxn ang="0">
                    <a:pos x="90" y="204"/>
                  </a:cxn>
                  <a:cxn ang="0">
                    <a:pos x="40" y="95"/>
                  </a:cxn>
                  <a:cxn ang="0">
                    <a:pos x="10" y="25"/>
                  </a:cxn>
                  <a:cxn ang="0">
                    <a:pos x="0" y="0"/>
                  </a:cxn>
                </a:cxnLst>
                <a:rect l="0" t="0" r="r" b="b"/>
                <a:pathLst>
                  <a:path w="1897" h="1964">
                    <a:moveTo>
                      <a:pt x="0" y="0"/>
                    </a:moveTo>
                    <a:lnTo>
                      <a:pt x="255" y="36"/>
                    </a:lnTo>
                    <a:lnTo>
                      <a:pt x="265" y="49"/>
                    </a:lnTo>
                    <a:lnTo>
                      <a:pt x="296" y="84"/>
                    </a:lnTo>
                    <a:lnTo>
                      <a:pt x="319" y="109"/>
                    </a:lnTo>
                    <a:lnTo>
                      <a:pt x="347" y="137"/>
                    </a:lnTo>
                    <a:lnTo>
                      <a:pt x="381" y="167"/>
                    </a:lnTo>
                    <a:lnTo>
                      <a:pt x="419" y="200"/>
                    </a:lnTo>
                    <a:lnTo>
                      <a:pt x="440" y="217"/>
                    </a:lnTo>
                    <a:lnTo>
                      <a:pt x="463" y="236"/>
                    </a:lnTo>
                    <a:lnTo>
                      <a:pt x="486" y="253"/>
                    </a:lnTo>
                    <a:lnTo>
                      <a:pt x="511" y="271"/>
                    </a:lnTo>
                    <a:lnTo>
                      <a:pt x="538" y="289"/>
                    </a:lnTo>
                    <a:lnTo>
                      <a:pt x="565" y="308"/>
                    </a:lnTo>
                    <a:lnTo>
                      <a:pt x="594" y="326"/>
                    </a:lnTo>
                    <a:lnTo>
                      <a:pt x="625" y="344"/>
                    </a:lnTo>
                    <a:lnTo>
                      <a:pt x="656" y="362"/>
                    </a:lnTo>
                    <a:lnTo>
                      <a:pt x="689" y="379"/>
                    </a:lnTo>
                    <a:lnTo>
                      <a:pt x="722" y="397"/>
                    </a:lnTo>
                    <a:lnTo>
                      <a:pt x="758" y="413"/>
                    </a:lnTo>
                    <a:lnTo>
                      <a:pt x="794" y="430"/>
                    </a:lnTo>
                    <a:lnTo>
                      <a:pt x="832" y="444"/>
                    </a:lnTo>
                    <a:lnTo>
                      <a:pt x="872" y="459"/>
                    </a:lnTo>
                    <a:lnTo>
                      <a:pt x="912" y="473"/>
                    </a:lnTo>
                    <a:lnTo>
                      <a:pt x="952" y="486"/>
                    </a:lnTo>
                    <a:lnTo>
                      <a:pt x="992" y="499"/>
                    </a:lnTo>
                    <a:lnTo>
                      <a:pt x="1033" y="511"/>
                    </a:lnTo>
                    <a:lnTo>
                      <a:pt x="1072" y="521"/>
                    </a:lnTo>
                    <a:lnTo>
                      <a:pt x="1110" y="532"/>
                    </a:lnTo>
                    <a:lnTo>
                      <a:pt x="1148" y="541"/>
                    </a:lnTo>
                    <a:lnTo>
                      <a:pt x="1186" y="549"/>
                    </a:lnTo>
                    <a:lnTo>
                      <a:pt x="1222" y="557"/>
                    </a:lnTo>
                    <a:lnTo>
                      <a:pt x="1292" y="572"/>
                    </a:lnTo>
                    <a:lnTo>
                      <a:pt x="1358" y="583"/>
                    </a:lnTo>
                    <a:lnTo>
                      <a:pt x="1420" y="593"/>
                    </a:lnTo>
                    <a:lnTo>
                      <a:pt x="1477" y="601"/>
                    </a:lnTo>
                    <a:lnTo>
                      <a:pt x="1530" y="607"/>
                    </a:lnTo>
                    <a:lnTo>
                      <a:pt x="1576" y="611"/>
                    </a:lnTo>
                    <a:lnTo>
                      <a:pt x="1616" y="614"/>
                    </a:lnTo>
                    <a:lnTo>
                      <a:pt x="1650" y="616"/>
                    </a:lnTo>
                    <a:lnTo>
                      <a:pt x="1677" y="618"/>
                    </a:lnTo>
                    <a:lnTo>
                      <a:pt x="1698" y="618"/>
                    </a:lnTo>
                    <a:lnTo>
                      <a:pt x="1710" y="619"/>
                    </a:lnTo>
                    <a:lnTo>
                      <a:pt x="1714" y="619"/>
                    </a:lnTo>
                    <a:lnTo>
                      <a:pt x="1713" y="624"/>
                    </a:lnTo>
                    <a:lnTo>
                      <a:pt x="1711" y="639"/>
                    </a:lnTo>
                    <a:lnTo>
                      <a:pt x="1708" y="661"/>
                    </a:lnTo>
                    <a:lnTo>
                      <a:pt x="1705" y="692"/>
                    </a:lnTo>
                    <a:lnTo>
                      <a:pt x="1701" y="731"/>
                    </a:lnTo>
                    <a:lnTo>
                      <a:pt x="1697" y="776"/>
                    </a:lnTo>
                    <a:lnTo>
                      <a:pt x="1694" y="827"/>
                    </a:lnTo>
                    <a:lnTo>
                      <a:pt x="1692" y="883"/>
                    </a:lnTo>
                    <a:lnTo>
                      <a:pt x="1691" y="943"/>
                    </a:lnTo>
                    <a:lnTo>
                      <a:pt x="1692" y="1006"/>
                    </a:lnTo>
                    <a:lnTo>
                      <a:pt x="1692" y="1039"/>
                    </a:lnTo>
                    <a:lnTo>
                      <a:pt x="1694" y="1072"/>
                    </a:lnTo>
                    <a:lnTo>
                      <a:pt x="1696" y="1106"/>
                    </a:lnTo>
                    <a:lnTo>
                      <a:pt x="1699" y="1140"/>
                    </a:lnTo>
                    <a:lnTo>
                      <a:pt x="1702" y="1175"/>
                    </a:lnTo>
                    <a:lnTo>
                      <a:pt x="1706" y="1210"/>
                    </a:lnTo>
                    <a:lnTo>
                      <a:pt x="1711" y="1245"/>
                    </a:lnTo>
                    <a:lnTo>
                      <a:pt x="1717" y="1280"/>
                    </a:lnTo>
                    <a:lnTo>
                      <a:pt x="1725" y="1315"/>
                    </a:lnTo>
                    <a:lnTo>
                      <a:pt x="1732" y="1351"/>
                    </a:lnTo>
                    <a:lnTo>
                      <a:pt x="1741" y="1385"/>
                    </a:lnTo>
                    <a:lnTo>
                      <a:pt x="1751" y="1420"/>
                    </a:lnTo>
                    <a:lnTo>
                      <a:pt x="1789" y="1547"/>
                    </a:lnTo>
                    <a:lnTo>
                      <a:pt x="1820" y="1657"/>
                    </a:lnTo>
                    <a:lnTo>
                      <a:pt x="1844" y="1752"/>
                    </a:lnTo>
                    <a:lnTo>
                      <a:pt x="1865" y="1828"/>
                    </a:lnTo>
                    <a:lnTo>
                      <a:pt x="1880" y="1888"/>
                    </a:lnTo>
                    <a:lnTo>
                      <a:pt x="1889" y="1930"/>
                    </a:lnTo>
                    <a:lnTo>
                      <a:pt x="1895" y="1956"/>
                    </a:lnTo>
                    <a:lnTo>
                      <a:pt x="1897" y="1964"/>
                    </a:lnTo>
                    <a:lnTo>
                      <a:pt x="1887" y="1961"/>
                    </a:lnTo>
                    <a:lnTo>
                      <a:pt x="1858" y="1953"/>
                    </a:lnTo>
                    <a:lnTo>
                      <a:pt x="1814" y="1938"/>
                    </a:lnTo>
                    <a:lnTo>
                      <a:pt x="1754" y="1916"/>
                    </a:lnTo>
                    <a:lnTo>
                      <a:pt x="1718" y="1904"/>
                    </a:lnTo>
                    <a:lnTo>
                      <a:pt x="1681" y="1888"/>
                    </a:lnTo>
                    <a:lnTo>
                      <a:pt x="1641" y="1872"/>
                    </a:lnTo>
                    <a:lnTo>
                      <a:pt x="1599" y="1853"/>
                    </a:lnTo>
                    <a:lnTo>
                      <a:pt x="1553" y="1834"/>
                    </a:lnTo>
                    <a:lnTo>
                      <a:pt x="1507" y="1813"/>
                    </a:lnTo>
                    <a:lnTo>
                      <a:pt x="1458" y="1789"/>
                    </a:lnTo>
                    <a:lnTo>
                      <a:pt x="1409" y="1765"/>
                    </a:lnTo>
                    <a:lnTo>
                      <a:pt x="1358" y="1739"/>
                    </a:lnTo>
                    <a:lnTo>
                      <a:pt x="1305" y="1710"/>
                    </a:lnTo>
                    <a:lnTo>
                      <a:pt x="1253" y="1680"/>
                    </a:lnTo>
                    <a:lnTo>
                      <a:pt x="1200" y="1648"/>
                    </a:lnTo>
                    <a:lnTo>
                      <a:pt x="1146" y="1615"/>
                    </a:lnTo>
                    <a:lnTo>
                      <a:pt x="1094" y="1580"/>
                    </a:lnTo>
                    <a:lnTo>
                      <a:pt x="1041" y="1543"/>
                    </a:lnTo>
                    <a:lnTo>
                      <a:pt x="988" y="1504"/>
                    </a:lnTo>
                    <a:lnTo>
                      <a:pt x="937" y="1464"/>
                    </a:lnTo>
                    <a:lnTo>
                      <a:pt x="887" y="1422"/>
                    </a:lnTo>
                    <a:lnTo>
                      <a:pt x="838" y="1377"/>
                    </a:lnTo>
                    <a:lnTo>
                      <a:pt x="790" y="1331"/>
                    </a:lnTo>
                    <a:lnTo>
                      <a:pt x="744" y="1284"/>
                    </a:lnTo>
                    <a:lnTo>
                      <a:pt x="700" y="1233"/>
                    </a:lnTo>
                    <a:lnTo>
                      <a:pt x="659" y="1182"/>
                    </a:lnTo>
                    <a:lnTo>
                      <a:pt x="620" y="1128"/>
                    </a:lnTo>
                    <a:lnTo>
                      <a:pt x="582" y="1073"/>
                    </a:lnTo>
                    <a:lnTo>
                      <a:pt x="547" y="1020"/>
                    </a:lnTo>
                    <a:lnTo>
                      <a:pt x="512" y="966"/>
                    </a:lnTo>
                    <a:lnTo>
                      <a:pt x="478" y="913"/>
                    </a:lnTo>
                    <a:lnTo>
                      <a:pt x="445" y="860"/>
                    </a:lnTo>
                    <a:lnTo>
                      <a:pt x="414" y="808"/>
                    </a:lnTo>
                    <a:lnTo>
                      <a:pt x="383" y="757"/>
                    </a:lnTo>
                    <a:lnTo>
                      <a:pt x="354" y="707"/>
                    </a:lnTo>
                    <a:lnTo>
                      <a:pt x="298" y="609"/>
                    </a:lnTo>
                    <a:lnTo>
                      <a:pt x="248" y="515"/>
                    </a:lnTo>
                    <a:lnTo>
                      <a:pt x="201" y="428"/>
                    </a:lnTo>
                    <a:lnTo>
                      <a:pt x="159" y="346"/>
                    </a:lnTo>
                    <a:lnTo>
                      <a:pt x="122" y="271"/>
                    </a:lnTo>
                    <a:lnTo>
                      <a:pt x="90" y="204"/>
                    </a:lnTo>
                    <a:lnTo>
                      <a:pt x="63" y="144"/>
                    </a:lnTo>
                    <a:lnTo>
                      <a:pt x="40" y="95"/>
                    </a:lnTo>
                    <a:lnTo>
                      <a:pt x="23" y="55"/>
                    </a:lnTo>
                    <a:lnTo>
                      <a:pt x="10" y="25"/>
                    </a:lnTo>
                    <a:lnTo>
                      <a:pt x="2"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sp>
            <p:nvSpPr>
              <p:cNvPr id="219" name="Rectangle 14"/>
              <p:cNvSpPr>
                <a:spLocks noChangeArrowheads="1"/>
              </p:cNvSpPr>
              <p:nvPr/>
            </p:nvSpPr>
            <p:spPr bwMode="auto">
              <a:xfrm>
                <a:off x="-322263" y="3673475"/>
                <a:ext cx="71438" cy="266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600"/>
              </a:p>
            </p:txBody>
          </p:sp>
          <p:sp>
            <p:nvSpPr>
              <p:cNvPr id="220" name="Freeform 15"/>
              <p:cNvSpPr>
                <a:spLocks noEditPoints="1"/>
              </p:cNvSpPr>
              <p:nvPr/>
            </p:nvSpPr>
            <p:spPr bwMode="auto">
              <a:xfrm>
                <a:off x="-1085850" y="3427413"/>
                <a:ext cx="722313" cy="474663"/>
              </a:xfrm>
              <a:custGeom>
                <a:avLst/>
                <a:gdLst/>
                <a:ahLst/>
                <a:cxnLst>
                  <a:cxn ang="0">
                    <a:pos x="3075" y="1468"/>
                  </a:cxn>
                  <a:cxn ang="0">
                    <a:pos x="2973" y="1747"/>
                  </a:cxn>
                  <a:cxn ang="0">
                    <a:pos x="2863" y="1952"/>
                  </a:cxn>
                  <a:cxn ang="0">
                    <a:pos x="2710" y="2160"/>
                  </a:cxn>
                  <a:cxn ang="0">
                    <a:pos x="2511" y="2339"/>
                  </a:cxn>
                  <a:cxn ang="0">
                    <a:pos x="2320" y="2462"/>
                  </a:cxn>
                  <a:cxn ang="0">
                    <a:pos x="2154" y="2534"/>
                  </a:cxn>
                  <a:cxn ang="0">
                    <a:pos x="2007" y="2573"/>
                  </a:cxn>
                  <a:cxn ang="0">
                    <a:pos x="1958" y="2695"/>
                  </a:cxn>
                  <a:cxn ang="0">
                    <a:pos x="2096" y="3022"/>
                  </a:cxn>
                  <a:cxn ang="0">
                    <a:pos x="2290" y="3365"/>
                  </a:cxn>
                  <a:cxn ang="0">
                    <a:pos x="2554" y="3671"/>
                  </a:cxn>
                  <a:cxn ang="0">
                    <a:pos x="2881" y="3846"/>
                  </a:cxn>
                  <a:cxn ang="0">
                    <a:pos x="3448" y="3881"/>
                  </a:cxn>
                  <a:cxn ang="0">
                    <a:pos x="4430" y="3888"/>
                  </a:cxn>
                  <a:cxn ang="0">
                    <a:pos x="6438" y="3871"/>
                  </a:cxn>
                  <a:cxn ang="0">
                    <a:pos x="7321" y="3383"/>
                  </a:cxn>
                  <a:cxn ang="0">
                    <a:pos x="3362" y="4776"/>
                  </a:cxn>
                  <a:cxn ang="0">
                    <a:pos x="3091" y="4729"/>
                  </a:cxn>
                  <a:cxn ang="0">
                    <a:pos x="2684" y="4621"/>
                  </a:cxn>
                  <a:cxn ang="0">
                    <a:pos x="2225" y="4427"/>
                  </a:cxn>
                  <a:cxn ang="0">
                    <a:pos x="1818" y="4129"/>
                  </a:cxn>
                  <a:cxn ang="0">
                    <a:pos x="1562" y="3707"/>
                  </a:cxn>
                  <a:cxn ang="0">
                    <a:pos x="1416" y="3301"/>
                  </a:cxn>
                  <a:cxn ang="0">
                    <a:pos x="1307" y="2948"/>
                  </a:cxn>
                  <a:cxn ang="0">
                    <a:pos x="1233" y="2622"/>
                  </a:cxn>
                  <a:cxn ang="0">
                    <a:pos x="1128" y="2549"/>
                  </a:cxn>
                  <a:cxn ang="0">
                    <a:pos x="837" y="2426"/>
                  </a:cxn>
                  <a:cxn ang="0">
                    <a:pos x="528" y="2253"/>
                  </a:cxn>
                  <a:cxn ang="0">
                    <a:pos x="246" y="2019"/>
                  </a:cxn>
                  <a:cxn ang="0">
                    <a:pos x="73" y="1727"/>
                  </a:cxn>
                  <a:cxn ang="0">
                    <a:pos x="20" y="1406"/>
                  </a:cxn>
                  <a:cxn ang="0">
                    <a:pos x="2" y="1107"/>
                  </a:cxn>
                  <a:cxn ang="0">
                    <a:pos x="10" y="690"/>
                  </a:cxn>
                  <a:cxn ang="0">
                    <a:pos x="1647" y="909"/>
                  </a:cxn>
                  <a:cxn ang="0">
                    <a:pos x="1814" y="935"/>
                  </a:cxn>
                  <a:cxn ang="0">
                    <a:pos x="1962" y="1006"/>
                  </a:cxn>
                  <a:cxn ang="0">
                    <a:pos x="2083" y="1115"/>
                  </a:cxn>
                  <a:cxn ang="0">
                    <a:pos x="2167" y="1254"/>
                  </a:cxn>
                  <a:cxn ang="0">
                    <a:pos x="2209" y="1416"/>
                  </a:cxn>
                  <a:cxn ang="0">
                    <a:pos x="2200" y="1587"/>
                  </a:cxn>
                  <a:cxn ang="0">
                    <a:pos x="2144" y="1742"/>
                  </a:cxn>
                  <a:cxn ang="0">
                    <a:pos x="2047" y="1872"/>
                  </a:cxn>
                  <a:cxn ang="0">
                    <a:pos x="1915" y="1969"/>
                  </a:cxn>
                  <a:cxn ang="0">
                    <a:pos x="1760" y="2026"/>
                  </a:cxn>
                  <a:cxn ang="0">
                    <a:pos x="1589" y="2034"/>
                  </a:cxn>
                  <a:cxn ang="0">
                    <a:pos x="1427" y="1993"/>
                  </a:cxn>
                  <a:cxn ang="0">
                    <a:pos x="1287" y="1909"/>
                  </a:cxn>
                  <a:cxn ang="0">
                    <a:pos x="1178" y="1788"/>
                  </a:cxn>
                  <a:cxn ang="0">
                    <a:pos x="1107" y="1641"/>
                  </a:cxn>
                  <a:cxn ang="0">
                    <a:pos x="1081" y="1473"/>
                  </a:cxn>
                  <a:cxn ang="0">
                    <a:pos x="1107" y="1306"/>
                  </a:cxn>
                  <a:cxn ang="0">
                    <a:pos x="1178" y="1159"/>
                  </a:cxn>
                  <a:cxn ang="0">
                    <a:pos x="1287" y="1039"/>
                  </a:cxn>
                  <a:cxn ang="0">
                    <a:pos x="1427" y="954"/>
                  </a:cxn>
                  <a:cxn ang="0">
                    <a:pos x="1589" y="912"/>
                  </a:cxn>
                </a:cxnLst>
                <a:rect l="0" t="0" r="r" b="b"/>
                <a:pathLst>
                  <a:path w="8195" h="5385">
                    <a:moveTo>
                      <a:pt x="23" y="546"/>
                    </a:moveTo>
                    <a:lnTo>
                      <a:pt x="3088" y="0"/>
                    </a:lnTo>
                    <a:lnTo>
                      <a:pt x="3088" y="1418"/>
                    </a:lnTo>
                    <a:lnTo>
                      <a:pt x="3086" y="1424"/>
                    </a:lnTo>
                    <a:lnTo>
                      <a:pt x="3081" y="1441"/>
                    </a:lnTo>
                    <a:lnTo>
                      <a:pt x="3075" y="1468"/>
                    </a:lnTo>
                    <a:lnTo>
                      <a:pt x="3065" y="1504"/>
                    </a:lnTo>
                    <a:lnTo>
                      <a:pt x="3050" y="1547"/>
                    </a:lnTo>
                    <a:lnTo>
                      <a:pt x="3034" y="1598"/>
                    </a:lnTo>
                    <a:lnTo>
                      <a:pt x="3012" y="1653"/>
                    </a:lnTo>
                    <a:lnTo>
                      <a:pt x="2987" y="1714"/>
                    </a:lnTo>
                    <a:lnTo>
                      <a:pt x="2973" y="1747"/>
                    </a:lnTo>
                    <a:lnTo>
                      <a:pt x="2957" y="1780"/>
                    </a:lnTo>
                    <a:lnTo>
                      <a:pt x="2941" y="1813"/>
                    </a:lnTo>
                    <a:lnTo>
                      <a:pt x="2923" y="1847"/>
                    </a:lnTo>
                    <a:lnTo>
                      <a:pt x="2905" y="1882"/>
                    </a:lnTo>
                    <a:lnTo>
                      <a:pt x="2885" y="1917"/>
                    </a:lnTo>
                    <a:lnTo>
                      <a:pt x="2863" y="1952"/>
                    </a:lnTo>
                    <a:lnTo>
                      <a:pt x="2841" y="1987"/>
                    </a:lnTo>
                    <a:lnTo>
                      <a:pt x="2817" y="2022"/>
                    </a:lnTo>
                    <a:lnTo>
                      <a:pt x="2792" y="2057"/>
                    </a:lnTo>
                    <a:lnTo>
                      <a:pt x="2765" y="2092"/>
                    </a:lnTo>
                    <a:lnTo>
                      <a:pt x="2739" y="2126"/>
                    </a:lnTo>
                    <a:lnTo>
                      <a:pt x="2710" y="2160"/>
                    </a:lnTo>
                    <a:lnTo>
                      <a:pt x="2679" y="2192"/>
                    </a:lnTo>
                    <a:lnTo>
                      <a:pt x="2647" y="2225"/>
                    </a:lnTo>
                    <a:lnTo>
                      <a:pt x="2614" y="2256"/>
                    </a:lnTo>
                    <a:lnTo>
                      <a:pt x="2579" y="2286"/>
                    </a:lnTo>
                    <a:lnTo>
                      <a:pt x="2545" y="2313"/>
                    </a:lnTo>
                    <a:lnTo>
                      <a:pt x="2511" y="2339"/>
                    </a:lnTo>
                    <a:lnTo>
                      <a:pt x="2478" y="2364"/>
                    </a:lnTo>
                    <a:lnTo>
                      <a:pt x="2446" y="2387"/>
                    </a:lnTo>
                    <a:lnTo>
                      <a:pt x="2413" y="2407"/>
                    </a:lnTo>
                    <a:lnTo>
                      <a:pt x="2382" y="2427"/>
                    </a:lnTo>
                    <a:lnTo>
                      <a:pt x="2351" y="2445"/>
                    </a:lnTo>
                    <a:lnTo>
                      <a:pt x="2320" y="2462"/>
                    </a:lnTo>
                    <a:lnTo>
                      <a:pt x="2290" y="2477"/>
                    </a:lnTo>
                    <a:lnTo>
                      <a:pt x="2261" y="2491"/>
                    </a:lnTo>
                    <a:lnTo>
                      <a:pt x="2233" y="2503"/>
                    </a:lnTo>
                    <a:lnTo>
                      <a:pt x="2207" y="2514"/>
                    </a:lnTo>
                    <a:lnTo>
                      <a:pt x="2180" y="2525"/>
                    </a:lnTo>
                    <a:lnTo>
                      <a:pt x="2154" y="2534"/>
                    </a:lnTo>
                    <a:lnTo>
                      <a:pt x="2130" y="2542"/>
                    </a:lnTo>
                    <a:lnTo>
                      <a:pt x="2106" y="2549"/>
                    </a:lnTo>
                    <a:lnTo>
                      <a:pt x="2084" y="2556"/>
                    </a:lnTo>
                    <a:lnTo>
                      <a:pt x="2063" y="2562"/>
                    </a:lnTo>
                    <a:lnTo>
                      <a:pt x="2043" y="2566"/>
                    </a:lnTo>
                    <a:lnTo>
                      <a:pt x="2007" y="2573"/>
                    </a:lnTo>
                    <a:lnTo>
                      <a:pt x="1977" y="2578"/>
                    </a:lnTo>
                    <a:lnTo>
                      <a:pt x="1935" y="2582"/>
                    </a:lnTo>
                    <a:lnTo>
                      <a:pt x="1921" y="2583"/>
                    </a:lnTo>
                    <a:lnTo>
                      <a:pt x="1925" y="2597"/>
                    </a:lnTo>
                    <a:lnTo>
                      <a:pt x="1937" y="2635"/>
                    </a:lnTo>
                    <a:lnTo>
                      <a:pt x="1958" y="2695"/>
                    </a:lnTo>
                    <a:lnTo>
                      <a:pt x="1988" y="2772"/>
                    </a:lnTo>
                    <a:lnTo>
                      <a:pt x="2005" y="2816"/>
                    </a:lnTo>
                    <a:lnTo>
                      <a:pt x="2025" y="2864"/>
                    </a:lnTo>
                    <a:lnTo>
                      <a:pt x="2047" y="2914"/>
                    </a:lnTo>
                    <a:lnTo>
                      <a:pt x="2070" y="2967"/>
                    </a:lnTo>
                    <a:lnTo>
                      <a:pt x="2096" y="3022"/>
                    </a:lnTo>
                    <a:lnTo>
                      <a:pt x="2123" y="3078"/>
                    </a:lnTo>
                    <a:lnTo>
                      <a:pt x="2153" y="3134"/>
                    </a:lnTo>
                    <a:lnTo>
                      <a:pt x="2185" y="3192"/>
                    </a:lnTo>
                    <a:lnTo>
                      <a:pt x="2218" y="3251"/>
                    </a:lnTo>
                    <a:lnTo>
                      <a:pt x="2253" y="3309"/>
                    </a:lnTo>
                    <a:lnTo>
                      <a:pt x="2290" y="3365"/>
                    </a:lnTo>
                    <a:lnTo>
                      <a:pt x="2330" y="3422"/>
                    </a:lnTo>
                    <a:lnTo>
                      <a:pt x="2371" y="3476"/>
                    </a:lnTo>
                    <a:lnTo>
                      <a:pt x="2413" y="3529"/>
                    </a:lnTo>
                    <a:lnTo>
                      <a:pt x="2459" y="3579"/>
                    </a:lnTo>
                    <a:lnTo>
                      <a:pt x="2505" y="3627"/>
                    </a:lnTo>
                    <a:lnTo>
                      <a:pt x="2554" y="3671"/>
                    </a:lnTo>
                    <a:lnTo>
                      <a:pt x="2603" y="3712"/>
                    </a:lnTo>
                    <a:lnTo>
                      <a:pt x="2656" y="3748"/>
                    </a:lnTo>
                    <a:lnTo>
                      <a:pt x="2710" y="3781"/>
                    </a:lnTo>
                    <a:lnTo>
                      <a:pt x="2764" y="3808"/>
                    </a:lnTo>
                    <a:lnTo>
                      <a:pt x="2822" y="3830"/>
                    </a:lnTo>
                    <a:lnTo>
                      <a:pt x="2881" y="3846"/>
                    </a:lnTo>
                    <a:lnTo>
                      <a:pt x="2942" y="3857"/>
                    </a:lnTo>
                    <a:lnTo>
                      <a:pt x="3012" y="3863"/>
                    </a:lnTo>
                    <a:lnTo>
                      <a:pt x="3099" y="3869"/>
                    </a:lnTo>
                    <a:lnTo>
                      <a:pt x="3201" y="3873"/>
                    </a:lnTo>
                    <a:lnTo>
                      <a:pt x="3318" y="3877"/>
                    </a:lnTo>
                    <a:lnTo>
                      <a:pt x="3448" y="3881"/>
                    </a:lnTo>
                    <a:lnTo>
                      <a:pt x="3589" y="3883"/>
                    </a:lnTo>
                    <a:lnTo>
                      <a:pt x="3741" y="3885"/>
                    </a:lnTo>
                    <a:lnTo>
                      <a:pt x="3902" y="3887"/>
                    </a:lnTo>
                    <a:lnTo>
                      <a:pt x="4072" y="3888"/>
                    </a:lnTo>
                    <a:lnTo>
                      <a:pt x="4248" y="3888"/>
                    </a:lnTo>
                    <a:lnTo>
                      <a:pt x="4430" y="3888"/>
                    </a:lnTo>
                    <a:lnTo>
                      <a:pt x="4616" y="3888"/>
                    </a:lnTo>
                    <a:lnTo>
                      <a:pt x="4995" y="3886"/>
                    </a:lnTo>
                    <a:lnTo>
                      <a:pt x="5377" y="3883"/>
                    </a:lnTo>
                    <a:lnTo>
                      <a:pt x="5752" y="3880"/>
                    </a:lnTo>
                    <a:lnTo>
                      <a:pt x="6108" y="3875"/>
                    </a:lnTo>
                    <a:lnTo>
                      <a:pt x="6438" y="3871"/>
                    </a:lnTo>
                    <a:lnTo>
                      <a:pt x="6729" y="3867"/>
                    </a:lnTo>
                    <a:lnTo>
                      <a:pt x="6973" y="3863"/>
                    </a:lnTo>
                    <a:lnTo>
                      <a:pt x="7160" y="3860"/>
                    </a:lnTo>
                    <a:lnTo>
                      <a:pt x="7280" y="3858"/>
                    </a:lnTo>
                    <a:lnTo>
                      <a:pt x="7321" y="3857"/>
                    </a:lnTo>
                    <a:lnTo>
                      <a:pt x="7321" y="3383"/>
                    </a:lnTo>
                    <a:lnTo>
                      <a:pt x="8195" y="3383"/>
                    </a:lnTo>
                    <a:lnTo>
                      <a:pt x="8195" y="5385"/>
                    </a:lnTo>
                    <a:lnTo>
                      <a:pt x="7501" y="5385"/>
                    </a:lnTo>
                    <a:lnTo>
                      <a:pt x="7337" y="4779"/>
                    </a:lnTo>
                    <a:lnTo>
                      <a:pt x="3379" y="4779"/>
                    </a:lnTo>
                    <a:lnTo>
                      <a:pt x="3362" y="4776"/>
                    </a:lnTo>
                    <a:lnTo>
                      <a:pt x="3316" y="4770"/>
                    </a:lnTo>
                    <a:lnTo>
                      <a:pt x="3282" y="4765"/>
                    </a:lnTo>
                    <a:lnTo>
                      <a:pt x="3242" y="4758"/>
                    </a:lnTo>
                    <a:lnTo>
                      <a:pt x="3197" y="4751"/>
                    </a:lnTo>
                    <a:lnTo>
                      <a:pt x="3145" y="4740"/>
                    </a:lnTo>
                    <a:lnTo>
                      <a:pt x="3091" y="4729"/>
                    </a:lnTo>
                    <a:lnTo>
                      <a:pt x="3031" y="4717"/>
                    </a:lnTo>
                    <a:lnTo>
                      <a:pt x="2967" y="4701"/>
                    </a:lnTo>
                    <a:lnTo>
                      <a:pt x="2900" y="4685"/>
                    </a:lnTo>
                    <a:lnTo>
                      <a:pt x="2830" y="4665"/>
                    </a:lnTo>
                    <a:lnTo>
                      <a:pt x="2758" y="4645"/>
                    </a:lnTo>
                    <a:lnTo>
                      <a:pt x="2684" y="4621"/>
                    </a:lnTo>
                    <a:lnTo>
                      <a:pt x="2608" y="4595"/>
                    </a:lnTo>
                    <a:lnTo>
                      <a:pt x="2532" y="4566"/>
                    </a:lnTo>
                    <a:lnTo>
                      <a:pt x="2454" y="4535"/>
                    </a:lnTo>
                    <a:lnTo>
                      <a:pt x="2378" y="4502"/>
                    </a:lnTo>
                    <a:lnTo>
                      <a:pt x="2302" y="4466"/>
                    </a:lnTo>
                    <a:lnTo>
                      <a:pt x="2225" y="4427"/>
                    </a:lnTo>
                    <a:lnTo>
                      <a:pt x="2152" y="4385"/>
                    </a:lnTo>
                    <a:lnTo>
                      <a:pt x="2080" y="4341"/>
                    </a:lnTo>
                    <a:lnTo>
                      <a:pt x="2009" y="4292"/>
                    </a:lnTo>
                    <a:lnTo>
                      <a:pt x="1942" y="4241"/>
                    </a:lnTo>
                    <a:lnTo>
                      <a:pt x="1878" y="4186"/>
                    </a:lnTo>
                    <a:lnTo>
                      <a:pt x="1818" y="4129"/>
                    </a:lnTo>
                    <a:lnTo>
                      <a:pt x="1763" y="4067"/>
                    </a:lnTo>
                    <a:lnTo>
                      <a:pt x="1712" y="4002"/>
                    </a:lnTo>
                    <a:lnTo>
                      <a:pt x="1665" y="3933"/>
                    </a:lnTo>
                    <a:lnTo>
                      <a:pt x="1626" y="3861"/>
                    </a:lnTo>
                    <a:lnTo>
                      <a:pt x="1592" y="3783"/>
                    </a:lnTo>
                    <a:lnTo>
                      <a:pt x="1562" y="3707"/>
                    </a:lnTo>
                    <a:lnTo>
                      <a:pt x="1533" y="3632"/>
                    </a:lnTo>
                    <a:lnTo>
                      <a:pt x="1506" y="3561"/>
                    </a:lnTo>
                    <a:lnTo>
                      <a:pt x="1482" y="3492"/>
                    </a:lnTo>
                    <a:lnTo>
                      <a:pt x="1458" y="3426"/>
                    </a:lnTo>
                    <a:lnTo>
                      <a:pt x="1436" y="3362"/>
                    </a:lnTo>
                    <a:lnTo>
                      <a:pt x="1416" y="3301"/>
                    </a:lnTo>
                    <a:lnTo>
                      <a:pt x="1396" y="3243"/>
                    </a:lnTo>
                    <a:lnTo>
                      <a:pt x="1378" y="3188"/>
                    </a:lnTo>
                    <a:lnTo>
                      <a:pt x="1362" y="3134"/>
                    </a:lnTo>
                    <a:lnTo>
                      <a:pt x="1346" y="3084"/>
                    </a:lnTo>
                    <a:lnTo>
                      <a:pt x="1332" y="3037"/>
                    </a:lnTo>
                    <a:lnTo>
                      <a:pt x="1307" y="2948"/>
                    </a:lnTo>
                    <a:lnTo>
                      <a:pt x="1286" y="2870"/>
                    </a:lnTo>
                    <a:lnTo>
                      <a:pt x="1269" y="2802"/>
                    </a:lnTo>
                    <a:lnTo>
                      <a:pt x="1255" y="2742"/>
                    </a:lnTo>
                    <a:lnTo>
                      <a:pt x="1245" y="2694"/>
                    </a:lnTo>
                    <a:lnTo>
                      <a:pt x="1238" y="2653"/>
                    </a:lnTo>
                    <a:lnTo>
                      <a:pt x="1233" y="2622"/>
                    </a:lnTo>
                    <a:lnTo>
                      <a:pt x="1230" y="2600"/>
                    </a:lnTo>
                    <a:lnTo>
                      <a:pt x="1228" y="2587"/>
                    </a:lnTo>
                    <a:lnTo>
                      <a:pt x="1228" y="2583"/>
                    </a:lnTo>
                    <a:lnTo>
                      <a:pt x="1215" y="2579"/>
                    </a:lnTo>
                    <a:lnTo>
                      <a:pt x="1181" y="2568"/>
                    </a:lnTo>
                    <a:lnTo>
                      <a:pt x="1128" y="2549"/>
                    </a:lnTo>
                    <a:lnTo>
                      <a:pt x="1060" y="2523"/>
                    </a:lnTo>
                    <a:lnTo>
                      <a:pt x="1021" y="2507"/>
                    </a:lnTo>
                    <a:lnTo>
                      <a:pt x="979" y="2490"/>
                    </a:lnTo>
                    <a:lnTo>
                      <a:pt x="933" y="2470"/>
                    </a:lnTo>
                    <a:lnTo>
                      <a:pt x="887" y="2448"/>
                    </a:lnTo>
                    <a:lnTo>
                      <a:pt x="837" y="2426"/>
                    </a:lnTo>
                    <a:lnTo>
                      <a:pt x="788" y="2401"/>
                    </a:lnTo>
                    <a:lnTo>
                      <a:pt x="736" y="2375"/>
                    </a:lnTo>
                    <a:lnTo>
                      <a:pt x="684" y="2346"/>
                    </a:lnTo>
                    <a:lnTo>
                      <a:pt x="632" y="2317"/>
                    </a:lnTo>
                    <a:lnTo>
                      <a:pt x="580" y="2286"/>
                    </a:lnTo>
                    <a:lnTo>
                      <a:pt x="528" y="2253"/>
                    </a:lnTo>
                    <a:lnTo>
                      <a:pt x="477" y="2217"/>
                    </a:lnTo>
                    <a:lnTo>
                      <a:pt x="427" y="2181"/>
                    </a:lnTo>
                    <a:lnTo>
                      <a:pt x="379" y="2142"/>
                    </a:lnTo>
                    <a:lnTo>
                      <a:pt x="332" y="2103"/>
                    </a:lnTo>
                    <a:lnTo>
                      <a:pt x="289" y="2061"/>
                    </a:lnTo>
                    <a:lnTo>
                      <a:pt x="246" y="2019"/>
                    </a:lnTo>
                    <a:lnTo>
                      <a:pt x="208" y="1974"/>
                    </a:lnTo>
                    <a:lnTo>
                      <a:pt x="173" y="1927"/>
                    </a:lnTo>
                    <a:lnTo>
                      <a:pt x="141" y="1880"/>
                    </a:lnTo>
                    <a:lnTo>
                      <a:pt x="114" y="1830"/>
                    </a:lnTo>
                    <a:lnTo>
                      <a:pt x="91" y="1780"/>
                    </a:lnTo>
                    <a:lnTo>
                      <a:pt x="73" y="1727"/>
                    </a:lnTo>
                    <a:lnTo>
                      <a:pt x="60" y="1674"/>
                    </a:lnTo>
                    <a:lnTo>
                      <a:pt x="50" y="1619"/>
                    </a:lnTo>
                    <a:lnTo>
                      <a:pt x="41" y="1565"/>
                    </a:lnTo>
                    <a:lnTo>
                      <a:pt x="34" y="1511"/>
                    </a:lnTo>
                    <a:lnTo>
                      <a:pt x="27" y="1458"/>
                    </a:lnTo>
                    <a:lnTo>
                      <a:pt x="20" y="1406"/>
                    </a:lnTo>
                    <a:lnTo>
                      <a:pt x="16" y="1353"/>
                    </a:lnTo>
                    <a:lnTo>
                      <a:pt x="11" y="1302"/>
                    </a:lnTo>
                    <a:lnTo>
                      <a:pt x="8" y="1251"/>
                    </a:lnTo>
                    <a:lnTo>
                      <a:pt x="5" y="1203"/>
                    </a:lnTo>
                    <a:lnTo>
                      <a:pt x="3" y="1155"/>
                    </a:lnTo>
                    <a:lnTo>
                      <a:pt x="2" y="1107"/>
                    </a:lnTo>
                    <a:lnTo>
                      <a:pt x="1" y="1061"/>
                    </a:lnTo>
                    <a:lnTo>
                      <a:pt x="0" y="973"/>
                    </a:lnTo>
                    <a:lnTo>
                      <a:pt x="1" y="891"/>
                    </a:lnTo>
                    <a:lnTo>
                      <a:pt x="3" y="817"/>
                    </a:lnTo>
                    <a:lnTo>
                      <a:pt x="6" y="749"/>
                    </a:lnTo>
                    <a:lnTo>
                      <a:pt x="10" y="690"/>
                    </a:lnTo>
                    <a:lnTo>
                      <a:pt x="14" y="639"/>
                    </a:lnTo>
                    <a:lnTo>
                      <a:pt x="17" y="599"/>
                    </a:lnTo>
                    <a:lnTo>
                      <a:pt x="20" y="570"/>
                    </a:lnTo>
                    <a:lnTo>
                      <a:pt x="22" y="552"/>
                    </a:lnTo>
                    <a:lnTo>
                      <a:pt x="23" y="546"/>
                    </a:lnTo>
                    <a:close/>
                    <a:moveTo>
                      <a:pt x="1647" y="909"/>
                    </a:moveTo>
                    <a:lnTo>
                      <a:pt x="1676" y="910"/>
                    </a:lnTo>
                    <a:lnTo>
                      <a:pt x="1705" y="912"/>
                    </a:lnTo>
                    <a:lnTo>
                      <a:pt x="1733" y="916"/>
                    </a:lnTo>
                    <a:lnTo>
                      <a:pt x="1760" y="921"/>
                    </a:lnTo>
                    <a:lnTo>
                      <a:pt x="1787" y="928"/>
                    </a:lnTo>
                    <a:lnTo>
                      <a:pt x="1814" y="935"/>
                    </a:lnTo>
                    <a:lnTo>
                      <a:pt x="1841" y="944"/>
                    </a:lnTo>
                    <a:lnTo>
                      <a:pt x="1867" y="954"/>
                    </a:lnTo>
                    <a:lnTo>
                      <a:pt x="1892" y="965"/>
                    </a:lnTo>
                    <a:lnTo>
                      <a:pt x="1915" y="977"/>
                    </a:lnTo>
                    <a:lnTo>
                      <a:pt x="1939" y="992"/>
                    </a:lnTo>
                    <a:lnTo>
                      <a:pt x="1962" y="1006"/>
                    </a:lnTo>
                    <a:lnTo>
                      <a:pt x="1985" y="1022"/>
                    </a:lnTo>
                    <a:lnTo>
                      <a:pt x="2005" y="1039"/>
                    </a:lnTo>
                    <a:lnTo>
                      <a:pt x="2026" y="1057"/>
                    </a:lnTo>
                    <a:lnTo>
                      <a:pt x="2047" y="1075"/>
                    </a:lnTo>
                    <a:lnTo>
                      <a:pt x="2064" y="1095"/>
                    </a:lnTo>
                    <a:lnTo>
                      <a:pt x="2083" y="1115"/>
                    </a:lnTo>
                    <a:lnTo>
                      <a:pt x="2099" y="1136"/>
                    </a:lnTo>
                    <a:lnTo>
                      <a:pt x="2115" y="1159"/>
                    </a:lnTo>
                    <a:lnTo>
                      <a:pt x="2129" y="1181"/>
                    </a:lnTo>
                    <a:lnTo>
                      <a:pt x="2144" y="1205"/>
                    </a:lnTo>
                    <a:lnTo>
                      <a:pt x="2156" y="1230"/>
                    </a:lnTo>
                    <a:lnTo>
                      <a:pt x="2167" y="1254"/>
                    </a:lnTo>
                    <a:lnTo>
                      <a:pt x="2178" y="1280"/>
                    </a:lnTo>
                    <a:lnTo>
                      <a:pt x="2186" y="1306"/>
                    </a:lnTo>
                    <a:lnTo>
                      <a:pt x="2194" y="1333"/>
                    </a:lnTo>
                    <a:lnTo>
                      <a:pt x="2200" y="1360"/>
                    </a:lnTo>
                    <a:lnTo>
                      <a:pt x="2206" y="1388"/>
                    </a:lnTo>
                    <a:lnTo>
                      <a:pt x="2209" y="1416"/>
                    </a:lnTo>
                    <a:lnTo>
                      <a:pt x="2211" y="1445"/>
                    </a:lnTo>
                    <a:lnTo>
                      <a:pt x="2212" y="1473"/>
                    </a:lnTo>
                    <a:lnTo>
                      <a:pt x="2211" y="1503"/>
                    </a:lnTo>
                    <a:lnTo>
                      <a:pt x="2209" y="1532"/>
                    </a:lnTo>
                    <a:lnTo>
                      <a:pt x="2206" y="1559"/>
                    </a:lnTo>
                    <a:lnTo>
                      <a:pt x="2200" y="1587"/>
                    </a:lnTo>
                    <a:lnTo>
                      <a:pt x="2194" y="1614"/>
                    </a:lnTo>
                    <a:lnTo>
                      <a:pt x="2186" y="1641"/>
                    </a:lnTo>
                    <a:lnTo>
                      <a:pt x="2178" y="1668"/>
                    </a:lnTo>
                    <a:lnTo>
                      <a:pt x="2167" y="1692"/>
                    </a:lnTo>
                    <a:lnTo>
                      <a:pt x="2156" y="1718"/>
                    </a:lnTo>
                    <a:lnTo>
                      <a:pt x="2144" y="1742"/>
                    </a:lnTo>
                    <a:lnTo>
                      <a:pt x="2129" y="1765"/>
                    </a:lnTo>
                    <a:lnTo>
                      <a:pt x="2115" y="1788"/>
                    </a:lnTo>
                    <a:lnTo>
                      <a:pt x="2099" y="1811"/>
                    </a:lnTo>
                    <a:lnTo>
                      <a:pt x="2083" y="1832"/>
                    </a:lnTo>
                    <a:lnTo>
                      <a:pt x="2064" y="1852"/>
                    </a:lnTo>
                    <a:lnTo>
                      <a:pt x="2047" y="1872"/>
                    </a:lnTo>
                    <a:lnTo>
                      <a:pt x="2026" y="1891"/>
                    </a:lnTo>
                    <a:lnTo>
                      <a:pt x="2005" y="1909"/>
                    </a:lnTo>
                    <a:lnTo>
                      <a:pt x="1985" y="1925"/>
                    </a:lnTo>
                    <a:lnTo>
                      <a:pt x="1962" y="1941"/>
                    </a:lnTo>
                    <a:lnTo>
                      <a:pt x="1939" y="1956"/>
                    </a:lnTo>
                    <a:lnTo>
                      <a:pt x="1915" y="1969"/>
                    </a:lnTo>
                    <a:lnTo>
                      <a:pt x="1892" y="1982"/>
                    </a:lnTo>
                    <a:lnTo>
                      <a:pt x="1867" y="1993"/>
                    </a:lnTo>
                    <a:lnTo>
                      <a:pt x="1841" y="2003"/>
                    </a:lnTo>
                    <a:lnTo>
                      <a:pt x="1814" y="2012"/>
                    </a:lnTo>
                    <a:lnTo>
                      <a:pt x="1787" y="2020"/>
                    </a:lnTo>
                    <a:lnTo>
                      <a:pt x="1760" y="2026"/>
                    </a:lnTo>
                    <a:lnTo>
                      <a:pt x="1733" y="2031"/>
                    </a:lnTo>
                    <a:lnTo>
                      <a:pt x="1705" y="2034"/>
                    </a:lnTo>
                    <a:lnTo>
                      <a:pt x="1676" y="2036"/>
                    </a:lnTo>
                    <a:lnTo>
                      <a:pt x="1647" y="2037"/>
                    </a:lnTo>
                    <a:lnTo>
                      <a:pt x="1618" y="2036"/>
                    </a:lnTo>
                    <a:lnTo>
                      <a:pt x="1589" y="2034"/>
                    </a:lnTo>
                    <a:lnTo>
                      <a:pt x="1560" y="2031"/>
                    </a:lnTo>
                    <a:lnTo>
                      <a:pt x="1533" y="2026"/>
                    </a:lnTo>
                    <a:lnTo>
                      <a:pt x="1505" y="2020"/>
                    </a:lnTo>
                    <a:lnTo>
                      <a:pt x="1479" y="2012"/>
                    </a:lnTo>
                    <a:lnTo>
                      <a:pt x="1453" y="2003"/>
                    </a:lnTo>
                    <a:lnTo>
                      <a:pt x="1427" y="1993"/>
                    </a:lnTo>
                    <a:lnTo>
                      <a:pt x="1401" y="1982"/>
                    </a:lnTo>
                    <a:lnTo>
                      <a:pt x="1377" y="1969"/>
                    </a:lnTo>
                    <a:lnTo>
                      <a:pt x="1354" y="1956"/>
                    </a:lnTo>
                    <a:lnTo>
                      <a:pt x="1331" y="1941"/>
                    </a:lnTo>
                    <a:lnTo>
                      <a:pt x="1308" y="1925"/>
                    </a:lnTo>
                    <a:lnTo>
                      <a:pt x="1287" y="1909"/>
                    </a:lnTo>
                    <a:lnTo>
                      <a:pt x="1267" y="1891"/>
                    </a:lnTo>
                    <a:lnTo>
                      <a:pt x="1247" y="1872"/>
                    </a:lnTo>
                    <a:lnTo>
                      <a:pt x="1229" y="1852"/>
                    </a:lnTo>
                    <a:lnTo>
                      <a:pt x="1210" y="1832"/>
                    </a:lnTo>
                    <a:lnTo>
                      <a:pt x="1194" y="1811"/>
                    </a:lnTo>
                    <a:lnTo>
                      <a:pt x="1178" y="1788"/>
                    </a:lnTo>
                    <a:lnTo>
                      <a:pt x="1163" y="1765"/>
                    </a:lnTo>
                    <a:lnTo>
                      <a:pt x="1149" y="1742"/>
                    </a:lnTo>
                    <a:lnTo>
                      <a:pt x="1137" y="1718"/>
                    </a:lnTo>
                    <a:lnTo>
                      <a:pt x="1125" y="1692"/>
                    </a:lnTo>
                    <a:lnTo>
                      <a:pt x="1115" y="1668"/>
                    </a:lnTo>
                    <a:lnTo>
                      <a:pt x="1107" y="1641"/>
                    </a:lnTo>
                    <a:lnTo>
                      <a:pt x="1098" y="1614"/>
                    </a:lnTo>
                    <a:lnTo>
                      <a:pt x="1092" y="1587"/>
                    </a:lnTo>
                    <a:lnTo>
                      <a:pt x="1087" y="1559"/>
                    </a:lnTo>
                    <a:lnTo>
                      <a:pt x="1084" y="1532"/>
                    </a:lnTo>
                    <a:lnTo>
                      <a:pt x="1082" y="1503"/>
                    </a:lnTo>
                    <a:lnTo>
                      <a:pt x="1081" y="1473"/>
                    </a:lnTo>
                    <a:lnTo>
                      <a:pt x="1082" y="1445"/>
                    </a:lnTo>
                    <a:lnTo>
                      <a:pt x="1084" y="1416"/>
                    </a:lnTo>
                    <a:lnTo>
                      <a:pt x="1087" y="1388"/>
                    </a:lnTo>
                    <a:lnTo>
                      <a:pt x="1092" y="1360"/>
                    </a:lnTo>
                    <a:lnTo>
                      <a:pt x="1098" y="1333"/>
                    </a:lnTo>
                    <a:lnTo>
                      <a:pt x="1107" y="1306"/>
                    </a:lnTo>
                    <a:lnTo>
                      <a:pt x="1115" y="1280"/>
                    </a:lnTo>
                    <a:lnTo>
                      <a:pt x="1125" y="1254"/>
                    </a:lnTo>
                    <a:lnTo>
                      <a:pt x="1137" y="1230"/>
                    </a:lnTo>
                    <a:lnTo>
                      <a:pt x="1149" y="1205"/>
                    </a:lnTo>
                    <a:lnTo>
                      <a:pt x="1163" y="1181"/>
                    </a:lnTo>
                    <a:lnTo>
                      <a:pt x="1178" y="1159"/>
                    </a:lnTo>
                    <a:lnTo>
                      <a:pt x="1194" y="1136"/>
                    </a:lnTo>
                    <a:lnTo>
                      <a:pt x="1210" y="1115"/>
                    </a:lnTo>
                    <a:lnTo>
                      <a:pt x="1229" y="1095"/>
                    </a:lnTo>
                    <a:lnTo>
                      <a:pt x="1247" y="1075"/>
                    </a:lnTo>
                    <a:lnTo>
                      <a:pt x="1267" y="1057"/>
                    </a:lnTo>
                    <a:lnTo>
                      <a:pt x="1287" y="1039"/>
                    </a:lnTo>
                    <a:lnTo>
                      <a:pt x="1308" y="1022"/>
                    </a:lnTo>
                    <a:lnTo>
                      <a:pt x="1331" y="1006"/>
                    </a:lnTo>
                    <a:lnTo>
                      <a:pt x="1354" y="992"/>
                    </a:lnTo>
                    <a:lnTo>
                      <a:pt x="1377" y="977"/>
                    </a:lnTo>
                    <a:lnTo>
                      <a:pt x="1401" y="965"/>
                    </a:lnTo>
                    <a:lnTo>
                      <a:pt x="1427" y="954"/>
                    </a:lnTo>
                    <a:lnTo>
                      <a:pt x="1453" y="944"/>
                    </a:lnTo>
                    <a:lnTo>
                      <a:pt x="1479" y="935"/>
                    </a:lnTo>
                    <a:lnTo>
                      <a:pt x="1505" y="928"/>
                    </a:lnTo>
                    <a:lnTo>
                      <a:pt x="1533" y="921"/>
                    </a:lnTo>
                    <a:lnTo>
                      <a:pt x="1560" y="916"/>
                    </a:lnTo>
                    <a:lnTo>
                      <a:pt x="1589" y="912"/>
                    </a:lnTo>
                    <a:lnTo>
                      <a:pt x="1618" y="910"/>
                    </a:lnTo>
                    <a:lnTo>
                      <a:pt x="1647" y="9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grpSp>
        <p:sp>
          <p:nvSpPr>
            <p:cNvPr id="201" name="1107454724"/>
            <p:cNvSpPr/>
            <p:nvPr/>
          </p:nvSpPr>
          <p:spPr>
            <a:xfrm>
              <a:off x="649397" y="2992587"/>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202" name="1107454724"/>
            <p:cNvSpPr/>
            <p:nvPr/>
          </p:nvSpPr>
          <p:spPr>
            <a:xfrm>
              <a:off x="656144" y="3648212"/>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203" name="1107454724"/>
            <p:cNvSpPr/>
            <p:nvPr/>
          </p:nvSpPr>
          <p:spPr>
            <a:xfrm>
              <a:off x="1240234" y="2852797"/>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204" name="1107454724"/>
            <p:cNvSpPr/>
            <p:nvPr/>
          </p:nvSpPr>
          <p:spPr>
            <a:xfrm>
              <a:off x="663506" y="2238400"/>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205" name="Freeform 18"/>
            <p:cNvSpPr>
              <a:spLocks noChangeAspect="1"/>
            </p:cNvSpPr>
            <p:nvPr/>
          </p:nvSpPr>
          <p:spPr bwMode="auto">
            <a:xfrm>
              <a:off x="1327155" y="2930485"/>
              <a:ext cx="203034" cy="215216"/>
            </a:xfrm>
            <a:custGeom>
              <a:avLst/>
              <a:gdLst/>
              <a:ahLst/>
              <a:cxnLst>
                <a:cxn ang="0">
                  <a:pos x="132" y="124"/>
                </a:cxn>
                <a:cxn ang="0">
                  <a:pos x="124" y="126"/>
                </a:cxn>
                <a:cxn ang="0">
                  <a:pos x="88" y="91"/>
                </a:cxn>
                <a:cxn ang="0">
                  <a:pos x="91" y="82"/>
                </a:cxn>
                <a:cxn ang="0">
                  <a:pos x="91" y="80"/>
                </a:cxn>
                <a:cxn ang="0">
                  <a:pos x="119" y="68"/>
                </a:cxn>
                <a:cxn ang="0">
                  <a:pos x="132" y="74"/>
                </a:cxn>
                <a:cxn ang="0">
                  <a:pos x="148" y="58"/>
                </a:cxn>
                <a:cxn ang="0">
                  <a:pos x="132" y="41"/>
                </a:cxn>
                <a:cxn ang="0">
                  <a:pos x="115" y="58"/>
                </a:cxn>
                <a:cxn ang="0">
                  <a:pos x="116" y="60"/>
                </a:cxn>
                <a:cxn ang="0">
                  <a:pos x="87" y="72"/>
                </a:cxn>
                <a:cxn ang="0">
                  <a:pos x="78" y="66"/>
                </a:cxn>
                <a:cxn ang="0">
                  <a:pos x="78" y="32"/>
                </a:cxn>
                <a:cxn ang="0">
                  <a:pos x="91" y="16"/>
                </a:cxn>
                <a:cxn ang="0">
                  <a:pos x="74" y="0"/>
                </a:cxn>
                <a:cxn ang="0">
                  <a:pos x="58" y="16"/>
                </a:cxn>
                <a:cxn ang="0">
                  <a:pos x="70" y="32"/>
                </a:cxn>
                <a:cxn ang="0">
                  <a:pos x="70" y="66"/>
                </a:cxn>
                <a:cxn ang="0">
                  <a:pos x="61" y="72"/>
                </a:cxn>
                <a:cxn ang="0">
                  <a:pos x="33" y="60"/>
                </a:cxn>
                <a:cxn ang="0">
                  <a:pos x="33" y="58"/>
                </a:cxn>
                <a:cxn ang="0">
                  <a:pos x="17" y="41"/>
                </a:cxn>
                <a:cxn ang="0">
                  <a:pos x="0" y="58"/>
                </a:cxn>
                <a:cxn ang="0">
                  <a:pos x="17" y="74"/>
                </a:cxn>
                <a:cxn ang="0">
                  <a:pos x="30" y="68"/>
                </a:cxn>
                <a:cxn ang="0">
                  <a:pos x="58" y="80"/>
                </a:cxn>
                <a:cxn ang="0">
                  <a:pos x="58" y="82"/>
                </a:cxn>
                <a:cxn ang="0">
                  <a:pos x="60" y="91"/>
                </a:cxn>
                <a:cxn ang="0">
                  <a:pos x="25" y="126"/>
                </a:cxn>
                <a:cxn ang="0">
                  <a:pos x="17" y="124"/>
                </a:cxn>
                <a:cxn ang="0">
                  <a:pos x="0" y="140"/>
                </a:cxn>
                <a:cxn ang="0">
                  <a:pos x="17" y="157"/>
                </a:cxn>
                <a:cxn ang="0">
                  <a:pos x="33" y="140"/>
                </a:cxn>
                <a:cxn ang="0">
                  <a:pos x="31" y="132"/>
                </a:cxn>
                <a:cxn ang="0">
                  <a:pos x="66" y="97"/>
                </a:cxn>
                <a:cxn ang="0">
                  <a:pos x="70" y="98"/>
                </a:cxn>
                <a:cxn ang="0">
                  <a:pos x="70" y="116"/>
                </a:cxn>
                <a:cxn ang="0">
                  <a:pos x="58" y="132"/>
                </a:cxn>
                <a:cxn ang="0">
                  <a:pos x="74" y="148"/>
                </a:cxn>
                <a:cxn ang="0">
                  <a:pos x="91" y="132"/>
                </a:cxn>
                <a:cxn ang="0">
                  <a:pos x="78" y="116"/>
                </a:cxn>
                <a:cxn ang="0">
                  <a:pos x="78" y="98"/>
                </a:cxn>
                <a:cxn ang="0">
                  <a:pos x="83" y="97"/>
                </a:cxn>
                <a:cxn ang="0">
                  <a:pos x="118" y="132"/>
                </a:cxn>
                <a:cxn ang="0">
                  <a:pos x="115" y="140"/>
                </a:cxn>
                <a:cxn ang="0">
                  <a:pos x="132" y="157"/>
                </a:cxn>
                <a:cxn ang="0">
                  <a:pos x="148" y="140"/>
                </a:cxn>
                <a:cxn ang="0">
                  <a:pos x="132" y="124"/>
                </a:cxn>
              </a:cxnLst>
              <a:rect l="0" t="0" r="r" b="b"/>
              <a:pathLst>
                <a:path w="148" h="157">
                  <a:moveTo>
                    <a:pt x="132" y="124"/>
                  </a:moveTo>
                  <a:cubicBezTo>
                    <a:pt x="129" y="124"/>
                    <a:pt x="126" y="124"/>
                    <a:pt x="124" y="126"/>
                  </a:cubicBezTo>
                  <a:cubicBezTo>
                    <a:pt x="88" y="91"/>
                    <a:pt x="88" y="91"/>
                    <a:pt x="88" y="91"/>
                  </a:cubicBezTo>
                  <a:cubicBezTo>
                    <a:pt x="90" y="88"/>
                    <a:pt x="91" y="85"/>
                    <a:pt x="91" y="82"/>
                  </a:cubicBezTo>
                  <a:cubicBezTo>
                    <a:pt x="91" y="82"/>
                    <a:pt x="91" y="81"/>
                    <a:pt x="91" y="80"/>
                  </a:cubicBezTo>
                  <a:cubicBezTo>
                    <a:pt x="119" y="68"/>
                    <a:pt x="119" y="68"/>
                    <a:pt x="119" y="68"/>
                  </a:cubicBezTo>
                  <a:cubicBezTo>
                    <a:pt x="122" y="72"/>
                    <a:pt x="127" y="74"/>
                    <a:pt x="132" y="74"/>
                  </a:cubicBezTo>
                  <a:cubicBezTo>
                    <a:pt x="141" y="74"/>
                    <a:pt x="148" y="67"/>
                    <a:pt x="148" y="58"/>
                  </a:cubicBezTo>
                  <a:cubicBezTo>
                    <a:pt x="148" y="49"/>
                    <a:pt x="141" y="41"/>
                    <a:pt x="132" y="41"/>
                  </a:cubicBezTo>
                  <a:cubicBezTo>
                    <a:pt x="123" y="41"/>
                    <a:pt x="115" y="49"/>
                    <a:pt x="115" y="58"/>
                  </a:cubicBezTo>
                  <a:cubicBezTo>
                    <a:pt x="115" y="59"/>
                    <a:pt x="116" y="59"/>
                    <a:pt x="116" y="60"/>
                  </a:cubicBezTo>
                  <a:cubicBezTo>
                    <a:pt x="87" y="72"/>
                    <a:pt x="87" y="72"/>
                    <a:pt x="87" y="72"/>
                  </a:cubicBezTo>
                  <a:cubicBezTo>
                    <a:pt x="85" y="70"/>
                    <a:pt x="82" y="67"/>
                    <a:pt x="78" y="66"/>
                  </a:cubicBezTo>
                  <a:cubicBezTo>
                    <a:pt x="78" y="32"/>
                    <a:pt x="78" y="32"/>
                    <a:pt x="78" y="32"/>
                  </a:cubicBezTo>
                  <a:cubicBezTo>
                    <a:pt x="85" y="31"/>
                    <a:pt x="91" y="24"/>
                    <a:pt x="91" y="16"/>
                  </a:cubicBezTo>
                  <a:cubicBezTo>
                    <a:pt x="91" y="7"/>
                    <a:pt x="83" y="0"/>
                    <a:pt x="74" y="0"/>
                  </a:cubicBezTo>
                  <a:cubicBezTo>
                    <a:pt x="65" y="0"/>
                    <a:pt x="58" y="7"/>
                    <a:pt x="58" y="16"/>
                  </a:cubicBezTo>
                  <a:cubicBezTo>
                    <a:pt x="58" y="24"/>
                    <a:pt x="63" y="31"/>
                    <a:pt x="70" y="32"/>
                  </a:cubicBezTo>
                  <a:cubicBezTo>
                    <a:pt x="70" y="66"/>
                    <a:pt x="70" y="66"/>
                    <a:pt x="70" y="66"/>
                  </a:cubicBezTo>
                  <a:cubicBezTo>
                    <a:pt x="67" y="67"/>
                    <a:pt x="64" y="70"/>
                    <a:pt x="61" y="72"/>
                  </a:cubicBezTo>
                  <a:cubicBezTo>
                    <a:pt x="33" y="60"/>
                    <a:pt x="33" y="60"/>
                    <a:pt x="33" y="60"/>
                  </a:cubicBezTo>
                  <a:cubicBezTo>
                    <a:pt x="33" y="59"/>
                    <a:pt x="33" y="59"/>
                    <a:pt x="33" y="58"/>
                  </a:cubicBezTo>
                  <a:cubicBezTo>
                    <a:pt x="33" y="49"/>
                    <a:pt x="26" y="41"/>
                    <a:pt x="17" y="41"/>
                  </a:cubicBezTo>
                  <a:cubicBezTo>
                    <a:pt x="8" y="41"/>
                    <a:pt x="0" y="49"/>
                    <a:pt x="0" y="58"/>
                  </a:cubicBezTo>
                  <a:cubicBezTo>
                    <a:pt x="0" y="67"/>
                    <a:pt x="8" y="74"/>
                    <a:pt x="17" y="74"/>
                  </a:cubicBezTo>
                  <a:cubicBezTo>
                    <a:pt x="22" y="74"/>
                    <a:pt x="27" y="72"/>
                    <a:pt x="30" y="68"/>
                  </a:cubicBezTo>
                  <a:cubicBezTo>
                    <a:pt x="58" y="80"/>
                    <a:pt x="58" y="80"/>
                    <a:pt x="58" y="80"/>
                  </a:cubicBezTo>
                  <a:cubicBezTo>
                    <a:pt x="58" y="81"/>
                    <a:pt x="58" y="82"/>
                    <a:pt x="58" y="82"/>
                  </a:cubicBezTo>
                  <a:cubicBezTo>
                    <a:pt x="58" y="85"/>
                    <a:pt x="59" y="88"/>
                    <a:pt x="60" y="91"/>
                  </a:cubicBezTo>
                  <a:cubicBezTo>
                    <a:pt x="25" y="126"/>
                    <a:pt x="25" y="126"/>
                    <a:pt x="25" y="126"/>
                  </a:cubicBezTo>
                  <a:cubicBezTo>
                    <a:pt x="23" y="124"/>
                    <a:pt x="20" y="124"/>
                    <a:pt x="17" y="124"/>
                  </a:cubicBezTo>
                  <a:cubicBezTo>
                    <a:pt x="8" y="124"/>
                    <a:pt x="0" y="131"/>
                    <a:pt x="0" y="140"/>
                  </a:cubicBezTo>
                  <a:cubicBezTo>
                    <a:pt x="0" y="149"/>
                    <a:pt x="8" y="157"/>
                    <a:pt x="17" y="157"/>
                  </a:cubicBezTo>
                  <a:cubicBezTo>
                    <a:pt x="26" y="157"/>
                    <a:pt x="33" y="149"/>
                    <a:pt x="33" y="140"/>
                  </a:cubicBezTo>
                  <a:cubicBezTo>
                    <a:pt x="33" y="137"/>
                    <a:pt x="32" y="134"/>
                    <a:pt x="31" y="132"/>
                  </a:cubicBezTo>
                  <a:cubicBezTo>
                    <a:pt x="66" y="97"/>
                    <a:pt x="66" y="97"/>
                    <a:pt x="66" y="97"/>
                  </a:cubicBezTo>
                  <a:cubicBezTo>
                    <a:pt x="67" y="97"/>
                    <a:pt x="69" y="98"/>
                    <a:pt x="70" y="98"/>
                  </a:cubicBezTo>
                  <a:cubicBezTo>
                    <a:pt x="70" y="116"/>
                    <a:pt x="70" y="116"/>
                    <a:pt x="70" y="116"/>
                  </a:cubicBezTo>
                  <a:cubicBezTo>
                    <a:pt x="63" y="118"/>
                    <a:pt x="58" y="124"/>
                    <a:pt x="58" y="132"/>
                  </a:cubicBezTo>
                  <a:cubicBezTo>
                    <a:pt x="58" y="141"/>
                    <a:pt x="65" y="148"/>
                    <a:pt x="74" y="148"/>
                  </a:cubicBezTo>
                  <a:cubicBezTo>
                    <a:pt x="83" y="148"/>
                    <a:pt x="91" y="141"/>
                    <a:pt x="91" y="132"/>
                  </a:cubicBezTo>
                  <a:cubicBezTo>
                    <a:pt x="91" y="124"/>
                    <a:pt x="85" y="118"/>
                    <a:pt x="78" y="116"/>
                  </a:cubicBezTo>
                  <a:cubicBezTo>
                    <a:pt x="78" y="98"/>
                    <a:pt x="78" y="98"/>
                    <a:pt x="78" y="98"/>
                  </a:cubicBezTo>
                  <a:cubicBezTo>
                    <a:pt x="80" y="98"/>
                    <a:pt x="81" y="97"/>
                    <a:pt x="83" y="97"/>
                  </a:cubicBezTo>
                  <a:cubicBezTo>
                    <a:pt x="118" y="132"/>
                    <a:pt x="118" y="132"/>
                    <a:pt x="118" y="132"/>
                  </a:cubicBezTo>
                  <a:cubicBezTo>
                    <a:pt x="116" y="134"/>
                    <a:pt x="115" y="137"/>
                    <a:pt x="115" y="140"/>
                  </a:cubicBezTo>
                  <a:cubicBezTo>
                    <a:pt x="115" y="149"/>
                    <a:pt x="123" y="157"/>
                    <a:pt x="132" y="157"/>
                  </a:cubicBezTo>
                  <a:cubicBezTo>
                    <a:pt x="141" y="157"/>
                    <a:pt x="148" y="149"/>
                    <a:pt x="148" y="140"/>
                  </a:cubicBezTo>
                  <a:cubicBezTo>
                    <a:pt x="148" y="131"/>
                    <a:pt x="141" y="124"/>
                    <a:pt x="132" y="1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solidFill>
                  <a:prstClr val="black"/>
                </a:solidFill>
                <a:latin typeface="Arial"/>
              </a:endParaRPr>
            </a:p>
          </p:txBody>
        </p:sp>
        <p:pic>
          <p:nvPicPr>
            <p:cNvPr id="206" name="图片 10" descr="1"/>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1634" y="3705338"/>
              <a:ext cx="97156" cy="2759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7" name="1507440304"/>
            <p:cNvSpPr/>
            <p:nvPr>
              <p:custDataLst>
                <p:tags r:id="rId1"/>
              </p:custDataLst>
            </p:nvPr>
          </p:nvSpPr>
          <p:spPr>
            <a:xfrm>
              <a:off x="544463" y="2667705"/>
              <a:ext cx="638741" cy="246221"/>
            </a:xfrm>
            <a:prstGeom prst="rect">
              <a:avLst/>
            </a:prstGeom>
          </p:spPr>
          <p:txBody>
            <a:bodyPr wrap="square" lIns="0" tIns="0" rIns="0" bIns="0">
              <a:spAutoFit/>
            </a:bodyPr>
            <a:lstStyle/>
            <a:p>
              <a:pPr algn="ctr" defTabSz="811882">
                <a:defRPr/>
              </a:pPr>
              <a:r>
                <a:rPr kumimoji="1" lang="zh-CN" altLang="en-US" sz="800" kern="0" dirty="0" smtClean="0">
                  <a:solidFill>
                    <a:prstClr val="white"/>
                  </a:solidFill>
                  <a:latin typeface="微软雅黑" panose="020B0503020204020204" pitchFamily="34" charset="-122"/>
                  <a:ea typeface="微软雅黑" panose="020B0503020204020204" pitchFamily="34" charset="-122"/>
                  <a:cs typeface="Arial"/>
                  <a:sym typeface="Gill Sans" charset="0"/>
                </a:rPr>
                <a:t>Intelligent </a:t>
              </a:r>
              <a:r>
                <a:rPr kumimoji="1" lang="en-US" altLang="zh-CN"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l</a:t>
              </a:r>
              <a:r>
                <a:rPr kumimoji="1" lang="zh-CN" altLang="en-US"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ighting</a:t>
              </a:r>
              <a:endParaRPr kumimoji="1" lang="zh-CN" altLang="en-US" sz="800" kern="0" dirty="0">
                <a:solidFill>
                  <a:srgbClr val="00B050"/>
                </a:solidFill>
                <a:latin typeface="微软雅黑" panose="020B0503020204020204" pitchFamily="34" charset="-122"/>
                <a:ea typeface="微软雅黑" panose="020B0503020204020204" pitchFamily="34" charset="-122"/>
                <a:cs typeface="Arial"/>
                <a:sym typeface="Gill Sans" charset="0"/>
              </a:endParaRPr>
            </a:p>
          </p:txBody>
        </p:sp>
        <p:sp>
          <p:nvSpPr>
            <p:cNvPr id="208" name="1507440304"/>
            <p:cNvSpPr/>
            <p:nvPr>
              <p:custDataLst>
                <p:tags r:id="rId2"/>
              </p:custDataLst>
            </p:nvPr>
          </p:nvSpPr>
          <p:spPr>
            <a:xfrm>
              <a:off x="1255858" y="2626145"/>
              <a:ext cx="373500" cy="123111"/>
            </a:xfrm>
            <a:prstGeom prst="rect">
              <a:avLst/>
            </a:prstGeom>
          </p:spPr>
          <p:txBody>
            <a:bodyPr wrap="none" lIns="0" tIns="0" rIns="0" bIns="0">
              <a:spAutoFit/>
            </a:bodyPr>
            <a:lstStyle/>
            <a:p>
              <a:pPr algn="ctr" defTabSz="811882">
                <a:defRPr/>
              </a:pPr>
              <a:r>
                <a:rPr kumimoji="1" lang="zh-CN" altLang="en-US" sz="800" kern="0" dirty="0" smtClean="0">
                  <a:solidFill>
                    <a:prstClr val="white"/>
                  </a:solidFill>
                  <a:latin typeface="微软雅黑" panose="020B0503020204020204" pitchFamily="34" charset="-122"/>
                  <a:ea typeface="微软雅黑" panose="020B0503020204020204" pitchFamily="34" charset="-122"/>
                  <a:cs typeface="Arial"/>
                  <a:sym typeface="Gill Sans" charset="0"/>
                </a:rPr>
                <a:t>Camera</a:t>
              </a:r>
              <a:endParaRPr kumimoji="1" lang="zh-CN" altLang="en-US" sz="800" kern="0" dirty="0">
                <a:solidFill>
                  <a:prstClr val="white"/>
                </a:solidFill>
                <a:latin typeface="微软雅黑" panose="020B0503020204020204" pitchFamily="34" charset="-122"/>
                <a:ea typeface="微软雅黑" panose="020B0503020204020204" pitchFamily="34" charset="-122"/>
                <a:cs typeface="Arial"/>
                <a:sym typeface="Gill Sans" charset="0"/>
              </a:endParaRPr>
            </a:p>
          </p:txBody>
        </p:sp>
        <p:sp>
          <p:nvSpPr>
            <p:cNvPr id="209" name="1507440304"/>
            <p:cNvSpPr/>
            <p:nvPr>
              <p:custDataLst>
                <p:tags r:id="rId3"/>
              </p:custDataLst>
            </p:nvPr>
          </p:nvSpPr>
          <p:spPr>
            <a:xfrm>
              <a:off x="712106" y="3420722"/>
              <a:ext cx="258084" cy="123111"/>
            </a:xfrm>
            <a:prstGeom prst="rect">
              <a:avLst/>
            </a:prstGeom>
          </p:spPr>
          <p:txBody>
            <a:bodyPr wrap="none" lIns="0" tIns="0" rIns="0" bIns="0">
              <a:spAutoFit/>
            </a:bodyPr>
            <a:lstStyle/>
            <a:p>
              <a:pPr algn="ctr" defTabSz="811882">
                <a:defRPr/>
              </a:pPr>
              <a:r>
                <a:rPr kumimoji="1" lang="en-US" altLang="zh-CN"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Wi-Fi</a:t>
              </a:r>
              <a:endParaRPr kumimoji="1" lang="zh-CN" altLang="en-US" sz="800" kern="0" dirty="0">
                <a:solidFill>
                  <a:srgbClr val="00B050"/>
                </a:solidFill>
                <a:latin typeface="微软雅黑" panose="020B0503020204020204" pitchFamily="34" charset="-122"/>
                <a:ea typeface="微软雅黑" panose="020B0503020204020204" pitchFamily="34" charset="-122"/>
                <a:cs typeface="Arial"/>
                <a:sym typeface="Gill Sans" charset="0"/>
              </a:endParaRPr>
            </a:p>
          </p:txBody>
        </p:sp>
        <p:sp>
          <p:nvSpPr>
            <p:cNvPr id="210" name="1507440304"/>
            <p:cNvSpPr/>
            <p:nvPr>
              <p:custDataLst>
                <p:tags r:id="rId4"/>
              </p:custDataLst>
            </p:nvPr>
          </p:nvSpPr>
          <p:spPr>
            <a:xfrm>
              <a:off x="1258918" y="3241477"/>
              <a:ext cx="331822" cy="123111"/>
            </a:xfrm>
            <a:prstGeom prst="rect">
              <a:avLst/>
            </a:prstGeom>
          </p:spPr>
          <p:txBody>
            <a:bodyPr wrap="none" lIns="0" tIns="0" rIns="0" bIns="0">
              <a:spAutoFit/>
            </a:bodyPr>
            <a:lstStyle/>
            <a:p>
              <a:pPr algn="ctr" defTabSz="811882">
                <a:defRPr/>
              </a:pPr>
              <a:r>
                <a:rPr kumimoji="1" lang="en-US" altLang="zh-CN" sz="800" kern="0" dirty="0">
                  <a:solidFill>
                    <a:srgbClr val="00B050"/>
                  </a:solidFill>
                  <a:latin typeface="微软雅黑" panose="020B0503020204020204" pitchFamily="34" charset="-122"/>
                  <a:ea typeface="微软雅黑" panose="020B0503020204020204" pitchFamily="34" charset="-122"/>
                  <a:cs typeface="Arial"/>
                  <a:sym typeface="Gill Sans" charset="0"/>
                </a:rPr>
                <a:t>S</a:t>
              </a:r>
              <a:r>
                <a:rPr kumimoji="1" lang="en-US" altLang="zh-CN"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ensor</a:t>
              </a:r>
              <a:endParaRPr kumimoji="1" lang="zh-CN" altLang="en-US" sz="800" kern="0" dirty="0">
                <a:solidFill>
                  <a:srgbClr val="00B050"/>
                </a:solidFill>
                <a:latin typeface="微软雅黑" panose="020B0503020204020204" pitchFamily="34" charset="-122"/>
                <a:ea typeface="微软雅黑" panose="020B0503020204020204" pitchFamily="34" charset="-122"/>
                <a:cs typeface="Arial"/>
                <a:sym typeface="Gill Sans" charset="0"/>
              </a:endParaRPr>
            </a:p>
          </p:txBody>
        </p:sp>
        <p:sp>
          <p:nvSpPr>
            <p:cNvPr id="211" name="1507440304"/>
            <p:cNvSpPr/>
            <p:nvPr>
              <p:custDataLst>
                <p:tags r:id="rId5"/>
              </p:custDataLst>
            </p:nvPr>
          </p:nvSpPr>
          <p:spPr>
            <a:xfrm>
              <a:off x="424633" y="4061594"/>
              <a:ext cx="833165" cy="246221"/>
            </a:xfrm>
            <a:prstGeom prst="rect">
              <a:avLst/>
            </a:prstGeom>
          </p:spPr>
          <p:txBody>
            <a:bodyPr wrap="square" lIns="0" tIns="0" rIns="0" bIns="0">
              <a:spAutoFit/>
            </a:bodyPr>
            <a:lstStyle/>
            <a:p>
              <a:pPr algn="ctr" defTabSz="811882">
                <a:defRPr/>
              </a:pPr>
              <a:r>
                <a:rPr kumimoji="1" lang="zh-CN" altLang="en-US" sz="800" kern="0" dirty="0" smtClean="0">
                  <a:solidFill>
                    <a:prstClr val="white"/>
                  </a:solidFill>
                  <a:latin typeface="微软雅黑" panose="020B0503020204020204" pitchFamily="34" charset="-122"/>
                  <a:ea typeface="微软雅黑" panose="020B0503020204020204" pitchFamily="34" charset="-122"/>
                  <a:cs typeface="Arial"/>
                  <a:sym typeface="Gill Sans" charset="0"/>
                </a:rPr>
                <a:t>Advertising </a:t>
              </a:r>
              <a:r>
                <a:rPr kumimoji="1" lang="en-US" altLang="zh-CN"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s</a:t>
              </a:r>
              <a:r>
                <a:rPr kumimoji="1" lang="zh-CN" altLang="en-US"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creen</a:t>
              </a:r>
            </a:p>
          </p:txBody>
        </p:sp>
        <p:sp>
          <p:nvSpPr>
            <p:cNvPr id="212" name="1507440304"/>
            <p:cNvSpPr/>
            <p:nvPr>
              <p:custDataLst>
                <p:tags r:id="rId6"/>
              </p:custDataLst>
            </p:nvPr>
          </p:nvSpPr>
          <p:spPr>
            <a:xfrm>
              <a:off x="1122646" y="3846045"/>
              <a:ext cx="600675" cy="246221"/>
            </a:xfrm>
            <a:prstGeom prst="rect">
              <a:avLst/>
            </a:prstGeom>
          </p:spPr>
          <p:txBody>
            <a:bodyPr wrap="square" lIns="0" tIns="0" rIns="0" bIns="0">
              <a:spAutoFit/>
            </a:bodyPr>
            <a:lstStyle/>
            <a:p>
              <a:pPr algn="ctr" defTabSz="811882">
                <a:defRPr/>
              </a:pPr>
              <a:r>
                <a:rPr kumimoji="1" lang="en-US" altLang="zh-CN" sz="800" kern="0" dirty="0" smtClean="0">
                  <a:solidFill>
                    <a:prstClr val="white"/>
                  </a:solidFill>
                  <a:latin typeface="微软雅黑" panose="020B0503020204020204" pitchFamily="34" charset="-122"/>
                  <a:ea typeface="微软雅黑" panose="020B0503020204020204" pitchFamily="34" charset="-122"/>
                  <a:cs typeface="Arial"/>
                  <a:sym typeface="Gill Sans" charset="0"/>
                </a:rPr>
                <a:t>One-key </a:t>
              </a:r>
              <a:r>
                <a:rPr kumimoji="1" lang="en-US" altLang="zh-CN" sz="800" kern="0" dirty="0" smtClean="0">
                  <a:solidFill>
                    <a:srgbClr val="00B050"/>
                  </a:solidFill>
                  <a:latin typeface="微软雅黑" panose="020B0503020204020204" pitchFamily="34" charset="-122"/>
                  <a:ea typeface="微软雅黑" panose="020B0503020204020204" pitchFamily="34" charset="-122"/>
                  <a:cs typeface="Arial"/>
                  <a:sym typeface="Gill Sans" charset="0"/>
                </a:rPr>
                <a:t>alarm</a:t>
              </a:r>
              <a:endParaRPr kumimoji="1" lang="zh-CN" altLang="en-US" sz="800" kern="0" dirty="0" smtClean="0">
                <a:solidFill>
                  <a:srgbClr val="00B050"/>
                </a:solidFill>
                <a:latin typeface="微软雅黑" panose="020B0503020204020204" pitchFamily="34" charset="-122"/>
                <a:ea typeface="微软雅黑" panose="020B0503020204020204" pitchFamily="34" charset="-122"/>
                <a:cs typeface="Arial"/>
                <a:sym typeface="Gill Sans" charset="0"/>
              </a:endParaRPr>
            </a:p>
          </p:txBody>
        </p:sp>
        <p:sp>
          <p:nvSpPr>
            <p:cNvPr id="213" name="Freeform 106"/>
            <p:cNvSpPr>
              <a:spLocks noEditPoints="1"/>
            </p:cNvSpPr>
            <p:nvPr/>
          </p:nvSpPr>
          <p:spPr bwMode="auto">
            <a:xfrm>
              <a:off x="797069" y="2324968"/>
              <a:ext cx="124453" cy="226344"/>
            </a:xfrm>
            <a:custGeom>
              <a:avLst/>
              <a:gdLst/>
              <a:ahLst/>
              <a:cxnLst>
                <a:cxn ang="0">
                  <a:pos x="4472" y="8892"/>
                </a:cxn>
                <a:cxn ang="0">
                  <a:pos x="4264" y="9360"/>
                </a:cxn>
                <a:cxn ang="0">
                  <a:pos x="4680" y="9360"/>
                </a:cxn>
                <a:cxn ang="0">
                  <a:pos x="3172" y="11908"/>
                </a:cxn>
                <a:cxn ang="0">
                  <a:pos x="2496" y="11700"/>
                </a:cxn>
                <a:cxn ang="0">
                  <a:pos x="2132" y="10816"/>
                </a:cxn>
                <a:cxn ang="0">
                  <a:pos x="1248" y="8008"/>
                </a:cxn>
                <a:cxn ang="0">
                  <a:pos x="156" y="5616"/>
                </a:cxn>
                <a:cxn ang="0">
                  <a:pos x="0" y="4004"/>
                </a:cxn>
                <a:cxn ang="0">
                  <a:pos x="364" y="2704"/>
                </a:cxn>
                <a:cxn ang="0">
                  <a:pos x="988" y="1612"/>
                </a:cxn>
                <a:cxn ang="0">
                  <a:pos x="1976" y="780"/>
                </a:cxn>
                <a:cxn ang="0">
                  <a:pos x="3120" y="208"/>
                </a:cxn>
                <a:cxn ang="0">
                  <a:pos x="4472" y="0"/>
                </a:cxn>
                <a:cxn ang="0">
                  <a:pos x="5772" y="208"/>
                </a:cxn>
                <a:cxn ang="0">
                  <a:pos x="6916" y="780"/>
                </a:cxn>
                <a:cxn ang="0">
                  <a:pos x="7904" y="1612"/>
                </a:cxn>
                <a:cxn ang="0">
                  <a:pos x="8528" y="2704"/>
                </a:cxn>
                <a:cxn ang="0">
                  <a:pos x="8892" y="4004"/>
                </a:cxn>
                <a:cxn ang="0">
                  <a:pos x="8736" y="5616"/>
                </a:cxn>
                <a:cxn ang="0">
                  <a:pos x="7644" y="8008"/>
                </a:cxn>
                <a:cxn ang="0">
                  <a:pos x="6760" y="10816"/>
                </a:cxn>
                <a:cxn ang="0">
                  <a:pos x="6448" y="11700"/>
                </a:cxn>
                <a:cxn ang="0">
                  <a:pos x="5720" y="11908"/>
                </a:cxn>
                <a:cxn ang="0">
                  <a:pos x="5044" y="16016"/>
                </a:cxn>
                <a:cxn ang="0">
                  <a:pos x="4108" y="16120"/>
                </a:cxn>
                <a:cxn ang="0">
                  <a:pos x="3380" y="15548"/>
                </a:cxn>
                <a:cxn ang="0">
                  <a:pos x="2860" y="13052"/>
                </a:cxn>
                <a:cxn ang="0">
                  <a:pos x="2652" y="12896"/>
                </a:cxn>
                <a:cxn ang="0">
                  <a:pos x="2652" y="12428"/>
                </a:cxn>
                <a:cxn ang="0">
                  <a:pos x="2860" y="12272"/>
                </a:cxn>
                <a:cxn ang="0">
                  <a:pos x="6188" y="12376"/>
                </a:cxn>
                <a:cxn ang="0">
                  <a:pos x="6240" y="12792"/>
                </a:cxn>
                <a:cxn ang="0">
                  <a:pos x="6084" y="13000"/>
                </a:cxn>
                <a:cxn ang="0">
                  <a:pos x="2860" y="14144"/>
                </a:cxn>
                <a:cxn ang="0">
                  <a:pos x="2652" y="13988"/>
                </a:cxn>
                <a:cxn ang="0">
                  <a:pos x="2652" y="13520"/>
                </a:cxn>
                <a:cxn ang="0">
                  <a:pos x="2860" y="13364"/>
                </a:cxn>
                <a:cxn ang="0">
                  <a:pos x="6188" y="13416"/>
                </a:cxn>
                <a:cxn ang="0">
                  <a:pos x="6240" y="13884"/>
                </a:cxn>
                <a:cxn ang="0">
                  <a:pos x="6084" y="14092"/>
                </a:cxn>
                <a:cxn ang="0">
                  <a:pos x="2860" y="15184"/>
                </a:cxn>
                <a:cxn ang="0">
                  <a:pos x="2652" y="15080"/>
                </a:cxn>
                <a:cxn ang="0">
                  <a:pos x="2652" y="14612"/>
                </a:cxn>
                <a:cxn ang="0">
                  <a:pos x="2860" y="14456"/>
                </a:cxn>
                <a:cxn ang="0">
                  <a:pos x="6188" y="14508"/>
                </a:cxn>
                <a:cxn ang="0">
                  <a:pos x="6240" y="14976"/>
                </a:cxn>
                <a:cxn ang="0">
                  <a:pos x="6084" y="15184"/>
                </a:cxn>
              </a:cxnLst>
              <a:rect l="0" t="0" r="r" b="b"/>
              <a:pathLst>
                <a:path w="8892" h="16172">
                  <a:moveTo>
                    <a:pt x="5824" y="7332"/>
                  </a:moveTo>
                  <a:lnTo>
                    <a:pt x="5460" y="7124"/>
                  </a:lnTo>
                  <a:lnTo>
                    <a:pt x="4472" y="8892"/>
                  </a:lnTo>
                  <a:lnTo>
                    <a:pt x="3432" y="7124"/>
                  </a:lnTo>
                  <a:lnTo>
                    <a:pt x="3068" y="7332"/>
                  </a:lnTo>
                  <a:lnTo>
                    <a:pt x="4264" y="9360"/>
                  </a:lnTo>
                  <a:lnTo>
                    <a:pt x="4264" y="11232"/>
                  </a:lnTo>
                  <a:lnTo>
                    <a:pt x="4680" y="11232"/>
                  </a:lnTo>
                  <a:lnTo>
                    <a:pt x="4680" y="9360"/>
                  </a:lnTo>
                  <a:lnTo>
                    <a:pt x="5824" y="7332"/>
                  </a:lnTo>
                  <a:close/>
                  <a:moveTo>
                    <a:pt x="5720" y="11908"/>
                  </a:moveTo>
                  <a:lnTo>
                    <a:pt x="3172" y="11908"/>
                  </a:lnTo>
                  <a:lnTo>
                    <a:pt x="2756" y="11856"/>
                  </a:lnTo>
                  <a:lnTo>
                    <a:pt x="2600" y="11804"/>
                  </a:lnTo>
                  <a:lnTo>
                    <a:pt x="2496" y="11700"/>
                  </a:lnTo>
                  <a:lnTo>
                    <a:pt x="2340" y="11544"/>
                  </a:lnTo>
                  <a:lnTo>
                    <a:pt x="2288" y="11336"/>
                  </a:lnTo>
                  <a:lnTo>
                    <a:pt x="2132" y="10816"/>
                  </a:lnTo>
                  <a:lnTo>
                    <a:pt x="1976" y="9984"/>
                  </a:lnTo>
                  <a:lnTo>
                    <a:pt x="1716" y="9100"/>
                  </a:lnTo>
                  <a:lnTo>
                    <a:pt x="1248" y="8008"/>
                  </a:lnTo>
                  <a:lnTo>
                    <a:pt x="572" y="6656"/>
                  </a:lnTo>
                  <a:lnTo>
                    <a:pt x="364" y="6136"/>
                  </a:lnTo>
                  <a:lnTo>
                    <a:pt x="156" y="5616"/>
                  </a:lnTo>
                  <a:lnTo>
                    <a:pt x="52" y="5044"/>
                  </a:lnTo>
                  <a:lnTo>
                    <a:pt x="0" y="4420"/>
                  </a:lnTo>
                  <a:lnTo>
                    <a:pt x="0" y="4004"/>
                  </a:lnTo>
                  <a:lnTo>
                    <a:pt x="104" y="3536"/>
                  </a:lnTo>
                  <a:lnTo>
                    <a:pt x="208" y="3120"/>
                  </a:lnTo>
                  <a:lnTo>
                    <a:pt x="364" y="2704"/>
                  </a:lnTo>
                  <a:lnTo>
                    <a:pt x="520" y="2340"/>
                  </a:lnTo>
                  <a:lnTo>
                    <a:pt x="780" y="1976"/>
                  </a:lnTo>
                  <a:lnTo>
                    <a:pt x="988" y="1612"/>
                  </a:lnTo>
                  <a:lnTo>
                    <a:pt x="1300" y="1300"/>
                  </a:lnTo>
                  <a:lnTo>
                    <a:pt x="1612" y="988"/>
                  </a:lnTo>
                  <a:lnTo>
                    <a:pt x="1976" y="780"/>
                  </a:lnTo>
                  <a:lnTo>
                    <a:pt x="2340" y="521"/>
                  </a:lnTo>
                  <a:lnTo>
                    <a:pt x="2704" y="364"/>
                  </a:lnTo>
                  <a:lnTo>
                    <a:pt x="3120" y="208"/>
                  </a:lnTo>
                  <a:lnTo>
                    <a:pt x="3536" y="104"/>
                  </a:lnTo>
                  <a:lnTo>
                    <a:pt x="4004" y="0"/>
                  </a:lnTo>
                  <a:lnTo>
                    <a:pt x="4472" y="0"/>
                  </a:lnTo>
                  <a:lnTo>
                    <a:pt x="4888" y="0"/>
                  </a:lnTo>
                  <a:lnTo>
                    <a:pt x="5356" y="104"/>
                  </a:lnTo>
                  <a:lnTo>
                    <a:pt x="5772" y="208"/>
                  </a:lnTo>
                  <a:lnTo>
                    <a:pt x="6188" y="364"/>
                  </a:lnTo>
                  <a:lnTo>
                    <a:pt x="6552" y="521"/>
                  </a:lnTo>
                  <a:lnTo>
                    <a:pt x="6916" y="780"/>
                  </a:lnTo>
                  <a:lnTo>
                    <a:pt x="7280" y="988"/>
                  </a:lnTo>
                  <a:lnTo>
                    <a:pt x="7592" y="1300"/>
                  </a:lnTo>
                  <a:lnTo>
                    <a:pt x="7904" y="1612"/>
                  </a:lnTo>
                  <a:lnTo>
                    <a:pt x="8112" y="1976"/>
                  </a:lnTo>
                  <a:lnTo>
                    <a:pt x="8372" y="2340"/>
                  </a:lnTo>
                  <a:lnTo>
                    <a:pt x="8528" y="2704"/>
                  </a:lnTo>
                  <a:lnTo>
                    <a:pt x="8684" y="3120"/>
                  </a:lnTo>
                  <a:lnTo>
                    <a:pt x="8788" y="3536"/>
                  </a:lnTo>
                  <a:lnTo>
                    <a:pt x="8892" y="4004"/>
                  </a:lnTo>
                  <a:lnTo>
                    <a:pt x="8892" y="4420"/>
                  </a:lnTo>
                  <a:lnTo>
                    <a:pt x="8840" y="5044"/>
                  </a:lnTo>
                  <a:lnTo>
                    <a:pt x="8736" y="5616"/>
                  </a:lnTo>
                  <a:lnTo>
                    <a:pt x="8528" y="6136"/>
                  </a:lnTo>
                  <a:lnTo>
                    <a:pt x="8320" y="6656"/>
                  </a:lnTo>
                  <a:lnTo>
                    <a:pt x="7644" y="8008"/>
                  </a:lnTo>
                  <a:lnTo>
                    <a:pt x="7176" y="9100"/>
                  </a:lnTo>
                  <a:lnTo>
                    <a:pt x="6916" y="9984"/>
                  </a:lnTo>
                  <a:lnTo>
                    <a:pt x="6760" y="10816"/>
                  </a:lnTo>
                  <a:lnTo>
                    <a:pt x="6604" y="11336"/>
                  </a:lnTo>
                  <a:lnTo>
                    <a:pt x="6552" y="11544"/>
                  </a:lnTo>
                  <a:lnTo>
                    <a:pt x="6448" y="11700"/>
                  </a:lnTo>
                  <a:lnTo>
                    <a:pt x="6292" y="11804"/>
                  </a:lnTo>
                  <a:lnTo>
                    <a:pt x="6136" y="11856"/>
                  </a:lnTo>
                  <a:lnTo>
                    <a:pt x="5720" y="11908"/>
                  </a:lnTo>
                  <a:close/>
                  <a:moveTo>
                    <a:pt x="5460" y="15548"/>
                  </a:moveTo>
                  <a:lnTo>
                    <a:pt x="5304" y="15808"/>
                  </a:lnTo>
                  <a:lnTo>
                    <a:pt x="5044" y="16016"/>
                  </a:lnTo>
                  <a:lnTo>
                    <a:pt x="4784" y="16120"/>
                  </a:lnTo>
                  <a:lnTo>
                    <a:pt x="4420" y="16172"/>
                  </a:lnTo>
                  <a:lnTo>
                    <a:pt x="4108" y="16120"/>
                  </a:lnTo>
                  <a:lnTo>
                    <a:pt x="3796" y="16016"/>
                  </a:lnTo>
                  <a:lnTo>
                    <a:pt x="3536" y="15808"/>
                  </a:lnTo>
                  <a:lnTo>
                    <a:pt x="3380" y="15548"/>
                  </a:lnTo>
                  <a:lnTo>
                    <a:pt x="5460" y="15548"/>
                  </a:lnTo>
                  <a:close/>
                  <a:moveTo>
                    <a:pt x="6032" y="13052"/>
                  </a:moveTo>
                  <a:lnTo>
                    <a:pt x="2860" y="13052"/>
                  </a:lnTo>
                  <a:lnTo>
                    <a:pt x="2756" y="13000"/>
                  </a:lnTo>
                  <a:lnTo>
                    <a:pt x="2704" y="12948"/>
                  </a:lnTo>
                  <a:lnTo>
                    <a:pt x="2652" y="12896"/>
                  </a:lnTo>
                  <a:lnTo>
                    <a:pt x="2652" y="12792"/>
                  </a:lnTo>
                  <a:lnTo>
                    <a:pt x="2652" y="12532"/>
                  </a:lnTo>
                  <a:lnTo>
                    <a:pt x="2652" y="12428"/>
                  </a:lnTo>
                  <a:lnTo>
                    <a:pt x="2704" y="12376"/>
                  </a:lnTo>
                  <a:lnTo>
                    <a:pt x="2756" y="12324"/>
                  </a:lnTo>
                  <a:lnTo>
                    <a:pt x="2860" y="12272"/>
                  </a:lnTo>
                  <a:lnTo>
                    <a:pt x="6032" y="12272"/>
                  </a:lnTo>
                  <a:lnTo>
                    <a:pt x="6084" y="12324"/>
                  </a:lnTo>
                  <a:lnTo>
                    <a:pt x="6188" y="12376"/>
                  </a:lnTo>
                  <a:lnTo>
                    <a:pt x="6188" y="12428"/>
                  </a:lnTo>
                  <a:lnTo>
                    <a:pt x="6240" y="12532"/>
                  </a:lnTo>
                  <a:lnTo>
                    <a:pt x="6240" y="12792"/>
                  </a:lnTo>
                  <a:lnTo>
                    <a:pt x="6188" y="12896"/>
                  </a:lnTo>
                  <a:lnTo>
                    <a:pt x="6188" y="12948"/>
                  </a:lnTo>
                  <a:lnTo>
                    <a:pt x="6084" y="13000"/>
                  </a:lnTo>
                  <a:lnTo>
                    <a:pt x="6032" y="13052"/>
                  </a:lnTo>
                  <a:close/>
                  <a:moveTo>
                    <a:pt x="6032" y="14144"/>
                  </a:moveTo>
                  <a:lnTo>
                    <a:pt x="2860" y="14144"/>
                  </a:lnTo>
                  <a:lnTo>
                    <a:pt x="2756" y="14092"/>
                  </a:lnTo>
                  <a:lnTo>
                    <a:pt x="2704" y="14040"/>
                  </a:lnTo>
                  <a:lnTo>
                    <a:pt x="2652" y="13988"/>
                  </a:lnTo>
                  <a:lnTo>
                    <a:pt x="2652" y="13884"/>
                  </a:lnTo>
                  <a:lnTo>
                    <a:pt x="2652" y="13624"/>
                  </a:lnTo>
                  <a:lnTo>
                    <a:pt x="2652" y="13520"/>
                  </a:lnTo>
                  <a:lnTo>
                    <a:pt x="2704" y="13416"/>
                  </a:lnTo>
                  <a:lnTo>
                    <a:pt x="2756" y="13416"/>
                  </a:lnTo>
                  <a:lnTo>
                    <a:pt x="2860" y="13364"/>
                  </a:lnTo>
                  <a:lnTo>
                    <a:pt x="6032" y="13364"/>
                  </a:lnTo>
                  <a:lnTo>
                    <a:pt x="6084" y="13416"/>
                  </a:lnTo>
                  <a:lnTo>
                    <a:pt x="6188" y="13416"/>
                  </a:lnTo>
                  <a:lnTo>
                    <a:pt x="6188" y="13520"/>
                  </a:lnTo>
                  <a:lnTo>
                    <a:pt x="6240" y="13624"/>
                  </a:lnTo>
                  <a:lnTo>
                    <a:pt x="6240" y="13884"/>
                  </a:lnTo>
                  <a:lnTo>
                    <a:pt x="6188" y="13988"/>
                  </a:lnTo>
                  <a:lnTo>
                    <a:pt x="6188" y="14040"/>
                  </a:lnTo>
                  <a:lnTo>
                    <a:pt x="6084" y="14092"/>
                  </a:lnTo>
                  <a:lnTo>
                    <a:pt x="6032" y="14144"/>
                  </a:lnTo>
                  <a:close/>
                  <a:moveTo>
                    <a:pt x="6032" y="15184"/>
                  </a:moveTo>
                  <a:lnTo>
                    <a:pt x="2860" y="15184"/>
                  </a:lnTo>
                  <a:lnTo>
                    <a:pt x="2756" y="15184"/>
                  </a:lnTo>
                  <a:lnTo>
                    <a:pt x="2704" y="15132"/>
                  </a:lnTo>
                  <a:lnTo>
                    <a:pt x="2652" y="15080"/>
                  </a:lnTo>
                  <a:lnTo>
                    <a:pt x="2652" y="14976"/>
                  </a:lnTo>
                  <a:lnTo>
                    <a:pt x="2652" y="14664"/>
                  </a:lnTo>
                  <a:lnTo>
                    <a:pt x="2652" y="14612"/>
                  </a:lnTo>
                  <a:lnTo>
                    <a:pt x="2704" y="14508"/>
                  </a:lnTo>
                  <a:lnTo>
                    <a:pt x="2756" y="14456"/>
                  </a:lnTo>
                  <a:lnTo>
                    <a:pt x="2860" y="14456"/>
                  </a:lnTo>
                  <a:lnTo>
                    <a:pt x="6032" y="14456"/>
                  </a:lnTo>
                  <a:lnTo>
                    <a:pt x="6084" y="14456"/>
                  </a:lnTo>
                  <a:lnTo>
                    <a:pt x="6188" y="14508"/>
                  </a:lnTo>
                  <a:lnTo>
                    <a:pt x="6188" y="14612"/>
                  </a:lnTo>
                  <a:lnTo>
                    <a:pt x="6240" y="14664"/>
                  </a:lnTo>
                  <a:lnTo>
                    <a:pt x="6240" y="14976"/>
                  </a:lnTo>
                  <a:lnTo>
                    <a:pt x="6188" y="15080"/>
                  </a:lnTo>
                  <a:lnTo>
                    <a:pt x="6188" y="15132"/>
                  </a:lnTo>
                  <a:lnTo>
                    <a:pt x="6084" y="15184"/>
                  </a:lnTo>
                  <a:lnTo>
                    <a:pt x="6032" y="151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600"/>
            </a:p>
          </p:txBody>
        </p:sp>
        <p:pic>
          <p:nvPicPr>
            <p:cNvPr id="214" name="Picture 9"/>
            <p:cNvPicPr/>
            <p:nvPr/>
          </p:nvPicPr>
          <p:blipFill>
            <a:blip r:embed="rId14" cstate="print"/>
            <a:srcRect/>
            <a:stretch>
              <a:fillRect/>
            </a:stretch>
          </p:blipFill>
          <p:spPr>
            <a:xfrm>
              <a:off x="1346315" y="3517328"/>
              <a:ext cx="164981" cy="275973"/>
            </a:xfrm>
            <a:prstGeom prst="rect">
              <a:avLst/>
            </a:prstGeom>
            <a:noFill/>
          </p:spPr>
        </p:pic>
        <p:sp>
          <p:nvSpPr>
            <p:cNvPr id="188" name="梯形 187"/>
            <p:cNvSpPr/>
            <p:nvPr/>
          </p:nvSpPr>
          <p:spPr>
            <a:xfrm rot="5400000" flipV="1">
              <a:off x="1727850" y="3553524"/>
              <a:ext cx="648000" cy="468000"/>
            </a:xfrm>
            <a:prstGeom prst="trapezoid">
              <a:avLst>
                <a:gd name="adj" fmla="val 31273"/>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TextBox 188"/>
            <p:cNvSpPr txBox="1"/>
            <p:nvPr/>
          </p:nvSpPr>
          <p:spPr>
            <a:xfrm>
              <a:off x="1777107" y="4015305"/>
              <a:ext cx="1236781" cy="338554"/>
            </a:xfrm>
            <a:prstGeom prst="rect">
              <a:avLst/>
            </a:prstGeom>
            <a:noFill/>
          </p:spPr>
          <p:txBody>
            <a:bodyPr wrap="square" rtlCol="0">
              <a:spAutoFit/>
            </a:bodyPr>
            <a:lstStyle/>
            <a:p>
              <a:pPr algn="ctr"/>
              <a:r>
                <a:rPr lang="en-US" altLang="zh-CN" sz="800" dirty="0" smtClean="0">
                  <a:solidFill>
                    <a:srgbClr val="00B050"/>
                  </a:solidFill>
                  <a:latin typeface="微软雅黑" panose="020B0503020204020204" pitchFamily="34" charset="-122"/>
                  <a:ea typeface="微软雅黑" panose="020B0503020204020204" pitchFamily="34" charset="-122"/>
                </a:rPr>
                <a:t>Smart distribution box</a:t>
              </a:r>
              <a:endParaRPr lang="zh-CN" altLang="en-US" sz="800" dirty="0">
                <a:solidFill>
                  <a:srgbClr val="00B050"/>
                </a:solidFill>
              </a:endParaRPr>
            </a:p>
          </p:txBody>
        </p:sp>
        <p:pic>
          <p:nvPicPr>
            <p:cNvPr id="190" name="Picture 4" descr="北京通州.1971"/>
            <p:cNvPicPr>
              <a:picLocks noChangeAspect="1" noChangeArrowheads="1"/>
            </p:cNvPicPr>
            <p:nvPr/>
          </p:nvPicPr>
          <p:blipFill>
            <a:blip r:embed="rId15" cstate="print">
              <a:extLst>
                <a:ext uri="{28A0092B-C50C-407E-A947-70E740481C1C}">
                  <a14:useLocalDpi xmlns:a14="http://schemas.microsoft.com/office/drawing/2010/main" val="0"/>
                </a:ext>
              </a:extLst>
            </a:blip>
            <a:srcRect l="47488" t="13013" r="37050" b="10396"/>
            <a:stretch>
              <a:fillRect/>
            </a:stretch>
          </p:blipFill>
          <p:spPr bwMode="auto">
            <a:xfrm>
              <a:off x="1368442" y="1743918"/>
              <a:ext cx="816233" cy="247620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91" name="Picture 2"/>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2074706" y="2950548"/>
              <a:ext cx="282790" cy="151110"/>
            </a:xfrm>
            <a:prstGeom prst="rect">
              <a:avLst/>
            </a:prstGeom>
            <a:noFill/>
            <a:ln w="9525">
              <a:noFill/>
              <a:miter lim="800000"/>
              <a:headEnd/>
              <a:tailEnd/>
            </a:ln>
            <a:effectLst>
              <a:glow rad="101600">
                <a:schemeClr val="accent5">
                  <a:satMod val="175000"/>
                  <a:alpha val="40000"/>
                </a:schemeClr>
              </a:glow>
            </a:effectLst>
          </p:spPr>
        </p:pic>
        <p:sp>
          <p:nvSpPr>
            <p:cNvPr id="192" name="梯形 191"/>
            <p:cNvSpPr/>
            <p:nvPr/>
          </p:nvSpPr>
          <p:spPr>
            <a:xfrm rot="10800000">
              <a:off x="2052411" y="3228945"/>
              <a:ext cx="684000" cy="331215"/>
            </a:xfrm>
            <a:prstGeom prst="trapezoid">
              <a:avLst>
                <a:gd name="adj" fmla="val 59707"/>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5" name="Picture 1"/>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2231227" y="3486562"/>
              <a:ext cx="306719" cy="593970"/>
            </a:xfrm>
            <a:prstGeom prst="rect">
              <a:avLst/>
            </a:prstGeom>
            <a:noFill/>
            <a:ln w="9525">
              <a:noFill/>
              <a:miter lim="800000"/>
              <a:headEnd/>
              <a:tailEnd/>
            </a:ln>
          </p:spPr>
        </p:pic>
        <p:pic>
          <p:nvPicPr>
            <p:cNvPr id="196" name="图片 195" descr="6"/>
            <p:cNvPicPr/>
            <p:nvPr/>
          </p:nvPicPr>
          <p:blipFill>
            <a:blip r:embed="rId18" cstate="print">
              <a:clrChange>
                <a:clrFrom>
                  <a:srgbClr val="FFFFFF"/>
                </a:clrFrom>
                <a:clrTo>
                  <a:srgbClr val="FFFFFF">
                    <a:alpha val="0"/>
                  </a:srgbClr>
                </a:clrTo>
              </a:clrChange>
            </a:blip>
            <a:stretch>
              <a:fillRect/>
            </a:stretch>
          </p:blipFill>
          <p:spPr>
            <a:xfrm>
              <a:off x="2699438" y="2933051"/>
              <a:ext cx="320260" cy="180000"/>
            </a:xfrm>
            <a:prstGeom prst="rect">
              <a:avLst/>
            </a:prstGeom>
            <a:noFill/>
            <a:ln w="9525">
              <a:noFill/>
              <a:miter lim="800000"/>
              <a:headEnd/>
              <a:tailEnd/>
            </a:ln>
            <a:effectLst>
              <a:glow rad="101600">
                <a:schemeClr val="accent5">
                  <a:satMod val="175000"/>
                  <a:alpha val="40000"/>
                </a:schemeClr>
              </a:glow>
            </a:effectLst>
          </p:spPr>
        </p:pic>
        <p:sp>
          <p:nvSpPr>
            <p:cNvPr id="194" name="TextBox 193"/>
            <p:cNvSpPr txBox="1"/>
            <p:nvPr/>
          </p:nvSpPr>
          <p:spPr>
            <a:xfrm>
              <a:off x="1870897" y="3163248"/>
              <a:ext cx="639938" cy="338554"/>
            </a:xfrm>
            <a:prstGeom prst="rect">
              <a:avLst/>
            </a:prstGeom>
            <a:noFill/>
          </p:spPr>
          <p:txBody>
            <a:bodyPr wrap="square" rtlCol="0">
              <a:spAutoFit/>
            </a:bodyPr>
            <a:lstStyle/>
            <a:p>
              <a:pPr algn="ctr"/>
              <a:r>
                <a:rPr lang="en-US" altLang="zh-CN" sz="800" dirty="0" smtClean="0">
                  <a:solidFill>
                    <a:schemeClr val="bg1"/>
                  </a:solidFill>
                  <a:latin typeface="微软雅黑" pitchFamily="34" charset="-122"/>
                  <a:ea typeface="微软雅黑" pitchFamily="34" charset="-122"/>
                </a:rPr>
                <a:t>PLC</a:t>
              </a:r>
              <a:r>
                <a:rPr lang="zh-CN" altLang="en-US" sz="800" dirty="0" smtClean="0">
                  <a:solidFill>
                    <a:schemeClr val="bg1"/>
                  </a:solidFill>
                  <a:latin typeface="微软雅黑" pitchFamily="34" charset="-122"/>
                  <a:ea typeface="微软雅黑" pitchFamily="34" charset="-122"/>
                </a:rPr>
                <a:t> lamp control</a:t>
              </a:r>
            </a:p>
          </p:txBody>
        </p:sp>
        <p:sp>
          <p:nvSpPr>
            <p:cNvPr id="193" name="TextBox 192"/>
            <p:cNvSpPr txBox="1"/>
            <p:nvPr/>
          </p:nvSpPr>
          <p:spPr>
            <a:xfrm>
              <a:off x="2434867" y="3128981"/>
              <a:ext cx="834454" cy="461665"/>
            </a:xfrm>
            <a:prstGeom prst="rect">
              <a:avLst/>
            </a:prstGeom>
            <a:noFill/>
          </p:spPr>
          <p:txBody>
            <a:bodyPr wrap="square" rtlCol="0">
              <a:spAutoFit/>
            </a:bodyPr>
            <a:lstStyle/>
            <a:p>
              <a:pPr algn="ctr"/>
              <a:r>
                <a:rPr lang="en-US" altLang="zh-CN" sz="800" dirty="0" smtClean="0">
                  <a:solidFill>
                    <a:schemeClr val="bg1"/>
                  </a:solidFill>
                  <a:latin typeface="微软雅黑" pitchFamily="34" charset="-122"/>
                  <a:ea typeface="微软雅黑" pitchFamily="34" charset="-122"/>
                </a:rPr>
                <a:t>Data acquisition instrument</a:t>
              </a:r>
              <a:endParaRPr lang="zh-CN" altLang="en-US" sz="800" dirty="0">
                <a:solidFill>
                  <a:schemeClr val="bg1"/>
                </a:solidFill>
                <a:latin typeface="微软雅黑" pitchFamily="34" charset="-122"/>
                <a:ea typeface="微软雅黑" pitchFamily="34" charset="-122"/>
              </a:endParaRPr>
            </a:p>
          </p:txBody>
        </p:sp>
        <p:sp>
          <p:nvSpPr>
            <p:cNvPr id="422" name="1107454724"/>
            <p:cNvSpPr/>
            <p:nvPr/>
          </p:nvSpPr>
          <p:spPr>
            <a:xfrm>
              <a:off x="888363" y="1701602"/>
              <a:ext cx="376480" cy="387745"/>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423" name="1507440304"/>
            <p:cNvSpPr/>
            <p:nvPr>
              <p:custDataLst>
                <p:tags r:id="rId7"/>
              </p:custDataLst>
            </p:nvPr>
          </p:nvSpPr>
          <p:spPr>
            <a:xfrm>
              <a:off x="624979" y="2097760"/>
              <a:ext cx="909357" cy="123111"/>
            </a:xfrm>
            <a:prstGeom prst="rect">
              <a:avLst/>
            </a:prstGeom>
          </p:spPr>
          <p:txBody>
            <a:bodyPr wrap="square" lIns="0" tIns="0" rIns="0" bIns="0">
              <a:spAutoFit/>
            </a:bodyPr>
            <a:lstStyle/>
            <a:p>
              <a:pPr algn="ctr" defTabSz="811882">
                <a:defRPr/>
              </a:pPr>
              <a:r>
                <a:rPr kumimoji="1" lang="en-US" altLang="zh-CN" sz="800" kern="0" dirty="0" smtClean="0">
                  <a:solidFill>
                    <a:prstClr val="white"/>
                  </a:solidFill>
                  <a:latin typeface="微软雅黑" panose="020B0503020204020204" pitchFamily="34" charset="-122"/>
                  <a:ea typeface="微软雅黑" panose="020B0503020204020204" pitchFamily="34" charset="-122"/>
                  <a:cs typeface="Arial"/>
                  <a:sym typeface="Gill Sans" charset="0"/>
                </a:rPr>
                <a:t>Micro base station</a:t>
              </a:r>
              <a:endParaRPr kumimoji="1" lang="zh-CN" altLang="en-US" sz="800" kern="0" dirty="0">
                <a:solidFill>
                  <a:prstClr val="white"/>
                </a:solidFill>
                <a:latin typeface="微软雅黑" panose="020B0503020204020204" pitchFamily="34" charset="-122"/>
                <a:ea typeface="微软雅黑" panose="020B0503020204020204" pitchFamily="34" charset="-122"/>
                <a:cs typeface="Arial"/>
                <a:sym typeface="Gill Sans" charset="0"/>
              </a:endParaRPr>
            </a:p>
          </p:txBody>
        </p:sp>
        <p:pic>
          <p:nvPicPr>
            <p:cNvPr id="425" name="图片 58" descr="图片3.png"/>
            <p:cNvPicPr>
              <a:picLocks noChangeAspect="1"/>
            </p:cNvPicPr>
            <p:nvPr/>
          </p:nvPicPr>
          <p:blipFill>
            <a:blip r:embed="rId19" cstate="print"/>
            <a:srcRect/>
            <a:stretch>
              <a:fillRect/>
            </a:stretch>
          </p:blipFill>
          <p:spPr bwMode="auto">
            <a:xfrm>
              <a:off x="957723" y="1749784"/>
              <a:ext cx="276283" cy="298210"/>
            </a:xfrm>
            <a:prstGeom prst="rect">
              <a:avLst/>
            </a:prstGeom>
            <a:noFill/>
            <a:ln w="9525">
              <a:noFill/>
              <a:miter lim="800000"/>
              <a:headEnd/>
              <a:tailEnd/>
            </a:ln>
          </p:spPr>
        </p:pic>
      </p:grpSp>
    </p:spTree>
    <p:extLst>
      <p:ext uri="{BB962C8B-B14F-4D97-AF65-F5344CB8AC3E}">
        <p14:creationId xmlns:p14="http://schemas.microsoft.com/office/powerpoint/2010/main" val="1150791943"/>
      </p:ext>
    </p:extLst>
  </p:cSld>
  <p:clrMapOvr>
    <a:masterClrMapping/>
  </p:clrMapOvr>
  <p:transition>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矩形 181"/>
          <p:cNvSpPr/>
          <p:nvPr/>
        </p:nvSpPr>
        <p:spPr>
          <a:xfrm>
            <a:off x="300943" y="190740"/>
            <a:ext cx="11593288" cy="523220"/>
          </a:xfrm>
          <a:prstGeom prst="rect">
            <a:avLst/>
          </a:prstGeom>
        </p:spPr>
        <p:txBody>
          <a:bodyPr wrap="square">
            <a:spAutoFit/>
          </a:bodyPr>
          <a:lstStyle/>
          <a:p>
            <a:r>
              <a:rPr kumimoji="1" lang="zh-CN" altLang="en-US" sz="2800" b="1" dirty="0" smtClean="0">
                <a:solidFill>
                  <a:srgbClr val="FFC000"/>
                </a:solidFill>
                <a:latin typeface="微软雅黑" panose="020B0503020204020204" pitchFamily="34" charset="-122"/>
                <a:ea typeface="微软雅黑" panose="020B0503020204020204" pitchFamily="34" charset="-122"/>
              </a:rPr>
              <a:t>Comprehensive </a:t>
            </a:r>
            <a:r>
              <a:rPr kumimoji="1" lang="zh-CN" altLang="en-US" sz="2800" b="1" dirty="0" smtClean="0">
                <a:solidFill>
                  <a:schemeClr val="bg1"/>
                </a:solidFill>
                <a:latin typeface="微软雅黑" panose="020B0503020204020204" pitchFamily="34" charset="-122"/>
                <a:ea typeface="微软雅黑" panose="020B0503020204020204" pitchFamily="34" charset="-122"/>
              </a:rPr>
              <a:t>Urban IoT </a:t>
            </a:r>
            <a:r>
              <a:rPr kumimoji="1" lang="zh-CN" altLang="en-US" sz="2800" b="1" dirty="0" smtClean="0">
                <a:solidFill>
                  <a:srgbClr val="00B050"/>
                </a:solidFill>
                <a:latin typeface="微软雅黑" panose="020B0503020204020204" pitchFamily="34" charset="-122"/>
                <a:ea typeface="微软雅黑" panose="020B0503020204020204" pitchFamily="34" charset="-122"/>
              </a:rPr>
              <a:t>Management</a:t>
            </a:r>
            <a:r>
              <a:rPr kumimoji="1" lang="en-US" altLang="zh-CN" sz="2800" b="1" dirty="0" smtClean="0">
                <a:solidFill>
                  <a:srgbClr val="00B050"/>
                </a:solidFill>
                <a:latin typeface="微软雅黑" panose="020B0503020204020204" pitchFamily="34" charset="-122"/>
                <a:ea typeface="微软雅黑" panose="020B0503020204020204" pitchFamily="34" charset="-122"/>
              </a:rPr>
              <a:t>:</a:t>
            </a:r>
            <a:r>
              <a:rPr kumimoji="1" lang="en-US" altLang="zh-CN" sz="2800" b="1" dirty="0" smtClean="0">
                <a:solidFill>
                  <a:schemeClr val="bg1"/>
                </a:solidFill>
                <a:latin typeface="微软雅黑" panose="020B0503020204020204" pitchFamily="34" charset="-122"/>
                <a:ea typeface="微软雅黑" panose="020B0503020204020204" pitchFamily="34" charset="-122"/>
              </a:rPr>
              <a:t> </a:t>
            </a:r>
            <a:r>
              <a:rPr kumimoji="1" lang="en-US" altLang="zh-CN" sz="2800" b="1" dirty="0">
                <a:solidFill>
                  <a:srgbClr val="00B050"/>
                </a:solidFill>
                <a:latin typeface="微软雅黑" panose="020B0503020204020204" pitchFamily="34" charset="-122"/>
                <a:ea typeface="微软雅黑" panose="020B0503020204020204" pitchFamily="34" charset="-122"/>
              </a:rPr>
              <a:t>F</a:t>
            </a:r>
            <a:r>
              <a:rPr kumimoji="1" lang="zh-CN" altLang="en-US" sz="2800" b="1" dirty="0" smtClean="0">
                <a:solidFill>
                  <a:srgbClr val="00B050"/>
                </a:solidFill>
                <a:latin typeface="微软雅黑" panose="020B0503020204020204" pitchFamily="34" charset="-122"/>
                <a:ea typeface="微软雅黑" panose="020B0503020204020204" pitchFamily="34" charset="-122"/>
              </a:rPr>
              <a:t>rom </a:t>
            </a:r>
            <a:r>
              <a:rPr kumimoji="1" lang="zh-CN" altLang="en-US" sz="2800" b="1" dirty="0" smtClean="0">
                <a:solidFill>
                  <a:schemeClr val="bg1"/>
                </a:solidFill>
                <a:latin typeface="微软雅黑" panose="020B0503020204020204" pitchFamily="34" charset="-122"/>
                <a:ea typeface="微软雅黑" panose="020B0503020204020204" pitchFamily="34" charset="-122"/>
              </a:rPr>
              <a:t>Macro to Micro</a:t>
            </a:r>
            <a:endParaRPr lang="en-US" altLang="en-US"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sp>
        <p:nvSpPr>
          <p:cNvPr id="201" name="矩形 200"/>
          <p:cNvSpPr/>
          <p:nvPr/>
        </p:nvSpPr>
        <p:spPr>
          <a:xfrm>
            <a:off x="408955" y="1053530"/>
            <a:ext cx="11377264" cy="419348"/>
          </a:xfrm>
          <a:prstGeom prst="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TextBox 213"/>
          <p:cNvSpPr txBox="1"/>
          <p:nvPr/>
        </p:nvSpPr>
        <p:spPr>
          <a:xfrm>
            <a:off x="4297387" y="1083121"/>
            <a:ext cx="3816424" cy="369332"/>
          </a:xfrm>
          <a:prstGeom prst="rect">
            <a:avLst/>
          </a:prstGeom>
          <a:noFill/>
        </p:spPr>
        <p:txBody>
          <a:bodyPr wrap="square" rtlCol="0">
            <a:spAutoFit/>
          </a:bodyPr>
          <a:lstStyle/>
          <a:p>
            <a:pPr algn="ctr"/>
            <a:r>
              <a:rPr lang="zh-CN" altLang="zh-CN" sz="1800" b="1" dirty="0" smtClean="0">
                <a:solidFill>
                  <a:schemeClr val="bg1"/>
                </a:solidFill>
                <a:effectLst>
                  <a:outerShdw blurRad="38100" dist="38100" dir="2700000" algn="tl">
                    <a:srgbClr val="000000">
                      <a:alpha val="43137"/>
                    </a:srgbClr>
                  </a:outerShdw>
                </a:effectLst>
              </a:rPr>
              <a:t>IoT Smart Management Platform</a:t>
            </a:r>
            <a:endParaRPr lang="zh-CN" altLang="en-US" sz="1800" b="1" dirty="0">
              <a:solidFill>
                <a:schemeClr val="bg1"/>
              </a:solidFill>
              <a:effectLst>
                <a:outerShdw blurRad="38100" dist="38100" dir="2700000" algn="tl">
                  <a:srgbClr val="000000">
                    <a:alpha val="43137"/>
                  </a:srgbClr>
                </a:outerShdw>
              </a:effectLst>
            </a:endParaRPr>
          </a:p>
        </p:txBody>
      </p:sp>
      <p:grpSp>
        <p:nvGrpSpPr>
          <p:cNvPr id="2" name="组合 30"/>
          <p:cNvGrpSpPr/>
          <p:nvPr/>
        </p:nvGrpSpPr>
        <p:grpSpPr>
          <a:xfrm>
            <a:off x="518928" y="4437906"/>
            <a:ext cx="2482315" cy="1512032"/>
            <a:chOff x="878968" y="4653930"/>
            <a:chExt cx="2482315" cy="1512032"/>
          </a:xfrm>
        </p:grpSpPr>
        <p:sp>
          <p:nvSpPr>
            <p:cNvPr id="216" name="Freeform 228"/>
            <p:cNvSpPr>
              <a:spLocks/>
            </p:cNvSpPr>
            <p:nvPr/>
          </p:nvSpPr>
          <p:spPr bwMode="auto">
            <a:xfrm>
              <a:off x="878968" y="4653930"/>
              <a:ext cx="2482315" cy="1512032"/>
            </a:xfrm>
            <a:custGeom>
              <a:avLst/>
              <a:gdLst>
                <a:gd name="T0" fmla="*/ 1311 w 1311"/>
                <a:gd name="T1" fmla="*/ 0 h 619"/>
                <a:gd name="T2" fmla="*/ 1311 w 1311"/>
                <a:gd name="T3" fmla="*/ 0 h 619"/>
                <a:gd name="T4" fmla="*/ 1311 w 1311"/>
                <a:gd name="T5" fmla="*/ 0 h 619"/>
                <a:gd name="T6" fmla="*/ 1306 w 1311"/>
                <a:gd name="T7" fmla="*/ 0 h 619"/>
                <a:gd name="T8" fmla="*/ 1306 w 1311"/>
                <a:gd name="T9" fmla="*/ 0 h 619"/>
                <a:gd name="T10" fmla="*/ 857 w 1311"/>
                <a:gd name="T11" fmla="*/ 0 h 619"/>
                <a:gd name="T12" fmla="*/ 810 w 1311"/>
                <a:gd name="T13" fmla="*/ 0 h 619"/>
                <a:gd name="T14" fmla="*/ 784 w 1311"/>
                <a:gd name="T15" fmla="*/ 0 h 619"/>
                <a:gd name="T16" fmla="*/ 755 w 1311"/>
                <a:gd name="T17" fmla="*/ 14 h 619"/>
                <a:gd name="T18" fmla="*/ 685 w 1311"/>
                <a:gd name="T19" fmla="*/ 14 h 619"/>
                <a:gd name="T20" fmla="*/ 592 w 1311"/>
                <a:gd name="T21" fmla="*/ 14 h 619"/>
                <a:gd name="T22" fmla="*/ 522 w 1311"/>
                <a:gd name="T23" fmla="*/ 14 h 619"/>
                <a:gd name="T24" fmla="*/ 493 w 1311"/>
                <a:gd name="T25" fmla="*/ 0 h 619"/>
                <a:gd name="T26" fmla="*/ 467 w 1311"/>
                <a:gd name="T27" fmla="*/ 0 h 619"/>
                <a:gd name="T28" fmla="*/ 420 w 1311"/>
                <a:gd name="T29" fmla="*/ 0 h 619"/>
                <a:gd name="T30" fmla="*/ 4 w 1311"/>
                <a:gd name="T31" fmla="*/ 0 h 619"/>
                <a:gd name="T32" fmla="*/ 4 w 1311"/>
                <a:gd name="T33" fmla="*/ 0 h 619"/>
                <a:gd name="T34" fmla="*/ 0 w 1311"/>
                <a:gd name="T35" fmla="*/ 0 h 619"/>
                <a:gd name="T36" fmla="*/ 0 w 1311"/>
                <a:gd name="T37" fmla="*/ 0 h 619"/>
                <a:gd name="T38" fmla="*/ 0 w 1311"/>
                <a:gd name="T39" fmla="*/ 0 h 619"/>
                <a:gd name="T40" fmla="*/ 0 w 1311"/>
                <a:gd name="T41" fmla="*/ 5 h 619"/>
                <a:gd name="T42" fmla="*/ 0 w 1311"/>
                <a:gd name="T43" fmla="*/ 5 h 619"/>
                <a:gd name="T44" fmla="*/ 0 w 1311"/>
                <a:gd name="T45" fmla="*/ 135 h 619"/>
                <a:gd name="T46" fmla="*/ 0 w 1311"/>
                <a:gd name="T47" fmla="*/ 135 h 619"/>
                <a:gd name="T48" fmla="*/ 0 w 1311"/>
                <a:gd name="T49" fmla="*/ 151 h 619"/>
                <a:gd name="T50" fmla="*/ 14 w 1311"/>
                <a:gd name="T51" fmla="*/ 180 h 619"/>
                <a:gd name="T52" fmla="*/ 14 w 1311"/>
                <a:gd name="T53" fmla="*/ 253 h 619"/>
                <a:gd name="T54" fmla="*/ 14 w 1311"/>
                <a:gd name="T55" fmla="*/ 322 h 619"/>
                <a:gd name="T56" fmla="*/ 14 w 1311"/>
                <a:gd name="T57" fmla="*/ 459 h 619"/>
                <a:gd name="T58" fmla="*/ 0 w 1311"/>
                <a:gd name="T59" fmla="*/ 487 h 619"/>
                <a:gd name="T60" fmla="*/ 0 w 1311"/>
                <a:gd name="T61" fmla="*/ 558 h 619"/>
                <a:gd name="T62" fmla="*/ 0 w 1311"/>
                <a:gd name="T63" fmla="*/ 558 h 619"/>
                <a:gd name="T64" fmla="*/ 0 w 1311"/>
                <a:gd name="T65" fmla="*/ 612 h 619"/>
                <a:gd name="T66" fmla="*/ 0 w 1311"/>
                <a:gd name="T67" fmla="*/ 619 h 619"/>
                <a:gd name="T68" fmla="*/ 4 w 1311"/>
                <a:gd name="T69" fmla="*/ 619 h 619"/>
                <a:gd name="T70" fmla="*/ 420 w 1311"/>
                <a:gd name="T71" fmla="*/ 619 h 619"/>
                <a:gd name="T72" fmla="*/ 467 w 1311"/>
                <a:gd name="T73" fmla="*/ 619 h 619"/>
                <a:gd name="T74" fmla="*/ 493 w 1311"/>
                <a:gd name="T75" fmla="*/ 619 h 619"/>
                <a:gd name="T76" fmla="*/ 522 w 1311"/>
                <a:gd name="T77" fmla="*/ 605 h 619"/>
                <a:gd name="T78" fmla="*/ 592 w 1311"/>
                <a:gd name="T79" fmla="*/ 605 h 619"/>
                <a:gd name="T80" fmla="*/ 685 w 1311"/>
                <a:gd name="T81" fmla="*/ 605 h 619"/>
                <a:gd name="T82" fmla="*/ 755 w 1311"/>
                <a:gd name="T83" fmla="*/ 605 h 619"/>
                <a:gd name="T84" fmla="*/ 784 w 1311"/>
                <a:gd name="T85" fmla="*/ 619 h 619"/>
                <a:gd name="T86" fmla="*/ 810 w 1311"/>
                <a:gd name="T87" fmla="*/ 619 h 619"/>
                <a:gd name="T88" fmla="*/ 857 w 1311"/>
                <a:gd name="T89" fmla="*/ 619 h 619"/>
                <a:gd name="T90" fmla="*/ 1306 w 1311"/>
                <a:gd name="T91" fmla="*/ 619 h 619"/>
                <a:gd name="T92" fmla="*/ 1311 w 1311"/>
                <a:gd name="T93" fmla="*/ 619 h 619"/>
                <a:gd name="T94" fmla="*/ 1311 w 1311"/>
                <a:gd name="T95" fmla="*/ 612 h 619"/>
                <a:gd name="T96" fmla="*/ 1311 w 1311"/>
                <a:gd name="T97" fmla="*/ 558 h 619"/>
                <a:gd name="T98" fmla="*/ 1311 w 1311"/>
                <a:gd name="T99" fmla="*/ 558 h 619"/>
                <a:gd name="T100" fmla="*/ 1311 w 1311"/>
                <a:gd name="T101" fmla="*/ 487 h 619"/>
                <a:gd name="T102" fmla="*/ 1296 w 1311"/>
                <a:gd name="T103" fmla="*/ 459 h 619"/>
                <a:gd name="T104" fmla="*/ 1296 w 1311"/>
                <a:gd name="T105" fmla="*/ 322 h 619"/>
                <a:gd name="T106" fmla="*/ 1296 w 1311"/>
                <a:gd name="T107" fmla="*/ 253 h 619"/>
                <a:gd name="T108" fmla="*/ 1296 w 1311"/>
                <a:gd name="T109" fmla="*/ 180 h 619"/>
                <a:gd name="T110" fmla="*/ 1311 w 1311"/>
                <a:gd name="T111" fmla="*/ 151 h 619"/>
                <a:gd name="T112" fmla="*/ 1311 w 1311"/>
                <a:gd name="T113" fmla="*/ 135 h 619"/>
                <a:gd name="T114" fmla="*/ 1311 w 1311"/>
                <a:gd name="T115" fmla="*/ 135 h 619"/>
                <a:gd name="T116" fmla="*/ 1311 w 1311"/>
                <a:gd name="T117" fmla="*/ 5 h 619"/>
                <a:gd name="T118" fmla="*/ 1311 w 1311"/>
                <a:gd name="T119" fmla="*/ 5 h 619"/>
                <a:gd name="T120" fmla="*/ 1311 w 1311"/>
                <a:gd name="T1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1" h="619">
                  <a:moveTo>
                    <a:pt x="1311" y="0"/>
                  </a:moveTo>
                  <a:lnTo>
                    <a:pt x="1311" y="0"/>
                  </a:lnTo>
                  <a:lnTo>
                    <a:pt x="1311" y="0"/>
                  </a:lnTo>
                  <a:lnTo>
                    <a:pt x="1306" y="0"/>
                  </a:lnTo>
                  <a:lnTo>
                    <a:pt x="1306" y="0"/>
                  </a:lnTo>
                  <a:lnTo>
                    <a:pt x="857" y="0"/>
                  </a:lnTo>
                  <a:lnTo>
                    <a:pt x="810" y="0"/>
                  </a:lnTo>
                  <a:lnTo>
                    <a:pt x="784" y="0"/>
                  </a:lnTo>
                  <a:lnTo>
                    <a:pt x="755" y="14"/>
                  </a:lnTo>
                  <a:lnTo>
                    <a:pt x="685" y="14"/>
                  </a:lnTo>
                  <a:lnTo>
                    <a:pt x="592" y="14"/>
                  </a:lnTo>
                  <a:lnTo>
                    <a:pt x="522" y="14"/>
                  </a:lnTo>
                  <a:lnTo>
                    <a:pt x="493" y="0"/>
                  </a:lnTo>
                  <a:lnTo>
                    <a:pt x="467" y="0"/>
                  </a:lnTo>
                  <a:lnTo>
                    <a:pt x="420" y="0"/>
                  </a:lnTo>
                  <a:lnTo>
                    <a:pt x="4" y="0"/>
                  </a:lnTo>
                  <a:lnTo>
                    <a:pt x="4" y="0"/>
                  </a:lnTo>
                  <a:lnTo>
                    <a:pt x="0" y="0"/>
                  </a:lnTo>
                  <a:lnTo>
                    <a:pt x="0" y="0"/>
                  </a:lnTo>
                  <a:lnTo>
                    <a:pt x="0" y="0"/>
                  </a:lnTo>
                  <a:lnTo>
                    <a:pt x="0" y="5"/>
                  </a:lnTo>
                  <a:lnTo>
                    <a:pt x="0" y="5"/>
                  </a:lnTo>
                  <a:lnTo>
                    <a:pt x="0" y="135"/>
                  </a:lnTo>
                  <a:lnTo>
                    <a:pt x="0" y="135"/>
                  </a:lnTo>
                  <a:lnTo>
                    <a:pt x="0" y="151"/>
                  </a:lnTo>
                  <a:lnTo>
                    <a:pt x="14" y="180"/>
                  </a:lnTo>
                  <a:lnTo>
                    <a:pt x="14" y="253"/>
                  </a:lnTo>
                  <a:lnTo>
                    <a:pt x="14" y="322"/>
                  </a:lnTo>
                  <a:lnTo>
                    <a:pt x="14" y="459"/>
                  </a:lnTo>
                  <a:lnTo>
                    <a:pt x="0" y="487"/>
                  </a:lnTo>
                  <a:lnTo>
                    <a:pt x="0" y="558"/>
                  </a:lnTo>
                  <a:lnTo>
                    <a:pt x="0" y="558"/>
                  </a:lnTo>
                  <a:lnTo>
                    <a:pt x="0" y="612"/>
                  </a:lnTo>
                  <a:lnTo>
                    <a:pt x="0" y="619"/>
                  </a:lnTo>
                  <a:lnTo>
                    <a:pt x="4" y="619"/>
                  </a:lnTo>
                  <a:lnTo>
                    <a:pt x="420" y="619"/>
                  </a:lnTo>
                  <a:lnTo>
                    <a:pt x="467" y="619"/>
                  </a:lnTo>
                  <a:lnTo>
                    <a:pt x="493" y="619"/>
                  </a:lnTo>
                  <a:lnTo>
                    <a:pt x="522" y="605"/>
                  </a:lnTo>
                  <a:lnTo>
                    <a:pt x="592" y="605"/>
                  </a:lnTo>
                  <a:lnTo>
                    <a:pt x="685" y="605"/>
                  </a:lnTo>
                  <a:lnTo>
                    <a:pt x="755" y="605"/>
                  </a:lnTo>
                  <a:lnTo>
                    <a:pt x="784" y="619"/>
                  </a:lnTo>
                  <a:lnTo>
                    <a:pt x="810" y="619"/>
                  </a:lnTo>
                  <a:lnTo>
                    <a:pt x="857" y="619"/>
                  </a:lnTo>
                  <a:lnTo>
                    <a:pt x="1306" y="619"/>
                  </a:lnTo>
                  <a:lnTo>
                    <a:pt x="1311" y="619"/>
                  </a:lnTo>
                  <a:lnTo>
                    <a:pt x="1311" y="612"/>
                  </a:lnTo>
                  <a:lnTo>
                    <a:pt x="1311" y="558"/>
                  </a:lnTo>
                  <a:lnTo>
                    <a:pt x="1311" y="558"/>
                  </a:lnTo>
                  <a:lnTo>
                    <a:pt x="1311" y="487"/>
                  </a:lnTo>
                  <a:lnTo>
                    <a:pt x="1296" y="459"/>
                  </a:lnTo>
                  <a:lnTo>
                    <a:pt x="1296" y="322"/>
                  </a:lnTo>
                  <a:lnTo>
                    <a:pt x="1296" y="253"/>
                  </a:lnTo>
                  <a:lnTo>
                    <a:pt x="1296" y="180"/>
                  </a:lnTo>
                  <a:lnTo>
                    <a:pt x="1311" y="151"/>
                  </a:lnTo>
                  <a:lnTo>
                    <a:pt x="1311" y="135"/>
                  </a:lnTo>
                  <a:lnTo>
                    <a:pt x="1311" y="135"/>
                  </a:lnTo>
                  <a:lnTo>
                    <a:pt x="1311" y="5"/>
                  </a:lnTo>
                  <a:lnTo>
                    <a:pt x="1311" y="5"/>
                  </a:lnTo>
                  <a:lnTo>
                    <a:pt x="1311" y="0"/>
                  </a:lnTo>
                  <a:close/>
                </a:path>
              </a:pathLst>
            </a:custGeom>
            <a:gradFill flip="none" rotWithShape="1">
              <a:gsLst>
                <a:gs pos="0">
                  <a:srgbClr val="00B0F0">
                    <a:alpha val="13000"/>
                  </a:srgbClr>
                </a:gs>
                <a:gs pos="100000">
                  <a:srgbClr val="122C4F">
                    <a:alpha val="0"/>
                  </a:srgbClr>
                </a:gs>
              </a:gsLst>
              <a:lin ang="1800000" scaled="0"/>
              <a:tileRect/>
            </a:gra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anchor="ctr"/>
            <a:lstStyle/>
            <a:p>
              <a:pPr algn="ctr" fontAlgn="ctr">
                <a:spcBef>
                  <a:spcPct val="20000"/>
                </a:spcBef>
                <a:buClr>
                  <a:schemeClr val="bg1"/>
                </a:buClr>
                <a:buSzPct val="60000"/>
                <a:defRPr/>
              </a:pPr>
              <a:endParaRPr lang="zh-CN" altLang="en-US" sz="1600" b="1" dirty="0">
                <a:solidFill>
                  <a:schemeClr val="bg1"/>
                </a:solidFill>
                <a:latin typeface="+mj-lt"/>
                <a:ea typeface="方正兰亭粗黑简体" panose="02000000000000000000" pitchFamily="2" charset="-122"/>
                <a:cs typeface="Arial" panose="020B0604020202020204" pitchFamily="34" charset="0"/>
              </a:endParaRPr>
            </a:p>
          </p:txBody>
        </p:sp>
        <p:sp>
          <p:nvSpPr>
            <p:cNvPr id="227" name="TextBox 226"/>
            <p:cNvSpPr txBox="1"/>
            <p:nvPr/>
          </p:nvSpPr>
          <p:spPr>
            <a:xfrm>
              <a:off x="878968" y="4711146"/>
              <a:ext cx="2482315" cy="1384995"/>
            </a:xfrm>
            <a:prstGeom prst="rect">
              <a:avLst/>
            </a:prstGeom>
            <a:noFill/>
          </p:spPr>
          <p:txBody>
            <a:bodyPr wrap="square" rtlCol="0">
              <a:spAutoFit/>
            </a:bodyPr>
            <a:lstStyle/>
            <a:p>
              <a:pPr algn="ctr"/>
              <a:r>
                <a:rPr lang="zh-CN" altLang="en-US" sz="1600" dirty="0" smtClean="0">
                  <a:solidFill>
                    <a:schemeClr val="bg1"/>
                  </a:solidFill>
                </a:rPr>
                <a:t>Smart </a:t>
              </a:r>
              <a:r>
                <a:rPr lang="en-US" altLang="zh-CN" sz="1600" dirty="0" smtClean="0">
                  <a:solidFill>
                    <a:srgbClr val="00B050"/>
                  </a:solidFill>
                </a:rPr>
                <a:t>&amp;</a:t>
              </a:r>
              <a:r>
                <a:rPr lang="en-US" altLang="zh-CN" sz="1600" dirty="0" smtClean="0">
                  <a:solidFill>
                    <a:schemeClr val="bg1"/>
                  </a:solidFill>
                </a:rPr>
                <a:t> </a:t>
              </a:r>
              <a:r>
                <a:rPr lang="zh-CN" altLang="en-US" sz="1600" dirty="0" smtClean="0">
                  <a:solidFill>
                    <a:schemeClr val="bg1"/>
                  </a:solidFill>
                </a:rPr>
                <a:t>intelligent </a:t>
              </a:r>
              <a:r>
                <a:rPr lang="zh-CN" altLang="en-US" sz="1600" dirty="0" smtClean="0">
                  <a:solidFill>
                    <a:srgbClr val="00B050"/>
                  </a:solidFill>
                </a:rPr>
                <a:t>light</a:t>
              </a:r>
              <a:r>
                <a:rPr lang="en-US" altLang="zh-CN" sz="1600" dirty="0" smtClean="0">
                  <a:solidFill>
                    <a:srgbClr val="00B050"/>
                  </a:solidFill>
                </a:rPr>
                <a:t>-</a:t>
              </a:r>
              <a:r>
                <a:rPr lang="zh-CN" altLang="en-US" sz="1600" dirty="0" smtClean="0">
                  <a:solidFill>
                    <a:schemeClr val="bg1"/>
                  </a:solidFill>
                </a:rPr>
                <a:t>control policies reduce the energy consumption of city public lighting by </a:t>
              </a:r>
              <a:r>
                <a:rPr lang="en-US" altLang="zh-CN" sz="2000" b="1" dirty="0" smtClean="0">
                  <a:solidFill>
                    <a:srgbClr val="FFC000"/>
                  </a:solidFill>
                </a:rPr>
                <a:t>50%+</a:t>
              </a:r>
              <a:endParaRPr lang="zh-CN" altLang="en-US" sz="2000" b="1" dirty="0">
                <a:solidFill>
                  <a:srgbClr val="FFC000"/>
                </a:solidFill>
              </a:endParaRPr>
            </a:p>
          </p:txBody>
        </p:sp>
      </p:grpSp>
      <p:grpSp>
        <p:nvGrpSpPr>
          <p:cNvPr id="3" name="组合 31"/>
          <p:cNvGrpSpPr/>
          <p:nvPr/>
        </p:nvGrpSpPr>
        <p:grpSpPr>
          <a:xfrm>
            <a:off x="3411993" y="4437906"/>
            <a:ext cx="2484411" cy="1512032"/>
            <a:chOff x="3867435" y="4653930"/>
            <a:chExt cx="2484411" cy="1512032"/>
          </a:xfrm>
        </p:grpSpPr>
        <p:sp>
          <p:nvSpPr>
            <p:cNvPr id="217" name="Freeform 228"/>
            <p:cNvSpPr>
              <a:spLocks/>
            </p:cNvSpPr>
            <p:nvPr/>
          </p:nvSpPr>
          <p:spPr bwMode="auto">
            <a:xfrm>
              <a:off x="3867435" y="4653930"/>
              <a:ext cx="2482315" cy="1512032"/>
            </a:xfrm>
            <a:custGeom>
              <a:avLst/>
              <a:gdLst>
                <a:gd name="T0" fmla="*/ 1311 w 1311"/>
                <a:gd name="T1" fmla="*/ 0 h 619"/>
                <a:gd name="T2" fmla="*/ 1311 w 1311"/>
                <a:gd name="T3" fmla="*/ 0 h 619"/>
                <a:gd name="T4" fmla="*/ 1311 w 1311"/>
                <a:gd name="T5" fmla="*/ 0 h 619"/>
                <a:gd name="T6" fmla="*/ 1306 w 1311"/>
                <a:gd name="T7" fmla="*/ 0 h 619"/>
                <a:gd name="T8" fmla="*/ 1306 w 1311"/>
                <a:gd name="T9" fmla="*/ 0 h 619"/>
                <a:gd name="T10" fmla="*/ 857 w 1311"/>
                <a:gd name="T11" fmla="*/ 0 h 619"/>
                <a:gd name="T12" fmla="*/ 810 w 1311"/>
                <a:gd name="T13" fmla="*/ 0 h 619"/>
                <a:gd name="T14" fmla="*/ 784 w 1311"/>
                <a:gd name="T15" fmla="*/ 0 h 619"/>
                <a:gd name="T16" fmla="*/ 755 w 1311"/>
                <a:gd name="T17" fmla="*/ 14 h 619"/>
                <a:gd name="T18" fmla="*/ 685 w 1311"/>
                <a:gd name="T19" fmla="*/ 14 h 619"/>
                <a:gd name="T20" fmla="*/ 592 w 1311"/>
                <a:gd name="T21" fmla="*/ 14 h 619"/>
                <a:gd name="T22" fmla="*/ 522 w 1311"/>
                <a:gd name="T23" fmla="*/ 14 h 619"/>
                <a:gd name="T24" fmla="*/ 493 w 1311"/>
                <a:gd name="T25" fmla="*/ 0 h 619"/>
                <a:gd name="T26" fmla="*/ 467 w 1311"/>
                <a:gd name="T27" fmla="*/ 0 h 619"/>
                <a:gd name="T28" fmla="*/ 420 w 1311"/>
                <a:gd name="T29" fmla="*/ 0 h 619"/>
                <a:gd name="T30" fmla="*/ 4 w 1311"/>
                <a:gd name="T31" fmla="*/ 0 h 619"/>
                <a:gd name="T32" fmla="*/ 4 w 1311"/>
                <a:gd name="T33" fmla="*/ 0 h 619"/>
                <a:gd name="T34" fmla="*/ 0 w 1311"/>
                <a:gd name="T35" fmla="*/ 0 h 619"/>
                <a:gd name="T36" fmla="*/ 0 w 1311"/>
                <a:gd name="T37" fmla="*/ 0 h 619"/>
                <a:gd name="T38" fmla="*/ 0 w 1311"/>
                <a:gd name="T39" fmla="*/ 0 h 619"/>
                <a:gd name="T40" fmla="*/ 0 w 1311"/>
                <a:gd name="T41" fmla="*/ 5 h 619"/>
                <a:gd name="T42" fmla="*/ 0 w 1311"/>
                <a:gd name="T43" fmla="*/ 5 h 619"/>
                <a:gd name="T44" fmla="*/ 0 w 1311"/>
                <a:gd name="T45" fmla="*/ 135 h 619"/>
                <a:gd name="T46" fmla="*/ 0 w 1311"/>
                <a:gd name="T47" fmla="*/ 135 h 619"/>
                <a:gd name="T48" fmla="*/ 0 w 1311"/>
                <a:gd name="T49" fmla="*/ 151 h 619"/>
                <a:gd name="T50" fmla="*/ 14 w 1311"/>
                <a:gd name="T51" fmla="*/ 180 h 619"/>
                <a:gd name="T52" fmla="*/ 14 w 1311"/>
                <a:gd name="T53" fmla="*/ 253 h 619"/>
                <a:gd name="T54" fmla="*/ 14 w 1311"/>
                <a:gd name="T55" fmla="*/ 322 h 619"/>
                <a:gd name="T56" fmla="*/ 14 w 1311"/>
                <a:gd name="T57" fmla="*/ 459 h 619"/>
                <a:gd name="T58" fmla="*/ 0 w 1311"/>
                <a:gd name="T59" fmla="*/ 487 h 619"/>
                <a:gd name="T60" fmla="*/ 0 w 1311"/>
                <a:gd name="T61" fmla="*/ 558 h 619"/>
                <a:gd name="T62" fmla="*/ 0 w 1311"/>
                <a:gd name="T63" fmla="*/ 558 h 619"/>
                <a:gd name="T64" fmla="*/ 0 w 1311"/>
                <a:gd name="T65" fmla="*/ 612 h 619"/>
                <a:gd name="T66" fmla="*/ 0 w 1311"/>
                <a:gd name="T67" fmla="*/ 619 h 619"/>
                <a:gd name="T68" fmla="*/ 4 w 1311"/>
                <a:gd name="T69" fmla="*/ 619 h 619"/>
                <a:gd name="T70" fmla="*/ 420 w 1311"/>
                <a:gd name="T71" fmla="*/ 619 h 619"/>
                <a:gd name="T72" fmla="*/ 467 w 1311"/>
                <a:gd name="T73" fmla="*/ 619 h 619"/>
                <a:gd name="T74" fmla="*/ 493 w 1311"/>
                <a:gd name="T75" fmla="*/ 619 h 619"/>
                <a:gd name="T76" fmla="*/ 522 w 1311"/>
                <a:gd name="T77" fmla="*/ 605 h 619"/>
                <a:gd name="T78" fmla="*/ 592 w 1311"/>
                <a:gd name="T79" fmla="*/ 605 h 619"/>
                <a:gd name="T80" fmla="*/ 685 w 1311"/>
                <a:gd name="T81" fmla="*/ 605 h 619"/>
                <a:gd name="T82" fmla="*/ 755 w 1311"/>
                <a:gd name="T83" fmla="*/ 605 h 619"/>
                <a:gd name="T84" fmla="*/ 784 w 1311"/>
                <a:gd name="T85" fmla="*/ 619 h 619"/>
                <a:gd name="T86" fmla="*/ 810 w 1311"/>
                <a:gd name="T87" fmla="*/ 619 h 619"/>
                <a:gd name="T88" fmla="*/ 857 w 1311"/>
                <a:gd name="T89" fmla="*/ 619 h 619"/>
                <a:gd name="T90" fmla="*/ 1306 w 1311"/>
                <a:gd name="T91" fmla="*/ 619 h 619"/>
                <a:gd name="T92" fmla="*/ 1311 w 1311"/>
                <a:gd name="T93" fmla="*/ 619 h 619"/>
                <a:gd name="T94" fmla="*/ 1311 w 1311"/>
                <a:gd name="T95" fmla="*/ 612 h 619"/>
                <a:gd name="T96" fmla="*/ 1311 w 1311"/>
                <a:gd name="T97" fmla="*/ 558 h 619"/>
                <a:gd name="T98" fmla="*/ 1311 w 1311"/>
                <a:gd name="T99" fmla="*/ 558 h 619"/>
                <a:gd name="T100" fmla="*/ 1311 w 1311"/>
                <a:gd name="T101" fmla="*/ 487 h 619"/>
                <a:gd name="T102" fmla="*/ 1296 w 1311"/>
                <a:gd name="T103" fmla="*/ 459 h 619"/>
                <a:gd name="T104" fmla="*/ 1296 w 1311"/>
                <a:gd name="T105" fmla="*/ 322 h 619"/>
                <a:gd name="T106" fmla="*/ 1296 w 1311"/>
                <a:gd name="T107" fmla="*/ 253 h 619"/>
                <a:gd name="T108" fmla="*/ 1296 w 1311"/>
                <a:gd name="T109" fmla="*/ 180 h 619"/>
                <a:gd name="T110" fmla="*/ 1311 w 1311"/>
                <a:gd name="T111" fmla="*/ 151 h 619"/>
                <a:gd name="T112" fmla="*/ 1311 w 1311"/>
                <a:gd name="T113" fmla="*/ 135 h 619"/>
                <a:gd name="T114" fmla="*/ 1311 w 1311"/>
                <a:gd name="T115" fmla="*/ 135 h 619"/>
                <a:gd name="T116" fmla="*/ 1311 w 1311"/>
                <a:gd name="T117" fmla="*/ 5 h 619"/>
                <a:gd name="T118" fmla="*/ 1311 w 1311"/>
                <a:gd name="T119" fmla="*/ 5 h 619"/>
                <a:gd name="T120" fmla="*/ 1311 w 1311"/>
                <a:gd name="T1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1" h="619">
                  <a:moveTo>
                    <a:pt x="1311" y="0"/>
                  </a:moveTo>
                  <a:lnTo>
                    <a:pt x="1311" y="0"/>
                  </a:lnTo>
                  <a:lnTo>
                    <a:pt x="1311" y="0"/>
                  </a:lnTo>
                  <a:lnTo>
                    <a:pt x="1306" y="0"/>
                  </a:lnTo>
                  <a:lnTo>
                    <a:pt x="1306" y="0"/>
                  </a:lnTo>
                  <a:lnTo>
                    <a:pt x="857" y="0"/>
                  </a:lnTo>
                  <a:lnTo>
                    <a:pt x="810" y="0"/>
                  </a:lnTo>
                  <a:lnTo>
                    <a:pt x="784" y="0"/>
                  </a:lnTo>
                  <a:lnTo>
                    <a:pt x="755" y="14"/>
                  </a:lnTo>
                  <a:lnTo>
                    <a:pt x="685" y="14"/>
                  </a:lnTo>
                  <a:lnTo>
                    <a:pt x="592" y="14"/>
                  </a:lnTo>
                  <a:lnTo>
                    <a:pt x="522" y="14"/>
                  </a:lnTo>
                  <a:lnTo>
                    <a:pt x="493" y="0"/>
                  </a:lnTo>
                  <a:lnTo>
                    <a:pt x="467" y="0"/>
                  </a:lnTo>
                  <a:lnTo>
                    <a:pt x="420" y="0"/>
                  </a:lnTo>
                  <a:lnTo>
                    <a:pt x="4" y="0"/>
                  </a:lnTo>
                  <a:lnTo>
                    <a:pt x="4" y="0"/>
                  </a:lnTo>
                  <a:lnTo>
                    <a:pt x="0" y="0"/>
                  </a:lnTo>
                  <a:lnTo>
                    <a:pt x="0" y="0"/>
                  </a:lnTo>
                  <a:lnTo>
                    <a:pt x="0" y="0"/>
                  </a:lnTo>
                  <a:lnTo>
                    <a:pt x="0" y="5"/>
                  </a:lnTo>
                  <a:lnTo>
                    <a:pt x="0" y="5"/>
                  </a:lnTo>
                  <a:lnTo>
                    <a:pt x="0" y="135"/>
                  </a:lnTo>
                  <a:lnTo>
                    <a:pt x="0" y="135"/>
                  </a:lnTo>
                  <a:lnTo>
                    <a:pt x="0" y="151"/>
                  </a:lnTo>
                  <a:lnTo>
                    <a:pt x="14" y="180"/>
                  </a:lnTo>
                  <a:lnTo>
                    <a:pt x="14" y="253"/>
                  </a:lnTo>
                  <a:lnTo>
                    <a:pt x="14" y="322"/>
                  </a:lnTo>
                  <a:lnTo>
                    <a:pt x="14" y="459"/>
                  </a:lnTo>
                  <a:lnTo>
                    <a:pt x="0" y="487"/>
                  </a:lnTo>
                  <a:lnTo>
                    <a:pt x="0" y="558"/>
                  </a:lnTo>
                  <a:lnTo>
                    <a:pt x="0" y="558"/>
                  </a:lnTo>
                  <a:lnTo>
                    <a:pt x="0" y="612"/>
                  </a:lnTo>
                  <a:lnTo>
                    <a:pt x="0" y="619"/>
                  </a:lnTo>
                  <a:lnTo>
                    <a:pt x="4" y="619"/>
                  </a:lnTo>
                  <a:lnTo>
                    <a:pt x="420" y="619"/>
                  </a:lnTo>
                  <a:lnTo>
                    <a:pt x="467" y="619"/>
                  </a:lnTo>
                  <a:lnTo>
                    <a:pt x="493" y="619"/>
                  </a:lnTo>
                  <a:lnTo>
                    <a:pt x="522" y="605"/>
                  </a:lnTo>
                  <a:lnTo>
                    <a:pt x="592" y="605"/>
                  </a:lnTo>
                  <a:lnTo>
                    <a:pt x="685" y="605"/>
                  </a:lnTo>
                  <a:lnTo>
                    <a:pt x="755" y="605"/>
                  </a:lnTo>
                  <a:lnTo>
                    <a:pt x="784" y="619"/>
                  </a:lnTo>
                  <a:lnTo>
                    <a:pt x="810" y="619"/>
                  </a:lnTo>
                  <a:lnTo>
                    <a:pt x="857" y="619"/>
                  </a:lnTo>
                  <a:lnTo>
                    <a:pt x="1306" y="619"/>
                  </a:lnTo>
                  <a:lnTo>
                    <a:pt x="1311" y="619"/>
                  </a:lnTo>
                  <a:lnTo>
                    <a:pt x="1311" y="612"/>
                  </a:lnTo>
                  <a:lnTo>
                    <a:pt x="1311" y="558"/>
                  </a:lnTo>
                  <a:lnTo>
                    <a:pt x="1311" y="558"/>
                  </a:lnTo>
                  <a:lnTo>
                    <a:pt x="1311" y="487"/>
                  </a:lnTo>
                  <a:lnTo>
                    <a:pt x="1296" y="459"/>
                  </a:lnTo>
                  <a:lnTo>
                    <a:pt x="1296" y="322"/>
                  </a:lnTo>
                  <a:lnTo>
                    <a:pt x="1296" y="253"/>
                  </a:lnTo>
                  <a:lnTo>
                    <a:pt x="1296" y="180"/>
                  </a:lnTo>
                  <a:lnTo>
                    <a:pt x="1311" y="151"/>
                  </a:lnTo>
                  <a:lnTo>
                    <a:pt x="1311" y="135"/>
                  </a:lnTo>
                  <a:lnTo>
                    <a:pt x="1311" y="135"/>
                  </a:lnTo>
                  <a:lnTo>
                    <a:pt x="1311" y="5"/>
                  </a:lnTo>
                  <a:lnTo>
                    <a:pt x="1311" y="5"/>
                  </a:lnTo>
                  <a:lnTo>
                    <a:pt x="1311" y="0"/>
                  </a:lnTo>
                  <a:close/>
                </a:path>
              </a:pathLst>
            </a:custGeom>
            <a:gradFill flip="none" rotWithShape="1">
              <a:gsLst>
                <a:gs pos="0">
                  <a:srgbClr val="00B0F0">
                    <a:alpha val="13000"/>
                  </a:srgbClr>
                </a:gs>
                <a:gs pos="100000">
                  <a:srgbClr val="122C4F">
                    <a:alpha val="0"/>
                  </a:srgbClr>
                </a:gs>
              </a:gsLst>
              <a:lin ang="1800000" scaled="0"/>
              <a:tileRect/>
            </a:gra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anchor="ctr"/>
            <a:lstStyle/>
            <a:p>
              <a:pPr algn="ctr" fontAlgn="ctr">
                <a:spcBef>
                  <a:spcPct val="20000"/>
                </a:spcBef>
                <a:buClr>
                  <a:schemeClr val="bg1"/>
                </a:buClr>
                <a:buSzPct val="60000"/>
                <a:defRPr/>
              </a:pPr>
              <a:endParaRPr lang="zh-CN" altLang="en-US" sz="1600" b="1" dirty="0">
                <a:solidFill>
                  <a:schemeClr val="bg1"/>
                </a:solidFill>
                <a:latin typeface="+mj-lt"/>
                <a:ea typeface="方正兰亭粗黑简体" panose="02000000000000000000" pitchFamily="2" charset="-122"/>
                <a:cs typeface="Arial" panose="020B0604020202020204" pitchFamily="34" charset="0"/>
              </a:endParaRPr>
            </a:p>
          </p:txBody>
        </p:sp>
        <p:sp>
          <p:nvSpPr>
            <p:cNvPr id="228" name="TextBox 227"/>
            <p:cNvSpPr txBox="1"/>
            <p:nvPr/>
          </p:nvSpPr>
          <p:spPr>
            <a:xfrm>
              <a:off x="3867435" y="4711146"/>
              <a:ext cx="2484411" cy="1200329"/>
            </a:xfrm>
            <a:prstGeom prst="rect">
              <a:avLst/>
            </a:prstGeom>
            <a:noFill/>
          </p:spPr>
          <p:txBody>
            <a:bodyPr wrap="square" rtlCol="0">
              <a:spAutoFit/>
            </a:bodyPr>
            <a:lstStyle/>
            <a:p>
              <a:pPr algn="ctr"/>
              <a:r>
                <a:rPr lang="zh-CN" altLang="en-US" sz="1600" dirty="0" smtClean="0">
                  <a:solidFill>
                    <a:schemeClr val="bg1"/>
                  </a:solidFill>
                </a:rPr>
                <a:t>Visualized and real-time street lamp management makes </a:t>
              </a:r>
              <a:r>
                <a:rPr lang="en-US" altLang="zh-CN" sz="1600" dirty="0" smtClean="0">
                  <a:solidFill>
                    <a:schemeClr val="bg1"/>
                  </a:solidFill>
                </a:rPr>
                <a:t>smart </a:t>
              </a:r>
              <a:r>
                <a:rPr lang="zh-CN" altLang="en-US" sz="1600" dirty="0" smtClean="0">
                  <a:solidFill>
                    <a:schemeClr val="bg1"/>
                  </a:solidFill>
                </a:rPr>
                <a:t>lighting</a:t>
              </a:r>
              <a:r>
                <a:rPr lang="zh-CN" altLang="en-US" sz="2000" b="1" dirty="0" smtClean="0">
                  <a:solidFill>
                    <a:srgbClr val="FFC000"/>
                  </a:solidFill>
                </a:rPr>
                <a:t> </a:t>
              </a:r>
              <a:r>
                <a:rPr lang="en-US" altLang="zh-CN" sz="2000" b="1" dirty="0" smtClean="0">
                  <a:solidFill>
                    <a:srgbClr val="FFC000"/>
                  </a:solidFill>
                </a:rPr>
                <a:t/>
              </a:r>
              <a:br>
                <a:rPr lang="en-US" altLang="zh-CN" sz="2000" b="1" dirty="0" smtClean="0">
                  <a:solidFill>
                    <a:srgbClr val="FFC000"/>
                  </a:solidFill>
                </a:rPr>
              </a:br>
              <a:r>
                <a:rPr lang="en-US" altLang="zh-CN" sz="2000" b="1" dirty="0" smtClean="0">
                  <a:solidFill>
                    <a:srgbClr val="FFC000"/>
                  </a:solidFill>
                </a:rPr>
                <a:t>clear and efficient</a:t>
              </a:r>
              <a:endParaRPr lang="zh-CN" altLang="en-US" sz="2000" b="1" dirty="0">
                <a:solidFill>
                  <a:srgbClr val="FFC000"/>
                </a:solidFill>
              </a:endParaRPr>
            </a:p>
          </p:txBody>
        </p:sp>
      </p:grpSp>
      <p:grpSp>
        <p:nvGrpSpPr>
          <p:cNvPr id="4" name="组合 33"/>
          <p:cNvGrpSpPr/>
          <p:nvPr/>
        </p:nvGrpSpPr>
        <p:grpSpPr>
          <a:xfrm>
            <a:off x="9193931" y="4437906"/>
            <a:ext cx="2482315" cy="1512032"/>
            <a:chOff x="9087880" y="4653930"/>
            <a:chExt cx="2482315" cy="1512032"/>
          </a:xfrm>
        </p:grpSpPr>
        <p:sp>
          <p:nvSpPr>
            <p:cNvPr id="220" name="Freeform 228"/>
            <p:cNvSpPr>
              <a:spLocks/>
            </p:cNvSpPr>
            <p:nvPr/>
          </p:nvSpPr>
          <p:spPr bwMode="auto">
            <a:xfrm>
              <a:off x="9087880" y="4653930"/>
              <a:ext cx="2482315" cy="1512032"/>
            </a:xfrm>
            <a:custGeom>
              <a:avLst/>
              <a:gdLst>
                <a:gd name="T0" fmla="*/ 1311 w 1311"/>
                <a:gd name="T1" fmla="*/ 0 h 619"/>
                <a:gd name="T2" fmla="*/ 1311 w 1311"/>
                <a:gd name="T3" fmla="*/ 0 h 619"/>
                <a:gd name="T4" fmla="*/ 1311 w 1311"/>
                <a:gd name="T5" fmla="*/ 0 h 619"/>
                <a:gd name="T6" fmla="*/ 1306 w 1311"/>
                <a:gd name="T7" fmla="*/ 0 h 619"/>
                <a:gd name="T8" fmla="*/ 1306 w 1311"/>
                <a:gd name="T9" fmla="*/ 0 h 619"/>
                <a:gd name="T10" fmla="*/ 857 w 1311"/>
                <a:gd name="T11" fmla="*/ 0 h 619"/>
                <a:gd name="T12" fmla="*/ 810 w 1311"/>
                <a:gd name="T13" fmla="*/ 0 h 619"/>
                <a:gd name="T14" fmla="*/ 784 w 1311"/>
                <a:gd name="T15" fmla="*/ 0 h 619"/>
                <a:gd name="T16" fmla="*/ 755 w 1311"/>
                <a:gd name="T17" fmla="*/ 14 h 619"/>
                <a:gd name="T18" fmla="*/ 685 w 1311"/>
                <a:gd name="T19" fmla="*/ 14 h 619"/>
                <a:gd name="T20" fmla="*/ 592 w 1311"/>
                <a:gd name="T21" fmla="*/ 14 h 619"/>
                <a:gd name="T22" fmla="*/ 522 w 1311"/>
                <a:gd name="T23" fmla="*/ 14 h 619"/>
                <a:gd name="T24" fmla="*/ 493 w 1311"/>
                <a:gd name="T25" fmla="*/ 0 h 619"/>
                <a:gd name="T26" fmla="*/ 467 w 1311"/>
                <a:gd name="T27" fmla="*/ 0 h 619"/>
                <a:gd name="T28" fmla="*/ 420 w 1311"/>
                <a:gd name="T29" fmla="*/ 0 h 619"/>
                <a:gd name="T30" fmla="*/ 4 w 1311"/>
                <a:gd name="T31" fmla="*/ 0 h 619"/>
                <a:gd name="T32" fmla="*/ 4 w 1311"/>
                <a:gd name="T33" fmla="*/ 0 h 619"/>
                <a:gd name="T34" fmla="*/ 0 w 1311"/>
                <a:gd name="T35" fmla="*/ 0 h 619"/>
                <a:gd name="T36" fmla="*/ 0 w 1311"/>
                <a:gd name="T37" fmla="*/ 0 h 619"/>
                <a:gd name="T38" fmla="*/ 0 w 1311"/>
                <a:gd name="T39" fmla="*/ 0 h 619"/>
                <a:gd name="T40" fmla="*/ 0 w 1311"/>
                <a:gd name="T41" fmla="*/ 5 h 619"/>
                <a:gd name="T42" fmla="*/ 0 w 1311"/>
                <a:gd name="T43" fmla="*/ 5 h 619"/>
                <a:gd name="T44" fmla="*/ 0 w 1311"/>
                <a:gd name="T45" fmla="*/ 135 h 619"/>
                <a:gd name="T46" fmla="*/ 0 w 1311"/>
                <a:gd name="T47" fmla="*/ 135 h 619"/>
                <a:gd name="T48" fmla="*/ 0 w 1311"/>
                <a:gd name="T49" fmla="*/ 151 h 619"/>
                <a:gd name="T50" fmla="*/ 14 w 1311"/>
                <a:gd name="T51" fmla="*/ 180 h 619"/>
                <a:gd name="T52" fmla="*/ 14 w 1311"/>
                <a:gd name="T53" fmla="*/ 253 h 619"/>
                <a:gd name="T54" fmla="*/ 14 w 1311"/>
                <a:gd name="T55" fmla="*/ 322 h 619"/>
                <a:gd name="T56" fmla="*/ 14 w 1311"/>
                <a:gd name="T57" fmla="*/ 459 h 619"/>
                <a:gd name="T58" fmla="*/ 0 w 1311"/>
                <a:gd name="T59" fmla="*/ 487 h 619"/>
                <a:gd name="T60" fmla="*/ 0 w 1311"/>
                <a:gd name="T61" fmla="*/ 558 h 619"/>
                <a:gd name="T62" fmla="*/ 0 w 1311"/>
                <a:gd name="T63" fmla="*/ 558 h 619"/>
                <a:gd name="T64" fmla="*/ 0 w 1311"/>
                <a:gd name="T65" fmla="*/ 612 h 619"/>
                <a:gd name="T66" fmla="*/ 0 w 1311"/>
                <a:gd name="T67" fmla="*/ 619 h 619"/>
                <a:gd name="T68" fmla="*/ 4 w 1311"/>
                <a:gd name="T69" fmla="*/ 619 h 619"/>
                <a:gd name="T70" fmla="*/ 420 w 1311"/>
                <a:gd name="T71" fmla="*/ 619 h 619"/>
                <a:gd name="T72" fmla="*/ 467 w 1311"/>
                <a:gd name="T73" fmla="*/ 619 h 619"/>
                <a:gd name="T74" fmla="*/ 493 w 1311"/>
                <a:gd name="T75" fmla="*/ 619 h 619"/>
                <a:gd name="T76" fmla="*/ 522 w 1311"/>
                <a:gd name="T77" fmla="*/ 605 h 619"/>
                <a:gd name="T78" fmla="*/ 592 w 1311"/>
                <a:gd name="T79" fmla="*/ 605 h 619"/>
                <a:gd name="T80" fmla="*/ 685 w 1311"/>
                <a:gd name="T81" fmla="*/ 605 h 619"/>
                <a:gd name="T82" fmla="*/ 755 w 1311"/>
                <a:gd name="T83" fmla="*/ 605 h 619"/>
                <a:gd name="T84" fmla="*/ 784 w 1311"/>
                <a:gd name="T85" fmla="*/ 619 h 619"/>
                <a:gd name="T86" fmla="*/ 810 w 1311"/>
                <a:gd name="T87" fmla="*/ 619 h 619"/>
                <a:gd name="T88" fmla="*/ 857 w 1311"/>
                <a:gd name="T89" fmla="*/ 619 h 619"/>
                <a:gd name="T90" fmla="*/ 1306 w 1311"/>
                <a:gd name="T91" fmla="*/ 619 h 619"/>
                <a:gd name="T92" fmla="*/ 1311 w 1311"/>
                <a:gd name="T93" fmla="*/ 619 h 619"/>
                <a:gd name="T94" fmla="*/ 1311 w 1311"/>
                <a:gd name="T95" fmla="*/ 612 h 619"/>
                <a:gd name="T96" fmla="*/ 1311 w 1311"/>
                <a:gd name="T97" fmla="*/ 558 h 619"/>
                <a:gd name="T98" fmla="*/ 1311 w 1311"/>
                <a:gd name="T99" fmla="*/ 558 h 619"/>
                <a:gd name="T100" fmla="*/ 1311 w 1311"/>
                <a:gd name="T101" fmla="*/ 487 h 619"/>
                <a:gd name="T102" fmla="*/ 1296 w 1311"/>
                <a:gd name="T103" fmla="*/ 459 h 619"/>
                <a:gd name="T104" fmla="*/ 1296 w 1311"/>
                <a:gd name="T105" fmla="*/ 322 h 619"/>
                <a:gd name="T106" fmla="*/ 1296 w 1311"/>
                <a:gd name="T107" fmla="*/ 253 h 619"/>
                <a:gd name="T108" fmla="*/ 1296 w 1311"/>
                <a:gd name="T109" fmla="*/ 180 h 619"/>
                <a:gd name="T110" fmla="*/ 1311 w 1311"/>
                <a:gd name="T111" fmla="*/ 151 h 619"/>
                <a:gd name="T112" fmla="*/ 1311 w 1311"/>
                <a:gd name="T113" fmla="*/ 135 h 619"/>
                <a:gd name="T114" fmla="*/ 1311 w 1311"/>
                <a:gd name="T115" fmla="*/ 135 h 619"/>
                <a:gd name="T116" fmla="*/ 1311 w 1311"/>
                <a:gd name="T117" fmla="*/ 5 h 619"/>
                <a:gd name="T118" fmla="*/ 1311 w 1311"/>
                <a:gd name="T119" fmla="*/ 5 h 619"/>
                <a:gd name="T120" fmla="*/ 1311 w 1311"/>
                <a:gd name="T1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1" h="619">
                  <a:moveTo>
                    <a:pt x="1311" y="0"/>
                  </a:moveTo>
                  <a:lnTo>
                    <a:pt x="1311" y="0"/>
                  </a:lnTo>
                  <a:lnTo>
                    <a:pt x="1311" y="0"/>
                  </a:lnTo>
                  <a:lnTo>
                    <a:pt x="1306" y="0"/>
                  </a:lnTo>
                  <a:lnTo>
                    <a:pt x="1306" y="0"/>
                  </a:lnTo>
                  <a:lnTo>
                    <a:pt x="857" y="0"/>
                  </a:lnTo>
                  <a:lnTo>
                    <a:pt x="810" y="0"/>
                  </a:lnTo>
                  <a:lnTo>
                    <a:pt x="784" y="0"/>
                  </a:lnTo>
                  <a:lnTo>
                    <a:pt x="755" y="14"/>
                  </a:lnTo>
                  <a:lnTo>
                    <a:pt x="685" y="14"/>
                  </a:lnTo>
                  <a:lnTo>
                    <a:pt x="592" y="14"/>
                  </a:lnTo>
                  <a:lnTo>
                    <a:pt x="522" y="14"/>
                  </a:lnTo>
                  <a:lnTo>
                    <a:pt x="493" y="0"/>
                  </a:lnTo>
                  <a:lnTo>
                    <a:pt x="467" y="0"/>
                  </a:lnTo>
                  <a:lnTo>
                    <a:pt x="420" y="0"/>
                  </a:lnTo>
                  <a:lnTo>
                    <a:pt x="4" y="0"/>
                  </a:lnTo>
                  <a:lnTo>
                    <a:pt x="4" y="0"/>
                  </a:lnTo>
                  <a:lnTo>
                    <a:pt x="0" y="0"/>
                  </a:lnTo>
                  <a:lnTo>
                    <a:pt x="0" y="0"/>
                  </a:lnTo>
                  <a:lnTo>
                    <a:pt x="0" y="0"/>
                  </a:lnTo>
                  <a:lnTo>
                    <a:pt x="0" y="5"/>
                  </a:lnTo>
                  <a:lnTo>
                    <a:pt x="0" y="5"/>
                  </a:lnTo>
                  <a:lnTo>
                    <a:pt x="0" y="135"/>
                  </a:lnTo>
                  <a:lnTo>
                    <a:pt x="0" y="135"/>
                  </a:lnTo>
                  <a:lnTo>
                    <a:pt x="0" y="151"/>
                  </a:lnTo>
                  <a:lnTo>
                    <a:pt x="14" y="180"/>
                  </a:lnTo>
                  <a:lnTo>
                    <a:pt x="14" y="253"/>
                  </a:lnTo>
                  <a:lnTo>
                    <a:pt x="14" y="322"/>
                  </a:lnTo>
                  <a:lnTo>
                    <a:pt x="14" y="459"/>
                  </a:lnTo>
                  <a:lnTo>
                    <a:pt x="0" y="487"/>
                  </a:lnTo>
                  <a:lnTo>
                    <a:pt x="0" y="558"/>
                  </a:lnTo>
                  <a:lnTo>
                    <a:pt x="0" y="558"/>
                  </a:lnTo>
                  <a:lnTo>
                    <a:pt x="0" y="612"/>
                  </a:lnTo>
                  <a:lnTo>
                    <a:pt x="0" y="619"/>
                  </a:lnTo>
                  <a:lnTo>
                    <a:pt x="4" y="619"/>
                  </a:lnTo>
                  <a:lnTo>
                    <a:pt x="420" y="619"/>
                  </a:lnTo>
                  <a:lnTo>
                    <a:pt x="467" y="619"/>
                  </a:lnTo>
                  <a:lnTo>
                    <a:pt x="493" y="619"/>
                  </a:lnTo>
                  <a:lnTo>
                    <a:pt x="522" y="605"/>
                  </a:lnTo>
                  <a:lnTo>
                    <a:pt x="592" y="605"/>
                  </a:lnTo>
                  <a:lnTo>
                    <a:pt x="685" y="605"/>
                  </a:lnTo>
                  <a:lnTo>
                    <a:pt x="755" y="605"/>
                  </a:lnTo>
                  <a:lnTo>
                    <a:pt x="784" y="619"/>
                  </a:lnTo>
                  <a:lnTo>
                    <a:pt x="810" y="619"/>
                  </a:lnTo>
                  <a:lnTo>
                    <a:pt x="857" y="619"/>
                  </a:lnTo>
                  <a:lnTo>
                    <a:pt x="1306" y="619"/>
                  </a:lnTo>
                  <a:lnTo>
                    <a:pt x="1311" y="619"/>
                  </a:lnTo>
                  <a:lnTo>
                    <a:pt x="1311" y="612"/>
                  </a:lnTo>
                  <a:lnTo>
                    <a:pt x="1311" y="558"/>
                  </a:lnTo>
                  <a:lnTo>
                    <a:pt x="1311" y="558"/>
                  </a:lnTo>
                  <a:lnTo>
                    <a:pt x="1311" y="487"/>
                  </a:lnTo>
                  <a:lnTo>
                    <a:pt x="1296" y="459"/>
                  </a:lnTo>
                  <a:lnTo>
                    <a:pt x="1296" y="322"/>
                  </a:lnTo>
                  <a:lnTo>
                    <a:pt x="1296" y="253"/>
                  </a:lnTo>
                  <a:lnTo>
                    <a:pt x="1296" y="180"/>
                  </a:lnTo>
                  <a:lnTo>
                    <a:pt x="1311" y="151"/>
                  </a:lnTo>
                  <a:lnTo>
                    <a:pt x="1311" y="135"/>
                  </a:lnTo>
                  <a:lnTo>
                    <a:pt x="1311" y="135"/>
                  </a:lnTo>
                  <a:lnTo>
                    <a:pt x="1311" y="5"/>
                  </a:lnTo>
                  <a:lnTo>
                    <a:pt x="1311" y="5"/>
                  </a:lnTo>
                  <a:lnTo>
                    <a:pt x="1311" y="0"/>
                  </a:lnTo>
                  <a:close/>
                </a:path>
              </a:pathLst>
            </a:custGeom>
            <a:gradFill flip="none" rotWithShape="1">
              <a:gsLst>
                <a:gs pos="0">
                  <a:srgbClr val="00B0F0">
                    <a:alpha val="13000"/>
                  </a:srgbClr>
                </a:gs>
                <a:gs pos="100000">
                  <a:srgbClr val="122C4F">
                    <a:alpha val="0"/>
                  </a:srgbClr>
                </a:gs>
              </a:gsLst>
              <a:lin ang="1800000" scaled="0"/>
              <a:tileRect/>
            </a:gra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anchor="ctr"/>
            <a:lstStyle/>
            <a:p>
              <a:pPr algn="ctr" fontAlgn="ctr">
                <a:spcBef>
                  <a:spcPct val="20000"/>
                </a:spcBef>
                <a:buClr>
                  <a:schemeClr val="bg1"/>
                </a:buClr>
                <a:buSzPct val="60000"/>
                <a:defRPr/>
              </a:pPr>
              <a:endParaRPr lang="zh-CN" altLang="en-US" sz="1600" b="1" dirty="0">
                <a:solidFill>
                  <a:schemeClr val="bg1"/>
                </a:solidFill>
                <a:latin typeface="+mj-lt"/>
                <a:ea typeface="方正兰亭粗黑简体" panose="02000000000000000000" pitchFamily="2" charset="-122"/>
                <a:cs typeface="Arial" panose="020B0604020202020204" pitchFamily="34" charset="0"/>
              </a:endParaRPr>
            </a:p>
          </p:txBody>
        </p:sp>
        <p:sp>
          <p:nvSpPr>
            <p:cNvPr id="229" name="TextBox 228"/>
            <p:cNvSpPr txBox="1"/>
            <p:nvPr/>
          </p:nvSpPr>
          <p:spPr>
            <a:xfrm>
              <a:off x="9087880" y="4725938"/>
              <a:ext cx="2482315" cy="1261884"/>
            </a:xfrm>
            <a:prstGeom prst="rect">
              <a:avLst/>
            </a:prstGeom>
            <a:noFill/>
          </p:spPr>
          <p:txBody>
            <a:bodyPr wrap="square" rtlCol="0">
              <a:spAutoFit/>
            </a:bodyPr>
            <a:lstStyle/>
            <a:p>
              <a:pPr algn="ctr"/>
              <a:r>
                <a:rPr lang="zh-CN" altLang="en-US" sz="1600" dirty="0" smtClean="0">
                  <a:solidFill>
                    <a:schemeClr val="bg1"/>
                  </a:solidFill>
                </a:rPr>
                <a:t>Data mining and big data analysis help city leaders</a:t>
              </a:r>
              <a:r>
                <a:rPr lang="zh-CN" altLang="en-US" sz="2000" b="1" dirty="0" smtClean="0">
                  <a:solidFill>
                    <a:srgbClr val="FFC000"/>
                  </a:solidFill>
                </a:rPr>
                <a:t> make smart decisions</a:t>
              </a:r>
              <a:endParaRPr lang="zh-CN" altLang="en-US" sz="2000" b="1" dirty="0">
                <a:solidFill>
                  <a:srgbClr val="FFC000"/>
                </a:solidFill>
              </a:endParaRPr>
            </a:p>
          </p:txBody>
        </p:sp>
      </p:grpSp>
      <p:sp>
        <p:nvSpPr>
          <p:cNvPr id="185" name="矩形 184"/>
          <p:cNvSpPr/>
          <p:nvPr/>
        </p:nvSpPr>
        <p:spPr>
          <a:xfrm>
            <a:off x="3001243" y="1549077"/>
            <a:ext cx="6192688" cy="2532980"/>
          </a:xfrm>
          <a:prstGeom prst="rect">
            <a:avLst/>
          </a:prstGeom>
          <a:blipFill>
            <a:blip r:embed="rId3" cstate="print"/>
            <a:stretch>
              <a:fillRect/>
            </a:stretch>
          </a:bli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237"/>
          <p:cNvGrpSpPr/>
          <p:nvPr/>
        </p:nvGrpSpPr>
        <p:grpSpPr>
          <a:xfrm>
            <a:off x="408955" y="1549077"/>
            <a:ext cx="2520145" cy="2520145"/>
            <a:chOff x="408955" y="1765101"/>
            <a:chExt cx="2520145" cy="2520145"/>
          </a:xfrm>
        </p:grpSpPr>
        <p:sp>
          <p:nvSpPr>
            <p:cNvPr id="203" name="矩形 202"/>
            <p:cNvSpPr/>
            <p:nvPr/>
          </p:nvSpPr>
          <p:spPr>
            <a:xfrm>
              <a:off x="1705099" y="1765101"/>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6" name="矩形 205"/>
            <p:cNvSpPr/>
            <p:nvPr/>
          </p:nvSpPr>
          <p:spPr>
            <a:xfrm>
              <a:off x="1705099" y="3061245"/>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7" name="矩形 206"/>
            <p:cNvSpPr/>
            <p:nvPr/>
          </p:nvSpPr>
          <p:spPr>
            <a:xfrm>
              <a:off x="408955" y="1765101"/>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8" name="矩形 207"/>
            <p:cNvSpPr/>
            <p:nvPr/>
          </p:nvSpPr>
          <p:spPr>
            <a:xfrm>
              <a:off x="408955" y="3061245"/>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75" name="Picture 3"/>
            <p:cNvPicPr>
              <a:picLocks noChangeAspect="1" noChangeArrowheads="1"/>
            </p:cNvPicPr>
            <p:nvPr/>
          </p:nvPicPr>
          <p:blipFill>
            <a:blip r:embed="rId4" cstate="print"/>
            <a:srcRect/>
            <a:stretch>
              <a:fillRect/>
            </a:stretch>
          </p:blipFill>
          <p:spPr bwMode="auto">
            <a:xfrm>
              <a:off x="1717799" y="1790501"/>
              <a:ext cx="1211300" cy="1198600"/>
            </a:xfrm>
            <a:prstGeom prst="rect">
              <a:avLst/>
            </a:prstGeom>
            <a:noFill/>
            <a:ln w="9525">
              <a:noFill/>
              <a:miter lim="800000"/>
              <a:headEnd/>
              <a:tailEnd/>
            </a:ln>
          </p:spPr>
        </p:pic>
        <p:pic>
          <p:nvPicPr>
            <p:cNvPr id="3076" name="Picture 4"/>
            <p:cNvPicPr>
              <a:picLocks noChangeAspect="1" noChangeArrowheads="1"/>
            </p:cNvPicPr>
            <p:nvPr/>
          </p:nvPicPr>
          <p:blipFill>
            <a:blip r:embed="rId5" cstate="print"/>
            <a:srcRect/>
            <a:stretch>
              <a:fillRect/>
            </a:stretch>
          </p:blipFill>
          <p:spPr bwMode="auto">
            <a:xfrm>
              <a:off x="1717800" y="3073946"/>
              <a:ext cx="1211300" cy="1211300"/>
            </a:xfrm>
            <a:prstGeom prst="rect">
              <a:avLst/>
            </a:prstGeom>
            <a:noFill/>
            <a:ln w="9525">
              <a:noFill/>
              <a:miter lim="800000"/>
              <a:headEnd/>
              <a:tailEnd/>
            </a:ln>
          </p:spPr>
        </p:pic>
        <p:pic>
          <p:nvPicPr>
            <p:cNvPr id="3077" name="Picture 5"/>
            <p:cNvPicPr>
              <a:picLocks noChangeAspect="1" noChangeArrowheads="1"/>
            </p:cNvPicPr>
            <p:nvPr/>
          </p:nvPicPr>
          <p:blipFill>
            <a:blip r:embed="rId6" cstate="print"/>
            <a:srcRect/>
            <a:stretch>
              <a:fillRect/>
            </a:stretch>
          </p:blipFill>
          <p:spPr bwMode="auto">
            <a:xfrm>
              <a:off x="421655" y="1790501"/>
              <a:ext cx="1211299" cy="1198600"/>
            </a:xfrm>
            <a:prstGeom prst="rect">
              <a:avLst/>
            </a:prstGeom>
            <a:noFill/>
            <a:ln w="9525">
              <a:noFill/>
              <a:miter lim="800000"/>
              <a:headEnd/>
              <a:tailEnd/>
            </a:ln>
          </p:spPr>
        </p:pic>
        <p:pic>
          <p:nvPicPr>
            <p:cNvPr id="3078" name="Picture 6"/>
            <p:cNvPicPr>
              <a:picLocks noChangeAspect="1" noChangeArrowheads="1"/>
            </p:cNvPicPr>
            <p:nvPr/>
          </p:nvPicPr>
          <p:blipFill>
            <a:blip r:embed="rId7" cstate="print"/>
            <a:srcRect/>
            <a:stretch>
              <a:fillRect/>
            </a:stretch>
          </p:blipFill>
          <p:spPr bwMode="auto">
            <a:xfrm>
              <a:off x="421655" y="3073946"/>
              <a:ext cx="1211299" cy="1211299"/>
            </a:xfrm>
            <a:prstGeom prst="rect">
              <a:avLst/>
            </a:prstGeom>
            <a:noFill/>
            <a:ln w="9525">
              <a:noFill/>
              <a:miter lim="800000"/>
              <a:headEnd/>
              <a:tailEnd/>
            </a:ln>
          </p:spPr>
        </p:pic>
      </p:grpSp>
      <p:sp>
        <p:nvSpPr>
          <p:cNvPr id="209" name="矩形 208"/>
          <p:cNvSpPr/>
          <p:nvPr/>
        </p:nvSpPr>
        <p:spPr>
          <a:xfrm>
            <a:off x="10562219" y="1561777"/>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矩形 209"/>
          <p:cNvSpPr/>
          <p:nvPr/>
        </p:nvSpPr>
        <p:spPr>
          <a:xfrm>
            <a:off x="10562219" y="2857921"/>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 name="矩形 210"/>
          <p:cNvSpPr/>
          <p:nvPr/>
        </p:nvSpPr>
        <p:spPr>
          <a:xfrm>
            <a:off x="9266075" y="1561777"/>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2" name="矩形 211"/>
          <p:cNvSpPr/>
          <p:nvPr/>
        </p:nvSpPr>
        <p:spPr>
          <a:xfrm>
            <a:off x="9266075" y="2857921"/>
            <a:ext cx="1224000" cy="12240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80" name="Picture 8"/>
          <p:cNvPicPr>
            <a:picLocks noChangeAspect="1" noChangeArrowheads="1"/>
          </p:cNvPicPr>
          <p:nvPr/>
        </p:nvPicPr>
        <p:blipFill>
          <a:blip r:embed="rId8" cstate="print"/>
          <a:srcRect/>
          <a:stretch>
            <a:fillRect/>
          </a:stretch>
        </p:blipFill>
        <p:spPr bwMode="auto">
          <a:xfrm>
            <a:off x="10581233" y="1587178"/>
            <a:ext cx="1204986" cy="1185899"/>
          </a:xfrm>
          <a:prstGeom prst="rect">
            <a:avLst/>
          </a:prstGeom>
          <a:noFill/>
          <a:ln w="9525">
            <a:noFill/>
            <a:miter lim="800000"/>
            <a:headEnd/>
            <a:tailEnd/>
          </a:ln>
        </p:spPr>
      </p:pic>
      <p:pic>
        <p:nvPicPr>
          <p:cNvPr id="3082" name="Picture 10"/>
          <p:cNvPicPr>
            <a:picLocks noChangeAspect="1" noChangeArrowheads="1"/>
          </p:cNvPicPr>
          <p:nvPr/>
        </p:nvPicPr>
        <p:blipFill>
          <a:blip r:embed="rId9" cstate="print"/>
          <a:srcRect/>
          <a:stretch>
            <a:fillRect/>
          </a:stretch>
        </p:blipFill>
        <p:spPr bwMode="auto">
          <a:xfrm>
            <a:off x="9291475" y="2878732"/>
            <a:ext cx="1198600" cy="1190489"/>
          </a:xfrm>
          <a:prstGeom prst="rect">
            <a:avLst/>
          </a:prstGeom>
          <a:noFill/>
          <a:ln w="9525">
            <a:noFill/>
            <a:miter lim="800000"/>
            <a:headEnd/>
            <a:tailEnd/>
          </a:ln>
        </p:spPr>
      </p:pic>
      <p:pic>
        <p:nvPicPr>
          <p:cNvPr id="236" name="Picture 3"/>
          <p:cNvPicPr>
            <a:picLocks noChangeAspect="1" noChangeArrowheads="1"/>
          </p:cNvPicPr>
          <p:nvPr/>
        </p:nvPicPr>
        <p:blipFill>
          <a:blip r:embed="rId10" cstate="print"/>
          <a:srcRect/>
          <a:stretch>
            <a:fillRect/>
          </a:stretch>
        </p:blipFill>
        <p:spPr bwMode="auto">
          <a:xfrm>
            <a:off x="9278775" y="1587177"/>
            <a:ext cx="1198600" cy="1185899"/>
          </a:xfrm>
          <a:prstGeom prst="rect">
            <a:avLst/>
          </a:prstGeom>
          <a:noFill/>
          <a:ln w="9525">
            <a:noFill/>
            <a:miter lim="800000"/>
            <a:headEnd/>
            <a:tailEnd/>
          </a:ln>
          <a:effectLst>
            <a:glow rad="63500">
              <a:schemeClr val="accent5">
                <a:satMod val="175000"/>
                <a:alpha val="40000"/>
              </a:schemeClr>
            </a:glow>
          </a:effectLst>
        </p:spPr>
      </p:pic>
      <p:grpSp>
        <p:nvGrpSpPr>
          <p:cNvPr id="6" name="组合 32"/>
          <p:cNvGrpSpPr/>
          <p:nvPr/>
        </p:nvGrpSpPr>
        <p:grpSpPr>
          <a:xfrm>
            <a:off x="6241603" y="4437906"/>
            <a:ext cx="2664295" cy="1512032"/>
            <a:chOff x="6457627" y="4653930"/>
            <a:chExt cx="2482315" cy="1512032"/>
          </a:xfrm>
        </p:grpSpPr>
        <p:sp>
          <p:nvSpPr>
            <p:cNvPr id="29" name="Freeform 228"/>
            <p:cNvSpPr>
              <a:spLocks/>
            </p:cNvSpPr>
            <p:nvPr/>
          </p:nvSpPr>
          <p:spPr bwMode="auto">
            <a:xfrm>
              <a:off x="6457627" y="4653930"/>
              <a:ext cx="2482315" cy="1512032"/>
            </a:xfrm>
            <a:custGeom>
              <a:avLst/>
              <a:gdLst>
                <a:gd name="T0" fmla="*/ 1311 w 1311"/>
                <a:gd name="T1" fmla="*/ 0 h 619"/>
                <a:gd name="T2" fmla="*/ 1311 w 1311"/>
                <a:gd name="T3" fmla="*/ 0 h 619"/>
                <a:gd name="T4" fmla="*/ 1311 w 1311"/>
                <a:gd name="T5" fmla="*/ 0 h 619"/>
                <a:gd name="T6" fmla="*/ 1306 w 1311"/>
                <a:gd name="T7" fmla="*/ 0 h 619"/>
                <a:gd name="T8" fmla="*/ 1306 w 1311"/>
                <a:gd name="T9" fmla="*/ 0 h 619"/>
                <a:gd name="T10" fmla="*/ 857 w 1311"/>
                <a:gd name="T11" fmla="*/ 0 h 619"/>
                <a:gd name="T12" fmla="*/ 810 w 1311"/>
                <a:gd name="T13" fmla="*/ 0 h 619"/>
                <a:gd name="T14" fmla="*/ 784 w 1311"/>
                <a:gd name="T15" fmla="*/ 0 h 619"/>
                <a:gd name="T16" fmla="*/ 755 w 1311"/>
                <a:gd name="T17" fmla="*/ 14 h 619"/>
                <a:gd name="T18" fmla="*/ 685 w 1311"/>
                <a:gd name="T19" fmla="*/ 14 h 619"/>
                <a:gd name="T20" fmla="*/ 592 w 1311"/>
                <a:gd name="T21" fmla="*/ 14 h 619"/>
                <a:gd name="T22" fmla="*/ 522 w 1311"/>
                <a:gd name="T23" fmla="*/ 14 h 619"/>
                <a:gd name="T24" fmla="*/ 493 w 1311"/>
                <a:gd name="T25" fmla="*/ 0 h 619"/>
                <a:gd name="T26" fmla="*/ 467 w 1311"/>
                <a:gd name="T27" fmla="*/ 0 h 619"/>
                <a:gd name="T28" fmla="*/ 420 w 1311"/>
                <a:gd name="T29" fmla="*/ 0 h 619"/>
                <a:gd name="T30" fmla="*/ 4 w 1311"/>
                <a:gd name="T31" fmla="*/ 0 h 619"/>
                <a:gd name="T32" fmla="*/ 4 w 1311"/>
                <a:gd name="T33" fmla="*/ 0 h 619"/>
                <a:gd name="T34" fmla="*/ 0 w 1311"/>
                <a:gd name="T35" fmla="*/ 0 h 619"/>
                <a:gd name="T36" fmla="*/ 0 w 1311"/>
                <a:gd name="T37" fmla="*/ 0 h 619"/>
                <a:gd name="T38" fmla="*/ 0 w 1311"/>
                <a:gd name="T39" fmla="*/ 0 h 619"/>
                <a:gd name="T40" fmla="*/ 0 w 1311"/>
                <a:gd name="T41" fmla="*/ 5 h 619"/>
                <a:gd name="T42" fmla="*/ 0 w 1311"/>
                <a:gd name="T43" fmla="*/ 5 h 619"/>
                <a:gd name="T44" fmla="*/ 0 w 1311"/>
                <a:gd name="T45" fmla="*/ 135 h 619"/>
                <a:gd name="T46" fmla="*/ 0 w 1311"/>
                <a:gd name="T47" fmla="*/ 135 h 619"/>
                <a:gd name="T48" fmla="*/ 0 w 1311"/>
                <a:gd name="T49" fmla="*/ 151 h 619"/>
                <a:gd name="T50" fmla="*/ 14 w 1311"/>
                <a:gd name="T51" fmla="*/ 180 h 619"/>
                <a:gd name="T52" fmla="*/ 14 w 1311"/>
                <a:gd name="T53" fmla="*/ 253 h 619"/>
                <a:gd name="T54" fmla="*/ 14 w 1311"/>
                <a:gd name="T55" fmla="*/ 322 h 619"/>
                <a:gd name="T56" fmla="*/ 14 w 1311"/>
                <a:gd name="T57" fmla="*/ 459 h 619"/>
                <a:gd name="T58" fmla="*/ 0 w 1311"/>
                <a:gd name="T59" fmla="*/ 487 h 619"/>
                <a:gd name="T60" fmla="*/ 0 w 1311"/>
                <a:gd name="T61" fmla="*/ 558 h 619"/>
                <a:gd name="T62" fmla="*/ 0 w 1311"/>
                <a:gd name="T63" fmla="*/ 558 h 619"/>
                <a:gd name="T64" fmla="*/ 0 w 1311"/>
                <a:gd name="T65" fmla="*/ 612 h 619"/>
                <a:gd name="T66" fmla="*/ 0 w 1311"/>
                <a:gd name="T67" fmla="*/ 619 h 619"/>
                <a:gd name="T68" fmla="*/ 4 w 1311"/>
                <a:gd name="T69" fmla="*/ 619 h 619"/>
                <a:gd name="T70" fmla="*/ 420 w 1311"/>
                <a:gd name="T71" fmla="*/ 619 h 619"/>
                <a:gd name="T72" fmla="*/ 467 w 1311"/>
                <a:gd name="T73" fmla="*/ 619 h 619"/>
                <a:gd name="T74" fmla="*/ 493 w 1311"/>
                <a:gd name="T75" fmla="*/ 619 h 619"/>
                <a:gd name="T76" fmla="*/ 522 w 1311"/>
                <a:gd name="T77" fmla="*/ 605 h 619"/>
                <a:gd name="T78" fmla="*/ 592 w 1311"/>
                <a:gd name="T79" fmla="*/ 605 h 619"/>
                <a:gd name="T80" fmla="*/ 685 w 1311"/>
                <a:gd name="T81" fmla="*/ 605 h 619"/>
                <a:gd name="T82" fmla="*/ 755 w 1311"/>
                <a:gd name="T83" fmla="*/ 605 h 619"/>
                <a:gd name="T84" fmla="*/ 784 w 1311"/>
                <a:gd name="T85" fmla="*/ 619 h 619"/>
                <a:gd name="T86" fmla="*/ 810 w 1311"/>
                <a:gd name="T87" fmla="*/ 619 h 619"/>
                <a:gd name="T88" fmla="*/ 857 w 1311"/>
                <a:gd name="T89" fmla="*/ 619 h 619"/>
                <a:gd name="T90" fmla="*/ 1306 w 1311"/>
                <a:gd name="T91" fmla="*/ 619 h 619"/>
                <a:gd name="T92" fmla="*/ 1311 w 1311"/>
                <a:gd name="T93" fmla="*/ 619 h 619"/>
                <a:gd name="T94" fmla="*/ 1311 w 1311"/>
                <a:gd name="T95" fmla="*/ 612 h 619"/>
                <a:gd name="T96" fmla="*/ 1311 w 1311"/>
                <a:gd name="T97" fmla="*/ 558 h 619"/>
                <a:gd name="T98" fmla="*/ 1311 w 1311"/>
                <a:gd name="T99" fmla="*/ 558 h 619"/>
                <a:gd name="T100" fmla="*/ 1311 w 1311"/>
                <a:gd name="T101" fmla="*/ 487 h 619"/>
                <a:gd name="T102" fmla="*/ 1296 w 1311"/>
                <a:gd name="T103" fmla="*/ 459 h 619"/>
                <a:gd name="T104" fmla="*/ 1296 w 1311"/>
                <a:gd name="T105" fmla="*/ 322 h 619"/>
                <a:gd name="T106" fmla="*/ 1296 w 1311"/>
                <a:gd name="T107" fmla="*/ 253 h 619"/>
                <a:gd name="T108" fmla="*/ 1296 w 1311"/>
                <a:gd name="T109" fmla="*/ 180 h 619"/>
                <a:gd name="T110" fmla="*/ 1311 w 1311"/>
                <a:gd name="T111" fmla="*/ 151 h 619"/>
                <a:gd name="T112" fmla="*/ 1311 w 1311"/>
                <a:gd name="T113" fmla="*/ 135 h 619"/>
                <a:gd name="T114" fmla="*/ 1311 w 1311"/>
                <a:gd name="T115" fmla="*/ 135 h 619"/>
                <a:gd name="T116" fmla="*/ 1311 w 1311"/>
                <a:gd name="T117" fmla="*/ 5 h 619"/>
                <a:gd name="T118" fmla="*/ 1311 w 1311"/>
                <a:gd name="T119" fmla="*/ 5 h 619"/>
                <a:gd name="T120" fmla="*/ 1311 w 1311"/>
                <a:gd name="T1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1" h="619">
                  <a:moveTo>
                    <a:pt x="1311" y="0"/>
                  </a:moveTo>
                  <a:lnTo>
                    <a:pt x="1311" y="0"/>
                  </a:lnTo>
                  <a:lnTo>
                    <a:pt x="1311" y="0"/>
                  </a:lnTo>
                  <a:lnTo>
                    <a:pt x="1306" y="0"/>
                  </a:lnTo>
                  <a:lnTo>
                    <a:pt x="1306" y="0"/>
                  </a:lnTo>
                  <a:lnTo>
                    <a:pt x="857" y="0"/>
                  </a:lnTo>
                  <a:lnTo>
                    <a:pt x="810" y="0"/>
                  </a:lnTo>
                  <a:lnTo>
                    <a:pt x="784" y="0"/>
                  </a:lnTo>
                  <a:lnTo>
                    <a:pt x="755" y="14"/>
                  </a:lnTo>
                  <a:lnTo>
                    <a:pt x="685" y="14"/>
                  </a:lnTo>
                  <a:lnTo>
                    <a:pt x="592" y="14"/>
                  </a:lnTo>
                  <a:lnTo>
                    <a:pt x="522" y="14"/>
                  </a:lnTo>
                  <a:lnTo>
                    <a:pt x="493" y="0"/>
                  </a:lnTo>
                  <a:lnTo>
                    <a:pt x="467" y="0"/>
                  </a:lnTo>
                  <a:lnTo>
                    <a:pt x="420" y="0"/>
                  </a:lnTo>
                  <a:lnTo>
                    <a:pt x="4" y="0"/>
                  </a:lnTo>
                  <a:lnTo>
                    <a:pt x="4" y="0"/>
                  </a:lnTo>
                  <a:lnTo>
                    <a:pt x="0" y="0"/>
                  </a:lnTo>
                  <a:lnTo>
                    <a:pt x="0" y="0"/>
                  </a:lnTo>
                  <a:lnTo>
                    <a:pt x="0" y="0"/>
                  </a:lnTo>
                  <a:lnTo>
                    <a:pt x="0" y="5"/>
                  </a:lnTo>
                  <a:lnTo>
                    <a:pt x="0" y="5"/>
                  </a:lnTo>
                  <a:lnTo>
                    <a:pt x="0" y="135"/>
                  </a:lnTo>
                  <a:lnTo>
                    <a:pt x="0" y="135"/>
                  </a:lnTo>
                  <a:lnTo>
                    <a:pt x="0" y="151"/>
                  </a:lnTo>
                  <a:lnTo>
                    <a:pt x="14" y="180"/>
                  </a:lnTo>
                  <a:lnTo>
                    <a:pt x="14" y="253"/>
                  </a:lnTo>
                  <a:lnTo>
                    <a:pt x="14" y="322"/>
                  </a:lnTo>
                  <a:lnTo>
                    <a:pt x="14" y="459"/>
                  </a:lnTo>
                  <a:lnTo>
                    <a:pt x="0" y="487"/>
                  </a:lnTo>
                  <a:lnTo>
                    <a:pt x="0" y="558"/>
                  </a:lnTo>
                  <a:lnTo>
                    <a:pt x="0" y="558"/>
                  </a:lnTo>
                  <a:lnTo>
                    <a:pt x="0" y="612"/>
                  </a:lnTo>
                  <a:lnTo>
                    <a:pt x="0" y="619"/>
                  </a:lnTo>
                  <a:lnTo>
                    <a:pt x="4" y="619"/>
                  </a:lnTo>
                  <a:lnTo>
                    <a:pt x="420" y="619"/>
                  </a:lnTo>
                  <a:lnTo>
                    <a:pt x="467" y="619"/>
                  </a:lnTo>
                  <a:lnTo>
                    <a:pt x="493" y="619"/>
                  </a:lnTo>
                  <a:lnTo>
                    <a:pt x="522" y="605"/>
                  </a:lnTo>
                  <a:lnTo>
                    <a:pt x="592" y="605"/>
                  </a:lnTo>
                  <a:lnTo>
                    <a:pt x="685" y="605"/>
                  </a:lnTo>
                  <a:lnTo>
                    <a:pt x="755" y="605"/>
                  </a:lnTo>
                  <a:lnTo>
                    <a:pt x="784" y="619"/>
                  </a:lnTo>
                  <a:lnTo>
                    <a:pt x="810" y="619"/>
                  </a:lnTo>
                  <a:lnTo>
                    <a:pt x="857" y="619"/>
                  </a:lnTo>
                  <a:lnTo>
                    <a:pt x="1306" y="619"/>
                  </a:lnTo>
                  <a:lnTo>
                    <a:pt x="1311" y="619"/>
                  </a:lnTo>
                  <a:lnTo>
                    <a:pt x="1311" y="612"/>
                  </a:lnTo>
                  <a:lnTo>
                    <a:pt x="1311" y="558"/>
                  </a:lnTo>
                  <a:lnTo>
                    <a:pt x="1311" y="558"/>
                  </a:lnTo>
                  <a:lnTo>
                    <a:pt x="1311" y="487"/>
                  </a:lnTo>
                  <a:lnTo>
                    <a:pt x="1296" y="459"/>
                  </a:lnTo>
                  <a:lnTo>
                    <a:pt x="1296" y="322"/>
                  </a:lnTo>
                  <a:lnTo>
                    <a:pt x="1296" y="253"/>
                  </a:lnTo>
                  <a:lnTo>
                    <a:pt x="1296" y="180"/>
                  </a:lnTo>
                  <a:lnTo>
                    <a:pt x="1311" y="151"/>
                  </a:lnTo>
                  <a:lnTo>
                    <a:pt x="1311" y="135"/>
                  </a:lnTo>
                  <a:lnTo>
                    <a:pt x="1311" y="135"/>
                  </a:lnTo>
                  <a:lnTo>
                    <a:pt x="1311" y="5"/>
                  </a:lnTo>
                  <a:lnTo>
                    <a:pt x="1311" y="5"/>
                  </a:lnTo>
                  <a:lnTo>
                    <a:pt x="1311" y="0"/>
                  </a:lnTo>
                  <a:close/>
                </a:path>
              </a:pathLst>
            </a:custGeom>
            <a:gradFill flip="none" rotWithShape="1">
              <a:gsLst>
                <a:gs pos="0">
                  <a:srgbClr val="00B0F0">
                    <a:alpha val="13000"/>
                  </a:srgbClr>
                </a:gs>
                <a:gs pos="100000">
                  <a:srgbClr val="122C4F">
                    <a:alpha val="0"/>
                  </a:srgbClr>
                </a:gs>
              </a:gsLst>
              <a:lin ang="1800000" scaled="0"/>
              <a:tileRect/>
            </a:gradFill>
            <a:ln w="3175">
              <a:gradFill>
                <a:gsLst>
                  <a:gs pos="0">
                    <a:srgbClr val="00B0F0">
                      <a:alpha val="0"/>
                    </a:srgbClr>
                  </a:gs>
                  <a:gs pos="50000">
                    <a:srgbClr val="00B0F0">
                      <a:alpha val="25000"/>
                    </a:srgbClr>
                  </a:gs>
                  <a:gs pos="100000">
                    <a:srgbClr val="00B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anchor="ctr"/>
            <a:lstStyle/>
            <a:p>
              <a:pPr algn="ctr" fontAlgn="ctr">
                <a:spcBef>
                  <a:spcPct val="20000"/>
                </a:spcBef>
                <a:buClr>
                  <a:schemeClr val="bg1"/>
                </a:buClr>
                <a:buSzPct val="60000"/>
                <a:defRPr/>
              </a:pPr>
              <a:endParaRPr lang="zh-CN" altLang="en-US" sz="1600" b="1" dirty="0">
                <a:solidFill>
                  <a:schemeClr val="bg1"/>
                </a:solidFill>
                <a:latin typeface="+mj-lt"/>
                <a:ea typeface="方正兰亭粗黑简体" panose="02000000000000000000" pitchFamily="2" charset="-122"/>
                <a:cs typeface="Arial" panose="020B0604020202020204" pitchFamily="34" charset="0"/>
              </a:endParaRPr>
            </a:p>
          </p:txBody>
        </p:sp>
        <p:sp>
          <p:nvSpPr>
            <p:cNvPr id="30" name="TextBox 29"/>
            <p:cNvSpPr txBox="1"/>
            <p:nvPr/>
          </p:nvSpPr>
          <p:spPr>
            <a:xfrm>
              <a:off x="6457627" y="4713238"/>
              <a:ext cx="2482315" cy="1446550"/>
            </a:xfrm>
            <a:prstGeom prst="rect">
              <a:avLst/>
            </a:prstGeom>
            <a:noFill/>
          </p:spPr>
          <p:txBody>
            <a:bodyPr wrap="square" rtlCol="0">
              <a:spAutoFit/>
            </a:bodyPr>
            <a:lstStyle/>
            <a:p>
              <a:pPr algn="ctr"/>
              <a:r>
                <a:rPr lang="zh-CN" altLang="en-US" sz="1600" dirty="0" smtClean="0">
                  <a:solidFill>
                    <a:schemeClr val="bg1"/>
                  </a:solidFill>
                </a:rPr>
                <a:t>Unified </a:t>
              </a:r>
              <a:r>
                <a:rPr lang="zh-CN" altLang="en-US" sz="1600" dirty="0">
                  <a:solidFill>
                    <a:srgbClr val="00B050"/>
                  </a:solidFill>
                </a:rPr>
                <a:t>video surveillance access </a:t>
              </a:r>
              <a:r>
                <a:rPr lang="zh-CN" altLang="en-US" sz="1600" dirty="0" smtClean="0">
                  <a:solidFill>
                    <a:schemeClr val="bg1"/>
                  </a:solidFill>
                </a:rPr>
                <a:t>and human traffic </a:t>
              </a:r>
              <a:r>
                <a:rPr lang="zh-CN" altLang="en-US" sz="1600" dirty="0" smtClean="0">
                  <a:solidFill>
                    <a:srgbClr val="00B050"/>
                  </a:solidFill>
                </a:rPr>
                <a:t>warning</a:t>
              </a:r>
              <a:r>
                <a:rPr lang="en-US" altLang="zh-CN" sz="1600" dirty="0" smtClean="0">
                  <a:solidFill>
                    <a:srgbClr val="00B050"/>
                  </a:solidFill>
                </a:rPr>
                <a:t>s</a:t>
              </a:r>
              <a:r>
                <a:rPr lang="zh-CN" altLang="en-US" sz="1600" dirty="0" smtClean="0">
                  <a:solidFill>
                    <a:srgbClr val="00B050"/>
                  </a:solidFill>
                </a:rPr>
                <a:t> </a:t>
              </a:r>
              <a:r>
                <a:rPr lang="en-US" altLang="zh-CN" sz="1600" dirty="0" smtClean="0">
                  <a:solidFill>
                    <a:srgbClr val="00B050"/>
                  </a:solidFill>
                </a:rPr>
                <a:t>comprehensively</a:t>
              </a:r>
              <a:r>
                <a:rPr lang="zh-CN" altLang="en-US" sz="1600" dirty="0" smtClean="0">
                  <a:solidFill>
                    <a:srgbClr val="00B050"/>
                  </a:solidFill>
                </a:rPr>
                <a:t> </a:t>
              </a:r>
              <a:r>
                <a:rPr lang="zh-CN" altLang="en-US" sz="2000" b="1" dirty="0" smtClean="0">
                  <a:solidFill>
                    <a:srgbClr val="00B050"/>
                  </a:solidFill>
                </a:rPr>
                <a:t>improve </a:t>
              </a:r>
              <a:r>
                <a:rPr lang="zh-CN" altLang="en-US" sz="2000" b="1" dirty="0" smtClean="0">
                  <a:solidFill>
                    <a:srgbClr val="FFC000"/>
                  </a:solidFill>
                </a:rPr>
                <a:t>city </a:t>
              </a:r>
              <a:r>
                <a:rPr lang="zh-CN" altLang="en-US" sz="2000" b="1" dirty="0" smtClean="0">
                  <a:solidFill>
                    <a:srgbClr val="FFC000"/>
                  </a:solidFill>
                  <a:effectLst>
                    <a:outerShdw blurRad="38100" dist="38100" dir="2700000" algn="tl">
                      <a:srgbClr val="000000">
                        <a:alpha val="43137"/>
                      </a:srgbClr>
                    </a:outerShdw>
                  </a:effectLst>
                </a:rPr>
                <a:t>security</a:t>
              </a:r>
              <a:endParaRPr lang="zh-CN" altLang="en-US" sz="2000" b="1" dirty="0">
                <a:solidFill>
                  <a:srgbClr val="FFC000"/>
                </a:solidFill>
                <a:effectLst>
                  <a:outerShdw blurRad="38100" dist="38100" dir="2700000" algn="tl">
                    <a:srgbClr val="000000">
                      <a:alpha val="43137"/>
                    </a:srgbClr>
                  </a:outerShdw>
                </a:effectLst>
              </a:endParaRPr>
            </a:p>
          </p:txBody>
        </p:sp>
      </p:grpSp>
      <p:pic>
        <p:nvPicPr>
          <p:cNvPr id="1026" name="Picture 2"/>
          <p:cNvPicPr>
            <a:picLocks noChangeAspect="1" noChangeArrowheads="1"/>
          </p:cNvPicPr>
          <p:nvPr/>
        </p:nvPicPr>
        <p:blipFill>
          <a:blip r:embed="rId11" cstate="print"/>
          <a:srcRect/>
          <a:stretch>
            <a:fillRect/>
          </a:stretch>
        </p:blipFill>
        <p:spPr bwMode="auto">
          <a:xfrm>
            <a:off x="10574919" y="2878731"/>
            <a:ext cx="1202400" cy="1182090"/>
          </a:xfrm>
          <a:prstGeom prst="rect">
            <a:avLst/>
          </a:prstGeom>
          <a:noFill/>
          <a:ln w="9525">
            <a:noFill/>
            <a:miter lim="800000"/>
            <a:headEnd/>
            <a:tailEnd/>
          </a:ln>
        </p:spPr>
      </p:pic>
    </p:spTree>
    <p:extLst>
      <p:ext uri="{BB962C8B-B14F-4D97-AF65-F5344CB8AC3E}">
        <p14:creationId xmlns:p14="http://schemas.microsoft.com/office/powerpoint/2010/main" val="1442621329"/>
      </p:ext>
    </p:extLst>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图片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5210" y="3501802"/>
            <a:ext cx="11553528" cy="2808312"/>
          </a:xfrm>
          <a:prstGeom prst="rect">
            <a:avLst/>
          </a:prstGeom>
        </p:spPr>
      </p:pic>
      <p:grpSp>
        <p:nvGrpSpPr>
          <p:cNvPr id="2" name="组合 33"/>
          <p:cNvGrpSpPr/>
          <p:nvPr/>
        </p:nvGrpSpPr>
        <p:grpSpPr>
          <a:xfrm>
            <a:off x="3416599" y="4050570"/>
            <a:ext cx="4581216" cy="1728192"/>
            <a:chOff x="3433291" y="1413570"/>
            <a:chExt cx="4581216" cy="1728192"/>
          </a:xfrm>
        </p:grpSpPr>
        <p:grpSp>
          <p:nvGrpSpPr>
            <p:cNvPr id="3" name="组合 9"/>
            <p:cNvGrpSpPr/>
            <p:nvPr/>
          </p:nvGrpSpPr>
          <p:grpSpPr>
            <a:xfrm rot="5400000">
              <a:off x="4016179" y="830682"/>
              <a:ext cx="1728192" cy="2893968"/>
              <a:chOff x="5521523" y="2408034"/>
              <a:chExt cx="1728192" cy="2893968"/>
            </a:xfrm>
          </p:grpSpPr>
          <p:sp>
            <p:nvSpPr>
              <p:cNvPr id="6" name="圆柱形 5"/>
              <p:cNvSpPr/>
              <p:nvPr/>
            </p:nvSpPr>
            <p:spPr>
              <a:xfrm>
                <a:off x="5521523" y="2777954"/>
                <a:ext cx="1728192" cy="2524048"/>
              </a:xfrm>
              <a:prstGeom prst="can">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35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圆柱形 6"/>
              <p:cNvSpPr/>
              <p:nvPr/>
            </p:nvSpPr>
            <p:spPr>
              <a:xfrm>
                <a:off x="5833083" y="2408034"/>
                <a:ext cx="504056" cy="576064"/>
              </a:xfrm>
              <a:prstGeom prst="can">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圆柱形 8"/>
              <p:cNvSpPr/>
              <p:nvPr/>
            </p:nvSpPr>
            <p:spPr>
              <a:xfrm>
                <a:off x="6385619" y="2452746"/>
                <a:ext cx="504056" cy="576064"/>
              </a:xfrm>
              <a:prstGeom prst="can">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35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圆柱形 7"/>
              <p:cNvSpPr/>
              <p:nvPr/>
            </p:nvSpPr>
            <p:spPr>
              <a:xfrm>
                <a:off x="6111235" y="2592994"/>
                <a:ext cx="504056" cy="576064"/>
              </a:xfrm>
              <a:prstGeom prst="can">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135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3" name="直接箭头连接符 12"/>
            <p:cNvCxnSpPr/>
            <p:nvPr/>
          </p:nvCxnSpPr>
          <p:spPr>
            <a:xfrm>
              <a:off x="3486931" y="2264018"/>
              <a:ext cx="1980000" cy="0"/>
            </a:xfrm>
            <a:prstGeom prst="straightConnector1">
              <a:avLst/>
            </a:prstGeom>
            <a:ln>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50011" y="1902524"/>
              <a:ext cx="1889624" cy="707886"/>
            </a:xfrm>
            <a:prstGeom prst="rect">
              <a:avLst/>
            </a:prstGeom>
            <a:noFill/>
          </p:spPr>
          <p:txBody>
            <a:bodyPr wrap="square" rtlCol="0">
              <a:spAutoFit/>
            </a:bodyPr>
            <a:lstStyle/>
            <a:p>
              <a:pPr algn="ctr">
                <a:lnSpc>
                  <a:spcPct val="125000"/>
                </a:lnSpc>
              </a:pPr>
              <a:r>
                <a:rPr lang="en-US" altLang="zh-CN" sz="1600" b="1" dirty="0" smtClean="0">
                  <a:solidFill>
                    <a:srgbClr val="FFC000"/>
                  </a:solidFill>
                  <a:effectLst>
                    <a:outerShdw blurRad="38100" dist="38100" dir="2700000" algn="tl">
                      <a:srgbClr val="000000">
                        <a:alpha val="43137"/>
                      </a:srgbClr>
                    </a:outerShdw>
                  </a:effectLst>
                </a:rPr>
                <a:t>Large Bandwidth, Low Latency</a:t>
              </a:r>
            </a:p>
          </p:txBody>
        </p:sp>
        <p:cxnSp>
          <p:nvCxnSpPr>
            <p:cNvPr id="16" name="直接连接符 15"/>
            <p:cNvCxnSpPr>
              <a:stCxn id="8" idx="1"/>
            </p:cNvCxnSpPr>
            <p:nvPr/>
          </p:nvCxnSpPr>
          <p:spPr>
            <a:xfrm flipV="1">
              <a:off x="6142299" y="2229186"/>
              <a:ext cx="404752" cy="26124"/>
            </a:xfrm>
            <a:prstGeom prst="line">
              <a:avLst/>
            </a:prstGeom>
            <a:ln>
              <a:solidFill>
                <a:schemeClr val="accent6">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6294699" y="1629594"/>
              <a:ext cx="404752" cy="252028"/>
            </a:xfrm>
            <a:prstGeom prst="line">
              <a:avLst/>
            </a:prstGeom>
            <a:ln>
              <a:solidFill>
                <a:srgbClr val="00B0F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6259019" y="2552050"/>
              <a:ext cx="404752" cy="229672"/>
            </a:xfrm>
            <a:prstGeom prst="line">
              <a:avLst/>
            </a:prstGeom>
            <a:ln>
              <a:solidFill>
                <a:srgbClr val="00B05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564467" y="2061642"/>
              <a:ext cx="1296144" cy="307777"/>
            </a:xfrm>
            <a:prstGeom prst="rect">
              <a:avLst/>
            </a:prstGeom>
            <a:gradFill flip="none" rotWithShape="1">
              <a:gsLst>
                <a:gs pos="100000">
                  <a:schemeClr val="accent6">
                    <a:lumMod val="75000"/>
                    <a:shade val="30000"/>
                    <a:satMod val="115000"/>
                    <a:alpha val="0"/>
                  </a:schemeClr>
                </a:gs>
                <a:gs pos="50000">
                  <a:schemeClr val="accent6">
                    <a:lumMod val="75000"/>
                    <a:shade val="67500"/>
                    <a:satMod val="115000"/>
                  </a:schemeClr>
                </a:gs>
                <a:gs pos="100000">
                  <a:schemeClr val="accent6">
                    <a:lumMod val="75000"/>
                    <a:shade val="100000"/>
                    <a:satMod val="115000"/>
                  </a:schemeClr>
                </a:gs>
              </a:gsLst>
              <a:path path="circle">
                <a:fillToRect l="50000" t="50000" r="50000" b="50000"/>
              </a:path>
              <a:tileRect/>
            </a:gradFill>
          </p:spPr>
          <p:txBody>
            <a:bodyPr wrap="square" rtlCol="0">
              <a:spAutoFit/>
            </a:bodyPr>
            <a:lstStyle/>
            <a:p>
              <a:pPr algn="ctr"/>
              <a:r>
                <a:rPr lang="zh-CN" altLang="en-US" sz="1400" dirty="0" smtClean="0">
                  <a:solidFill>
                    <a:schemeClr val="bg1"/>
                  </a:solidFill>
                </a:rPr>
                <a:t>Smart Pole B</a:t>
              </a:r>
              <a:endParaRPr lang="zh-CN" altLang="en-US" sz="1400" dirty="0">
                <a:solidFill>
                  <a:schemeClr val="bg1"/>
                </a:solidFill>
              </a:endParaRPr>
            </a:p>
          </p:txBody>
        </p:sp>
        <p:sp>
          <p:nvSpPr>
            <p:cNvPr id="30" name="TextBox 29"/>
            <p:cNvSpPr txBox="1"/>
            <p:nvPr/>
          </p:nvSpPr>
          <p:spPr>
            <a:xfrm>
              <a:off x="6691067" y="2662673"/>
              <a:ext cx="1296144" cy="307777"/>
            </a:xfrm>
            <a:prstGeom prst="rect">
              <a:avLst/>
            </a:prstGeom>
            <a:gradFill flip="none" rotWithShape="1">
              <a:gsLst>
                <a:gs pos="100000">
                  <a:srgbClr val="00B050">
                    <a:shade val="30000"/>
                    <a:satMod val="115000"/>
                    <a:alpha val="0"/>
                  </a:srgbClr>
                </a:gs>
                <a:gs pos="50000">
                  <a:srgbClr val="00B050">
                    <a:shade val="67500"/>
                    <a:satMod val="115000"/>
                  </a:srgbClr>
                </a:gs>
                <a:gs pos="100000">
                  <a:srgbClr val="00B050">
                    <a:shade val="100000"/>
                    <a:satMod val="115000"/>
                  </a:srgbClr>
                </a:gs>
              </a:gsLst>
              <a:path path="circle">
                <a:fillToRect l="50000" t="50000" r="50000" b="50000"/>
              </a:path>
              <a:tileRect/>
            </a:gradFill>
          </p:spPr>
          <p:txBody>
            <a:bodyPr wrap="square" rtlCol="0">
              <a:spAutoFit/>
            </a:bodyPr>
            <a:lstStyle/>
            <a:p>
              <a:pPr algn="ctr"/>
              <a:r>
                <a:rPr lang="en-US" altLang="zh-CN" sz="1400" dirty="0" smtClean="0">
                  <a:solidFill>
                    <a:schemeClr val="bg1"/>
                  </a:solidFill>
                </a:rPr>
                <a:t>… …</a:t>
              </a:r>
              <a:endParaRPr lang="zh-CN" altLang="en-US" sz="1400" dirty="0">
                <a:solidFill>
                  <a:schemeClr val="bg1"/>
                </a:solidFill>
              </a:endParaRPr>
            </a:p>
          </p:txBody>
        </p:sp>
        <p:sp>
          <p:nvSpPr>
            <p:cNvPr id="31" name="TextBox 30"/>
            <p:cNvSpPr txBox="1"/>
            <p:nvPr/>
          </p:nvSpPr>
          <p:spPr>
            <a:xfrm>
              <a:off x="6718363" y="1452185"/>
              <a:ext cx="1296144" cy="307777"/>
            </a:xfrm>
            <a:prstGeom prst="rect">
              <a:avLst/>
            </a:prstGeom>
            <a:gradFill flip="none" rotWithShape="1">
              <a:gsLst>
                <a:gs pos="10000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path path="circle">
                <a:fillToRect l="50000" t="50000" r="50000" b="50000"/>
              </a:path>
              <a:tileRect/>
            </a:gradFill>
          </p:spPr>
          <p:txBody>
            <a:bodyPr wrap="square" rtlCol="0">
              <a:spAutoFit/>
            </a:bodyPr>
            <a:lstStyle/>
            <a:p>
              <a:pPr algn="ctr"/>
              <a:r>
                <a:rPr lang="zh-CN" altLang="en-US" sz="1400" dirty="0" smtClean="0">
                  <a:solidFill>
                    <a:schemeClr val="bg1"/>
                  </a:solidFill>
                </a:rPr>
                <a:t>Smart Pole </a:t>
              </a:r>
              <a:r>
                <a:rPr lang="en-US" altLang="zh-CN" sz="1400" dirty="0" smtClean="0">
                  <a:solidFill>
                    <a:schemeClr val="bg1"/>
                  </a:solidFill>
                </a:rPr>
                <a:t>A</a:t>
              </a:r>
              <a:endParaRPr lang="zh-CN" altLang="en-US" sz="1400" dirty="0">
                <a:solidFill>
                  <a:schemeClr val="bg1"/>
                </a:solidFill>
              </a:endParaRPr>
            </a:p>
          </p:txBody>
        </p:sp>
        <p:sp>
          <p:nvSpPr>
            <p:cNvPr id="32" name="TextBox 31"/>
            <p:cNvSpPr txBox="1"/>
            <p:nvPr/>
          </p:nvSpPr>
          <p:spPr>
            <a:xfrm>
              <a:off x="3550011" y="2761977"/>
              <a:ext cx="2016224" cy="307777"/>
            </a:xfrm>
            <a:prstGeom prst="rect">
              <a:avLst/>
            </a:prstGeom>
            <a:noFill/>
          </p:spPr>
          <p:txBody>
            <a:bodyPr wrap="square" rtlCol="0">
              <a:spAutoFit/>
            </a:bodyPr>
            <a:lstStyle/>
            <a:p>
              <a:pPr algn="ctr"/>
              <a:r>
                <a:rPr lang="en-US" altLang="zh-CN" sz="1400" dirty="0" smtClean="0">
                  <a:solidFill>
                    <a:schemeClr val="bg1"/>
                  </a:solidFill>
                </a:rPr>
                <a:t>PLC-IoT</a:t>
              </a:r>
              <a:r>
                <a:rPr lang="zh-CN" altLang="en-US" sz="1400" dirty="0" smtClean="0">
                  <a:solidFill>
                    <a:schemeClr val="bg1"/>
                  </a:solidFill>
                </a:rPr>
                <a:t> Line</a:t>
              </a:r>
              <a:endParaRPr lang="zh-CN" altLang="en-US" sz="1400" dirty="0">
                <a:solidFill>
                  <a:schemeClr val="bg1"/>
                </a:solidFill>
              </a:endParaRPr>
            </a:p>
          </p:txBody>
        </p:sp>
      </p:grpSp>
      <p:sp>
        <p:nvSpPr>
          <p:cNvPr id="36" name="任意多边形 35"/>
          <p:cNvSpPr/>
          <p:nvPr/>
        </p:nvSpPr>
        <p:spPr>
          <a:xfrm>
            <a:off x="8141831" y="4021390"/>
            <a:ext cx="2880320" cy="1757372"/>
          </a:xfrm>
          <a:custGeom>
            <a:avLst/>
            <a:gdLst>
              <a:gd name="connsiteX0" fmla="*/ 0 w 3089886"/>
              <a:gd name="connsiteY0" fmla="*/ 112654 h 675912"/>
              <a:gd name="connsiteX1" fmla="*/ 112654 w 3089886"/>
              <a:gd name="connsiteY1" fmla="*/ 0 h 675912"/>
              <a:gd name="connsiteX2" fmla="*/ 2977232 w 3089886"/>
              <a:gd name="connsiteY2" fmla="*/ 0 h 675912"/>
              <a:gd name="connsiteX3" fmla="*/ 3089886 w 3089886"/>
              <a:gd name="connsiteY3" fmla="*/ 112654 h 675912"/>
              <a:gd name="connsiteX4" fmla="*/ 3089886 w 3089886"/>
              <a:gd name="connsiteY4" fmla="*/ 563258 h 675912"/>
              <a:gd name="connsiteX5" fmla="*/ 2977232 w 3089886"/>
              <a:gd name="connsiteY5" fmla="*/ 675912 h 675912"/>
              <a:gd name="connsiteX6" fmla="*/ 112654 w 3089886"/>
              <a:gd name="connsiteY6" fmla="*/ 675912 h 675912"/>
              <a:gd name="connsiteX7" fmla="*/ 0 w 3089886"/>
              <a:gd name="connsiteY7" fmla="*/ 563258 h 675912"/>
              <a:gd name="connsiteX8" fmla="*/ 0 w 3089886"/>
              <a:gd name="connsiteY8" fmla="*/ 112654 h 6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886" h="675912">
                <a:moveTo>
                  <a:pt x="0" y="112654"/>
                </a:moveTo>
                <a:cubicBezTo>
                  <a:pt x="0" y="50437"/>
                  <a:pt x="50437" y="0"/>
                  <a:pt x="112654" y="0"/>
                </a:cubicBezTo>
                <a:lnTo>
                  <a:pt x="2977232" y="0"/>
                </a:lnTo>
                <a:cubicBezTo>
                  <a:pt x="3039449" y="0"/>
                  <a:pt x="3089886" y="50437"/>
                  <a:pt x="3089886" y="112654"/>
                </a:cubicBezTo>
                <a:lnTo>
                  <a:pt x="3089886" y="563258"/>
                </a:lnTo>
                <a:cubicBezTo>
                  <a:pt x="3089886" y="625475"/>
                  <a:pt x="3039449" y="675912"/>
                  <a:pt x="2977232" y="675912"/>
                </a:cubicBezTo>
                <a:lnTo>
                  <a:pt x="112654" y="675912"/>
                </a:lnTo>
                <a:cubicBezTo>
                  <a:pt x="50437" y="675912"/>
                  <a:pt x="0" y="625475"/>
                  <a:pt x="0" y="563258"/>
                </a:cubicBezTo>
                <a:lnTo>
                  <a:pt x="0" y="112654"/>
                </a:lnTo>
                <a:close/>
              </a:path>
            </a:pathLst>
          </a:cu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279326" tIns="279326" rIns="279326" bIns="279326" spcCol="1904" anchor="ctr"/>
          <a:lstStyle/>
          <a:p>
            <a:pPr marL="719952" defTabSz="2489034" eaLnBrk="1" hangingPunct="1">
              <a:lnSpc>
                <a:spcPct val="90000"/>
              </a:lnSpc>
              <a:defRPr/>
            </a:pPr>
            <a:endParaRPr lang="zh-CN" altLang="en-US" sz="2000" b="1" dirty="0">
              <a:solidFill>
                <a:schemeClr val="bg1"/>
              </a:solidFill>
              <a:latin typeface="Arial" pitchFamily="34" charset="0"/>
              <a:ea typeface="微软雅黑" pitchFamily="34" charset="-122"/>
              <a:cs typeface="Arial" pitchFamily="34" charset="0"/>
            </a:endParaRPr>
          </a:p>
        </p:txBody>
      </p:sp>
      <p:sp>
        <p:nvSpPr>
          <p:cNvPr id="40" name="TextBox 39"/>
          <p:cNvSpPr txBox="1"/>
          <p:nvPr/>
        </p:nvSpPr>
        <p:spPr>
          <a:xfrm>
            <a:off x="8141831" y="4191391"/>
            <a:ext cx="2880320" cy="1446550"/>
          </a:xfrm>
          <a:prstGeom prst="rect">
            <a:avLst/>
          </a:prstGeom>
          <a:noFill/>
        </p:spPr>
        <p:txBody>
          <a:bodyPr wrap="square" rtlCol="0">
            <a:spAutoFit/>
          </a:bodyPr>
          <a:lstStyle/>
          <a:p>
            <a:pPr>
              <a:buFont typeface="Arial" pitchFamily="34" charset="0"/>
              <a:buChar char="•"/>
            </a:pPr>
            <a:r>
              <a:rPr lang="en-US" altLang="zh-CN" sz="1400" dirty="0" smtClean="0">
                <a:solidFill>
                  <a:schemeClr val="bg1"/>
                </a:solidFill>
              </a:rPr>
              <a:t> Large bandwidth, low </a:t>
            </a:r>
            <a:r>
              <a:rPr lang="en-US" altLang="zh-CN" sz="1400" dirty="0" smtClean="0">
                <a:solidFill>
                  <a:srgbClr val="00B050"/>
                </a:solidFill>
              </a:rPr>
              <a:t>latency</a:t>
            </a:r>
            <a:r>
              <a:rPr lang="en-US" altLang="zh-CN" sz="1400" dirty="0" smtClean="0">
                <a:solidFill>
                  <a:schemeClr val="bg1"/>
                </a:solidFill>
              </a:rPr>
              <a:t> support for more service access</a:t>
            </a:r>
          </a:p>
          <a:p>
            <a:endParaRPr lang="en-US" altLang="zh-CN" sz="900" dirty="0" smtClean="0">
              <a:solidFill>
                <a:schemeClr val="bg1"/>
              </a:solidFill>
            </a:endParaRPr>
          </a:p>
          <a:p>
            <a:pPr>
              <a:buFont typeface="Arial" pitchFamily="34" charset="0"/>
              <a:buChar char="•"/>
            </a:pPr>
            <a:r>
              <a:rPr lang="en-US" altLang="zh-CN" sz="1400" dirty="0" smtClean="0">
                <a:solidFill>
                  <a:schemeClr val="bg1"/>
                </a:solidFill>
              </a:rPr>
              <a:t> </a:t>
            </a:r>
            <a:r>
              <a:rPr lang="en-US" altLang="zh-CN" sz="1400" dirty="0" smtClean="0">
                <a:solidFill>
                  <a:srgbClr val="00B050"/>
                </a:solidFill>
              </a:rPr>
              <a:t>Supports</a:t>
            </a:r>
            <a:r>
              <a:rPr lang="en-US" altLang="zh-CN" sz="1400" dirty="0" smtClean="0">
                <a:solidFill>
                  <a:schemeClr val="bg1"/>
                </a:solidFill>
              </a:rPr>
              <a:t> multi-level relay, long-distance deployment</a:t>
            </a:r>
          </a:p>
          <a:p>
            <a:endParaRPr lang="en-US" altLang="zh-CN" sz="900" dirty="0" smtClean="0">
              <a:solidFill>
                <a:schemeClr val="bg1"/>
              </a:solidFill>
            </a:endParaRPr>
          </a:p>
          <a:p>
            <a:pPr>
              <a:buFont typeface="Arial" pitchFamily="34" charset="0"/>
              <a:buChar char="•"/>
            </a:pPr>
            <a:r>
              <a:rPr lang="en-US" altLang="zh-CN" sz="1400" dirty="0" smtClean="0">
                <a:solidFill>
                  <a:schemeClr val="bg1"/>
                </a:solidFill>
              </a:rPr>
              <a:t> </a:t>
            </a:r>
            <a:r>
              <a:rPr lang="en-US" altLang="zh-CN" sz="1400" dirty="0" smtClean="0">
                <a:solidFill>
                  <a:srgbClr val="00B050"/>
                </a:solidFill>
              </a:rPr>
              <a:t>Supports </a:t>
            </a:r>
            <a:r>
              <a:rPr lang="en-US" altLang="zh-CN" sz="1400" dirty="0" smtClean="0">
                <a:solidFill>
                  <a:schemeClr val="bg1"/>
                </a:solidFill>
              </a:rPr>
              <a:t>remote upgrade</a:t>
            </a:r>
            <a:endParaRPr lang="en-US" altLang="zh-CN" sz="1400" b="1" dirty="0" smtClean="0">
              <a:solidFill>
                <a:srgbClr val="FFC000"/>
              </a:solidFill>
              <a:effectLst>
                <a:outerShdw blurRad="38100" dist="38100" dir="2700000" algn="tl">
                  <a:srgbClr val="000000">
                    <a:alpha val="43137"/>
                  </a:srgbClr>
                </a:outerShdw>
              </a:effectLst>
            </a:endParaRPr>
          </a:p>
        </p:txBody>
      </p:sp>
      <p:grpSp>
        <p:nvGrpSpPr>
          <p:cNvPr id="4" name="组合 44"/>
          <p:cNvGrpSpPr/>
          <p:nvPr/>
        </p:nvGrpSpPr>
        <p:grpSpPr>
          <a:xfrm>
            <a:off x="1273051" y="1521778"/>
            <a:ext cx="9577064" cy="1764000"/>
            <a:chOff x="1273051" y="4474106"/>
            <a:chExt cx="9577064" cy="1764000"/>
          </a:xfrm>
        </p:grpSpPr>
        <p:sp>
          <p:nvSpPr>
            <p:cNvPr id="37" name="矩形 36"/>
            <p:cNvSpPr/>
            <p:nvPr/>
          </p:nvSpPr>
          <p:spPr>
            <a:xfrm>
              <a:off x="1273051" y="4474106"/>
              <a:ext cx="2952328" cy="1764000"/>
            </a:xfrm>
            <a:prstGeom prst="rect">
              <a:avLst/>
            </a:prstGeom>
            <a:gradFill flip="none" rotWithShape="1">
              <a:gsLst>
                <a:gs pos="0">
                  <a:srgbClr val="0070C0">
                    <a:alpha val="0"/>
                  </a:srgbClr>
                </a:gs>
                <a:gs pos="100000">
                  <a:srgbClr val="0070C0">
                    <a:alpha val="0"/>
                  </a:srgbClr>
                </a:gs>
              </a:gsLst>
              <a:lin ang="0" scaled="1"/>
              <a:tileRect/>
            </a:gradFill>
            <a:ln w="12700">
              <a:gradFill flip="none" rotWithShape="1">
                <a:gsLst>
                  <a:gs pos="0">
                    <a:schemeClr val="bg1">
                      <a:alpha val="0"/>
                    </a:schemeClr>
                  </a:gs>
                  <a:gs pos="50000">
                    <a:srgbClr val="00B0F0"/>
                  </a:gs>
                  <a:gs pos="100000">
                    <a:schemeClr val="bg1">
                      <a:alpha val="0"/>
                    </a:schemeClr>
                  </a:gs>
                </a:gsLst>
                <a:lin ang="2700000" scaled="1"/>
                <a:tileRect/>
              </a:gradFill>
              <a:miter lim="800000"/>
              <a:headEnd/>
              <a:tailEnd/>
            </a:ln>
          </p:spPr>
          <p:txBody>
            <a:bodyPr/>
            <a:lstStyle/>
            <a:p>
              <a:pPr>
                <a:defRPr/>
              </a:pPr>
              <a:endParaRPr lang="zh-CN" altLang="en-US" sz="948">
                <a:ea typeface="微软雅黑" panose="020B0503020204020204" pitchFamily="34" charset="-122"/>
              </a:endParaRPr>
            </a:p>
          </p:txBody>
        </p:sp>
        <p:sp>
          <p:nvSpPr>
            <p:cNvPr id="38" name="矩形 37"/>
            <p:cNvSpPr/>
            <p:nvPr/>
          </p:nvSpPr>
          <p:spPr>
            <a:xfrm>
              <a:off x="4585419" y="4474106"/>
              <a:ext cx="2952328" cy="1764000"/>
            </a:xfrm>
            <a:prstGeom prst="rect">
              <a:avLst/>
            </a:prstGeom>
            <a:gradFill flip="none" rotWithShape="1">
              <a:gsLst>
                <a:gs pos="0">
                  <a:srgbClr val="0070C0">
                    <a:alpha val="0"/>
                  </a:srgbClr>
                </a:gs>
                <a:gs pos="100000">
                  <a:srgbClr val="0070C0">
                    <a:alpha val="0"/>
                  </a:srgbClr>
                </a:gs>
              </a:gsLst>
              <a:lin ang="0" scaled="1"/>
              <a:tileRect/>
            </a:gradFill>
            <a:ln w="12700">
              <a:gradFill flip="none" rotWithShape="1">
                <a:gsLst>
                  <a:gs pos="0">
                    <a:schemeClr val="bg1">
                      <a:alpha val="0"/>
                    </a:schemeClr>
                  </a:gs>
                  <a:gs pos="50000">
                    <a:srgbClr val="00B0F0"/>
                  </a:gs>
                  <a:gs pos="100000">
                    <a:schemeClr val="bg1">
                      <a:alpha val="0"/>
                    </a:schemeClr>
                  </a:gs>
                </a:gsLst>
                <a:lin ang="2700000" scaled="1"/>
                <a:tileRect/>
              </a:gradFill>
              <a:miter lim="800000"/>
              <a:headEnd/>
              <a:tailEnd/>
            </a:ln>
          </p:spPr>
          <p:txBody>
            <a:bodyPr/>
            <a:lstStyle/>
            <a:p>
              <a:pPr>
                <a:defRPr/>
              </a:pPr>
              <a:endParaRPr lang="zh-CN" altLang="en-US" sz="948">
                <a:ea typeface="微软雅黑" panose="020B0503020204020204" pitchFamily="34" charset="-122"/>
              </a:endParaRPr>
            </a:p>
          </p:txBody>
        </p:sp>
        <p:sp>
          <p:nvSpPr>
            <p:cNvPr id="39" name="矩形 38"/>
            <p:cNvSpPr/>
            <p:nvPr/>
          </p:nvSpPr>
          <p:spPr>
            <a:xfrm>
              <a:off x="7897787" y="4474106"/>
              <a:ext cx="2952328" cy="1764000"/>
            </a:xfrm>
            <a:prstGeom prst="rect">
              <a:avLst/>
            </a:prstGeom>
            <a:gradFill flip="none" rotWithShape="1">
              <a:gsLst>
                <a:gs pos="0">
                  <a:srgbClr val="0070C0">
                    <a:alpha val="0"/>
                  </a:srgbClr>
                </a:gs>
                <a:gs pos="100000">
                  <a:srgbClr val="0070C0">
                    <a:alpha val="0"/>
                  </a:srgbClr>
                </a:gs>
              </a:gsLst>
              <a:lin ang="0" scaled="1"/>
              <a:tileRect/>
            </a:gradFill>
            <a:ln w="12700">
              <a:gradFill flip="none" rotWithShape="1">
                <a:gsLst>
                  <a:gs pos="0">
                    <a:schemeClr val="bg1">
                      <a:alpha val="0"/>
                    </a:schemeClr>
                  </a:gs>
                  <a:gs pos="50000">
                    <a:srgbClr val="00B0F0"/>
                  </a:gs>
                  <a:gs pos="100000">
                    <a:schemeClr val="bg1">
                      <a:alpha val="0"/>
                    </a:schemeClr>
                  </a:gs>
                </a:gsLst>
                <a:lin ang="2700000" scaled="1"/>
                <a:tileRect/>
              </a:gradFill>
              <a:miter lim="800000"/>
              <a:headEnd/>
              <a:tailEnd/>
            </a:ln>
          </p:spPr>
          <p:txBody>
            <a:bodyPr/>
            <a:lstStyle/>
            <a:p>
              <a:pPr>
                <a:defRPr/>
              </a:pPr>
              <a:endParaRPr lang="zh-CN" altLang="en-US" sz="948">
                <a:ea typeface="微软雅黑" panose="020B0503020204020204" pitchFamily="34" charset="-122"/>
              </a:endParaRPr>
            </a:p>
          </p:txBody>
        </p:sp>
        <p:sp>
          <p:nvSpPr>
            <p:cNvPr id="42" name="TextBox 41"/>
            <p:cNvSpPr txBox="1"/>
            <p:nvPr/>
          </p:nvSpPr>
          <p:spPr>
            <a:xfrm>
              <a:off x="1273051" y="4600645"/>
              <a:ext cx="2952328" cy="1569660"/>
            </a:xfrm>
            <a:prstGeom prst="rect">
              <a:avLst/>
            </a:prstGeom>
            <a:noFill/>
          </p:spPr>
          <p:txBody>
            <a:bodyPr wrap="square" rtlCol="0">
              <a:spAutoFit/>
            </a:bodyPr>
            <a:lstStyle/>
            <a:p>
              <a:pPr algn="ctr">
                <a:lnSpc>
                  <a:spcPct val="150000"/>
                </a:lnSpc>
              </a:pPr>
              <a:r>
                <a:rPr lang="zh-CN" altLang="en-US" sz="1400" dirty="0" smtClean="0">
                  <a:solidFill>
                    <a:schemeClr val="bg1"/>
                  </a:solidFill>
                </a:rPr>
                <a:t>OFDM modulation dynamically </a:t>
              </a:r>
              <a:r>
                <a:rPr lang="zh-CN" altLang="en-US" sz="1400" dirty="0" smtClean="0">
                  <a:solidFill>
                    <a:srgbClr val="00B050"/>
                  </a:solidFill>
                </a:rPr>
                <a:t>adjust</a:t>
              </a:r>
              <a:r>
                <a:rPr lang="en-US" altLang="zh-CN" sz="1400" dirty="0" smtClean="0">
                  <a:solidFill>
                    <a:srgbClr val="00B050"/>
                  </a:solidFill>
                </a:rPr>
                <a:t>s</a:t>
              </a:r>
              <a:r>
                <a:rPr lang="zh-CN" altLang="en-US" sz="1400" dirty="0" smtClean="0">
                  <a:solidFill>
                    <a:srgbClr val="00B050"/>
                  </a:solidFill>
                </a:rPr>
                <a:t> </a:t>
              </a:r>
              <a:r>
                <a:rPr lang="zh-CN" altLang="en-US" sz="1400" dirty="0" smtClean="0">
                  <a:solidFill>
                    <a:schemeClr val="bg1"/>
                  </a:solidFill>
                </a:rPr>
                <a:t>communication channels, avoiding interference, and ensuring</a:t>
              </a:r>
              <a:r>
                <a:rPr lang="zh-CN" altLang="en-US" sz="1800" b="1" dirty="0" smtClean="0">
                  <a:solidFill>
                    <a:srgbClr val="FFC000"/>
                  </a:solidFill>
                  <a:effectLst>
                    <a:outerShdw blurRad="38100" dist="38100" dir="2700000" algn="tl">
                      <a:srgbClr val="000000">
                        <a:alpha val="43137"/>
                      </a:srgbClr>
                    </a:outerShdw>
                  </a:effectLst>
                </a:rPr>
                <a:t> stable data transmission</a:t>
              </a:r>
              <a:endParaRPr lang="zh-CN" altLang="en-US" sz="1800" b="1" dirty="0">
                <a:solidFill>
                  <a:srgbClr val="FFC000"/>
                </a:solidFill>
                <a:effectLst>
                  <a:outerShdw blurRad="38100" dist="38100" dir="2700000" algn="tl">
                    <a:srgbClr val="000000">
                      <a:alpha val="43137"/>
                    </a:srgbClr>
                  </a:outerShdw>
                </a:effectLst>
              </a:endParaRPr>
            </a:p>
          </p:txBody>
        </p:sp>
        <p:sp>
          <p:nvSpPr>
            <p:cNvPr id="43" name="TextBox 42"/>
            <p:cNvSpPr txBox="1"/>
            <p:nvPr/>
          </p:nvSpPr>
          <p:spPr>
            <a:xfrm>
              <a:off x="4585419" y="4590830"/>
              <a:ext cx="2952328" cy="1477328"/>
            </a:xfrm>
            <a:prstGeom prst="rect">
              <a:avLst/>
            </a:prstGeom>
            <a:noFill/>
          </p:spPr>
          <p:txBody>
            <a:bodyPr wrap="square" rtlCol="0">
              <a:spAutoFit/>
            </a:bodyPr>
            <a:lstStyle/>
            <a:p>
              <a:pPr algn="ctr">
                <a:lnSpc>
                  <a:spcPct val="150000"/>
                </a:lnSpc>
              </a:pPr>
              <a:r>
                <a:rPr lang="en-US" altLang="zh-CN" sz="18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Low latency</a:t>
              </a:r>
              <a:r>
                <a:rPr lang="en-US" altLang="zh-CN" sz="1400" dirty="0" smtClean="0">
                  <a:solidFill>
                    <a:srgbClr val="FFC000"/>
                  </a:solidFill>
                  <a:latin typeface="微软雅黑" pitchFamily="34" charset="-122"/>
                  <a:ea typeface="微软雅黑" pitchFamily="34" charset="-122"/>
                </a:rPr>
                <a:t>,</a:t>
              </a:r>
              <a:r>
                <a:rPr lang="en-US" altLang="zh-CN" sz="1400" dirty="0" smtClean="0">
                  <a:solidFill>
                    <a:schemeClr val="bg1"/>
                  </a:solidFill>
                  <a:latin typeface="微软雅黑" pitchFamily="34" charset="-122"/>
                  <a:ea typeface="微软雅黑" pitchFamily="34" charset="-122"/>
                </a:rPr>
                <a:t> </a:t>
              </a:r>
              <a:br>
                <a:rPr lang="en-US" altLang="zh-CN" sz="1400" dirty="0" smtClean="0">
                  <a:solidFill>
                    <a:schemeClr val="bg1"/>
                  </a:solidFill>
                  <a:latin typeface="微软雅黑" pitchFamily="34" charset="-122"/>
                  <a:ea typeface="微软雅黑" pitchFamily="34" charset="-122"/>
                </a:rPr>
              </a:br>
              <a:r>
                <a:rPr lang="en-US" altLang="zh-CN" sz="1400" dirty="0" smtClean="0">
                  <a:solidFill>
                    <a:schemeClr val="bg1"/>
                  </a:solidFill>
                  <a:latin typeface="微软雅黑" pitchFamily="34" charset="-122"/>
                  <a:ea typeface="微软雅黑" pitchFamily="34" charset="-122"/>
                </a:rPr>
                <a:t>fast communication speed, </a:t>
              </a:r>
              <a:br>
                <a:rPr lang="en-US" altLang="zh-CN" sz="1400" dirty="0" smtClean="0">
                  <a:solidFill>
                    <a:schemeClr val="bg1"/>
                  </a:solidFill>
                  <a:latin typeface="微软雅黑" pitchFamily="34" charset="-122"/>
                  <a:ea typeface="微软雅黑" pitchFamily="34" charset="-122"/>
                </a:rPr>
              </a:br>
              <a:r>
                <a:rPr lang="en-US" altLang="zh-CN" sz="1400" dirty="0" smtClean="0">
                  <a:solidFill>
                    <a:schemeClr val="bg1"/>
                  </a:solidFill>
                  <a:latin typeface="微软雅黑" pitchFamily="34" charset="-122"/>
                  <a:ea typeface="微软雅黑" pitchFamily="34" charset="-122"/>
                </a:rPr>
                <a:t>real-time performance </a:t>
              </a:r>
              <a:br>
                <a:rPr lang="en-US" altLang="zh-CN" sz="1400" dirty="0" smtClean="0">
                  <a:solidFill>
                    <a:schemeClr val="bg1"/>
                  </a:solidFill>
                  <a:latin typeface="微软雅黑" pitchFamily="34" charset="-122"/>
                  <a:ea typeface="微软雅黑" pitchFamily="34" charset="-122"/>
                </a:rPr>
              </a:br>
              <a:r>
                <a:rPr lang="en-US" altLang="zh-CN" sz="1400" dirty="0" smtClean="0">
                  <a:solidFill>
                    <a:schemeClr val="bg1"/>
                  </a:solidFill>
                  <a:latin typeface="微软雅黑" pitchFamily="34" charset="-122"/>
                  <a:ea typeface="微软雅黑" pitchFamily="34" charset="-122"/>
                </a:rPr>
                <a:t>on the platform</a:t>
              </a:r>
              <a:endParaRPr lang="zh-CN" altLang="en-US" sz="1400" dirty="0">
                <a:solidFill>
                  <a:schemeClr val="bg1"/>
                </a:solidFill>
                <a:latin typeface="微软雅黑" pitchFamily="34" charset="-122"/>
                <a:ea typeface="微软雅黑" pitchFamily="34" charset="-122"/>
              </a:endParaRPr>
            </a:p>
          </p:txBody>
        </p:sp>
        <p:sp>
          <p:nvSpPr>
            <p:cNvPr id="44" name="TextBox 43"/>
            <p:cNvSpPr txBox="1"/>
            <p:nvPr/>
          </p:nvSpPr>
          <p:spPr>
            <a:xfrm>
              <a:off x="7897787" y="4581922"/>
              <a:ext cx="2952328" cy="1569660"/>
            </a:xfrm>
            <a:prstGeom prst="rect">
              <a:avLst/>
            </a:prstGeom>
            <a:noFill/>
          </p:spPr>
          <p:txBody>
            <a:bodyPr wrap="square" rtlCol="0">
              <a:spAutoFit/>
            </a:bodyPr>
            <a:lstStyle/>
            <a:p>
              <a:pPr algn="ctr">
                <a:lnSpc>
                  <a:spcPct val="150000"/>
                </a:lnSpc>
              </a:pPr>
              <a:r>
                <a:rPr lang="en-US" altLang="zh-CN" sz="1400" dirty="0" smtClean="0">
                  <a:solidFill>
                    <a:schemeClr val="bg1"/>
                  </a:solidFill>
                  <a:latin typeface="微软雅黑" pitchFamily="34" charset="-122"/>
                  <a:ea typeface="微软雅黑" pitchFamily="34" charset="-122"/>
                </a:rPr>
                <a:t>Applicable to most municipal road needs, </a:t>
              </a:r>
              <a:r>
                <a:rPr lang="en-US" altLang="zh-CN" sz="1400" dirty="0" smtClean="0">
                  <a:solidFill>
                    <a:srgbClr val="00B050"/>
                  </a:solidFill>
                  <a:latin typeface="微软雅黑" pitchFamily="34" charset="-122"/>
                  <a:ea typeface="微软雅黑" pitchFamily="34" charset="-122"/>
                </a:rPr>
                <a:t>supports</a:t>
              </a:r>
              <a:r>
                <a:rPr lang="en-US" altLang="zh-CN" sz="1400" dirty="0" smtClean="0">
                  <a:solidFill>
                    <a:schemeClr val="bg1"/>
                  </a:solidFill>
                  <a:latin typeface="微软雅黑" pitchFamily="34" charset="-122"/>
                  <a:ea typeface="微软雅黑" pitchFamily="34" charset="-122"/>
                </a:rPr>
                <a:t> large-scale networking and </a:t>
              </a:r>
              <a:r>
                <a:rPr lang="en-US" altLang="zh-CN" sz="18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reduces deployment costs</a:t>
              </a:r>
              <a:endParaRPr lang="zh-CN" altLang="en-US" sz="1400" dirty="0">
                <a:solidFill>
                  <a:schemeClr val="bg1"/>
                </a:solidFill>
                <a:latin typeface="微软雅黑" pitchFamily="34" charset="-122"/>
                <a:ea typeface="微软雅黑" pitchFamily="34" charset="-122"/>
              </a:endParaRPr>
            </a:p>
          </p:txBody>
        </p:sp>
      </p:grpSp>
      <p:sp>
        <p:nvSpPr>
          <p:cNvPr id="89" name="TextBox 88"/>
          <p:cNvSpPr txBox="1"/>
          <p:nvPr/>
        </p:nvSpPr>
        <p:spPr>
          <a:xfrm>
            <a:off x="1031285" y="1229390"/>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1</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0" name="TextBox 89"/>
          <p:cNvSpPr txBox="1"/>
          <p:nvPr/>
        </p:nvSpPr>
        <p:spPr>
          <a:xfrm>
            <a:off x="4415661" y="1225682"/>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2</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1" name="TextBox 90"/>
          <p:cNvSpPr txBox="1"/>
          <p:nvPr/>
        </p:nvSpPr>
        <p:spPr>
          <a:xfrm>
            <a:off x="7753771" y="1225682"/>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3</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nvGrpSpPr>
          <p:cNvPr id="5" name="组合 307"/>
          <p:cNvGrpSpPr>
            <a:grpSpLocks/>
          </p:cNvGrpSpPr>
          <p:nvPr/>
        </p:nvGrpSpPr>
        <p:grpSpPr bwMode="auto">
          <a:xfrm>
            <a:off x="1057027" y="4987082"/>
            <a:ext cx="529798" cy="693192"/>
            <a:chOff x="4229481" y="1336861"/>
            <a:chExt cx="237347" cy="311241"/>
          </a:xfrm>
        </p:grpSpPr>
        <p:sp>
          <p:nvSpPr>
            <p:cNvPr id="140" name="Freeform 114"/>
            <p:cNvSpPr>
              <a:spLocks noEditPoints="1"/>
            </p:cNvSpPr>
            <p:nvPr/>
          </p:nvSpPr>
          <p:spPr bwMode="auto">
            <a:xfrm>
              <a:off x="4229481" y="1360165"/>
              <a:ext cx="149294" cy="67841"/>
            </a:xfrm>
            <a:custGeom>
              <a:avLst/>
              <a:gdLst>
                <a:gd name="T0" fmla="*/ 2147483647 w 747"/>
                <a:gd name="T1" fmla="*/ 2147483647 h 496"/>
                <a:gd name="T2" fmla="*/ 2147483647 w 747"/>
                <a:gd name="T3" fmla="*/ 2147483647 h 496"/>
                <a:gd name="T4" fmla="*/ 2147483647 w 747"/>
                <a:gd name="T5" fmla="*/ 2147483647 h 496"/>
                <a:gd name="T6" fmla="*/ 2147483647 w 747"/>
                <a:gd name="T7" fmla="*/ 2147483647 h 496"/>
                <a:gd name="T8" fmla="*/ 2147483647 w 747"/>
                <a:gd name="T9" fmla="*/ 2147483647 h 496"/>
                <a:gd name="T10" fmla="*/ 2147483647 w 747"/>
                <a:gd name="T11" fmla="*/ 2147483647 h 496"/>
                <a:gd name="T12" fmla="*/ 2147483647 w 747"/>
                <a:gd name="T13" fmla="*/ 2147483647 h 496"/>
                <a:gd name="T14" fmla="*/ 2147483647 w 747"/>
                <a:gd name="T15" fmla="*/ 2147483647 h 496"/>
                <a:gd name="T16" fmla="*/ 2147483647 w 747"/>
                <a:gd name="T17" fmla="*/ 2147483647 h 496"/>
                <a:gd name="T18" fmla="*/ 2147483647 w 747"/>
                <a:gd name="T19" fmla="*/ 2147483647 h 496"/>
                <a:gd name="T20" fmla="*/ 2147483647 w 747"/>
                <a:gd name="T21" fmla="*/ 2147483647 h 496"/>
                <a:gd name="T22" fmla="*/ 2147483647 w 747"/>
                <a:gd name="T23" fmla="*/ 2147483647 h 496"/>
                <a:gd name="T24" fmla="*/ 2147483647 w 747"/>
                <a:gd name="T25" fmla="*/ 2147483647 h 496"/>
                <a:gd name="T26" fmla="*/ 2147483647 w 747"/>
                <a:gd name="T27" fmla="*/ 2147483647 h 496"/>
                <a:gd name="T28" fmla="*/ 2147483647 w 747"/>
                <a:gd name="T29" fmla="*/ 2147483647 h 496"/>
                <a:gd name="T30" fmla="*/ 2147483647 w 747"/>
                <a:gd name="T31" fmla="*/ 2147483647 h 496"/>
                <a:gd name="T32" fmla="*/ 2147483647 w 747"/>
                <a:gd name="T33" fmla="*/ 2147483647 h 496"/>
                <a:gd name="T34" fmla="*/ 2147483647 w 747"/>
                <a:gd name="T35" fmla="*/ 2147483647 h 496"/>
                <a:gd name="T36" fmla="*/ 2147483647 w 747"/>
                <a:gd name="T37" fmla="*/ 2147483647 h 496"/>
                <a:gd name="T38" fmla="*/ 2147483647 w 747"/>
                <a:gd name="T39" fmla="*/ 2147483647 h 496"/>
                <a:gd name="T40" fmla="*/ 2147483647 w 747"/>
                <a:gd name="T41" fmla="*/ 2147483647 h 496"/>
                <a:gd name="T42" fmla="*/ 2147483647 w 747"/>
                <a:gd name="T43" fmla="*/ 2147483647 h 496"/>
                <a:gd name="T44" fmla="*/ 2147483647 w 747"/>
                <a:gd name="T45" fmla="*/ 2147483647 h 496"/>
                <a:gd name="T46" fmla="*/ 2147483647 w 747"/>
                <a:gd name="T47" fmla="*/ 2147483647 h 496"/>
                <a:gd name="T48" fmla="*/ 2147483647 w 747"/>
                <a:gd name="T49" fmla="*/ 2147483647 h 496"/>
                <a:gd name="T50" fmla="*/ 2147483647 w 747"/>
                <a:gd name="T51" fmla="*/ 2147483647 h 496"/>
                <a:gd name="T52" fmla="*/ 2147483647 w 747"/>
                <a:gd name="T53" fmla="*/ 2147483647 h 496"/>
                <a:gd name="T54" fmla="*/ 2147483647 w 747"/>
                <a:gd name="T55" fmla="*/ 2147483647 h 496"/>
                <a:gd name="T56" fmla="*/ 2147483647 w 747"/>
                <a:gd name="T57" fmla="*/ 0 h 496"/>
                <a:gd name="T58" fmla="*/ 2147483647 w 747"/>
                <a:gd name="T59" fmla="*/ 2147483647 h 496"/>
                <a:gd name="T60" fmla="*/ 2147483647 w 747"/>
                <a:gd name="T61" fmla="*/ 2147483647 h 496"/>
                <a:gd name="T62" fmla="*/ 2147483647 w 747"/>
                <a:gd name="T63" fmla="*/ 2147483647 h 496"/>
                <a:gd name="T64" fmla="*/ 2147483647 w 747"/>
                <a:gd name="T65" fmla="*/ 2147483647 h 496"/>
                <a:gd name="T66" fmla="*/ 2147483647 w 747"/>
                <a:gd name="T67" fmla="*/ 2147483647 h 496"/>
                <a:gd name="T68" fmla="*/ 2147483647 w 747"/>
                <a:gd name="T69" fmla="*/ 2147483647 h 496"/>
                <a:gd name="T70" fmla="*/ 2147483647 w 747"/>
                <a:gd name="T71" fmla="*/ 2147483647 h 496"/>
                <a:gd name="T72" fmla="*/ 2147483647 w 747"/>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solidFill>
              <a:schemeClr val="bg1"/>
            </a:solidFill>
            <a:ln w="9525">
              <a:noFill/>
              <a:round/>
              <a:headEnd/>
              <a:tailEnd/>
            </a:ln>
          </p:spPr>
          <p:txBody>
            <a:bodyPr/>
            <a:lstStyle/>
            <a:p>
              <a:endParaRPr lang="zh-CN" altLang="en-US"/>
            </a:p>
          </p:txBody>
        </p:sp>
        <p:sp>
          <p:nvSpPr>
            <p:cNvPr id="141" name="Freeform 115"/>
            <p:cNvSpPr>
              <a:spLocks/>
            </p:cNvSpPr>
            <p:nvPr/>
          </p:nvSpPr>
          <p:spPr bwMode="auto">
            <a:xfrm>
              <a:off x="4358313" y="1408327"/>
              <a:ext cx="59869" cy="142933"/>
            </a:xfrm>
            <a:custGeom>
              <a:avLst/>
              <a:gdLst>
                <a:gd name="T0" fmla="*/ 2147483647 w 300"/>
                <a:gd name="T1" fmla="*/ 2147483647 h 1043"/>
                <a:gd name="T2" fmla="*/ 2147483647 w 300"/>
                <a:gd name="T3" fmla="*/ 2147483647 h 1043"/>
                <a:gd name="T4" fmla="*/ 2147483647 w 300"/>
                <a:gd name="T5" fmla="*/ 2147483647 h 1043"/>
                <a:gd name="T6" fmla="*/ 2147483647 w 300"/>
                <a:gd name="T7" fmla="*/ 2147483647 h 1043"/>
                <a:gd name="T8" fmla="*/ 2147483647 w 300"/>
                <a:gd name="T9" fmla="*/ 2147483647 h 1043"/>
                <a:gd name="T10" fmla="*/ 2147483647 w 300"/>
                <a:gd name="T11" fmla="*/ 2147483647 h 1043"/>
                <a:gd name="T12" fmla="*/ 2147483647 w 300"/>
                <a:gd name="T13" fmla="*/ 2147483647 h 1043"/>
                <a:gd name="T14" fmla="*/ 2147483647 w 300"/>
                <a:gd name="T15" fmla="*/ 2147483647 h 1043"/>
                <a:gd name="T16" fmla="*/ 2147483647 w 300"/>
                <a:gd name="T17" fmla="*/ 2147483647 h 1043"/>
                <a:gd name="T18" fmla="*/ 2147483647 w 300"/>
                <a:gd name="T19" fmla="*/ 2147483647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solidFill>
              <a:schemeClr val="bg1"/>
            </a:solidFill>
            <a:ln w="9525">
              <a:noFill/>
              <a:round/>
              <a:headEnd/>
              <a:tailEnd/>
            </a:ln>
          </p:spPr>
          <p:txBody>
            <a:bodyPr/>
            <a:lstStyle/>
            <a:p>
              <a:endParaRPr lang="zh-CN" altLang="en-US"/>
            </a:p>
          </p:txBody>
        </p:sp>
        <p:sp>
          <p:nvSpPr>
            <p:cNvPr id="142" name="Freeform 116"/>
            <p:cNvSpPr>
              <a:spLocks/>
            </p:cNvSpPr>
            <p:nvPr/>
          </p:nvSpPr>
          <p:spPr bwMode="auto">
            <a:xfrm>
              <a:off x="4238575" y="1370005"/>
              <a:ext cx="134137" cy="54894"/>
            </a:xfrm>
            <a:custGeom>
              <a:avLst/>
              <a:gdLst>
                <a:gd name="T0" fmla="*/ 2147483647 w 670"/>
                <a:gd name="T1" fmla="*/ 2147483647 h 400"/>
                <a:gd name="T2" fmla="*/ 2147483647 w 670"/>
                <a:gd name="T3" fmla="*/ 2147483647 h 400"/>
                <a:gd name="T4" fmla="*/ 2147483647 w 670"/>
                <a:gd name="T5" fmla="*/ 2147483647 h 400"/>
                <a:gd name="T6" fmla="*/ 2147483647 w 670"/>
                <a:gd name="T7" fmla="*/ 2147483647 h 400"/>
                <a:gd name="T8" fmla="*/ 2147483647 w 670"/>
                <a:gd name="T9" fmla="*/ 2147483647 h 400"/>
                <a:gd name="T10" fmla="*/ 2147483647 w 670"/>
                <a:gd name="T11" fmla="*/ 2147483647 h 400"/>
                <a:gd name="T12" fmla="*/ 2147483647 w 670"/>
                <a:gd name="T13" fmla="*/ 2147483647 h 400"/>
                <a:gd name="T14" fmla="*/ 2147483647 w 670"/>
                <a:gd name="T15" fmla="*/ 2147483647 h 400"/>
                <a:gd name="T16" fmla="*/ 2147483647 w 670"/>
                <a:gd name="T17" fmla="*/ 2147483647 h 400"/>
                <a:gd name="T18" fmla="*/ 2147483647 w 670"/>
                <a:gd name="T19" fmla="*/ 2147483647 h 400"/>
                <a:gd name="T20" fmla="*/ 2147483647 w 670"/>
                <a:gd name="T21" fmla="*/ 2147483647 h 400"/>
                <a:gd name="T22" fmla="*/ 2147483647 w 670"/>
                <a:gd name="T23" fmla="*/ 2147483647 h 400"/>
                <a:gd name="T24" fmla="*/ 2147483647 w 670"/>
                <a:gd name="T25" fmla="*/ 2147483647 h 400"/>
                <a:gd name="T26" fmla="*/ 2147483647 w 670"/>
                <a:gd name="T27" fmla="*/ 2147483647 h 400"/>
                <a:gd name="T28" fmla="*/ 2147483647 w 670"/>
                <a:gd name="T29" fmla="*/ 2147483647 h 400"/>
                <a:gd name="T30" fmla="*/ 2147483647 w 670"/>
                <a:gd name="T31" fmla="*/ 2147483647 h 400"/>
                <a:gd name="T32" fmla="*/ 2147483647 w 670"/>
                <a:gd name="T33" fmla="*/ 2147483647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solidFill>
              <a:schemeClr val="bg1"/>
            </a:solidFill>
            <a:ln w="9525">
              <a:noFill/>
              <a:round/>
              <a:headEnd/>
              <a:tailEnd/>
            </a:ln>
          </p:spPr>
          <p:txBody>
            <a:bodyPr/>
            <a:lstStyle/>
            <a:p>
              <a:endParaRPr lang="zh-CN" altLang="en-US"/>
            </a:p>
          </p:txBody>
        </p:sp>
        <p:grpSp>
          <p:nvGrpSpPr>
            <p:cNvPr id="10" name="组合 2"/>
            <p:cNvGrpSpPr>
              <a:grpSpLocks/>
            </p:cNvGrpSpPr>
            <p:nvPr/>
          </p:nvGrpSpPr>
          <p:grpSpPr bwMode="auto">
            <a:xfrm>
              <a:off x="4358457" y="1543492"/>
              <a:ext cx="108371" cy="104610"/>
              <a:chOff x="4345757" y="1543492"/>
              <a:chExt cx="108371" cy="104610"/>
            </a:xfrm>
          </p:grpSpPr>
          <p:sp>
            <p:nvSpPr>
              <p:cNvPr id="146" name="Freeform 117"/>
              <p:cNvSpPr>
                <a:spLocks/>
              </p:cNvSpPr>
              <p:nvPr/>
            </p:nvSpPr>
            <p:spPr bwMode="auto">
              <a:xfrm>
                <a:off x="4382891" y="1543492"/>
                <a:ext cx="39408" cy="85967"/>
              </a:xfrm>
              <a:custGeom>
                <a:avLst/>
                <a:gdLst>
                  <a:gd name="T0" fmla="*/ 2147483647 w 197"/>
                  <a:gd name="T1" fmla="*/ 2147483647 h 629"/>
                  <a:gd name="T2" fmla="*/ 2147483647 w 197"/>
                  <a:gd name="T3" fmla="*/ 2147483647 h 629"/>
                  <a:gd name="T4" fmla="*/ 0 w 197"/>
                  <a:gd name="T5" fmla="*/ 2147483647 h 629"/>
                  <a:gd name="T6" fmla="*/ 0 w 197"/>
                  <a:gd name="T7" fmla="*/ 2147483647 h 629"/>
                  <a:gd name="T8" fmla="*/ 2147483647 w 197"/>
                  <a:gd name="T9" fmla="*/ 0 h 629"/>
                  <a:gd name="T10" fmla="*/ 2147483647 w 197"/>
                  <a:gd name="T11" fmla="*/ 2147483647 h 629"/>
                  <a:gd name="T12" fmla="*/ 2147483647 w 197"/>
                  <a:gd name="T13" fmla="*/ 2147483647 h 629"/>
                  <a:gd name="T14" fmla="*/ 2147483647 w 197"/>
                  <a:gd name="T15" fmla="*/ 2147483647 h 629"/>
                  <a:gd name="T16" fmla="*/ 2147483647 w 197"/>
                  <a:gd name="T17" fmla="*/ 2147483647 h 629"/>
                  <a:gd name="T18" fmla="*/ 2147483647 w 197"/>
                  <a:gd name="T19" fmla="*/ 2147483647 h 629"/>
                  <a:gd name="T20" fmla="*/ 2147483647 w 197"/>
                  <a:gd name="T21" fmla="*/ 2147483647 h 629"/>
                  <a:gd name="T22" fmla="*/ 2147483647 w 197"/>
                  <a:gd name="T23" fmla="*/ 2147483647 h 629"/>
                  <a:gd name="T24" fmla="*/ 2147483647 w 197"/>
                  <a:gd name="T25" fmla="*/ 2147483647 h 629"/>
                  <a:gd name="T26" fmla="*/ 2147483647 w 197"/>
                  <a:gd name="T27" fmla="*/ 2147483647 h 629"/>
                  <a:gd name="T28" fmla="*/ 2147483647 w 197"/>
                  <a:gd name="T29" fmla="*/ 2147483647 h 629"/>
                  <a:gd name="T30" fmla="*/ 2147483647 w 197"/>
                  <a:gd name="T31" fmla="*/ 2147483647 h 629"/>
                  <a:gd name="T32" fmla="*/ 2147483647 w 197"/>
                  <a:gd name="T33" fmla="*/ 2147483647 h 629"/>
                  <a:gd name="T34" fmla="*/ 2147483647 w 197"/>
                  <a:gd name="T35" fmla="*/ 2147483647 h 629"/>
                  <a:gd name="T36" fmla="*/ 2147483647 w 197"/>
                  <a:gd name="T37" fmla="*/ 2147483647 h 629"/>
                  <a:gd name="T38" fmla="*/ 2147483647 w 197"/>
                  <a:gd name="T39" fmla="*/ 2147483647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solidFill>
                <a:schemeClr val="bg1"/>
              </a:solidFill>
              <a:ln w="9525">
                <a:noFill/>
                <a:round/>
                <a:headEnd/>
                <a:tailEnd/>
              </a:ln>
            </p:spPr>
            <p:txBody>
              <a:bodyPr/>
              <a:lstStyle/>
              <a:p>
                <a:endParaRPr lang="zh-CN" altLang="en-US"/>
              </a:p>
            </p:txBody>
          </p:sp>
          <p:sp>
            <p:nvSpPr>
              <p:cNvPr id="147" name="Freeform 118"/>
              <p:cNvSpPr>
                <a:spLocks/>
              </p:cNvSpPr>
              <p:nvPr/>
            </p:nvSpPr>
            <p:spPr bwMode="auto">
              <a:xfrm>
                <a:off x="4345757" y="1603047"/>
                <a:ext cx="108371" cy="45055"/>
              </a:xfrm>
              <a:custGeom>
                <a:avLst/>
                <a:gdLst>
                  <a:gd name="T0" fmla="*/ 2147483647 w 540"/>
                  <a:gd name="T1" fmla="*/ 2147483647 h 330"/>
                  <a:gd name="T2" fmla="*/ 2147483647 w 540"/>
                  <a:gd name="T3" fmla="*/ 2147483647 h 330"/>
                  <a:gd name="T4" fmla="*/ 2147483647 w 540"/>
                  <a:gd name="T5" fmla="*/ 2147483647 h 330"/>
                  <a:gd name="T6" fmla="*/ 2147483647 w 540"/>
                  <a:gd name="T7" fmla="*/ 2147483647 h 330"/>
                  <a:gd name="T8" fmla="*/ 0 w 540"/>
                  <a:gd name="T9" fmla="*/ 2147483647 h 330"/>
                  <a:gd name="T10" fmla="*/ 2147483647 w 540"/>
                  <a:gd name="T11" fmla="*/ 2147483647 h 330"/>
                  <a:gd name="T12" fmla="*/ 2147483647 w 540"/>
                  <a:gd name="T13" fmla="*/ 2147483647 h 330"/>
                  <a:gd name="T14" fmla="*/ 2147483647 w 540"/>
                  <a:gd name="T15" fmla="*/ 2147483647 h 330"/>
                  <a:gd name="T16" fmla="*/ 2147483647 w 540"/>
                  <a:gd name="T17" fmla="*/ 2147483647 h 330"/>
                  <a:gd name="T18" fmla="*/ 2147483647 w 540"/>
                  <a:gd name="T19" fmla="*/ 2147483647 h 330"/>
                  <a:gd name="T20" fmla="*/ 2147483647 w 540"/>
                  <a:gd name="T21" fmla="*/ 2147483647 h 330"/>
                  <a:gd name="T22" fmla="*/ 2147483647 w 540"/>
                  <a:gd name="T23" fmla="*/ 2147483647 h 330"/>
                  <a:gd name="T24" fmla="*/ 2147483647 w 540"/>
                  <a:gd name="T25" fmla="*/ 2147483647 h 330"/>
                  <a:gd name="T26" fmla="*/ 2147483647 w 540"/>
                  <a:gd name="T27" fmla="*/ 2147483647 h 330"/>
                  <a:gd name="T28" fmla="*/ 2147483647 w 540"/>
                  <a:gd name="T29" fmla="*/ 2147483647 h 330"/>
                  <a:gd name="T30" fmla="*/ 2147483647 w 540"/>
                  <a:gd name="T31" fmla="*/ 2147483647 h 330"/>
                  <a:gd name="T32" fmla="*/ 2147483647 w 540"/>
                  <a:gd name="T33" fmla="*/ 2147483647 h 330"/>
                  <a:gd name="T34" fmla="*/ 2147483647 w 540"/>
                  <a:gd name="T35" fmla="*/ 2147483647 h 330"/>
                  <a:gd name="T36" fmla="*/ 2147483647 w 540"/>
                  <a:gd name="T37" fmla="*/ 2147483647 h 330"/>
                  <a:gd name="T38" fmla="*/ 2147483647 w 540"/>
                  <a:gd name="T39" fmla="*/ 2147483647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solidFill>
                <a:schemeClr val="bg1"/>
              </a:solidFill>
              <a:ln w="9525">
                <a:noFill/>
                <a:round/>
                <a:headEnd/>
                <a:tailEnd/>
              </a:ln>
            </p:spPr>
            <p:txBody>
              <a:bodyPr/>
              <a:lstStyle/>
              <a:p>
                <a:endParaRPr lang="zh-CN" altLang="en-US"/>
              </a:p>
            </p:txBody>
          </p:sp>
          <p:sp>
            <p:nvSpPr>
              <p:cNvPr id="148" name="Freeform 119"/>
              <p:cNvSpPr>
                <a:spLocks/>
              </p:cNvSpPr>
              <p:nvPr/>
            </p:nvSpPr>
            <p:spPr bwMode="auto">
              <a:xfrm>
                <a:off x="4401837" y="1562135"/>
                <a:ext cx="27282" cy="19161"/>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sp>
            <p:nvSpPr>
              <p:cNvPr id="149" name="Freeform 120"/>
              <p:cNvSpPr>
                <a:spLocks/>
              </p:cNvSpPr>
              <p:nvPr/>
            </p:nvSpPr>
            <p:spPr bwMode="auto">
              <a:xfrm>
                <a:off x="4401837" y="1591654"/>
                <a:ext cx="27282" cy="18643"/>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grpSp>
        <p:sp>
          <p:nvSpPr>
            <p:cNvPr id="144" name="Freeform 121"/>
            <p:cNvSpPr>
              <a:spLocks/>
            </p:cNvSpPr>
            <p:nvPr/>
          </p:nvSpPr>
          <p:spPr bwMode="auto">
            <a:xfrm>
              <a:off x="4287834" y="1336861"/>
              <a:ext cx="92456" cy="37287"/>
            </a:xfrm>
            <a:custGeom>
              <a:avLst/>
              <a:gdLst>
                <a:gd name="T0" fmla="*/ 2147483647 w 462"/>
                <a:gd name="T1" fmla="*/ 2147483647 h 272"/>
                <a:gd name="T2" fmla="*/ 2147483647 w 462"/>
                <a:gd name="T3" fmla="*/ 2147483647 h 272"/>
                <a:gd name="T4" fmla="*/ 2147483647 w 462"/>
                <a:gd name="T5" fmla="*/ 2147483647 h 272"/>
                <a:gd name="T6" fmla="*/ 2147483647 w 462"/>
                <a:gd name="T7" fmla="*/ 2147483647 h 272"/>
                <a:gd name="T8" fmla="*/ 2147483647 w 462"/>
                <a:gd name="T9" fmla="*/ 2147483647 h 272"/>
                <a:gd name="T10" fmla="*/ 2147483647 w 462"/>
                <a:gd name="T11" fmla="*/ 2147483647 h 272"/>
                <a:gd name="T12" fmla="*/ 2147483647 w 462"/>
                <a:gd name="T13" fmla="*/ 2147483647 h 272"/>
                <a:gd name="T14" fmla="*/ 2147483647 w 462"/>
                <a:gd name="T15" fmla="*/ 2147483647 h 272"/>
                <a:gd name="T16" fmla="*/ 2147483647 w 462"/>
                <a:gd name="T17" fmla="*/ 2147483647 h 272"/>
                <a:gd name="T18" fmla="*/ 2147483647 w 462"/>
                <a:gd name="T19" fmla="*/ 2147483647 h 272"/>
                <a:gd name="T20" fmla="*/ 2147483647 w 462"/>
                <a:gd name="T21" fmla="*/ 2147483647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solidFill>
              <a:schemeClr val="bg1"/>
            </a:solidFill>
            <a:ln w="9525">
              <a:noFill/>
              <a:round/>
              <a:headEnd/>
              <a:tailEnd/>
            </a:ln>
          </p:spPr>
          <p:txBody>
            <a:bodyPr/>
            <a:lstStyle/>
            <a:p>
              <a:endParaRPr lang="zh-CN" altLang="en-US"/>
            </a:p>
          </p:txBody>
        </p:sp>
        <p:sp>
          <p:nvSpPr>
            <p:cNvPr id="145" name="Freeform 122"/>
            <p:cNvSpPr>
              <a:spLocks/>
            </p:cNvSpPr>
            <p:nvPr/>
          </p:nvSpPr>
          <p:spPr bwMode="auto">
            <a:xfrm>
              <a:off x="4304507" y="1356022"/>
              <a:ext cx="46228" cy="20715"/>
            </a:xfrm>
            <a:custGeom>
              <a:avLst/>
              <a:gdLst>
                <a:gd name="T0" fmla="*/ 2147483647 w 228"/>
                <a:gd name="T1" fmla="*/ 2147483647 h 148"/>
                <a:gd name="T2" fmla="*/ 2147483647 w 228"/>
                <a:gd name="T3" fmla="*/ 2147483647 h 148"/>
                <a:gd name="T4" fmla="*/ 2147483647 w 228"/>
                <a:gd name="T5" fmla="*/ 2147483647 h 148"/>
                <a:gd name="T6" fmla="*/ 2147483647 w 228"/>
                <a:gd name="T7" fmla="*/ 2147483647 h 148"/>
                <a:gd name="T8" fmla="*/ 2147483647 w 228"/>
                <a:gd name="T9" fmla="*/ 2147483647 h 148"/>
                <a:gd name="T10" fmla="*/ 2147483647 w 228"/>
                <a:gd name="T11" fmla="*/ 2147483647 h 148"/>
                <a:gd name="T12" fmla="*/ 2147483647 w 228"/>
                <a:gd name="T13" fmla="*/ 2147483647 h 148"/>
                <a:gd name="T14" fmla="*/ 2147483647 w 228"/>
                <a:gd name="T15" fmla="*/ 2147483647 h 148"/>
                <a:gd name="T16" fmla="*/ 2147483647 w 228"/>
                <a:gd name="T17" fmla="*/ 2147483647 h 148"/>
                <a:gd name="T18" fmla="*/ 2147483647 w 228"/>
                <a:gd name="T19" fmla="*/ 2147483647 h 148"/>
                <a:gd name="T20" fmla="*/ 2147483647 w 228"/>
                <a:gd name="T21" fmla="*/ 2147483647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solidFill>
              <a:schemeClr val="bg1"/>
            </a:solidFill>
            <a:ln w="9525">
              <a:noFill/>
              <a:round/>
              <a:headEnd/>
              <a:tailEnd/>
            </a:ln>
          </p:spPr>
          <p:txBody>
            <a:bodyPr/>
            <a:lstStyle/>
            <a:p>
              <a:endParaRPr lang="zh-CN" altLang="en-US"/>
            </a:p>
          </p:txBody>
        </p:sp>
      </p:grpSp>
      <p:pic>
        <p:nvPicPr>
          <p:cNvPr id="172"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66325" y="5476950"/>
            <a:ext cx="251816" cy="134559"/>
          </a:xfrm>
          <a:prstGeom prst="rect">
            <a:avLst/>
          </a:prstGeom>
          <a:noFill/>
          <a:ln w="9525">
            <a:noFill/>
            <a:miter lim="800000"/>
            <a:headEnd/>
            <a:tailEnd/>
          </a:ln>
          <a:effectLst/>
        </p:spPr>
      </p:pic>
      <p:grpSp>
        <p:nvGrpSpPr>
          <p:cNvPr id="11" name="组合 244"/>
          <p:cNvGrpSpPr/>
          <p:nvPr/>
        </p:nvGrpSpPr>
        <p:grpSpPr>
          <a:xfrm>
            <a:off x="2665357" y="4387370"/>
            <a:ext cx="742534" cy="291960"/>
            <a:chOff x="2690757" y="4425206"/>
            <a:chExt cx="742534" cy="291960"/>
          </a:xfrm>
        </p:grpSpPr>
        <p:sp>
          <p:nvSpPr>
            <p:cNvPr id="184" name="Freeform 75"/>
            <p:cNvSpPr>
              <a:spLocks noChangeAspect="1"/>
            </p:cNvSpPr>
            <p:nvPr/>
          </p:nvSpPr>
          <p:spPr bwMode="auto">
            <a:xfrm>
              <a:off x="2736902" y="4437906"/>
              <a:ext cx="678599" cy="279260"/>
            </a:xfrm>
            <a:custGeom>
              <a:avLst/>
              <a:gdLst>
                <a:gd name="T0" fmla="*/ 946 w 1341"/>
                <a:gd name="T1" fmla="*/ 0 h 553"/>
                <a:gd name="T2" fmla="*/ 1218 w 1341"/>
                <a:gd name="T3" fmla="*/ 384 h 553"/>
                <a:gd name="T4" fmla="*/ 1340 w 1341"/>
                <a:gd name="T5" fmla="*/ 383 h 553"/>
                <a:gd name="T6" fmla="*/ 1340 w 1341"/>
                <a:gd name="T7" fmla="*/ 549 h 553"/>
                <a:gd name="T8" fmla="*/ 1119 w 1341"/>
                <a:gd name="T9" fmla="*/ 552 h 553"/>
                <a:gd name="T10" fmla="*/ 862 w 1341"/>
                <a:gd name="T11" fmla="*/ 186 h 553"/>
                <a:gd name="T12" fmla="*/ 0 w 1341"/>
                <a:gd name="T13" fmla="*/ 184 h 553"/>
                <a:gd name="T14" fmla="*/ 0 w 1341"/>
                <a:gd name="T15" fmla="*/ 0 h 553"/>
                <a:gd name="T16" fmla="*/ 0 60000 65536"/>
                <a:gd name="T17" fmla="*/ 0 60000 65536"/>
                <a:gd name="T18" fmla="*/ 0 60000 65536"/>
                <a:gd name="T19" fmla="*/ 0 60000 65536"/>
                <a:gd name="T20" fmla="*/ 0 60000 65536"/>
                <a:gd name="T21" fmla="*/ 0 60000 65536"/>
                <a:gd name="T22" fmla="*/ 0 60000 65536"/>
                <a:gd name="T23" fmla="*/ 0 60000 65536"/>
                <a:gd name="T24" fmla="*/ 0 w 1341"/>
                <a:gd name="T25" fmla="*/ 0 h 553"/>
                <a:gd name="T26" fmla="*/ 1341 w 1341"/>
                <a:gd name="T27" fmla="*/ 553 h 5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41" h="553">
                  <a:moveTo>
                    <a:pt x="946" y="0"/>
                  </a:moveTo>
                  <a:lnTo>
                    <a:pt x="1218" y="384"/>
                  </a:lnTo>
                  <a:lnTo>
                    <a:pt x="1340" y="383"/>
                  </a:lnTo>
                  <a:lnTo>
                    <a:pt x="1340" y="549"/>
                  </a:lnTo>
                  <a:lnTo>
                    <a:pt x="1119" y="552"/>
                  </a:lnTo>
                  <a:lnTo>
                    <a:pt x="862" y="186"/>
                  </a:lnTo>
                  <a:lnTo>
                    <a:pt x="0" y="184"/>
                  </a:lnTo>
                  <a:lnTo>
                    <a:pt x="0" y="0"/>
                  </a:lnTo>
                </a:path>
              </a:pathLst>
            </a:custGeom>
            <a:gradFill rotWithShape="0">
              <a:gsLst>
                <a:gs pos="0">
                  <a:srgbClr val="6600FF"/>
                </a:gs>
                <a:gs pos="100000">
                  <a:srgbClr val="1A0042"/>
                </a:gs>
              </a:gsLst>
              <a:lin ang="0" scaled="1"/>
            </a:gradFill>
            <a:ln w="9525" cap="rnd">
              <a:noFill/>
              <a:round/>
              <a:headEnd type="none" w="sm" len="sm"/>
              <a:tailEnd type="none" w="sm" len="sm"/>
            </a:ln>
          </p:spPr>
          <p:txBody>
            <a:bodyPr wrap="none" lIns="237492" tIns="118747" rIns="237492" bIns="118747">
              <a:spAutoFit/>
            </a:bodyPr>
            <a:lstStyle/>
            <a:p>
              <a:endParaRPr lang="zh-CN" altLang="en-US"/>
            </a:p>
          </p:txBody>
        </p:sp>
        <p:sp>
          <p:nvSpPr>
            <p:cNvPr id="185" name="Freeform 76"/>
            <p:cNvSpPr>
              <a:spLocks noChangeAspect="1"/>
            </p:cNvSpPr>
            <p:nvPr/>
          </p:nvSpPr>
          <p:spPr bwMode="auto">
            <a:xfrm>
              <a:off x="2728006" y="4441141"/>
              <a:ext cx="705285" cy="196752"/>
            </a:xfrm>
            <a:custGeom>
              <a:avLst/>
              <a:gdLst>
                <a:gd name="T0" fmla="*/ 0 w 1392"/>
                <a:gd name="T1" fmla="*/ 0 h 388"/>
                <a:gd name="T2" fmla="*/ 940 w 1392"/>
                <a:gd name="T3" fmla="*/ 0 h 388"/>
                <a:gd name="T4" fmla="*/ 1208 w 1392"/>
                <a:gd name="T5" fmla="*/ 388 h 388"/>
                <a:gd name="T6" fmla="*/ 1392 w 1392"/>
                <a:gd name="T7" fmla="*/ 388 h 388"/>
                <a:gd name="T8" fmla="*/ 0 60000 65536"/>
                <a:gd name="T9" fmla="*/ 0 60000 65536"/>
                <a:gd name="T10" fmla="*/ 0 60000 65536"/>
                <a:gd name="T11" fmla="*/ 0 60000 65536"/>
                <a:gd name="T12" fmla="*/ 0 w 1392"/>
                <a:gd name="T13" fmla="*/ 0 h 388"/>
                <a:gd name="T14" fmla="*/ 1392 w 1392"/>
                <a:gd name="T15" fmla="*/ 388 h 388"/>
              </a:gdLst>
              <a:ahLst/>
              <a:cxnLst>
                <a:cxn ang="T8">
                  <a:pos x="T0" y="T1"/>
                </a:cxn>
                <a:cxn ang="T9">
                  <a:pos x="T2" y="T3"/>
                </a:cxn>
                <a:cxn ang="T10">
                  <a:pos x="T4" y="T5"/>
                </a:cxn>
                <a:cxn ang="T11">
                  <a:pos x="T6" y="T7"/>
                </a:cxn>
              </a:cxnLst>
              <a:rect l="T12" t="T13" r="T14" b="T15"/>
              <a:pathLst>
                <a:path w="1392" h="388">
                  <a:moveTo>
                    <a:pt x="0" y="0"/>
                  </a:moveTo>
                  <a:lnTo>
                    <a:pt x="940" y="0"/>
                  </a:lnTo>
                  <a:lnTo>
                    <a:pt x="1208" y="388"/>
                  </a:lnTo>
                  <a:lnTo>
                    <a:pt x="1392" y="388"/>
                  </a:lnTo>
                </a:path>
              </a:pathLst>
            </a:custGeom>
            <a:noFill/>
            <a:ln w="28575" cmpd="sng">
              <a:solidFill>
                <a:srgbClr val="AD75FF"/>
              </a:solidFill>
              <a:round/>
              <a:headEnd type="none" w="sm" len="sm"/>
              <a:tailEnd type="none" w="sm" len="sm"/>
            </a:ln>
          </p:spPr>
          <p:txBody>
            <a:bodyPr wrap="none" lIns="237492" tIns="118747" rIns="237492" bIns="118747">
              <a:spAutoFit/>
            </a:bodyPr>
            <a:lstStyle/>
            <a:p>
              <a:endParaRPr lang="zh-CN" altLang="en-US"/>
            </a:p>
          </p:txBody>
        </p:sp>
        <p:sp>
          <p:nvSpPr>
            <p:cNvPr id="194" name="Oval 85"/>
            <p:cNvSpPr>
              <a:spLocks noChangeAspect="1" noChangeArrowheads="1"/>
            </p:cNvSpPr>
            <p:nvPr/>
          </p:nvSpPr>
          <p:spPr bwMode="auto">
            <a:xfrm>
              <a:off x="2690757" y="4425206"/>
              <a:ext cx="50831" cy="93933"/>
            </a:xfrm>
            <a:prstGeom prst="ellipse">
              <a:avLst/>
            </a:prstGeom>
            <a:gradFill rotWithShape="0">
              <a:gsLst>
                <a:gs pos="0">
                  <a:srgbClr val="6600FF"/>
                </a:gs>
                <a:gs pos="100000">
                  <a:srgbClr val="000000"/>
                </a:gs>
              </a:gsLst>
              <a:lin ang="18900000" scaled="1"/>
            </a:gradFill>
            <a:ln w="9525">
              <a:noFill/>
              <a:round/>
              <a:headEnd/>
              <a:tailEnd/>
            </a:ln>
          </p:spPr>
          <p:txBody>
            <a:bodyPr wrap="none" lIns="237492" tIns="118747" rIns="237492" bIns="118747">
              <a:spAutoFit/>
            </a:bodyPr>
            <a:lstStyle/>
            <a:p>
              <a:endParaRPr lang="zh-CN" altLang="en-US"/>
            </a:p>
          </p:txBody>
        </p:sp>
      </p:grpSp>
      <p:grpSp>
        <p:nvGrpSpPr>
          <p:cNvPr id="12" name="组合 245"/>
          <p:cNvGrpSpPr/>
          <p:nvPr/>
        </p:nvGrpSpPr>
        <p:grpSpPr>
          <a:xfrm>
            <a:off x="2591644" y="5156603"/>
            <a:ext cx="823468" cy="289415"/>
            <a:chOff x="2604344" y="5156603"/>
            <a:chExt cx="823468" cy="289415"/>
          </a:xfrm>
        </p:grpSpPr>
        <p:sp>
          <p:nvSpPr>
            <p:cNvPr id="186" name="Freeform 77"/>
            <p:cNvSpPr>
              <a:spLocks noChangeAspect="1"/>
            </p:cNvSpPr>
            <p:nvPr/>
          </p:nvSpPr>
          <p:spPr bwMode="auto">
            <a:xfrm>
              <a:off x="2629760" y="5160411"/>
              <a:ext cx="778991" cy="285607"/>
            </a:xfrm>
            <a:custGeom>
              <a:avLst/>
              <a:gdLst/>
              <a:ahLst/>
              <a:cxnLst>
                <a:cxn ang="0">
                  <a:pos x="0" y="565"/>
                </a:cxn>
                <a:cxn ang="0">
                  <a:pos x="942" y="565"/>
                </a:cxn>
                <a:cxn ang="0">
                  <a:pos x="1229" y="164"/>
                </a:cxn>
                <a:cxn ang="0">
                  <a:pos x="1540" y="164"/>
                </a:cxn>
                <a:cxn ang="0">
                  <a:pos x="1540" y="2"/>
                </a:cxn>
                <a:cxn ang="0">
                  <a:pos x="1128" y="0"/>
                </a:cxn>
                <a:cxn ang="0">
                  <a:pos x="859" y="375"/>
                </a:cxn>
                <a:cxn ang="0">
                  <a:pos x="1" y="373"/>
                </a:cxn>
              </a:cxnLst>
              <a:rect l="0" t="0" r="r" b="b"/>
              <a:pathLst>
                <a:path w="1540" h="565">
                  <a:moveTo>
                    <a:pt x="0" y="565"/>
                  </a:moveTo>
                  <a:lnTo>
                    <a:pt x="942" y="565"/>
                  </a:lnTo>
                  <a:lnTo>
                    <a:pt x="1229" y="164"/>
                  </a:lnTo>
                  <a:lnTo>
                    <a:pt x="1540" y="164"/>
                  </a:lnTo>
                  <a:lnTo>
                    <a:pt x="1540" y="2"/>
                  </a:lnTo>
                  <a:lnTo>
                    <a:pt x="1128" y="0"/>
                  </a:lnTo>
                  <a:lnTo>
                    <a:pt x="859" y="375"/>
                  </a:lnTo>
                  <a:lnTo>
                    <a:pt x="1" y="373"/>
                  </a:lnTo>
                </a:path>
              </a:pathLst>
            </a:custGeom>
            <a:gradFill rotWithShape="0">
              <a:gsLst>
                <a:gs pos="0">
                  <a:schemeClr val="accent2"/>
                </a:gs>
                <a:gs pos="100000">
                  <a:schemeClr val="accent2">
                    <a:gamma/>
                    <a:shade val="16078"/>
                    <a:invGamma/>
                  </a:schemeClr>
                </a:gs>
              </a:gsLst>
              <a:lin ang="0" scaled="1"/>
            </a:gradFill>
            <a:ln w="9525" cap="rnd">
              <a:noFill/>
              <a:round/>
              <a:headEnd type="none" w="sm" len="sm"/>
              <a:tailEnd type="none" w="sm" len="sm"/>
            </a:ln>
            <a:effectLst/>
          </p:spPr>
          <p:txBody>
            <a:bodyPr wrap="none" lIns="237492" tIns="118747" rIns="237492" bIns="118747">
              <a:spAutoFit/>
            </a:bodyPr>
            <a:lstStyle/>
            <a:p>
              <a:pPr>
                <a:defRPr/>
              </a:pPr>
              <a:endParaRPr lang="zh-CN" altLang="en-US"/>
            </a:p>
          </p:txBody>
        </p:sp>
        <p:sp>
          <p:nvSpPr>
            <p:cNvPr id="187" name="Freeform 78"/>
            <p:cNvSpPr>
              <a:spLocks noChangeAspect="1"/>
            </p:cNvSpPr>
            <p:nvPr/>
          </p:nvSpPr>
          <p:spPr bwMode="auto">
            <a:xfrm>
              <a:off x="2632301" y="5156603"/>
              <a:ext cx="795511" cy="206906"/>
            </a:xfrm>
            <a:custGeom>
              <a:avLst/>
              <a:gdLst>
                <a:gd name="T0" fmla="*/ 0 w 1572"/>
                <a:gd name="T1" fmla="*/ 404 h 408"/>
                <a:gd name="T2" fmla="*/ 864 w 1572"/>
                <a:gd name="T3" fmla="*/ 408 h 408"/>
                <a:gd name="T4" fmla="*/ 1156 w 1572"/>
                <a:gd name="T5" fmla="*/ 0 h 408"/>
                <a:gd name="T6" fmla="*/ 1572 w 1572"/>
                <a:gd name="T7" fmla="*/ 0 h 408"/>
                <a:gd name="T8" fmla="*/ 0 60000 65536"/>
                <a:gd name="T9" fmla="*/ 0 60000 65536"/>
                <a:gd name="T10" fmla="*/ 0 60000 65536"/>
                <a:gd name="T11" fmla="*/ 0 60000 65536"/>
                <a:gd name="T12" fmla="*/ 0 w 1572"/>
                <a:gd name="T13" fmla="*/ 0 h 408"/>
                <a:gd name="T14" fmla="*/ 1572 w 1572"/>
                <a:gd name="T15" fmla="*/ 408 h 408"/>
              </a:gdLst>
              <a:ahLst/>
              <a:cxnLst>
                <a:cxn ang="T8">
                  <a:pos x="T0" y="T1"/>
                </a:cxn>
                <a:cxn ang="T9">
                  <a:pos x="T2" y="T3"/>
                </a:cxn>
                <a:cxn ang="T10">
                  <a:pos x="T4" y="T5"/>
                </a:cxn>
                <a:cxn ang="T11">
                  <a:pos x="T6" y="T7"/>
                </a:cxn>
              </a:cxnLst>
              <a:rect l="T12" t="T13" r="T14" b="T15"/>
              <a:pathLst>
                <a:path w="1572" h="408">
                  <a:moveTo>
                    <a:pt x="0" y="404"/>
                  </a:moveTo>
                  <a:lnTo>
                    <a:pt x="864" y="408"/>
                  </a:lnTo>
                  <a:lnTo>
                    <a:pt x="1156" y="0"/>
                  </a:lnTo>
                  <a:lnTo>
                    <a:pt x="1572" y="0"/>
                  </a:lnTo>
                </a:path>
              </a:pathLst>
            </a:custGeom>
            <a:noFill/>
            <a:ln w="28575" cmpd="sng">
              <a:solidFill>
                <a:srgbClr val="F23655"/>
              </a:solidFill>
              <a:round/>
              <a:headEnd type="none" w="sm" len="sm"/>
              <a:tailEnd type="none" w="sm" len="sm"/>
            </a:ln>
          </p:spPr>
          <p:txBody>
            <a:bodyPr wrap="none" lIns="237492" tIns="118747" rIns="237492" bIns="118747">
              <a:spAutoFit/>
            </a:bodyPr>
            <a:lstStyle/>
            <a:p>
              <a:endParaRPr lang="zh-CN" altLang="en-US"/>
            </a:p>
          </p:txBody>
        </p:sp>
        <p:sp>
          <p:nvSpPr>
            <p:cNvPr id="197" name="Oval 88"/>
            <p:cNvSpPr>
              <a:spLocks noChangeAspect="1" noChangeArrowheads="1"/>
            </p:cNvSpPr>
            <p:nvPr/>
          </p:nvSpPr>
          <p:spPr bwMode="auto">
            <a:xfrm>
              <a:off x="2604344" y="5347008"/>
              <a:ext cx="47019" cy="96472"/>
            </a:xfrm>
            <a:prstGeom prst="ellipse">
              <a:avLst/>
            </a:prstGeom>
            <a:gradFill rotWithShape="0">
              <a:gsLst>
                <a:gs pos="0">
                  <a:schemeClr val="accent2"/>
                </a:gs>
                <a:gs pos="100000">
                  <a:schemeClr val="accent2">
                    <a:gamma/>
                    <a:shade val="26275"/>
                    <a:invGamma/>
                  </a:schemeClr>
                </a:gs>
              </a:gsLst>
              <a:lin ang="18900000" scaled="1"/>
            </a:gradFill>
            <a:ln w="9525">
              <a:solidFill>
                <a:srgbClr val="F23655"/>
              </a:solidFill>
              <a:round/>
              <a:headEnd/>
              <a:tailEnd/>
            </a:ln>
            <a:effectLst/>
          </p:spPr>
          <p:txBody>
            <a:bodyPr wrap="none" lIns="237492" tIns="118747" rIns="237492" bIns="118747">
              <a:spAutoFit/>
            </a:bodyPr>
            <a:lstStyle/>
            <a:p>
              <a:pPr>
                <a:defRPr/>
              </a:pPr>
              <a:endParaRPr lang="zh-CN" altLang="en-US"/>
            </a:p>
          </p:txBody>
        </p:sp>
      </p:grpSp>
      <p:grpSp>
        <p:nvGrpSpPr>
          <p:cNvPr id="15" name="组合 247"/>
          <p:cNvGrpSpPr/>
          <p:nvPr/>
        </p:nvGrpSpPr>
        <p:grpSpPr>
          <a:xfrm>
            <a:off x="2450579" y="4954516"/>
            <a:ext cx="951817" cy="224678"/>
            <a:chOff x="2450579" y="4884835"/>
            <a:chExt cx="951817" cy="224678"/>
          </a:xfrm>
        </p:grpSpPr>
        <p:sp>
          <p:nvSpPr>
            <p:cNvPr id="188" name="Freeform 79"/>
            <p:cNvSpPr>
              <a:spLocks noChangeAspect="1"/>
            </p:cNvSpPr>
            <p:nvPr/>
          </p:nvSpPr>
          <p:spPr bwMode="auto">
            <a:xfrm>
              <a:off x="2478536" y="4884835"/>
              <a:ext cx="923860" cy="224678"/>
            </a:xfrm>
            <a:custGeom>
              <a:avLst/>
              <a:gdLst>
                <a:gd name="T0" fmla="*/ 0 w 1827"/>
                <a:gd name="T1" fmla="*/ 441 h 442"/>
                <a:gd name="T2" fmla="*/ 946 w 1827"/>
                <a:gd name="T3" fmla="*/ 440 h 442"/>
                <a:gd name="T4" fmla="*/ 1134 w 1827"/>
                <a:gd name="T5" fmla="*/ 160 h 442"/>
                <a:gd name="T6" fmla="*/ 1826 w 1827"/>
                <a:gd name="T7" fmla="*/ 160 h 442"/>
                <a:gd name="T8" fmla="*/ 1826 w 1827"/>
                <a:gd name="T9" fmla="*/ 0 h 442"/>
                <a:gd name="T10" fmla="*/ 1022 w 1827"/>
                <a:gd name="T11" fmla="*/ 4 h 442"/>
                <a:gd name="T12" fmla="*/ 853 w 1827"/>
                <a:gd name="T13" fmla="*/ 251 h 442"/>
                <a:gd name="T14" fmla="*/ 0 w 1827"/>
                <a:gd name="T15" fmla="*/ 252 h 442"/>
                <a:gd name="T16" fmla="*/ 0 60000 65536"/>
                <a:gd name="T17" fmla="*/ 0 60000 65536"/>
                <a:gd name="T18" fmla="*/ 0 60000 65536"/>
                <a:gd name="T19" fmla="*/ 0 60000 65536"/>
                <a:gd name="T20" fmla="*/ 0 60000 65536"/>
                <a:gd name="T21" fmla="*/ 0 60000 65536"/>
                <a:gd name="T22" fmla="*/ 0 60000 65536"/>
                <a:gd name="T23" fmla="*/ 0 60000 65536"/>
                <a:gd name="T24" fmla="*/ 0 w 1827"/>
                <a:gd name="T25" fmla="*/ 0 h 442"/>
                <a:gd name="T26" fmla="*/ 1827 w 1827"/>
                <a:gd name="T27" fmla="*/ 442 h 4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27" h="442">
                  <a:moveTo>
                    <a:pt x="0" y="441"/>
                  </a:moveTo>
                  <a:lnTo>
                    <a:pt x="946" y="440"/>
                  </a:lnTo>
                  <a:lnTo>
                    <a:pt x="1134" y="160"/>
                  </a:lnTo>
                  <a:lnTo>
                    <a:pt x="1826" y="160"/>
                  </a:lnTo>
                  <a:lnTo>
                    <a:pt x="1826" y="0"/>
                  </a:lnTo>
                  <a:lnTo>
                    <a:pt x="1022" y="4"/>
                  </a:lnTo>
                  <a:lnTo>
                    <a:pt x="853" y="251"/>
                  </a:lnTo>
                  <a:lnTo>
                    <a:pt x="0" y="252"/>
                  </a:lnTo>
                </a:path>
              </a:pathLst>
            </a:custGeom>
            <a:gradFill rotWithShape="0">
              <a:gsLst>
                <a:gs pos="0">
                  <a:srgbClr val="FFFF00"/>
                </a:gs>
                <a:gs pos="100000">
                  <a:srgbClr val="767600"/>
                </a:gs>
              </a:gsLst>
              <a:lin ang="0" scaled="1"/>
            </a:gradFill>
            <a:ln w="9525" cap="rnd">
              <a:noFill/>
              <a:round/>
              <a:headEnd type="none" w="sm" len="sm"/>
              <a:tailEnd type="none" w="sm" len="sm"/>
            </a:ln>
          </p:spPr>
          <p:txBody>
            <a:bodyPr wrap="none" lIns="237492" tIns="118747" rIns="237492" bIns="118747">
              <a:spAutoFit/>
            </a:bodyPr>
            <a:lstStyle/>
            <a:p>
              <a:endParaRPr lang="zh-CN" altLang="en-US"/>
            </a:p>
          </p:txBody>
        </p:sp>
        <p:sp>
          <p:nvSpPr>
            <p:cNvPr id="189" name="Freeform 80"/>
            <p:cNvSpPr>
              <a:spLocks noChangeAspect="1"/>
            </p:cNvSpPr>
            <p:nvPr/>
          </p:nvSpPr>
          <p:spPr bwMode="auto">
            <a:xfrm>
              <a:off x="2478536" y="4893721"/>
              <a:ext cx="687494" cy="129475"/>
            </a:xfrm>
            <a:custGeom>
              <a:avLst/>
              <a:gdLst>
                <a:gd name="T0" fmla="*/ 0 w 1360"/>
                <a:gd name="T1" fmla="*/ 248 h 252"/>
                <a:gd name="T2" fmla="*/ 864 w 1360"/>
                <a:gd name="T3" fmla="*/ 252 h 252"/>
                <a:gd name="T4" fmla="*/ 1040 w 1360"/>
                <a:gd name="T5" fmla="*/ 4 h 252"/>
                <a:gd name="T6" fmla="*/ 1360 w 1360"/>
                <a:gd name="T7" fmla="*/ 0 h 252"/>
                <a:gd name="T8" fmla="*/ 0 60000 65536"/>
                <a:gd name="T9" fmla="*/ 0 60000 65536"/>
                <a:gd name="T10" fmla="*/ 0 60000 65536"/>
                <a:gd name="T11" fmla="*/ 0 60000 65536"/>
                <a:gd name="T12" fmla="*/ 0 w 1360"/>
                <a:gd name="T13" fmla="*/ 0 h 252"/>
                <a:gd name="T14" fmla="*/ 1360 w 1360"/>
                <a:gd name="T15" fmla="*/ 252 h 252"/>
              </a:gdLst>
              <a:ahLst/>
              <a:cxnLst>
                <a:cxn ang="T8">
                  <a:pos x="T0" y="T1"/>
                </a:cxn>
                <a:cxn ang="T9">
                  <a:pos x="T2" y="T3"/>
                </a:cxn>
                <a:cxn ang="T10">
                  <a:pos x="T4" y="T5"/>
                </a:cxn>
                <a:cxn ang="T11">
                  <a:pos x="T6" y="T7"/>
                </a:cxn>
              </a:cxnLst>
              <a:rect l="T12" t="T13" r="T14" b="T15"/>
              <a:pathLst>
                <a:path w="1360" h="252">
                  <a:moveTo>
                    <a:pt x="0" y="248"/>
                  </a:moveTo>
                  <a:lnTo>
                    <a:pt x="864" y="252"/>
                  </a:lnTo>
                  <a:lnTo>
                    <a:pt x="1040" y="4"/>
                  </a:lnTo>
                  <a:lnTo>
                    <a:pt x="1360" y="0"/>
                  </a:lnTo>
                </a:path>
              </a:pathLst>
            </a:custGeom>
            <a:noFill/>
            <a:ln w="28575" cmpd="sng">
              <a:solidFill>
                <a:srgbClr val="FFFF66"/>
              </a:solidFill>
              <a:round/>
              <a:headEnd type="none" w="sm" len="sm"/>
              <a:tailEnd type="none" w="sm" len="sm"/>
            </a:ln>
          </p:spPr>
          <p:txBody>
            <a:bodyPr wrap="none" lIns="237492" tIns="118747" rIns="237492" bIns="118747">
              <a:spAutoFit/>
            </a:bodyPr>
            <a:lstStyle/>
            <a:p>
              <a:endParaRPr lang="zh-CN" altLang="en-US"/>
            </a:p>
          </p:txBody>
        </p:sp>
        <p:sp>
          <p:nvSpPr>
            <p:cNvPr id="204" name="Oval 95"/>
            <p:cNvSpPr>
              <a:spLocks noChangeAspect="1" noChangeArrowheads="1"/>
            </p:cNvSpPr>
            <p:nvPr/>
          </p:nvSpPr>
          <p:spPr bwMode="auto">
            <a:xfrm>
              <a:off x="2450579" y="5013041"/>
              <a:ext cx="52102" cy="95202"/>
            </a:xfrm>
            <a:prstGeom prst="ellipse">
              <a:avLst/>
            </a:prstGeom>
            <a:gradFill rotWithShape="0">
              <a:gsLst>
                <a:gs pos="0">
                  <a:srgbClr val="FFFF00"/>
                </a:gs>
                <a:gs pos="100000">
                  <a:srgbClr val="767600"/>
                </a:gs>
              </a:gsLst>
              <a:lin ang="18900000" scaled="1"/>
            </a:gradFill>
            <a:ln w="9525">
              <a:solidFill>
                <a:srgbClr val="FFFF99"/>
              </a:solidFill>
              <a:round/>
              <a:headEnd/>
              <a:tailEnd/>
            </a:ln>
          </p:spPr>
          <p:txBody>
            <a:bodyPr wrap="none" lIns="237492" tIns="118747" rIns="237492" bIns="118747">
              <a:spAutoFit/>
            </a:bodyPr>
            <a:lstStyle/>
            <a:p>
              <a:endParaRPr lang="zh-CN" altLang="en-US"/>
            </a:p>
          </p:txBody>
        </p:sp>
      </p:grpSp>
      <p:grpSp>
        <p:nvGrpSpPr>
          <p:cNvPr id="17" name="组合 246"/>
          <p:cNvGrpSpPr/>
          <p:nvPr/>
        </p:nvGrpSpPr>
        <p:grpSpPr>
          <a:xfrm>
            <a:off x="2535287" y="4653930"/>
            <a:ext cx="875570" cy="218330"/>
            <a:chOff x="2523014" y="4702047"/>
            <a:chExt cx="875570" cy="218330"/>
          </a:xfrm>
        </p:grpSpPr>
        <p:sp>
          <p:nvSpPr>
            <p:cNvPr id="193" name="Freeform 84"/>
            <p:cNvSpPr>
              <a:spLocks noChangeAspect="1"/>
            </p:cNvSpPr>
            <p:nvPr/>
          </p:nvSpPr>
          <p:spPr bwMode="auto">
            <a:xfrm>
              <a:off x="2542075" y="4703316"/>
              <a:ext cx="856509" cy="217061"/>
            </a:xfrm>
            <a:custGeom>
              <a:avLst/>
              <a:gdLst>
                <a:gd name="T0" fmla="*/ 0 w 1692"/>
                <a:gd name="T1" fmla="*/ 0 h 425"/>
                <a:gd name="T2" fmla="*/ 943 w 1692"/>
                <a:gd name="T3" fmla="*/ 0 h 425"/>
                <a:gd name="T4" fmla="*/ 1131 w 1692"/>
                <a:gd name="T5" fmla="*/ 269 h 425"/>
                <a:gd name="T6" fmla="*/ 1691 w 1692"/>
                <a:gd name="T7" fmla="*/ 269 h 425"/>
                <a:gd name="T8" fmla="*/ 1691 w 1692"/>
                <a:gd name="T9" fmla="*/ 424 h 425"/>
                <a:gd name="T10" fmla="*/ 1030 w 1692"/>
                <a:gd name="T11" fmla="*/ 424 h 425"/>
                <a:gd name="T12" fmla="*/ 859 w 1692"/>
                <a:gd name="T13" fmla="*/ 183 h 425"/>
                <a:gd name="T14" fmla="*/ 0 w 1692"/>
                <a:gd name="T15" fmla="*/ 183 h 425"/>
                <a:gd name="T16" fmla="*/ 0 60000 65536"/>
                <a:gd name="T17" fmla="*/ 0 60000 65536"/>
                <a:gd name="T18" fmla="*/ 0 60000 65536"/>
                <a:gd name="T19" fmla="*/ 0 60000 65536"/>
                <a:gd name="T20" fmla="*/ 0 60000 65536"/>
                <a:gd name="T21" fmla="*/ 0 60000 65536"/>
                <a:gd name="T22" fmla="*/ 0 60000 65536"/>
                <a:gd name="T23" fmla="*/ 0 60000 65536"/>
                <a:gd name="T24" fmla="*/ 0 w 1692"/>
                <a:gd name="T25" fmla="*/ 0 h 425"/>
                <a:gd name="T26" fmla="*/ 1692 w 1692"/>
                <a:gd name="T27" fmla="*/ 425 h 4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92" h="425">
                  <a:moveTo>
                    <a:pt x="0" y="0"/>
                  </a:moveTo>
                  <a:lnTo>
                    <a:pt x="943" y="0"/>
                  </a:lnTo>
                  <a:lnTo>
                    <a:pt x="1131" y="269"/>
                  </a:lnTo>
                  <a:lnTo>
                    <a:pt x="1691" y="269"/>
                  </a:lnTo>
                  <a:lnTo>
                    <a:pt x="1691" y="424"/>
                  </a:lnTo>
                  <a:lnTo>
                    <a:pt x="1030" y="424"/>
                  </a:lnTo>
                  <a:lnTo>
                    <a:pt x="859" y="183"/>
                  </a:lnTo>
                  <a:lnTo>
                    <a:pt x="0" y="183"/>
                  </a:lnTo>
                </a:path>
              </a:pathLst>
            </a:custGeom>
            <a:gradFill rotWithShape="0">
              <a:gsLst>
                <a:gs pos="0">
                  <a:srgbClr val="00CC66"/>
                </a:gs>
                <a:gs pos="100000">
                  <a:srgbClr val="002110"/>
                </a:gs>
              </a:gsLst>
              <a:lin ang="0" scaled="1"/>
            </a:gradFill>
            <a:ln w="9525" cap="rnd">
              <a:noFill/>
              <a:round/>
              <a:headEnd type="none" w="sm" len="sm"/>
              <a:tailEnd type="none" w="sm" len="sm"/>
            </a:ln>
          </p:spPr>
          <p:txBody>
            <a:bodyPr wrap="none" lIns="237492" tIns="118747" rIns="237492" bIns="118747">
              <a:spAutoFit/>
            </a:bodyPr>
            <a:lstStyle/>
            <a:p>
              <a:endParaRPr lang="zh-CN" altLang="en-US"/>
            </a:p>
          </p:txBody>
        </p:sp>
        <p:sp>
          <p:nvSpPr>
            <p:cNvPr id="205" name="Freeform 96"/>
            <p:cNvSpPr>
              <a:spLocks noChangeAspect="1"/>
            </p:cNvSpPr>
            <p:nvPr/>
          </p:nvSpPr>
          <p:spPr bwMode="auto">
            <a:xfrm>
              <a:off x="2539534" y="4714741"/>
              <a:ext cx="827281" cy="137091"/>
            </a:xfrm>
            <a:custGeom>
              <a:avLst/>
              <a:gdLst>
                <a:gd name="T0" fmla="*/ 0 w 1636"/>
                <a:gd name="T1" fmla="*/ 0 h 272"/>
                <a:gd name="T2" fmla="*/ 940 w 1636"/>
                <a:gd name="T3" fmla="*/ 0 h 272"/>
                <a:gd name="T4" fmla="*/ 1120 w 1636"/>
                <a:gd name="T5" fmla="*/ 272 h 272"/>
                <a:gd name="T6" fmla="*/ 1636 w 1636"/>
                <a:gd name="T7" fmla="*/ 272 h 272"/>
                <a:gd name="T8" fmla="*/ 0 60000 65536"/>
                <a:gd name="T9" fmla="*/ 0 60000 65536"/>
                <a:gd name="T10" fmla="*/ 0 60000 65536"/>
                <a:gd name="T11" fmla="*/ 0 60000 65536"/>
                <a:gd name="T12" fmla="*/ 0 w 1636"/>
                <a:gd name="T13" fmla="*/ 0 h 272"/>
                <a:gd name="T14" fmla="*/ 1636 w 1636"/>
                <a:gd name="T15" fmla="*/ 272 h 272"/>
              </a:gdLst>
              <a:ahLst/>
              <a:cxnLst>
                <a:cxn ang="T8">
                  <a:pos x="T0" y="T1"/>
                </a:cxn>
                <a:cxn ang="T9">
                  <a:pos x="T2" y="T3"/>
                </a:cxn>
                <a:cxn ang="T10">
                  <a:pos x="T4" y="T5"/>
                </a:cxn>
                <a:cxn ang="T11">
                  <a:pos x="T6" y="T7"/>
                </a:cxn>
              </a:cxnLst>
              <a:rect l="T12" t="T13" r="T14" b="T15"/>
              <a:pathLst>
                <a:path w="1636" h="272">
                  <a:moveTo>
                    <a:pt x="0" y="0"/>
                  </a:moveTo>
                  <a:lnTo>
                    <a:pt x="940" y="0"/>
                  </a:lnTo>
                  <a:lnTo>
                    <a:pt x="1120" y="272"/>
                  </a:lnTo>
                  <a:lnTo>
                    <a:pt x="1636" y="272"/>
                  </a:lnTo>
                </a:path>
              </a:pathLst>
            </a:custGeom>
            <a:noFill/>
            <a:ln w="28575" cmpd="sng">
              <a:solidFill>
                <a:srgbClr val="53DD91"/>
              </a:solidFill>
              <a:round/>
              <a:headEnd type="none" w="sm" len="sm"/>
              <a:tailEnd type="none" w="sm" len="sm"/>
            </a:ln>
          </p:spPr>
          <p:txBody>
            <a:bodyPr wrap="none" lIns="237492" tIns="118747" rIns="237492" bIns="118747">
              <a:spAutoFit/>
            </a:bodyPr>
            <a:lstStyle/>
            <a:p>
              <a:endParaRPr lang="zh-CN" altLang="en-US"/>
            </a:p>
          </p:txBody>
        </p:sp>
        <p:sp>
          <p:nvSpPr>
            <p:cNvPr id="206" name="Oval 97"/>
            <p:cNvSpPr>
              <a:spLocks noChangeAspect="1" noChangeArrowheads="1"/>
            </p:cNvSpPr>
            <p:nvPr/>
          </p:nvSpPr>
          <p:spPr bwMode="auto">
            <a:xfrm>
              <a:off x="2523014" y="4702047"/>
              <a:ext cx="49561" cy="91394"/>
            </a:xfrm>
            <a:prstGeom prst="ellipse">
              <a:avLst/>
            </a:prstGeom>
            <a:gradFill rotWithShape="0">
              <a:gsLst>
                <a:gs pos="0">
                  <a:srgbClr val="00CC66"/>
                </a:gs>
                <a:gs pos="100000">
                  <a:srgbClr val="000D06"/>
                </a:gs>
              </a:gsLst>
              <a:lin ang="18900000" scaled="1"/>
            </a:gradFill>
            <a:ln w="9525">
              <a:solidFill>
                <a:srgbClr val="53DD91"/>
              </a:solidFill>
              <a:round/>
              <a:headEnd/>
              <a:tailEnd/>
            </a:ln>
          </p:spPr>
          <p:txBody>
            <a:bodyPr wrap="none" lIns="237492" tIns="118747" rIns="237492" bIns="118747">
              <a:spAutoFit/>
            </a:bodyPr>
            <a:lstStyle/>
            <a:p>
              <a:endParaRPr lang="zh-CN" altLang="en-US"/>
            </a:p>
          </p:txBody>
        </p:sp>
      </p:grpSp>
      <p:grpSp>
        <p:nvGrpSpPr>
          <p:cNvPr id="18" name="组合 307"/>
          <p:cNvGrpSpPr>
            <a:grpSpLocks/>
          </p:cNvGrpSpPr>
          <p:nvPr/>
        </p:nvGrpSpPr>
        <p:grpSpPr bwMode="auto">
          <a:xfrm>
            <a:off x="1836073" y="4987082"/>
            <a:ext cx="529798" cy="693192"/>
            <a:chOff x="4229481" y="1336861"/>
            <a:chExt cx="237347" cy="311241"/>
          </a:xfrm>
        </p:grpSpPr>
        <p:sp>
          <p:nvSpPr>
            <p:cNvPr id="209" name="Freeform 114"/>
            <p:cNvSpPr>
              <a:spLocks noEditPoints="1"/>
            </p:cNvSpPr>
            <p:nvPr/>
          </p:nvSpPr>
          <p:spPr bwMode="auto">
            <a:xfrm>
              <a:off x="4229481" y="1360165"/>
              <a:ext cx="149294" cy="67841"/>
            </a:xfrm>
            <a:custGeom>
              <a:avLst/>
              <a:gdLst>
                <a:gd name="T0" fmla="*/ 2147483647 w 747"/>
                <a:gd name="T1" fmla="*/ 2147483647 h 496"/>
                <a:gd name="T2" fmla="*/ 2147483647 w 747"/>
                <a:gd name="T3" fmla="*/ 2147483647 h 496"/>
                <a:gd name="T4" fmla="*/ 2147483647 w 747"/>
                <a:gd name="T5" fmla="*/ 2147483647 h 496"/>
                <a:gd name="T6" fmla="*/ 2147483647 w 747"/>
                <a:gd name="T7" fmla="*/ 2147483647 h 496"/>
                <a:gd name="T8" fmla="*/ 2147483647 w 747"/>
                <a:gd name="T9" fmla="*/ 2147483647 h 496"/>
                <a:gd name="T10" fmla="*/ 2147483647 w 747"/>
                <a:gd name="T11" fmla="*/ 2147483647 h 496"/>
                <a:gd name="T12" fmla="*/ 2147483647 w 747"/>
                <a:gd name="T13" fmla="*/ 2147483647 h 496"/>
                <a:gd name="T14" fmla="*/ 2147483647 w 747"/>
                <a:gd name="T15" fmla="*/ 2147483647 h 496"/>
                <a:gd name="T16" fmla="*/ 2147483647 w 747"/>
                <a:gd name="T17" fmla="*/ 2147483647 h 496"/>
                <a:gd name="T18" fmla="*/ 2147483647 w 747"/>
                <a:gd name="T19" fmla="*/ 2147483647 h 496"/>
                <a:gd name="T20" fmla="*/ 2147483647 w 747"/>
                <a:gd name="T21" fmla="*/ 2147483647 h 496"/>
                <a:gd name="T22" fmla="*/ 2147483647 w 747"/>
                <a:gd name="T23" fmla="*/ 2147483647 h 496"/>
                <a:gd name="T24" fmla="*/ 2147483647 w 747"/>
                <a:gd name="T25" fmla="*/ 2147483647 h 496"/>
                <a:gd name="T26" fmla="*/ 2147483647 w 747"/>
                <a:gd name="T27" fmla="*/ 2147483647 h 496"/>
                <a:gd name="T28" fmla="*/ 2147483647 w 747"/>
                <a:gd name="T29" fmla="*/ 2147483647 h 496"/>
                <a:gd name="T30" fmla="*/ 2147483647 w 747"/>
                <a:gd name="T31" fmla="*/ 2147483647 h 496"/>
                <a:gd name="T32" fmla="*/ 2147483647 w 747"/>
                <a:gd name="T33" fmla="*/ 2147483647 h 496"/>
                <a:gd name="T34" fmla="*/ 2147483647 w 747"/>
                <a:gd name="T35" fmla="*/ 2147483647 h 496"/>
                <a:gd name="T36" fmla="*/ 2147483647 w 747"/>
                <a:gd name="T37" fmla="*/ 2147483647 h 496"/>
                <a:gd name="T38" fmla="*/ 2147483647 w 747"/>
                <a:gd name="T39" fmla="*/ 2147483647 h 496"/>
                <a:gd name="T40" fmla="*/ 2147483647 w 747"/>
                <a:gd name="T41" fmla="*/ 2147483647 h 496"/>
                <a:gd name="T42" fmla="*/ 2147483647 w 747"/>
                <a:gd name="T43" fmla="*/ 2147483647 h 496"/>
                <a:gd name="T44" fmla="*/ 2147483647 w 747"/>
                <a:gd name="T45" fmla="*/ 2147483647 h 496"/>
                <a:gd name="T46" fmla="*/ 2147483647 w 747"/>
                <a:gd name="T47" fmla="*/ 2147483647 h 496"/>
                <a:gd name="T48" fmla="*/ 2147483647 w 747"/>
                <a:gd name="T49" fmla="*/ 2147483647 h 496"/>
                <a:gd name="T50" fmla="*/ 2147483647 w 747"/>
                <a:gd name="T51" fmla="*/ 2147483647 h 496"/>
                <a:gd name="T52" fmla="*/ 2147483647 w 747"/>
                <a:gd name="T53" fmla="*/ 2147483647 h 496"/>
                <a:gd name="T54" fmla="*/ 2147483647 w 747"/>
                <a:gd name="T55" fmla="*/ 2147483647 h 496"/>
                <a:gd name="T56" fmla="*/ 2147483647 w 747"/>
                <a:gd name="T57" fmla="*/ 0 h 496"/>
                <a:gd name="T58" fmla="*/ 2147483647 w 747"/>
                <a:gd name="T59" fmla="*/ 2147483647 h 496"/>
                <a:gd name="T60" fmla="*/ 2147483647 w 747"/>
                <a:gd name="T61" fmla="*/ 2147483647 h 496"/>
                <a:gd name="T62" fmla="*/ 2147483647 w 747"/>
                <a:gd name="T63" fmla="*/ 2147483647 h 496"/>
                <a:gd name="T64" fmla="*/ 2147483647 w 747"/>
                <a:gd name="T65" fmla="*/ 2147483647 h 496"/>
                <a:gd name="T66" fmla="*/ 2147483647 w 747"/>
                <a:gd name="T67" fmla="*/ 2147483647 h 496"/>
                <a:gd name="T68" fmla="*/ 2147483647 w 747"/>
                <a:gd name="T69" fmla="*/ 2147483647 h 496"/>
                <a:gd name="T70" fmla="*/ 2147483647 w 747"/>
                <a:gd name="T71" fmla="*/ 2147483647 h 496"/>
                <a:gd name="T72" fmla="*/ 2147483647 w 747"/>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solidFill>
              <a:schemeClr val="bg1"/>
            </a:solidFill>
            <a:ln w="9525">
              <a:noFill/>
              <a:round/>
              <a:headEnd/>
              <a:tailEnd/>
            </a:ln>
          </p:spPr>
          <p:txBody>
            <a:bodyPr/>
            <a:lstStyle/>
            <a:p>
              <a:endParaRPr lang="zh-CN" altLang="en-US"/>
            </a:p>
          </p:txBody>
        </p:sp>
        <p:sp>
          <p:nvSpPr>
            <p:cNvPr id="210" name="Freeform 115"/>
            <p:cNvSpPr>
              <a:spLocks/>
            </p:cNvSpPr>
            <p:nvPr/>
          </p:nvSpPr>
          <p:spPr bwMode="auto">
            <a:xfrm>
              <a:off x="4358313" y="1408327"/>
              <a:ext cx="59869" cy="142933"/>
            </a:xfrm>
            <a:custGeom>
              <a:avLst/>
              <a:gdLst>
                <a:gd name="T0" fmla="*/ 2147483647 w 300"/>
                <a:gd name="T1" fmla="*/ 2147483647 h 1043"/>
                <a:gd name="T2" fmla="*/ 2147483647 w 300"/>
                <a:gd name="T3" fmla="*/ 2147483647 h 1043"/>
                <a:gd name="T4" fmla="*/ 2147483647 w 300"/>
                <a:gd name="T5" fmla="*/ 2147483647 h 1043"/>
                <a:gd name="T6" fmla="*/ 2147483647 w 300"/>
                <a:gd name="T7" fmla="*/ 2147483647 h 1043"/>
                <a:gd name="T8" fmla="*/ 2147483647 w 300"/>
                <a:gd name="T9" fmla="*/ 2147483647 h 1043"/>
                <a:gd name="T10" fmla="*/ 2147483647 w 300"/>
                <a:gd name="T11" fmla="*/ 2147483647 h 1043"/>
                <a:gd name="T12" fmla="*/ 2147483647 w 300"/>
                <a:gd name="T13" fmla="*/ 2147483647 h 1043"/>
                <a:gd name="T14" fmla="*/ 2147483647 w 300"/>
                <a:gd name="T15" fmla="*/ 2147483647 h 1043"/>
                <a:gd name="T16" fmla="*/ 2147483647 w 300"/>
                <a:gd name="T17" fmla="*/ 2147483647 h 1043"/>
                <a:gd name="T18" fmla="*/ 2147483647 w 300"/>
                <a:gd name="T19" fmla="*/ 2147483647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solidFill>
              <a:schemeClr val="bg1"/>
            </a:solidFill>
            <a:ln w="9525">
              <a:noFill/>
              <a:round/>
              <a:headEnd/>
              <a:tailEnd/>
            </a:ln>
          </p:spPr>
          <p:txBody>
            <a:bodyPr/>
            <a:lstStyle/>
            <a:p>
              <a:endParaRPr lang="zh-CN" altLang="en-US"/>
            </a:p>
          </p:txBody>
        </p:sp>
        <p:sp>
          <p:nvSpPr>
            <p:cNvPr id="211" name="Freeform 116"/>
            <p:cNvSpPr>
              <a:spLocks/>
            </p:cNvSpPr>
            <p:nvPr/>
          </p:nvSpPr>
          <p:spPr bwMode="auto">
            <a:xfrm>
              <a:off x="4238575" y="1370005"/>
              <a:ext cx="134137" cy="54894"/>
            </a:xfrm>
            <a:custGeom>
              <a:avLst/>
              <a:gdLst>
                <a:gd name="T0" fmla="*/ 2147483647 w 670"/>
                <a:gd name="T1" fmla="*/ 2147483647 h 400"/>
                <a:gd name="T2" fmla="*/ 2147483647 w 670"/>
                <a:gd name="T3" fmla="*/ 2147483647 h 400"/>
                <a:gd name="T4" fmla="*/ 2147483647 w 670"/>
                <a:gd name="T5" fmla="*/ 2147483647 h 400"/>
                <a:gd name="T6" fmla="*/ 2147483647 w 670"/>
                <a:gd name="T7" fmla="*/ 2147483647 h 400"/>
                <a:gd name="T8" fmla="*/ 2147483647 w 670"/>
                <a:gd name="T9" fmla="*/ 2147483647 h 400"/>
                <a:gd name="T10" fmla="*/ 2147483647 w 670"/>
                <a:gd name="T11" fmla="*/ 2147483647 h 400"/>
                <a:gd name="T12" fmla="*/ 2147483647 w 670"/>
                <a:gd name="T13" fmla="*/ 2147483647 h 400"/>
                <a:gd name="T14" fmla="*/ 2147483647 w 670"/>
                <a:gd name="T15" fmla="*/ 2147483647 h 400"/>
                <a:gd name="T16" fmla="*/ 2147483647 w 670"/>
                <a:gd name="T17" fmla="*/ 2147483647 h 400"/>
                <a:gd name="T18" fmla="*/ 2147483647 w 670"/>
                <a:gd name="T19" fmla="*/ 2147483647 h 400"/>
                <a:gd name="T20" fmla="*/ 2147483647 w 670"/>
                <a:gd name="T21" fmla="*/ 2147483647 h 400"/>
                <a:gd name="T22" fmla="*/ 2147483647 w 670"/>
                <a:gd name="T23" fmla="*/ 2147483647 h 400"/>
                <a:gd name="T24" fmla="*/ 2147483647 w 670"/>
                <a:gd name="T25" fmla="*/ 2147483647 h 400"/>
                <a:gd name="T26" fmla="*/ 2147483647 w 670"/>
                <a:gd name="T27" fmla="*/ 2147483647 h 400"/>
                <a:gd name="T28" fmla="*/ 2147483647 w 670"/>
                <a:gd name="T29" fmla="*/ 2147483647 h 400"/>
                <a:gd name="T30" fmla="*/ 2147483647 w 670"/>
                <a:gd name="T31" fmla="*/ 2147483647 h 400"/>
                <a:gd name="T32" fmla="*/ 2147483647 w 670"/>
                <a:gd name="T33" fmla="*/ 2147483647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solidFill>
              <a:schemeClr val="bg1"/>
            </a:solidFill>
            <a:ln w="9525">
              <a:noFill/>
              <a:round/>
              <a:headEnd/>
              <a:tailEnd/>
            </a:ln>
          </p:spPr>
          <p:txBody>
            <a:bodyPr/>
            <a:lstStyle/>
            <a:p>
              <a:endParaRPr lang="zh-CN" altLang="en-US"/>
            </a:p>
          </p:txBody>
        </p:sp>
        <p:grpSp>
          <p:nvGrpSpPr>
            <p:cNvPr id="19" name="组合 2"/>
            <p:cNvGrpSpPr>
              <a:grpSpLocks/>
            </p:cNvGrpSpPr>
            <p:nvPr/>
          </p:nvGrpSpPr>
          <p:grpSpPr bwMode="auto">
            <a:xfrm>
              <a:off x="4358457" y="1543492"/>
              <a:ext cx="108371" cy="104610"/>
              <a:chOff x="4345757" y="1543492"/>
              <a:chExt cx="108371" cy="104610"/>
            </a:xfrm>
          </p:grpSpPr>
          <p:sp>
            <p:nvSpPr>
              <p:cNvPr id="215" name="Freeform 117"/>
              <p:cNvSpPr>
                <a:spLocks/>
              </p:cNvSpPr>
              <p:nvPr/>
            </p:nvSpPr>
            <p:spPr bwMode="auto">
              <a:xfrm>
                <a:off x="4382891" y="1543492"/>
                <a:ext cx="39408" cy="85967"/>
              </a:xfrm>
              <a:custGeom>
                <a:avLst/>
                <a:gdLst>
                  <a:gd name="T0" fmla="*/ 2147483647 w 197"/>
                  <a:gd name="T1" fmla="*/ 2147483647 h 629"/>
                  <a:gd name="T2" fmla="*/ 2147483647 w 197"/>
                  <a:gd name="T3" fmla="*/ 2147483647 h 629"/>
                  <a:gd name="T4" fmla="*/ 0 w 197"/>
                  <a:gd name="T5" fmla="*/ 2147483647 h 629"/>
                  <a:gd name="T6" fmla="*/ 0 w 197"/>
                  <a:gd name="T7" fmla="*/ 2147483647 h 629"/>
                  <a:gd name="T8" fmla="*/ 2147483647 w 197"/>
                  <a:gd name="T9" fmla="*/ 0 h 629"/>
                  <a:gd name="T10" fmla="*/ 2147483647 w 197"/>
                  <a:gd name="T11" fmla="*/ 2147483647 h 629"/>
                  <a:gd name="T12" fmla="*/ 2147483647 w 197"/>
                  <a:gd name="T13" fmla="*/ 2147483647 h 629"/>
                  <a:gd name="T14" fmla="*/ 2147483647 w 197"/>
                  <a:gd name="T15" fmla="*/ 2147483647 h 629"/>
                  <a:gd name="T16" fmla="*/ 2147483647 w 197"/>
                  <a:gd name="T17" fmla="*/ 2147483647 h 629"/>
                  <a:gd name="T18" fmla="*/ 2147483647 w 197"/>
                  <a:gd name="T19" fmla="*/ 2147483647 h 629"/>
                  <a:gd name="T20" fmla="*/ 2147483647 w 197"/>
                  <a:gd name="T21" fmla="*/ 2147483647 h 629"/>
                  <a:gd name="T22" fmla="*/ 2147483647 w 197"/>
                  <a:gd name="T23" fmla="*/ 2147483647 h 629"/>
                  <a:gd name="T24" fmla="*/ 2147483647 w 197"/>
                  <a:gd name="T25" fmla="*/ 2147483647 h 629"/>
                  <a:gd name="T26" fmla="*/ 2147483647 w 197"/>
                  <a:gd name="T27" fmla="*/ 2147483647 h 629"/>
                  <a:gd name="T28" fmla="*/ 2147483647 w 197"/>
                  <a:gd name="T29" fmla="*/ 2147483647 h 629"/>
                  <a:gd name="T30" fmla="*/ 2147483647 w 197"/>
                  <a:gd name="T31" fmla="*/ 2147483647 h 629"/>
                  <a:gd name="T32" fmla="*/ 2147483647 w 197"/>
                  <a:gd name="T33" fmla="*/ 2147483647 h 629"/>
                  <a:gd name="T34" fmla="*/ 2147483647 w 197"/>
                  <a:gd name="T35" fmla="*/ 2147483647 h 629"/>
                  <a:gd name="T36" fmla="*/ 2147483647 w 197"/>
                  <a:gd name="T37" fmla="*/ 2147483647 h 629"/>
                  <a:gd name="T38" fmla="*/ 2147483647 w 197"/>
                  <a:gd name="T39" fmla="*/ 2147483647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solidFill>
                <a:schemeClr val="bg1"/>
              </a:solidFill>
              <a:ln w="9525">
                <a:noFill/>
                <a:round/>
                <a:headEnd/>
                <a:tailEnd/>
              </a:ln>
            </p:spPr>
            <p:txBody>
              <a:bodyPr/>
              <a:lstStyle/>
              <a:p>
                <a:endParaRPr lang="zh-CN" altLang="en-US"/>
              </a:p>
            </p:txBody>
          </p:sp>
          <p:sp>
            <p:nvSpPr>
              <p:cNvPr id="216" name="Freeform 118"/>
              <p:cNvSpPr>
                <a:spLocks/>
              </p:cNvSpPr>
              <p:nvPr/>
            </p:nvSpPr>
            <p:spPr bwMode="auto">
              <a:xfrm>
                <a:off x="4345757" y="1603047"/>
                <a:ext cx="108371" cy="45055"/>
              </a:xfrm>
              <a:custGeom>
                <a:avLst/>
                <a:gdLst>
                  <a:gd name="T0" fmla="*/ 2147483647 w 540"/>
                  <a:gd name="T1" fmla="*/ 2147483647 h 330"/>
                  <a:gd name="T2" fmla="*/ 2147483647 w 540"/>
                  <a:gd name="T3" fmla="*/ 2147483647 h 330"/>
                  <a:gd name="T4" fmla="*/ 2147483647 w 540"/>
                  <a:gd name="T5" fmla="*/ 2147483647 h 330"/>
                  <a:gd name="T6" fmla="*/ 2147483647 w 540"/>
                  <a:gd name="T7" fmla="*/ 2147483647 h 330"/>
                  <a:gd name="T8" fmla="*/ 0 w 540"/>
                  <a:gd name="T9" fmla="*/ 2147483647 h 330"/>
                  <a:gd name="T10" fmla="*/ 2147483647 w 540"/>
                  <a:gd name="T11" fmla="*/ 2147483647 h 330"/>
                  <a:gd name="T12" fmla="*/ 2147483647 w 540"/>
                  <a:gd name="T13" fmla="*/ 2147483647 h 330"/>
                  <a:gd name="T14" fmla="*/ 2147483647 w 540"/>
                  <a:gd name="T15" fmla="*/ 2147483647 h 330"/>
                  <a:gd name="T16" fmla="*/ 2147483647 w 540"/>
                  <a:gd name="T17" fmla="*/ 2147483647 h 330"/>
                  <a:gd name="T18" fmla="*/ 2147483647 w 540"/>
                  <a:gd name="T19" fmla="*/ 2147483647 h 330"/>
                  <a:gd name="T20" fmla="*/ 2147483647 w 540"/>
                  <a:gd name="T21" fmla="*/ 2147483647 h 330"/>
                  <a:gd name="T22" fmla="*/ 2147483647 w 540"/>
                  <a:gd name="T23" fmla="*/ 2147483647 h 330"/>
                  <a:gd name="T24" fmla="*/ 2147483647 w 540"/>
                  <a:gd name="T25" fmla="*/ 2147483647 h 330"/>
                  <a:gd name="T26" fmla="*/ 2147483647 w 540"/>
                  <a:gd name="T27" fmla="*/ 2147483647 h 330"/>
                  <a:gd name="T28" fmla="*/ 2147483647 w 540"/>
                  <a:gd name="T29" fmla="*/ 2147483647 h 330"/>
                  <a:gd name="T30" fmla="*/ 2147483647 w 540"/>
                  <a:gd name="T31" fmla="*/ 2147483647 h 330"/>
                  <a:gd name="T32" fmla="*/ 2147483647 w 540"/>
                  <a:gd name="T33" fmla="*/ 2147483647 h 330"/>
                  <a:gd name="T34" fmla="*/ 2147483647 w 540"/>
                  <a:gd name="T35" fmla="*/ 2147483647 h 330"/>
                  <a:gd name="T36" fmla="*/ 2147483647 w 540"/>
                  <a:gd name="T37" fmla="*/ 2147483647 h 330"/>
                  <a:gd name="T38" fmla="*/ 2147483647 w 540"/>
                  <a:gd name="T39" fmla="*/ 2147483647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solidFill>
                <a:schemeClr val="bg1"/>
              </a:solidFill>
              <a:ln w="9525">
                <a:noFill/>
                <a:round/>
                <a:headEnd/>
                <a:tailEnd/>
              </a:ln>
            </p:spPr>
            <p:txBody>
              <a:bodyPr/>
              <a:lstStyle/>
              <a:p>
                <a:endParaRPr lang="zh-CN" altLang="en-US"/>
              </a:p>
            </p:txBody>
          </p:sp>
          <p:sp>
            <p:nvSpPr>
              <p:cNvPr id="217" name="Freeform 119"/>
              <p:cNvSpPr>
                <a:spLocks/>
              </p:cNvSpPr>
              <p:nvPr/>
            </p:nvSpPr>
            <p:spPr bwMode="auto">
              <a:xfrm>
                <a:off x="4401837" y="1562135"/>
                <a:ext cx="27282" cy="19161"/>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sp>
            <p:nvSpPr>
              <p:cNvPr id="218" name="Freeform 120"/>
              <p:cNvSpPr>
                <a:spLocks/>
              </p:cNvSpPr>
              <p:nvPr/>
            </p:nvSpPr>
            <p:spPr bwMode="auto">
              <a:xfrm>
                <a:off x="4401837" y="1591654"/>
                <a:ext cx="27282" cy="18643"/>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grpSp>
        <p:sp>
          <p:nvSpPr>
            <p:cNvPr id="213" name="Freeform 121"/>
            <p:cNvSpPr>
              <a:spLocks/>
            </p:cNvSpPr>
            <p:nvPr/>
          </p:nvSpPr>
          <p:spPr bwMode="auto">
            <a:xfrm>
              <a:off x="4287834" y="1336861"/>
              <a:ext cx="92456" cy="37287"/>
            </a:xfrm>
            <a:custGeom>
              <a:avLst/>
              <a:gdLst>
                <a:gd name="T0" fmla="*/ 2147483647 w 462"/>
                <a:gd name="T1" fmla="*/ 2147483647 h 272"/>
                <a:gd name="T2" fmla="*/ 2147483647 w 462"/>
                <a:gd name="T3" fmla="*/ 2147483647 h 272"/>
                <a:gd name="T4" fmla="*/ 2147483647 w 462"/>
                <a:gd name="T5" fmla="*/ 2147483647 h 272"/>
                <a:gd name="T6" fmla="*/ 2147483647 w 462"/>
                <a:gd name="T7" fmla="*/ 2147483647 h 272"/>
                <a:gd name="T8" fmla="*/ 2147483647 w 462"/>
                <a:gd name="T9" fmla="*/ 2147483647 h 272"/>
                <a:gd name="T10" fmla="*/ 2147483647 w 462"/>
                <a:gd name="T11" fmla="*/ 2147483647 h 272"/>
                <a:gd name="T12" fmla="*/ 2147483647 w 462"/>
                <a:gd name="T13" fmla="*/ 2147483647 h 272"/>
                <a:gd name="T14" fmla="*/ 2147483647 w 462"/>
                <a:gd name="T15" fmla="*/ 2147483647 h 272"/>
                <a:gd name="T16" fmla="*/ 2147483647 w 462"/>
                <a:gd name="T17" fmla="*/ 2147483647 h 272"/>
                <a:gd name="T18" fmla="*/ 2147483647 w 462"/>
                <a:gd name="T19" fmla="*/ 2147483647 h 272"/>
                <a:gd name="T20" fmla="*/ 2147483647 w 462"/>
                <a:gd name="T21" fmla="*/ 2147483647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solidFill>
              <a:schemeClr val="bg1"/>
            </a:solidFill>
            <a:ln w="9525">
              <a:noFill/>
              <a:round/>
              <a:headEnd/>
              <a:tailEnd/>
            </a:ln>
          </p:spPr>
          <p:txBody>
            <a:bodyPr/>
            <a:lstStyle/>
            <a:p>
              <a:endParaRPr lang="zh-CN" altLang="en-US"/>
            </a:p>
          </p:txBody>
        </p:sp>
        <p:sp>
          <p:nvSpPr>
            <p:cNvPr id="214" name="Freeform 122"/>
            <p:cNvSpPr>
              <a:spLocks/>
            </p:cNvSpPr>
            <p:nvPr/>
          </p:nvSpPr>
          <p:spPr bwMode="auto">
            <a:xfrm>
              <a:off x="4304507" y="1356022"/>
              <a:ext cx="46228" cy="20715"/>
            </a:xfrm>
            <a:custGeom>
              <a:avLst/>
              <a:gdLst>
                <a:gd name="T0" fmla="*/ 2147483647 w 228"/>
                <a:gd name="T1" fmla="*/ 2147483647 h 148"/>
                <a:gd name="T2" fmla="*/ 2147483647 w 228"/>
                <a:gd name="T3" fmla="*/ 2147483647 h 148"/>
                <a:gd name="T4" fmla="*/ 2147483647 w 228"/>
                <a:gd name="T5" fmla="*/ 2147483647 h 148"/>
                <a:gd name="T6" fmla="*/ 2147483647 w 228"/>
                <a:gd name="T7" fmla="*/ 2147483647 h 148"/>
                <a:gd name="T8" fmla="*/ 2147483647 w 228"/>
                <a:gd name="T9" fmla="*/ 2147483647 h 148"/>
                <a:gd name="T10" fmla="*/ 2147483647 w 228"/>
                <a:gd name="T11" fmla="*/ 2147483647 h 148"/>
                <a:gd name="T12" fmla="*/ 2147483647 w 228"/>
                <a:gd name="T13" fmla="*/ 2147483647 h 148"/>
                <a:gd name="T14" fmla="*/ 2147483647 w 228"/>
                <a:gd name="T15" fmla="*/ 2147483647 h 148"/>
                <a:gd name="T16" fmla="*/ 2147483647 w 228"/>
                <a:gd name="T17" fmla="*/ 2147483647 h 148"/>
                <a:gd name="T18" fmla="*/ 2147483647 w 228"/>
                <a:gd name="T19" fmla="*/ 2147483647 h 148"/>
                <a:gd name="T20" fmla="*/ 2147483647 w 228"/>
                <a:gd name="T21" fmla="*/ 2147483647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solidFill>
              <a:schemeClr val="bg1"/>
            </a:solidFill>
            <a:ln w="9525">
              <a:noFill/>
              <a:round/>
              <a:headEnd/>
              <a:tailEnd/>
            </a:ln>
          </p:spPr>
          <p:txBody>
            <a:bodyPr/>
            <a:lstStyle/>
            <a:p>
              <a:endParaRPr lang="zh-CN" altLang="en-US"/>
            </a:p>
          </p:txBody>
        </p:sp>
      </p:grpSp>
      <p:pic>
        <p:nvPicPr>
          <p:cNvPr id="219"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45371" y="5476950"/>
            <a:ext cx="251816" cy="134559"/>
          </a:xfrm>
          <a:prstGeom prst="rect">
            <a:avLst/>
          </a:prstGeom>
          <a:noFill/>
          <a:ln w="9525">
            <a:noFill/>
            <a:miter lim="800000"/>
            <a:headEnd/>
            <a:tailEnd/>
          </a:ln>
          <a:effectLst/>
        </p:spPr>
      </p:pic>
      <p:grpSp>
        <p:nvGrpSpPr>
          <p:cNvPr id="21" name="组合 307"/>
          <p:cNvGrpSpPr>
            <a:grpSpLocks/>
          </p:cNvGrpSpPr>
          <p:nvPr/>
        </p:nvGrpSpPr>
        <p:grpSpPr bwMode="auto">
          <a:xfrm>
            <a:off x="1057029" y="4005863"/>
            <a:ext cx="529805" cy="693186"/>
            <a:chOff x="4229462" y="1336866"/>
            <a:chExt cx="237349" cy="311239"/>
          </a:xfrm>
        </p:grpSpPr>
        <p:sp>
          <p:nvSpPr>
            <p:cNvPr id="221" name="Freeform 114"/>
            <p:cNvSpPr>
              <a:spLocks noEditPoints="1"/>
            </p:cNvSpPr>
            <p:nvPr/>
          </p:nvSpPr>
          <p:spPr bwMode="auto">
            <a:xfrm>
              <a:off x="4229462" y="1360168"/>
              <a:ext cx="149293" cy="67841"/>
            </a:xfrm>
            <a:custGeom>
              <a:avLst/>
              <a:gdLst>
                <a:gd name="T0" fmla="*/ 2147483647 w 747"/>
                <a:gd name="T1" fmla="*/ 2147483647 h 496"/>
                <a:gd name="T2" fmla="*/ 2147483647 w 747"/>
                <a:gd name="T3" fmla="*/ 2147483647 h 496"/>
                <a:gd name="T4" fmla="*/ 2147483647 w 747"/>
                <a:gd name="T5" fmla="*/ 2147483647 h 496"/>
                <a:gd name="T6" fmla="*/ 2147483647 w 747"/>
                <a:gd name="T7" fmla="*/ 2147483647 h 496"/>
                <a:gd name="T8" fmla="*/ 2147483647 w 747"/>
                <a:gd name="T9" fmla="*/ 2147483647 h 496"/>
                <a:gd name="T10" fmla="*/ 2147483647 w 747"/>
                <a:gd name="T11" fmla="*/ 2147483647 h 496"/>
                <a:gd name="T12" fmla="*/ 2147483647 w 747"/>
                <a:gd name="T13" fmla="*/ 2147483647 h 496"/>
                <a:gd name="T14" fmla="*/ 2147483647 w 747"/>
                <a:gd name="T15" fmla="*/ 2147483647 h 496"/>
                <a:gd name="T16" fmla="*/ 2147483647 w 747"/>
                <a:gd name="T17" fmla="*/ 2147483647 h 496"/>
                <a:gd name="T18" fmla="*/ 2147483647 w 747"/>
                <a:gd name="T19" fmla="*/ 2147483647 h 496"/>
                <a:gd name="T20" fmla="*/ 2147483647 w 747"/>
                <a:gd name="T21" fmla="*/ 2147483647 h 496"/>
                <a:gd name="T22" fmla="*/ 2147483647 w 747"/>
                <a:gd name="T23" fmla="*/ 2147483647 h 496"/>
                <a:gd name="T24" fmla="*/ 2147483647 w 747"/>
                <a:gd name="T25" fmla="*/ 2147483647 h 496"/>
                <a:gd name="T26" fmla="*/ 2147483647 w 747"/>
                <a:gd name="T27" fmla="*/ 2147483647 h 496"/>
                <a:gd name="T28" fmla="*/ 2147483647 w 747"/>
                <a:gd name="T29" fmla="*/ 2147483647 h 496"/>
                <a:gd name="T30" fmla="*/ 2147483647 w 747"/>
                <a:gd name="T31" fmla="*/ 2147483647 h 496"/>
                <a:gd name="T32" fmla="*/ 2147483647 w 747"/>
                <a:gd name="T33" fmla="*/ 2147483647 h 496"/>
                <a:gd name="T34" fmla="*/ 2147483647 w 747"/>
                <a:gd name="T35" fmla="*/ 2147483647 h 496"/>
                <a:gd name="T36" fmla="*/ 2147483647 w 747"/>
                <a:gd name="T37" fmla="*/ 2147483647 h 496"/>
                <a:gd name="T38" fmla="*/ 2147483647 w 747"/>
                <a:gd name="T39" fmla="*/ 2147483647 h 496"/>
                <a:gd name="T40" fmla="*/ 2147483647 w 747"/>
                <a:gd name="T41" fmla="*/ 2147483647 h 496"/>
                <a:gd name="T42" fmla="*/ 2147483647 w 747"/>
                <a:gd name="T43" fmla="*/ 2147483647 h 496"/>
                <a:gd name="T44" fmla="*/ 2147483647 w 747"/>
                <a:gd name="T45" fmla="*/ 2147483647 h 496"/>
                <a:gd name="T46" fmla="*/ 2147483647 w 747"/>
                <a:gd name="T47" fmla="*/ 2147483647 h 496"/>
                <a:gd name="T48" fmla="*/ 2147483647 w 747"/>
                <a:gd name="T49" fmla="*/ 2147483647 h 496"/>
                <a:gd name="T50" fmla="*/ 2147483647 w 747"/>
                <a:gd name="T51" fmla="*/ 2147483647 h 496"/>
                <a:gd name="T52" fmla="*/ 2147483647 w 747"/>
                <a:gd name="T53" fmla="*/ 2147483647 h 496"/>
                <a:gd name="T54" fmla="*/ 2147483647 w 747"/>
                <a:gd name="T55" fmla="*/ 2147483647 h 496"/>
                <a:gd name="T56" fmla="*/ 2147483647 w 747"/>
                <a:gd name="T57" fmla="*/ 0 h 496"/>
                <a:gd name="T58" fmla="*/ 2147483647 w 747"/>
                <a:gd name="T59" fmla="*/ 2147483647 h 496"/>
                <a:gd name="T60" fmla="*/ 2147483647 w 747"/>
                <a:gd name="T61" fmla="*/ 2147483647 h 496"/>
                <a:gd name="T62" fmla="*/ 2147483647 w 747"/>
                <a:gd name="T63" fmla="*/ 2147483647 h 496"/>
                <a:gd name="T64" fmla="*/ 2147483647 w 747"/>
                <a:gd name="T65" fmla="*/ 2147483647 h 496"/>
                <a:gd name="T66" fmla="*/ 2147483647 w 747"/>
                <a:gd name="T67" fmla="*/ 2147483647 h 496"/>
                <a:gd name="T68" fmla="*/ 2147483647 w 747"/>
                <a:gd name="T69" fmla="*/ 2147483647 h 496"/>
                <a:gd name="T70" fmla="*/ 2147483647 w 747"/>
                <a:gd name="T71" fmla="*/ 2147483647 h 496"/>
                <a:gd name="T72" fmla="*/ 2147483647 w 747"/>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solidFill>
              <a:schemeClr val="bg1"/>
            </a:solidFill>
            <a:ln w="9525">
              <a:noFill/>
              <a:round/>
              <a:headEnd/>
              <a:tailEnd/>
            </a:ln>
          </p:spPr>
          <p:txBody>
            <a:bodyPr/>
            <a:lstStyle/>
            <a:p>
              <a:endParaRPr lang="zh-CN" altLang="en-US"/>
            </a:p>
          </p:txBody>
        </p:sp>
        <p:sp>
          <p:nvSpPr>
            <p:cNvPr id="222" name="Freeform 115"/>
            <p:cNvSpPr>
              <a:spLocks/>
            </p:cNvSpPr>
            <p:nvPr/>
          </p:nvSpPr>
          <p:spPr bwMode="auto">
            <a:xfrm>
              <a:off x="4358293" y="1408330"/>
              <a:ext cx="59869" cy="142934"/>
            </a:xfrm>
            <a:custGeom>
              <a:avLst/>
              <a:gdLst>
                <a:gd name="T0" fmla="*/ 2147483647 w 300"/>
                <a:gd name="T1" fmla="*/ 2147483647 h 1043"/>
                <a:gd name="T2" fmla="*/ 2147483647 w 300"/>
                <a:gd name="T3" fmla="*/ 2147483647 h 1043"/>
                <a:gd name="T4" fmla="*/ 2147483647 w 300"/>
                <a:gd name="T5" fmla="*/ 2147483647 h 1043"/>
                <a:gd name="T6" fmla="*/ 2147483647 w 300"/>
                <a:gd name="T7" fmla="*/ 2147483647 h 1043"/>
                <a:gd name="T8" fmla="*/ 2147483647 w 300"/>
                <a:gd name="T9" fmla="*/ 2147483647 h 1043"/>
                <a:gd name="T10" fmla="*/ 2147483647 w 300"/>
                <a:gd name="T11" fmla="*/ 2147483647 h 1043"/>
                <a:gd name="T12" fmla="*/ 2147483647 w 300"/>
                <a:gd name="T13" fmla="*/ 2147483647 h 1043"/>
                <a:gd name="T14" fmla="*/ 2147483647 w 300"/>
                <a:gd name="T15" fmla="*/ 2147483647 h 1043"/>
                <a:gd name="T16" fmla="*/ 2147483647 w 300"/>
                <a:gd name="T17" fmla="*/ 2147483647 h 1043"/>
                <a:gd name="T18" fmla="*/ 2147483647 w 300"/>
                <a:gd name="T19" fmla="*/ 2147483647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solidFill>
              <a:schemeClr val="bg1"/>
            </a:solidFill>
            <a:ln w="9525">
              <a:noFill/>
              <a:round/>
              <a:headEnd/>
              <a:tailEnd/>
            </a:ln>
          </p:spPr>
          <p:txBody>
            <a:bodyPr/>
            <a:lstStyle/>
            <a:p>
              <a:endParaRPr lang="zh-CN" altLang="en-US"/>
            </a:p>
          </p:txBody>
        </p:sp>
        <p:sp>
          <p:nvSpPr>
            <p:cNvPr id="223" name="Freeform 116"/>
            <p:cNvSpPr>
              <a:spLocks/>
            </p:cNvSpPr>
            <p:nvPr/>
          </p:nvSpPr>
          <p:spPr bwMode="auto">
            <a:xfrm>
              <a:off x="4238558" y="1370008"/>
              <a:ext cx="134136" cy="54894"/>
            </a:xfrm>
            <a:custGeom>
              <a:avLst/>
              <a:gdLst>
                <a:gd name="T0" fmla="*/ 2147483647 w 670"/>
                <a:gd name="T1" fmla="*/ 2147483647 h 400"/>
                <a:gd name="T2" fmla="*/ 2147483647 w 670"/>
                <a:gd name="T3" fmla="*/ 2147483647 h 400"/>
                <a:gd name="T4" fmla="*/ 2147483647 w 670"/>
                <a:gd name="T5" fmla="*/ 2147483647 h 400"/>
                <a:gd name="T6" fmla="*/ 2147483647 w 670"/>
                <a:gd name="T7" fmla="*/ 2147483647 h 400"/>
                <a:gd name="T8" fmla="*/ 2147483647 w 670"/>
                <a:gd name="T9" fmla="*/ 2147483647 h 400"/>
                <a:gd name="T10" fmla="*/ 2147483647 w 670"/>
                <a:gd name="T11" fmla="*/ 2147483647 h 400"/>
                <a:gd name="T12" fmla="*/ 2147483647 w 670"/>
                <a:gd name="T13" fmla="*/ 2147483647 h 400"/>
                <a:gd name="T14" fmla="*/ 2147483647 w 670"/>
                <a:gd name="T15" fmla="*/ 2147483647 h 400"/>
                <a:gd name="T16" fmla="*/ 2147483647 w 670"/>
                <a:gd name="T17" fmla="*/ 2147483647 h 400"/>
                <a:gd name="T18" fmla="*/ 2147483647 w 670"/>
                <a:gd name="T19" fmla="*/ 2147483647 h 400"/>
                <a:gd name="T20" fmla="*/ 2147483647 w 670"/>
                <a:gd name="T21" fmla="*/ 2147483647 h 400"/>
                <a:gd name="T22" fmla="*/ 2147483647 w 670"/>
                <a:gd name="T23" fmla="*/ 2147483647 h 400"/>
                <a:gd name="T24" fmla="*/ 2147483647 w 670"/>
                <a:gd name="T25" fmla="*/ 2147483647 h 400"/>
                <a:gd name="T26" fmla="*/ 2147483647 w 670"/>
                <a:gd name="T27" fmla="*/ 2147483647 h 400"/>
                <a:gd name="T28" fmla="*/ 2147483647 w 670"/>
                <a:gd name="T29" fmla="*/ 2147483647 h 400"/>
                <a:gd name="T30" fmla="*/ 2147483647 w 670"/>
                <a:gd name="T31" fmla="*/ 2147483647 h 400"/>
                <a:gd name="T32" fmla="*/ 2147483647 w 670"/>
                <a:gd name="T33" fmla="*/ 2147483647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solidFill>
              <a:schemeClr val="bg1"/>
            </a:solidFill>
            <a:ln w="9525">
              <a:noFill/>
              <a:round/>
              <a:headEnd/>
              <a:tailEnd/>
            </a:ln>
          </p:spPr>
          <p:txBody>
            <a:bodyPr/>
            <a:lstStyle/>
            <a:p>
              <a:endParaRPr lang="zh-CN" altLang="en-US"/>
            </a:p>
          </p:txBody>
        </p:sp>
        <p:grpSp>
          <p:nvGrpSpPr>
            <p:cNvPr id="23" name="组合 2"/>
            <p:cNvGrpSpPr>
              <a:grpSpLocks/>
            </p:cNvGrpSpPr>
            <p:nvPr/>
          </p:nvGrpSpPr>
          <p:grpSpPr bwMode="auto">
            <a:xfrm>
              <a:off x="4358440" y="1543495"/>
              <a:ext cx="108371" cy="104610"/>
              <a:chOff x="4345757" y="1543492"/>
              <a:chExt cx="108371" cy="104610"/>
            </a:xfrm>
          </p:grpSpPr>
          <p:sp>
            <p:nvSpPr>
              <p:cNvPr id="227" name="Freeform 117"/>
              <p:cNvSpPr>
                <a:spLocks/>
              </p:cNvSpPr>
              <p:nvPr/>
            </p:nvSpPr>
            <p:spPr bwMode="auto">
              <a:xfrm>
                <a:off x="4382891" y="1543492"/>
                <a:ext cx="39408" cy="85967"/>
              </a:xfrm>
              <a:custGeom>
                <a:avLst/>
                <a:gdLst>
                  <a:gd name="T0" fmla="*/ 2147483647 w 197"/>
                  <a:gd name="T1" fmla="*/ 2147483647 h 629"/>
                  <a:gd name="T2" fmla="*/ 2147483647 w 197"/>
                  <a:gd name="T3" fmla="*/ 2147483647 h 629"/>
                  <a:gd name="T4" fmla="*/ 0 w 197"/>
                  <a:gd name="T5" fmla="*/ 2147483647 h 629"/>
                  <a:gd name="T6" fmla="*/ 0 w 197"/>
                  <a:gd name="T7" fmla="*/ 2147483647 h 629"/>
                  <a:gd name="T8" fmla="*/ 2147483647 w 197"/>
                  <a:gd name="T9" fmla="*/ 0 h 629"/>
                  <a:gd name="T10" fmla="*/ 2147483647 w 197"/>
                  <a:gd name="T11" fmla="*/ 2147483647 h 629"/>
                  <a:gd name="T12" fmla="*/ 2147483647 w 197"/>
                  <a:gd name="T13" fmla="*/ 2147483647 h 629"/>
                  <a:gd name="T14" fmla="*/ 2147483647 w 197"/>
                  <a:gd name="T15" fmla="*/ 2147483647 h 629"/>
                  <a:gd name="T16" fmla="*/ 2147483647 w 197"/>
                  <a:gd name="T17" fmla="*/ 2147483647 h 629"/>
                  <a:gd name="T18" fmla="*/ 2147483647 w 197"/>
                  <a:gd name="T19" fmla="*/ 2147483647 h 629"/>
                  <a:gd name="T20" fmla="*/ 2147483647 w 197"/>
                  <a:gd name="T21" fmla="*/ 2147483647 h 629"/>
                  <a:gd name="T22" fmla="*/ 2147483647 w 197"/>
                  <a:gd name="T23" fmla="*/ 2147483647 h 629"/>
                  <a:gd name="T24" fmla="*/ 2147483647 w 197"/>
                  <a:gd name="T25" fmla="*/ 2147483647 h 629"/>
                  <a:gd name="T26" fmla="*/ 2147483647 w 197"/>
                  <a:gd name="T27" fmla="*/ 2147483647 h 629"/>
                  <a:gd name="T28" fmla="*/ 2147483647 w 197"/>
                  <a:gd name="T29" fmla="*/ 2147483647 h 629"/>
                  <a:gd name="T30" fmla="*/ 2147483647 w 197"/>
                  <a:gd name="T31" fmla="*/ 2147483647 h 629"/>
                  <a:gd name="T32" fmla="*/ 2147483647 w 197"/>
                  <a:gd name="T33" fmla="*/ 2147483647 h 629"/>
                  <a:gd name="T34" fmla="*/ 2147483647 w 197"/>
                  <a:gd name="T35" fmla="*/ 2147483647 h 629"/>
                  <a:gd name="T36" fmla="*/ 2147483647 w 197"/>
                  <a:gd name="T37" fmla="*/ 2147483647 h 629"/>
                  <a:gd name="T38" fmla="*/ 2147483647 w 197"/>
                  <a:gd name="T39" fmla="*/ 2147483647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solidFill>
                <a:schemeClr val="bg1"/>
              </a:solidFill>
              <a:ln w="9525">
                <a:noFill/>
                <a:round/>
                <a:headEnd/>
                <a:tailEnd/>
              </a:ln>
            </p:spPr>
            <p:txBody>
              <a:bodyPr/>
              <a:lstStyle/>
              <a:p>
                <a:endParaRPr lang="zh-CN" altLang="en-US"/>
              </a:p>
            </p:txBody>
          </p:sp>
          <p:sp>
            <p:nvSpPr>
              <p:cNvPr id="228" name="Freeform 118"/>
              <p:cNvSpPr>
                <a:spLocks/>
              </p:cNvSpPr>
              <p:nvPr/>
            </p:nvSpPr>
            <p:spPr bwMode="auto">
              <a:xfrm>
                <a:off x="4345757" y="1603047"/>
                <a:ext cx="108371" cy="45055"/>
              </a:xfrm>
              <a:custGeom>
                <a:avLst/>
                <a:gdLst>
                  <a:gd name="T0" fmla="*/ 2147483647 w 540"/>
                  <a:gd name="T1" fmla="*/ 2147483647 h 330"/>
                  <a:gd name="T2" fmla="*/ 2147483647 w 540"/>
                  <a:gd name="T3" fmla="*/ 2147483647 h 330"/>
                  <a:gd name="T4" fmla="*/ 2147483647 w 540"/>
                  <a:gd name="T5" fmla="*/ 2147483647 h 330"/>
                  <a:gd name="T6" fmla="*/ 2147483647 w 540"/>
                  <a:gd name="T7" fmla="*/ 2147483647 h 330"/>
                  <a:gd name="T8" fmla="*/ 0 w 540"/>
                  <a:gd name="T9" fmla="*/ 2147483647 h 330"/>
                  <a:gd name="T10" fmla="*/ 2147483647 w 540"/>
                  <a:gd name="T11" fmla="*/ 2147483647 h 330"/>
                  <a:gd name="T12" fmla="*/ 2147483647 w 540"/>
                  <a:gd name="T13" fmla="*/ 2147483647 h 330"/>
                  <a:gd name="T14" fmla="*/ 2147483647 w 540"/>
                  <a:gd name="T15" fmla="*/ 2147483647 h 330"/>
                  <a:gd name="T16" fmla="*/ 2147483647 w 540"/>
                  <a:gd name="T17" fmla="*/ 2147483647 h 330"/>
                  <a:gd name="T18" fmla="*/ 2147483647 w 540"/>
                  <a:gd name="T19" fmla="*/ 2147483647 h 330"/>
                  <a:gd name="T20" fmla="*/ 2147483647 w 540"/>
                  <a:gd name="T21" fmla="*/ 2147483647 h 330"/>
                  <a:gd name="T22" fmla="*/ 2147483647 w 540"/>
                  <a:gd name="T23" fmla="*/ 2147483647 h 330"/>
                  <a:gd name="T24" fmla="*/ 2147483647 w 540"/>
                  <a:gd name="T25" fmla="*/ 2147483647 h 330"/>
                  <a:gd name="T26" fmla="*/ 2147483647 w 540"/>
                  <a:gd name="T27" fmla="*/ 2147483647 h 330"/>
                  <a:gd name="T28" fmla="*/ 2147483647 w 540"/>
                  <a:gd name="T29" fmla="*/ 2147483647 h 330"/>
                  <a:gd name="T30" fmla="*/ 2147483647 w 540"/>
                  <a:gd name="T31" fmla="*/ 2147483647 h 330"/>
                  <a:gd name="T32" fmla="*/ 2147483647 w 540"/>
                  <a:gd name="T33" fmla="*/ 2147483647 h 330"/>
                  <a:gd name="T34" fmla="*/ 2147483647 w 540"/>
                  <a:gd name="T35" fmla="*/ 2147483647 h 330"/>
                  <a:gd name="T36" fmla="*/ 2147483647 w 540"/>
                  <a:gd name="T37" fmla="*/ 2147483647 h 330"/>
                  <a:gd name="T38" fmla="*/ 2147483647 w 540"/>
                  <a:gd name="T39" fmla="*/ 2147483647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solidFill>
                <a:schemeClr val="bg1"/>
              </a:solidFill>
              <a:ln w="9525">
                <a:noFill/>
                <a:round/>
                <a:headEnd/>
                <a:tailEnd/>
              </a:ln>
            </p:spPr>
            <p:txBody>
              <a:bodyPr/>
              <a:lstStyle/>
              <a:p>
                <a:endParaRPr lang="zh-CN" altLang="en-US"/>
              </a:p>
            </p:txBody>
          </p:sp>
          <p:sp>
            <p:nvSpPr>
              <p:cNvPr id="229" name="Freeform 119"/>
              <p:cNvSpPr>
                <a:spLocks/>
              </p:cNvSpPr>
              <p:nvPr/>
            </p:nvSpPr>
            <p:spPr bwMode="auto">
              <a:xfrm>
                <a:off x="4401837" y="1562135"/>
                <a:ext cx="27282" cy="19161"/>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sp>
            <p:nvSpPr>
              <p:cNvPr id="230" name="Freeform 120"/>
              <p:cNvSpPr>
                <a:spLocks/>
              </p:cNvSpPr>
              <p:nvPr/>
            </p:nvSpPr>
            <p:spPr bwMode="auto">
              <a:xfrm>
                <a:off x="4401837" y="1591654"/>
                <a:ext cx="27282" cy="18643"/>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grpSp>
        <p:sp>
          <p:nvSpPr>
            <p:cNvPr id="225" name="Freeform 121"/>
            <p:cNvSpPr>
              <a:spLocks/>
            </p:cNvSpPr>
            <p:nvPr/>
          </p:nvSpPr>
          <p:spPr bwMode="auto">
            <a:xfrm>
              <a:off x="4287817" y="1336866"/>
              <a:ext cx="92456" cy="37287"/>
            </a:xfrm>
            <a:custGeom>
              <a:avLst/>
              <a:gdLst>
                <a:gd name="T0" fmla="*/ 2147483647 w 462"/>
                <a:gd name="T1" fmla="*/ 2147483647 h 272"/>
                <a:gd name="T2" fmla="*/ 2147483647 w 462"/>
                <a:gd name="T3" fmla="*/ 2147483647 h 272"/>
                <a:gd name="T4" fmla="*/ 2147483647 w 462"/>
                <a:gd name="T5" fmla="*/ 2147483647 h 272"/>
                <a:gd name="T6" fmla="*/ 2147483647 w 462"/>
                <a:gd name="T7" fmla="*/ 2147483647 h 272"/>
                <a:gd name="T8" fmla="*/ 2147483647 w 462"/>
                <a:gd name="T9" fmla="*/ 2147483647 h 272"/>
                <a:gd name="T10" fmla="*/ 2147483647 w 462"/>
                <a:gd name="T11" fmla="*/ 2147483647 h 272"/>
                <a:gd name="T12" fmla="*/ 2147483647 w 462"/>
                <a:gd name="T13" fmla="*/ 2147483647 h 272"/>
                <a:gd name="T14" fmla="*/ 2147483647 w 462"/>
                <a:gd name="T15" fmla="*/ 2147483647 h 272"/>
                <a:gd name="T16" fmla="*/ 2147483647 w 462"/>
                <a:gd name="T17" fmla="*/ 2147483647 h 272"/>
                <a:gd name="T18" fmla="*/ 2147483647 w 462"/>
                <a:gd name="T19" fmla="*/ 2147483647 h 272"/>
                <a:gd name="T20" fmla="*/ 2147483647 w 462"/>
                <a:gd name="T21" fmla="*/ 2147483647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solidFill>
              <a:schemeClr val="bg1"/>
            </a:solidFill>
            <a:ln w="9525">
              <a:noFill/>
              <a:round/>
              <a:headEnd/>
              <a:tailEnd/>
            </a:ln>
          </p:spPr>
          <p:txBody>
            <a:bodyPr/>
            <a:lstStyle/>
            <a:p>
              <a:endParaRPr lang="zh-CN" altLang="en-US"/>
            </a:p>
          </p:txBody>
        </p:sp>
        <p:sp>
          <p:nvSpPr>
            <p:cNvPr id="226" name="Freeform 122"/>
            <p:cNvSpPr>
              <a:spLocks/>
            </p:cNvSpPr>
            <p:nvPr/>
          </p:nvSpPr>
          <p:spPr bwMode="auto">
            <a:xfrm>
              <a:off x="4304507" y="1356022"/>
              <a:ext cx="46228" cy="20715"/>
            </a:xfrm>
            <a:custGeom>
              <a:avLst/>
              <a:gdLst>
                <a:gd name="T0" fmla="*/ 2147483647 w 228"/>
                <a:gd name="T1" fmla="*/ 2147483647 h 148"/>
                <a:gd name="T2" fmla="*/ 2147483647 w 228"/>
                <a:gd name="T3" fmla="*/ 2147483647 h 148"/>
                <a:gd name="T4" fmla="*/ 2147483647 w 228"/>
                <a:gd name="T5" fmla="*/ 2147483647 h 148"/>
                <a:gd name="T6" fmla="*/ 2147483647 w 228"/>
                <a:gd name="T7" fmla="*/ 2147483647 h 148"/>
                <a:gd name="T8" fmla="*/ 2147483647 w 228"/>
                <a:gd name="T9" fmla="*/ 2147483647 h 148"/>
                <a:gd name="T10" fmla="*/ 2147483647 w 228"/>
                <a:gd name="T11" fmla="*/ 2147483647 h 148"/>
                <a:gd name="T12" fmla="*/ 2147483647 w 228"/>
                <a:gd name="T13" fmla="*/ 2147483647 h 148"/>
                <a:gd name="T14" fmla="*/ 2147483647 w 228"/>
                <a:gd name="T15" fmla="*/ 2147483647 h 148"/>
                <a:gd name="T16" fmla="*/ 2147483647 w 228"/>
                <a:gd name="T17" fmla="*/ 2147483647 h 148"/>
                <a:gd name="T18" fmla="*/ 2147483647 w 228"/>
                <a:gd name="T19" fmla="*/ 2147483647 h 148"/>
                <a:gd name="T20" fmla="*/ 2147483647 w 228"/>
                <a:gd name="T21" fmla="*/ 2147483647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solidFill>
              <a:schemeClr val="bg1"/>
            </a:solidFill>
            <a:ln w="9525">
              <a:noFill/>
              <a:round/>
              <a:headEnd/>
              <a:tailEnd/>
            </a:ln>
          </p:spPr>
          <p:txBody>
            <a:bodyPr/>
            <a:lstStyle/>
            <a:p>
              <a:endParaRPr lang="zh-CN" altLang="en-US"/>
            </a:p>
          </p:txBody>
        </p:sp>
      </p:grpSp>
      <p:pic>
        <p:nvPicPr>
          <p:cNvPr id="231"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66325" y="4495726"/>
            <a:ext cx="251816" cy="134559"/>
          </a:xfrm>
          <a:prstGeom prst="rect">
            <a:avLst/>
          </a:prstGeom>
          <a:noFill/>
          <a:ln w="9525">
            <a:noFill/>
            <a:miter lim="800000"/>
            <a:headEnd/>
            <a:tailEnd/>
          </a:ln>
          <a:effectLst/>
        </p:spPr>
      </p:pic>
      <p:grpSp>
        <p:nvGrpSpPr>
          <p:cNvPr id="24" name="组合 307"/>
          <p:cNvGrpSpPr>
            <a:grpSpLocks/>
          </p:cNvGrpSpPr>
          <p:nvPr/>
        </p:nvGrpSpPr>
        <p:grpSpPr bwMode="auto">
          <a:xfrm>
            <a:off x="1836073" y="4005858"/>
            <a:ext cx="529798" cy="693192"/>
            <a:chOff x="4229481" y="1336861"/>
            <a:chExt cx="237347" cy="311241"/>
          </a:xfrm>
        </p:grpSpPr>
        <p:sp>
          <p:nvSpPr>
            <p:cNvPr id="233" name="Freeform 114"/>
            <p:cNvSpPr>
              <a:spLocks noEditPoints="1"/>
            </p:cNvSpPr>
            <p:nvPr/>
          </p:nvSpPr>
          <p:spPr bwMode="auto">
            <a:xfrm>
              <a:off x="4229481" y="1360165"/>
              <a:ext cx="149294" cy="67841"/>
            </a:xfrm>
            <a:custGeom>
              <a:avLst/>
              <a:gdLst>
                <a:gd name="T0" fmla="*/ 2147483647 w 747"/>
                <a:gd name="T1" fmla="*/ 2147483647 h 496"/>
                <a:gd name="T2" fmla="*/ 2147483647 w 747"/>
                <a:gd name="T3" fmla="*/ 2147483647 h 496"/>
                <a:gd name="T4" fmla="*/ 2147483647 w 747"/>
                <a:gd name="T5" fmla="*/ 2147483647 h 496"/>
                <a:gd name="T6" fmla="*/ 2147483647 w 747"/>
                <a:gd name="T7" fmla="*/ 2147483647 h 496"/>
                <a:gd name="T8" fmla="*/ 2147483647 w 747"/>
                <a:gd name="T9" fmla="*/ 2147483647 h 496"/>
                <a:gd name="T10" fmla="*/ 2147483647 w 747"/>
                <a:gd name="T11" fmla="*/ 2147483647 h 496"/>
                <a:gd name="T12" fmla="*/ 2147483647 w 747"/>
                <a:gd name="T13" fmla="*/ 2147483647 h 496"/>
                <a:gd name="T14" fmla="*/ 2147483647 w 747"/>
                <a:gd name="T15" fmla="*/ 2147483647 h 496"/>
                <a:gd name="T16" fmla="*/ 2147483647 w 747"/>
                <a:gd name="T17" fmla="*/ 2147483647 h 496"/>
                <a:gd name="T18" fmla="*/ 2147483647 w 747"/>
                <a:gd name="T19" fmla="*/ 2147483647 h 496"/>
                <a:gd name="T20" fmla="*/ 2147483647 w 747"/>
                <a:gd name="T21" fmla="*/ 2147483647 h 496"/>
                <a:gd name="T22" fmla="*/ 2147483647 w 747"/>
                <a:gd name="T23" fmla="*/ 2147483647 h 496"/>
                <a:gd name="T24" fmla="*/ 2147483647 w 747"/>
                <a:gd name="T25" fmla="*/ 2147483647 h 496"/>
                <a:gd name="T26" fmla="*/ 2147483647 w 747"/>
                <a:gd name="T27" fmla="*/ 2147483647 h 496"/>
                <a:gd name="T28" fmla="*/ 2147483647 w 747"/>
                <a:gd name="T29" fmla="*/ 2147483647 h 496"/>
                <a:gd name="T30" fmla="*/ 2147483647 w 747"/>
                <a:gd name="T31" fmla="*/ 2147483647 h 496"/>
                <a:gd name="T32" fmla="*/ 2147483647 w 747"/>
                <a:gd name="T33" fmla="*/ 2147483647 h 496"/>
                <a:gd name="T34" fmla="*/ 2147483647 w 747"/>
                <a:gd name="T35" fmla="*/ 2147483647 h 496"/>
                <a:gd name="T36" fmla="*/ 2147483647 w 747"/>
                <a:gd name="T37" fmla="*/ 2147483647 h 496"/>
                <a:gd name="T38" fmla="*/ 2147483647 w 747"/>
                <a:gd name="T39" fmla="*/ 2147483647 h 496"/>
                <a:gd name="T40" fmla="*/ 2147483647 w 747"/>
                <a:gd name="T41" fmla="*/ 2147483647 h 496"/>
                <a:gd name="T42" fmla="*/ 2147483647 w 747"/>
                <a:gd name="T43" fmla="*/ 2147483647 h 496"/>
                <a:gd name="T44" fmla="*/ 2147483647 w 747"/>
                <a:gd name="T45" fmla="*/ 2147483647 h 496"/>
                <a:gd name="T46" fmla="*/ 2147483647 w 747"/>
                <a:gd name="T47" fmla="*/ 2147483647 h 496"/>
                <a:gd name="T48" fmla="*/ 2147483647 w 747"/>
                <a:gd name="T49" fmla="*/ 2147483647 h 496"/>
                <a:gd name="T50" fmla="*/ 2147483647 w 747"/>
                <a:gd name="T51" fmla="*/ 2147483647 h 496"/>
                <a:gd name="T52" fmla="*/ 2147483647 w 747"/>
                <a:gd name="T53" fmla="*/ 2147483647 h 496"/>
                <a:gd name="T54" fmla="*/ 2147483647 w 747"/>
                <a:gd name="T55" fmla="*/ 2147483647 h 496"/>
                <a:gd name="T56" fmla="*/ 2147483647 w 747"/>
                <a:gd name="T57" fmla="*/ 0 h 496"/>
                <a:gd name="T58" fmla="*/ 2147483647 w 747"/>
                <a:gd name="T59" fmla="*/ 2147483647 h 496"/>
                <a:gd name="T60" fmla="*/ 2147483647 w 747"/>
                <a:gd name="T61" fmla="*/ 2147483647 h 496"/>
                <a:gd name="T62" fmla="*/ 2147483647 w 747"/>
                <a:gd name="T63" fmla="*/ 2147483647 h 496"/>
                <a:gd name="T64" fmla="*/ 2147483647 w 747"/>
                <a:gd name="T65" fmla="*/ 2147483647 h 496"/>
                <a:gd name="T66" fmla="*/ 2147483647 w 747"/>
                <a:gd name="T67" fmla="*/ 2147483647 h 496"/>
                <a:gd name="T68" fmla="*/ 2147483647 w 747"/>
                <a:gd name="T69" fmla="*/ 2147483647 h 496"/>
                <a:gd name="T70" fmla="*/ 2147483647 w 747"/>
                <a:gd name="T71" fmla="*/ 2147483647 h 496"/>
                <a:gd name="T72" fmla="*/ 2147483647 w 747"/>
                <a:gd name="T73" fmla="*/ 2147483647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solidFill>
              <a:schemeClr val="bg1"/>
            </a:solidFill>
            <a:ln w="9525">
              <a:noFill/>
              <a:round/>
              <a:headEnd/>
              <a:tailEnd/>
            </a:ln>
          </p:spPr>
          <p:txBody>
            <a:bodyPr/>
            <a:lstStyle/>
            <a:p>
              <a:endParaRPr lang="zh-CN" altLang="en-US"/>
            </a:p>
          </p:txBody>
        </p:sp>
        <p:sp>
          <p:nvSpPr>
            <p:cNvPr id="234" name="Freeform 115"/>
            <p:cNvSpPr>
              <a:spLocks/>
            </p:cNvSpPr>
            <p:nvPr/>
          </p:nvSpPr>
          <p:spPr bwMode="auto">
            <a:xfrm>
              <a:off x="4358313" y="1408327"/>
              <a:ext cx="59869" cy="142933"/>
            </a:xfrm>
            <a:custGeom>
              <a:avLst/>
              <a:gdLst>
                <a:gd name="T0" fmla="*/ 2147483647 w 300"/>
                <a:gd name="T1" fmla="*/ 2147483647 h 1043"/>
                <a:gd name="T2" fmla="*/ 2147483647 w 300"/>
                <a:gd name="T3" fmla="*/ 2147483647 h 1043"/>
                <a:gd name="T4" fmla="*/ 2147483647 w 300"/>
                <a:gd name="T5" fmla="*/ 2147483647 h 1043"/>
                <a:gd name="T6" fmla="*/ 2147483647 w 300"/>
                <a:gd name="T7" fmla="*/ 2147483647 h 1043"/>
                <a:gd name="T8" fmla="*/ 2147483647 w 300"/>
                <a:gd name="T9" fmla="*/ 2147483647 h 1043"/>
                <a:gd name="T10" fmla="*/ 2147483647 w 300"/>
                <a:gd name="T11" fmla="*/ 2147483647 h 1043"/>
                <a:gd name="T12" fmla="*/ 2147483647 w 300"/>
                <a:gd name="T13" fmla="*/ 2147483647 h 1043"/>
                <a:gd name="T14" fmla="*/ 2147483647 w 300"/>
                <a:gd name="T15" fmla="*/ 2147483647 h 1043"/>
                <a:gd name="T16" fmla="*/ 2147483647 w 300"/>
                <a:gd name="T17" fmla="*/ 2147483647 h 1043"/>
                <a:gd name="T18" fmla="*/ 2147483647 w 300"/>
                <a:gd name="T19" fmla="*/ 2147483647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solidFill>
              <a:schemeClr val="bg1"/>
            </a:solidFill>
            <a:ln w="9525">
              <a:noFill/>
              <a:round/>
              <a:headEnd/>
              <a:tailEnd/>
            </a:ln>
          </p:spPr>
          <p:txBody>
            <a:bodyPr/>
            <a:lstStyle/>
            <a:p>
              <a:endParaRPr lang="zh-CN" altLang="en-US"/>
            </a:p>
          </p:txBody>
        </p:sp>
        <p:sp>
          <p:nvSpPr>
            <p:cNvPr id="235" name="Freeform 116"/>
            <p:cNvSpPr>
              <a:spLocks/>
            </p:cNvSpPr>
            <p:nvPr/>
          </p:nvSpPr>
          <p:spPr bwMode="auto">
            <a:xfrm>
              <a:off x="4238575" y="1370005"/>
              <a:ext cx="134137" cy="54894"/>
            </a:xfrm>
            <a:custGeom>
              <a:avLst/>
              <a:gdLst>
                <a:gd name="T0" fmla="*/ 2147483647 w 670"/>
                <a:gd name="T1" fmla="*/ 2147483647 h 400"/>
                <a:gd name="T2" fmla="*/ 2147483647 w 670"/>
                <a:gd name="T3" fmla="*/ 2147483647 h 400"/>
                <a:gd name="T4" fmla="*/ 2147483647 w 670"/>
                <a:gd name="T5" fmla="*/ 2147483647 h 400"/>
                <a:gd name="T6" fmla="*/ 2147483647 w 670"/>
                <a:gd name="T7" fmla="*/ 2147483647 h 400"/>
                <a:gd name="T8" fmla="*/ 2147483647 w 670"/>
                <a:gd name="T9" fmla="*/ 2147483647 h 400"/>
                <a:gd name="T10" fmla="*/ 2147483647 w 670"/>
                <a:gd name="T11" fmla="*/ 2147483647 h 400"/>
                <a:gd name="T12" fmla="*/ 2147483647 w 670"/>
                <a:gd name="T13" fmla="*/ 2147483647 h 400"/>
                <a:gd name="T14" fmla="*/ 2147483647 w 670"/>
                <a:gd name="T15" fmla="*/ 2147483647 h 400"/>
                <a:gd name="T16" fmla="*/ 2147483647 w 670"/>
                <a:gd name="T17" fmla="*/ 2147483647 h 400"/>
                <a:gd name="T18" fmla="*/ 2147483647 w 670"/>
                <a:gd name="T19" fmla="*/ 2147483647 h 400"/>
                <a:gd name="T20" fmla="*/ 2147483647 w 670"/>
                <a:gd name="T21" fmla="*/ 2147483647 h 400"/>
                <a:gd name="T22" fmla="*/ 2147483647 w 670"/>
                <a:gd name="T23" fmla="*/ 2147483647 h 400"/>
                <a:gd name="T24" fmla="*/ 2147483647 w 670"/>
                <a:gd name="T25" fmla="*/ 2147483647 h 400"/>
                <a:gd name="T26" fmla="*/ 2147483647 w 670"/>
                <a:gd name="T27" fmla="*/ 2147483647 h 400"/>
                <a:gd name="T28" fmla="*/ 2147483647 w 670"/>
                <a:gd name="T29" fmla="*/ 2147483647 h 400"/>
                <a:gd name="T30" fmla="*/ 2147483647 w 670"/>
                <a:gd name="T31" fmla="*/ 2147483647 h 400"/>
                <a:gd name="T32" fmla="*/ 2147483647 w 670"/>
                <a:gd name="T33" fmla="*/ 2147483647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solidFill>
              <a:schemeClr val="bg1"/>
            </a:solidFill>
            <a:ln w="9525">
              <a:noFill/>
              <a:round/>
              <a:headEnd/>
              <a:tailEnd/>
            </a:ln>
          </p:spPr>
          <p:txBody>
            <a:bodyPr/>
            <a:lstStyle/>
            <a:p>
              <a:endParaRPr lang="zh-CN" altLang="en-US"/>
            </a:p>
          </p:txBody>
        </p:sp>
        <p:grpSp>
          <p:nvGrpSpPr>
            <p:cNvPr id="25" name="组合 2"/>
            <p:cNvGrpSpPr>
              <a:grpSpLocks/>
            </p:cNvGrpSpPr>
            <p:nvPr/>
          </p:nvGrpSpPr>
          <p:grpSpPr bwMode="auto">
            <a:xfrm>
              <a:off x="4358457" y="1543492"/>
              <a:ext cx="108371" cy="104610"/>
              <a:chOff x="4345757" y="1543492"/>
              <a:chExt cx="108371" cy="104610"/>
            </a:xfrm>
          </p:grpSpPr>
          <p:sp>
            <p:nvSpPr>
              <p:cNvPr id="239" name="Freeform 117"/>
              <p:cNvSpPr>
                <a:spLocks/>
              </p:cNvSpPr>
              <p:nvPr/>
            </p:nvSpPr>
            <p:spPr bwMode="auto">
              <a:xfrm>
                <a:off x="4382891" y="1543492"/>
                <a:ext cx="39408" cy="85967"/>
              </a:xfrm>
              <a:custGeom>
                <a:avLst/>
                <a:gdLst>
                  <a:gd name="T0" fmla="*/ 2147483647 w 197"/>
                  <a:gd name="T1" fmla="*/ 2147483647 h 629"/>
                  <a:gd name="T2" fmla="*/ 2147483647 w 197"/>
                  <a:gd name="T3" fmla="*/ 2147483647 h 629"/>
                  <a:gd name="T4" fmla="*/ 0 w 197"/>
                  <a:gd name="T5" fmla="*/ 2147483647 h 629"/>
                  <a:gd name="T6" fmla="*/ 0 w 197"/>
                  <a:gd name="T7" fmla="*/ 2147483647 h 629"/>
                  <a:gd name="T8" fmla="*/ 2147483647 w 197"/>
                  <a:gd name="T9" fmla="*/ 0 h 629"/>
                  <a:gd name="T10" fmla="*/ 2147483647 w 197"/>
                  <a:gd name="T11" fmla="*/ 2147483647 h 629"/>
                  <a:gd name="T12" fmla="*/ 2147483647 w 197"/>
                  <a:gd name="T13" fmla="*/ 2147483647 h 629"/>
                  <a:gd name="T14" fmla="*/ 2147483647 w 197"/>
                  <a:gd name="T15" fmla="*/ 2147483647 h 629"/>
                  <a:gd name="T16" fmla="*/ 2147483647 w 197"/>
                  <a:gd name="T17" fmla="*/ 2147483647 h 629"/>
                  <a:gd name="T18" fmla="*/ 2147483647 w 197"/>
                  <a:gd name="T19" fmla="*/ 2147483647 h 629"/>
                  <a:gd name="T20" fmla="*/ 2147483647 w 197"/>
                  <a:gd name="T21" fmla="*/ 2147483647 h 629"/>
                  <a:gd name="T22" fmla="*/ 2147483647 w 197"/>
                  <a:gd name="T23" fmla="*/ 2147483647 h 629"/>
                  <a:gd name="T24" fmla="*/ 2147483647 w 197"/>
                  <a:gd name="T25" fmla="*/ 2147483647 h 629"/>
                  <a:gd name="T26" fmla="*/ 2147483647 w 197"/>
                  <a:gd name="T27" fmla="*/ 2147483647 h 629"/>
                  <a:gd name="T28" fmla="*/ 2147483647 w 197"/>
                  <a:gd name="T29" fmla="*/ 2147483647 h 629"/>
                  <a:gd name="T30" fmla="*/ 2147483647 w 197"/>
                  <a:gd name="T31" fmla="*/ 2147483647 h 629"/>
                  <a:gd name="T32" fmla="*/ 2147483647 w 197"/>
                  <a:gd name="T33" fmla="*/ 2147483647 h 629"/>
                  <a:gd name="T34" fmla="*/ 2147483647 w 197"/>
                  <a:gd name="T35" fmla="*/ 2147483647 h 629"/>
                  <a:gd name="T36" fmla="*/ 2147483647 w 197"/>
                  <a:gd name="T37" fmla="*/ 2147483647 h 629"/>
                  <a:gd name="T38" fmla="*/ 2147483647 w 197"/>
                  <a:gd name="T39" fmla="*/ 2147483647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solidFill>
                <a:schemeClr val="bg1"/>
              </a:solidFill>
              <a:ln w="9525">
                <a:noFill/>
                <a:round/>
                <a:headEnd/>
                <a:tailEnd/>
              </a:ln>
            </p:spPr>
            <p:txBody>
              <a:bodyPr/>
              <a:lstStyle/>
              <a:p>
                <a:endParaRPr lang="zh-CN" altLang="en-US"/>
              </a:p>
            </p:txBody>
          </p:sp>
          <p:sp>
            <p:nvSpPr>
              <p:cNvPr id="240" name="Freeform 118"/>
              <p:cNvSpPr>
                <a:spLocks/>
              </p:cNvSpPr>
              <p:nvPr/>
            </p:nvSpPr>
            <p:spPr bwMode="auto">
              <a:xfrm>
                <a:off x="4345757" y="1603047"/>
                <a:ext cx="108371" cy="45055"/>
              </a:xfrm>
              <a:custGeom>
                <a:avLst/>
                <a:gdLst>
                  <a:gd name="T0" fmla="*/ 2147483647 w 540"/>
                  <a:gd name="T1" fmla="*/ 2147483647 h 330"/>
                  <a:gd name="T2" fmla="*/ 2147483647 w 540"/>
                  <a:gd name="T3" fmla="*/ 2147483647 h 330"/>
                  <a:gd name="T4" fmla="*/ 2147483647 w 540"/>
                  <a:gd name="T5" fmla="*/ 2147483647 h 330"/>
                  <a:gd name="T6" fmla="*/ 2147483647 w 540"/>
                  <a:gd name="T7" fmla="*/ 2147483647 h 330"/>
                  <a:gd name="T8" fmla="*/ 0 w 540"/>
                  <a:gd name="T9" fmla="*/ 2147483647 h 330"/>
                  <a:gd name="T10" fmla="*/ 2147483647 w 540"/>
                  <a:gd name="T11" fmla="*/ 2147483647 h 330"/>
                  <a:gd name="T12" fmla="*/ 2147483647 w 540"/>
                  <a:gd name="T13" fmla="*/ 2147483647 h 330"/>
                  <a:gd name="T14" fmla="*/ 2147483647 w 540"/>
                  <a:gd name="T15" fmla="*/ 2147483647 h 330"/>
                  <a:gd name="T16" fmla="*/ 2147483647 w 540"/>
                  <a:gd name="T17" fmla="*/ 2147483647 h 330"/>
                  <a:gd name="T18" fmla="*/ 2147483647 w 540"/>
                  <a:gd name="T19" fmla="*/ 2147483647 h 330"/>
                  <a:gd name="T20" fmla="*/ 2147483647 w 540"/>
                  <a:gd name="T21" fmla="*/ 2147483647 h 330"/>
                  <a:gd name="T22" fmla="*/ 2147483647 w 540"/>
                  <a:gd name="T23" fmla="*/ 2147483647 h 330"/>
                  <a:gd name="T24" fmla="*/ 2147483647 w 540"/>
                  <a:gd name="T25" fmla="*/ 2147483647 h 330"/>
                  <a:gd name="T26" fmla="*/ 2147483647 w 540"/>
                  <a:gd name="T27" fmla="*/ 2147483647 h 330"/>
                  <a:gd name="T28" fmla="*/ 2147483647 w 540"/>
                  <a:gd name="T29" fmla="*/ 2147483647 h 330"/>
                  <a:gd name="T30" fmla="*/ 2147483647 w 540"/>
                  <a:gd name="T31" fmla="*/ 2147483647 h 330"/>
                  <a:gd name="T32" fmla="*/ 2147483647 w 540"/>
                  <a:gd name="T33" fmla="*/ 2147483647 h 330"/>
                  <a:gd name="T34" fmla="*/ 2147483647 w 540"/>
                  <a:gd name="T35" fmla="*/ 2147483647 h 330"/>
                  <a:gd name="T36" fmla="*/ 2147483647 w 540"/>
                  <a:gd name="T37" fmla="*/ 2147483647 h 330"/>
                  <a:gd name="T38" fmla="*/ 2147483647 w 540"/>
                  <a:gd name="T39" fmla="*/ 2147483647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solidFill>
                <a:schemeClr val="bg1"/>
              </a:solidFill>
              <a:ln w="9525">
                <a:noFill/>
                <a:round/>
                <a:headEnd/>
                <a:tailEnd/>
              </a:ln>
            </p:spPr>
            <p:txBody>
              <a:bodyPr/>
              <a:lstStyle/>
              <a:p>
                <a:endParaRPr lang="zh-CN" altLang="en-US"/>
              </a:p>
            </p:txBody>
          </p:sp>
          <p:sp>
            <p:nvSpPr>
              <p:cNvPr id="241" name="Freeform 119"/>
              <p:cNvSpPr>
                <a:spLocks/>
              </p:cNvSpPr>
              <p:nvPr/>
            </p:nvSpPr>
            <p:spPr bwMode="auto">
              <a:xfrm>
                <a:off x="4401837" y="1562135"/>
                <a:ext cx="27282" cy="19161"/>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sp>
            <p:nvSpPr>
              <p:cNvPr id="242" name="Freeform 120"/>
              <p:cNvSpPr>
                <a:spLocks/>
              </p:cNvSpPr>
              <p:nvPr/>
            </p:nvSpPr>
            <p:spPr bwMode="auto">
              <a:xfrm>
                <a:off x="4401837" y="1591654"/>
                <a:ext cx="27282" cy="18643"/>
              </a:xfrm>
              <a:custGeom>
                <a:avLst/>
                <a:gdLst>
                  <a:gd name="T0" fmla="*/ 0 w 138"/>
                  <a:gd name="T1" fmla="*/ 2147483647 h 138"/>
                  <a:gd name="T2" fmla="*/ 0 w 138"/>
                  <a:gd name="T3" fmla="*/ 2147483647 h 138"/>
                  <a:gd name="T4" fmla="*/ 2147483647 w 138"/>
                  <a:gd name="T5" fmla="*/ 0 h 138"/>
                  <a:gd name="T6" fmla="*/ 2147483647 w 138"/>
                  <a:gd name="T7" fmla="*/ 2147483647 h 138"/>
                  <a:gd name="T8" fmla="*/ 2147483647 w 138"/>
                  <a:gd name="T9" fmla="*/ 2147483647 h 138"/>
                  <a:gd name="T10" fmla="*/ 0 w 138"/>
                  <a:gd name="T11" fmla="*/ 2147483647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solidFill>
                <a:schemeClr val="bg1"/>
              </a:solidFill>
              <a:ln w="9525">
                <a:noFill/>
                <a:round/>
                <a:headEnd/>
                <a:tailEnd/>
              </a:ln>
            </p:spPr>
            <p:txBody>
              <a:bodyPr/>
              <a:lstStyle/>
              <a:p>
                <a:endParaRPr lang="zh-CN" altLang="en-US"/>
              </a:p>
            </p:txBody>
          </p:sp>
        </p:grpSp>
        <p:sp>
          <p:nvSpPr>
            <p:cNvPr id="237" name="Freeform 121"/>
            <p:cNvSpPr>
              <a:spLocks/>
            </p:cNvSpPr>
            <p:nvPr/>
          </p:nvSpPr>
          <p:spPr bwMode="auto">
            <a:xfrm>
              <a:off x="4287834" y="1336861"/>
              <a:ext cx="92456" cy="37287"/>
            </a:xfrm>
            <a:custGeom>
              <a:avLst/>
              <a:gdLst>
                <a:gd name="T0" fmla="*/ 2147483647 w 462"/>
                <a:gd name="T1" fmla="*/ 2147483647 h 272"/>
                <a:gd name="T2" fmla="*/ 2147483647 w 462"/>
                <a:gd name="T3" fmla="*/ 2147483647 h 272"/>
                <a:gd name="T4" fmla="*/ 2147483647 w 462"/>
                <a:gd name="T5" fmla="*/ 2147483647 h 272"/>
                <a:gd name="T6" fmla="*/ 2147483647 w 462"/>
                <a:gd name="T7" fmla="*/ 2147483647 h 272"/>
                <a:gd name="T8" fmla="*/ 2147483647 w 462"/>
                <a:gd name="T9" fmla="*/ 2147483647 h 272"/>
                <a:gd name="T10" fmla="*/ 2147483647 w 462"/>
                <a:gd name="T11" fmla="*/ 2147483647 h 272"/>
                <a:gd name="T12" fmla="*/ 2147483647 w 462"/>
                <a:gd name="T13" fmla="*/ 2147483647 h 272"/>
                <a:gd name="T14" fmla="*/ 2147483647 w 462"/>
                <a:gd name="T15" fmla="*/ 2147483647 h 272"/>
                <a:gd name="T16" fmla="*/ 2147483647 w 462"/>
                <a:gd name="T17" fmla="*/ 2147483647 h 272"/>
                <a:gd name="T18" fmla="*/ 2147483647 w 462"/>
                <a:gd name="T19" fmla="*/ 2147483647 h 272"/>
                <a:gd name="T20" fmla="*/ 2147483647 w 462"/>
                <a:gd name="T21" fmla="*/ 2147483647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solidFill>
              <a:schemeClr val="bg1"/>
            </a:solidFill>
            <a:ln w="9525">
              <a:noFill/>
              <a:round/>
              <a:headEnd/>
              <a:tailEnd/>
            </a:ln>
          </p:spPr>
          <p:txBody>
            <a:bodyPr/>
            <a:lstStyle/>
            <a:p>
              <a:endParaRPr lang="zh-CN" altLang="en-US"/>
            </a:p>
          </p:txBody>
        </p:sp>
        <p:sp>
          <p:nvSpPr>
            <p:cNvPr id="238" name="Freeform 122"/>
            <p:cNvSpPr>
              <a:spLocks/>
            </p:cNvSpPr>
            <p:nvPr/>
          </p:nvSpPr>
          <p:spPr bwMode="auto">
            <a:xfrm>
              <a:off x="4304507" y="1356022"/>
              <a:ext cx="46228" cy="20715"/>
            </a:xfrm>
            <a:custGeom>
              <a:avLst/>
              <a:gdLst>
                <a:gd name="T0" fmla="*/ 2147483647 w 228"/>
                <a:gd name="T1" fmla="*/ 2147483647 h 148"/>
                <a:gd name="T2" fmla="*/ 2147483647 w 228"/>
                <a:gd name="T3" fmla="*/ 2147483647 h 148"/>
                <a:gd name="T4" fmla="*/ 2147483647 w 228"/>
                <a:gd name="T5" fmla="*/ 2147483647 h 148"/>
                <a:gd name="T6" fmla="*/ 2147483647 w 228"/>
                <a:gd name="T7" fmla="*/ 2147483647 h 148"/>
                <a:gd name="T8" fmla="*/ 2147483647 w 228"/>
                <a:gd name="T9" fmla="*/ 2147483647 h 148"/>
                <a:gd name="T10" fmla="*/ 2147483647 w 228"/>
                <a:gd name="T11" fmla="*/ 2147483647 h 148"/>
                <a:gd name="T12" fmla="*/ 2147483647 w 228"/>
                <a:gd name="T13" fmla="*/ 2147483647 h 148"/>
                <a:gd name="T14" fmla="*/ 2147483647 w 228"/>
                <a:gd name="T15" fmla="*/ 2147483647 h 148"/>
                <a:gd name="T16" fmla="*/ 2147483647 w 228"/>
                <a:gd name="T17" fmla="*/ 2147483647 h 148"/>
                <a:gd name="T18" fmla="*/ 2147483647 w 228"/>
                <a:gd name="T19" fmla="*/ 2147483647 h 148"/>
                <a:gd name="T20" fmla="*/ 2147483647 w 228"/>
                <a:gd name="T21" fmla="*/ 2147483647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solidFill>
              <a:schemeClr val="bg1"/>
            </a:solidFill>
            <a:ln w="9525">
              <a:noFill/>
              <a:round/>
              <a:headEnd/>
              <a:tailEnd/>
            </a:ln>
          </p:spPr>
          <p:txBody>
            <a:bodyPr/>
            <a:lstStyle/>
            <a:p>
              <a:endParaRPr lang="zh-CN" altLang="en-US"/>
            </a:p>
          </p:txBody>
        </p:sp>
      </p:grpSp>
      <p:pic>
        <p:nvPicPr>
          <p:cNvPr id="243"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45371" y="4495726"/>
            <a:ext cx="251816" cy="134559"/>
          </a:xfrm>
          <a:prstGeom prst="rect">
            <a:avLst/>
          </a:prstGeom>
          <a:noFill/>
          <a:ln w="9525">
            <a:noFill/>
            <a:miter lim="800000"/>
            <a:headEnd/>
            <a:tailEnd/>
          </a:ln>
          <a:effectLst/>
        </p:spPr>
      </p:pic>
      <p:sp>
        <p:nvSpPr>
          <p:cNvPr id="249" name="TextBox 248"/>
          <p:cNvSpPr txBox="1"/>
          <p:nvPr/>
        </p:nvSpPr>
        <p:spPr>
          <a:xfrm>
            <a:off x="1827907" y="5662042"/>
            <a:ext cx="838354" cy="246221"/>
          </a:xfrm>
          <a:prstGeom prst="rect">
            <a:avLst/>
          </a:prstGeom>
          <a:noFill/>
        </p:spPr>
        <p:txBody>
          <a:bodyPr wrap="square" rtlCol="0">
            <a:spAutoFit/>
          </a:bodyPr>
          <a:lstStyle/>
          <a:p>
            <a:pPr algn="ctr"/>
            <a:r>
              <a:rPr lang="en-US" altLang="zh-CN" sz="1000" dirty="0" smtClean="0">
                <a:solidFill>
                  <a:schemeClr val="bg1"/>
                </a:solidFill>
              </a:rPr>
              <a:t>PLC</a:t>
            </a:r>
            <a:r>
              <a:rPr lang="zh-CN" altLang="en-US" sz="1000" dirty="0" smtClean="0">
                <a:solidFill>
                  <a:schemeClr val="bg1"/>
                </a:solidFill>
              </a:rPr>
              <a:t> lamp control</a:t>
            </a:r>
            <a:endParaRPr lang="zh-CN" altLang="en-US" sz="1000" dirty="0">
              <a:solidFill>
                <a:schemeClr val="bg1"/>
              </a:solidFill>
            </a:endParaRPr>
          </a:p>
        </p:txBody>
      </p:sp>
      <p:sp>
        <p:nvSpPr>
          <p:cNvPr id="250" name="TextBox 249"/>
          <p:cNvSpPr txBox="1"/>
          <p:nvPr/>
        </p:nvSpPr>
        <p:spPr>
          <a:xfrm>
            <a:off x="1023461" y="5662042"/>
            <a:ext cx="838354" cy="246221"/>
          </a:xfrm>
          <a:prstGeom prst="rect">
            <a:avLst/>
          </a:prstGeom>
          <a:noFill/>
        </p:spPr>
        <p:txBody>
          <a:bodyPr wrap="square" rtlCol="0">
            <a:spAutoFit/>
          </a:bodyPr>
          <a:lstStyle/>
          <a:p>
            <a:pPr algn="ctr"/>
            <a:r>
              <a:rPr lang="en-US" altLang="zh-CN" sz="1000" dirty="0" smtClean="0">
                <a:solidFill>
                  <a:schemeClr val="bg1"/>
                </a:solidFill>
              </a:rPr>
              <a:t>PLC</a:t>
            </a:r>
            <a:r>
              <a:rPr lang="zh-CN" altLang="en-US" sz="1000" dirty="0" smtClean="0">
                <a:solidFill>
                  <a:schemeClr val="bg1"/>
                </a:solidFill>
              </a:rPr>
              <a:t> lamp control</a:t>
            </a:r>
            <a:endParaRPr lang="zh-CN" altLang="en-US" sz="1000" dirty="0">
              <a:solidFill>
                <a:schemeClr val="bg1"/>
              </a:solidFill>
            </a:endParaRPr>
          </a:p>
        </p:txBody>
      </p:sp>
      <p:sp>
        <p:nvSpPr>
          <p:cNvPr id="251" name="TextBox 250"/>
          <p:cNvSpPr txBox="1"/>
          <p:nvPr/>
        </p:nvSpPr>
        <p:spPr>
          <a:xfrm>
            <a:off x="1069240" y="4634584"/>
            <a:ext cx="838354" cy="246221"/>
          </a:xfrm>
          <a:prstGeom prst="rect">
            <a:avLst/>
          </a:prstGeom>
          <a:noFill/>
        </p:spPr>
        <p:txBody>
          <a:bodyPr wrap="square" rtlCol="0">
            <a:spAutoFit/>
          </a:bodyPr>
          <a:lstStyle/>
          <a:p>
            <a:pPr algn="ctr"/>
            <a:r>
              <a:rPr lang="en-US" altLang="zh-CN" sz="1000" dirty="0" smtClean="0">
                <a:solidFill>
                  <a:schemeClr val="bg1"/>
                </a:solidFill>
              </a:rPr>
              <a:t>PLC</a:t>
            </a:r>
            <a:r>
              <a:rPr lang="zh-CN" altLang="en-US" sz="1000" dirty="0" smtClean="0">
                <a:solidFill>
                  <a:schemeClr val="bg1"/>
                </a:solidFill>
              </a:rPr>
              <a:t> lamp control</a:t>
            </a:r>
            <a:endParaRPr lang="zh-CN" altLang="en-US" sz="1000" dirty="0">
              <a:solidFill>
                <a:schemeClr val="bg1"/>
              </a:solidFill>
            </a:endParaRPr>
          </a:p>
        </p:txBody>
      </p:sp>
      <p:sp>
        <p:nvSpPr>
          <p:cNvPr id="252" name="TextBox 251"/>
          <p:cNvSpPr txBox="1"/>
          <p:nvPr/>
        </p:nvSpPr>
        <p:spPr>
          <a:xfrm>
            <a:off x="1815549" y="4634584"/>
            <a:ext cx="838354" cy="246221"/>
          </a:xfrm>
          <a:prstGeom prst="rect">
            <a:avLst/>
          </a:prstGeom>
          <a:noFill/>
        </p:spPr>
        <p:txBody>
          <a:bodyPr wrap="square" rtlCol="0">
            <a:spAutoFit/>
          </a:bodyPr>
          <a:lstStyle/>
          <a:p>
            <a:pPr algn="ctr"/>
            <a:r>
              <a:rPr lang="en-US" altLang="zh-CN" sz="1000" dirty="0" smtClean="0">
                <a:solidFill>
                  <a:schemeClr val="bg1"/>
                </a:solidFill>
              </a:rPr>
              <a:t>PLC</a:t>
            </a:r>
            <a:r>
              <a:rPr lang="zh-CN" altLang="en-US" sz="1000" dirty="0" smtClean="0">
                <a:solidFill>
                  <a:schemeClr val="bg1"/>
                </a:solidFill>
              </a:rPr>
              <a:t> lamp control</a:t>
            </a:r>
            <a:endParaRPr lang="zh-CN" altLang="en-US" sz="1000" dirty="0">
              <a:solidFill>
                <a:schemeClr val="bg1"/>
              </a:solidFill>
            </a:endParaRPr>
          </a:p>
        </p:txBody>
      </p:sp>
      <p:sp>
        <p:nvSpPr>
          <p:cNvPr id="99" name="矩形 98"/>
          <p:cNvSpPr/>
          <p:nvPr/>
        </p:nvSpPr>
        <p:spPr>
          <a:xfrm>
            <a:off x="576051" y="225654"/>
            <a:ext cx="10729191" cy="954107"/>
          </a:xfrm>
          <a:prstGeom prst="rect">
            <a:avLst/>
          </a:prstGeom>
        </p:spPr>
        <p:txBody>
          <a:bodyPr wrap="square">
            <a:spAutoFit/>
          </a:bodyPr>
          <a:lstStyle/>
          <a:p>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Huawei </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elf-</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D</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eveloped </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ower Line Carrier </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Technology</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Enabling </a:t>
            </a:r>
            <a:r>
              <a:rPr lang="zh-CN" altLang="en-US" sz="2800" b="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Remote Intelligent Control </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of Street Lamps</a:t>
            </a:r>
            <a:endPar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p:transition>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圆角矩形 255"/>
          <p:cNvSpPr/>
          <p:nvPr/>
        </p:nvSpPr>
        <p:spPr>
          <a:xfrm>
            <a:off x="1338263" y="2573945"/>
            <a:ext cx="2225440" cy="1152000"/>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sp>
        <p:nvSpPr>
          <p:cNvPr id="257" name="圆角矩形 256"/>
          <p:cNvSpPr/>
          <p:nvPr/>
        </p:nvSpPr>
        <p:spPr>
          <a:xfrm>
            <a:off x="1320967" y="3867973"/>
            <a:ext cx="2225440" cy="1152000"/>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sp>
        <p:nvSpPr>
          <p:cNvPr id="258" name="圆角矩形 257"/>
          <p:cNvSpPr/>
          <p:nvPr/>
        </p:nvSpPr>
        <p:spPr>
          <a:xfrm>
            <a:off x="1338263" y="5163294"/>
            <a:ext cx="2225440" cy="1152000"/>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sp>
        <p:nvSpPr>
          <p:cNvPr id="15" name="圆角矩形 14"/>
          <p:cNvSpPr/>
          <p:nvPr/>
        </p:nvSpPr>
        <p:spPr>
          <a:xfrm>
            <a:off x="4009355" y="1279772"/>
            <a:ext cx="1944216" cy="5049505"/>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sp>
        <p:nvSpPr>
          <p:cNvPr id="16" name="圆角矩形 15"/>
          <p:cNvSpPr/>
          <p:nvPr/>
        </p:nvSpPr>
        <p:spPr>
          <a:xfrm>
            <a:off x="6385619" y="1283834"/>
            <a:ext cx="1728192" cy="5045444"/>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sp>
        <p:nvSpPr>
          <p:cNvPr id="5" name="圆角矩形 4"/>
          <p:cNvSpPr/>
          <p:nvPr/>
        </p:nvSpPr>
        <p:spPr>
          <a:xfrm>
            <a:off x="1338263" y="1279773"/>
            <a:ext cx="2225440" cy="1152000"/>
          </a:xfrm>
          <a:prstGeom prst="roundRect">
            <a:avLst>
              <a:gd name="adj" fmla="val 0"/>
            </a:avLst>
          </a:prstGeom>
          <a:gradFill flip="none" rotWithShape="1">
            <a:gsLst>
              <a:gs pos="0">
                <a:srgbClr val="0070C0">
                  <a:alpha val="10000"/>
                </a:srgbClr>
              </a:gs>
              <a:gs pos="100000">
                <a:srgbClr val="0070C0">
                  <a:alpha val="10000"/>
                </a:srgbClr>
              </a:gs>
            </a:gsLst>
            <a:lin ang="0" scaled="1"/>
            <a:tileRect/>
          </a:gradFill>
          <a:ln w="12700">
            <a:gradFill flip="none" rotWithShape="1">
              <a:gsLst>
                <a:gs pos="0">
                  <a:srgbClr val="002060">
                    <a:alpha val="47000"/>
                  </a:srgbClr>
                </a:gs>
                <a:gs pos="50000">
                  <a:schemeClr val="bg1"/>
                </a:gs>
                <a:gs pos="100000">
                  <a:srgbClr val="002060">
                    <a:alpha val="37000"/>
                  </a:srgbClr>
                </a:gs>
              </a:gsLst>
              <a:lin ang="2700000" scaled="1"/>
              <a:tileRect/>
            </a:gradFill>
            <a:miter lim="800000"/>
            <a:headEnd/>
            <a:tailEnd/>
          </a:ln>
        </p:spPr>
        <p:txBody>
          <a:bodyPr lIns="68562" tIns="34281" rIns="68562" bIns="34281"/>
          <a:lstStyle/>
          <a:p>
            <a:pPr eaLnBrk="1" hangingPunct="1">
              <a:defRPr/>
            </a:pPr>
            <a:endParaRPr lang="en-US" altLang="zh-CN" sz="700" dirty="0">
              <a:latin typeface="Arial" charset="0"/>
              <a:ea typeface="宋体" charset="-122"/>
            </a:endParaRPr>
          </a:p>
        </p:txBody>
      </p:sp>
      <p:grpSp>
        <p:nvGrpSpPr>
          <p:cNvPr id="2" name="Group 4"/>
          <p:cNvGrpSpPr>
            <a:grpSpLocks/>
          </p:cNvGrpSpPr>
          <p:nvPr/>
        </p:nvGrpSpPr>
        <p:grpSpPr bwMode="auto">
          <a:xfrm>
            <a:off x="2183755" y="2076306"/>
            <a:ext cx="685003" cy="298768"/>
            <a:chOff x="4195" y="1253"/>
            <a:chExt cx="908" cy="371"/>
          </a:xfrm>
        </p:grpSpPr>
        <p:sp>
          <p:nvSpPr>
            <p:cNvPr id="229" name="Freeform 5"/>
            <p:cNvSpPr>
              <a:spLocks/>
            </p:cNvSpPr>
            <p:nvPr/>
          </p:nvSpPr>
          <p:spPr bwMode="auto">
            <a:xfrm>
              <a:off x="4558" y="1344"/>
              <a:ext cx="545" cy="234"/>
            </a:xfrm>
            <a:custGeom>
              <a:avLst/>
              <a:gdLst>
                <a:gd name="T0" fmla="*/ 68 w 854"/>
                <a:gd name="T1" fmla="*/ 71 h 507"/>
                <a:gd name="T2" fmla="*/ 160 w 854"/>
                <a:gd name="T3" fmla="*/ 3 h 507"/>
                <a:gd name="T4" fmla="*/ 290 w 854"/>
                <a:gd name="T5" fmla="*/ 52 h 507"/>
                <a:gd name="T6" fmla="*/ 345 w 854"/>
                <a:gd name="T7" fmla="*/ 100 h 507"/>
                <a:gd name="T8" fmla="*/ 271 w 854"/>
                <a:gd name="T9" fmla="*/ 100 h 507"/>
                <a:gd name="T10" fmla="*/ 31 w 854"/>
                <a:gd name="T11" fmla="*/ 100 h 507"/>
                <a:gd name="T12" fmla="*/ 86 w 854"/>
                <a:gd name="T13" fmla="*/ 61 h 507"/>
                <a:gd name="T14" fmla="*/ 0 60000 65536"/>
                <a:gd name="T15" fmla="*/ 0 60000 65536"/>
                <a:gd name="T16" fmla="*/ 0 60000 65536"/>
                <a:gd name="T17" fmla="*/ 0 60000 65536"/>
                <a:gd name="T18" fmla="*/ 0 60000 65536"/>
                <a:gd name="T19" fmla="*/ 0 60000 65536"/>
                <a:gd name="T20" fmla="*/ 0 60000 65536"/>
                <a:gd name="T21" fmla="*/ 0 w 854"/>
                <a:gd name="T22" fmla="*/ 0 h 507"/>
                <a:gd name="T23" fmla="*/ 854 w 854"/>
                <a:gd name="T24" fmla="*/ 507 h 5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4" h="507">
                  <a:moveTo>
                    <a:pt x="167" y="333"/>
                  </a:moveTo>
                  <a:cubicBezTo>
                    <a:pt x="235" y="181"/>
                    <a:pt x="303" y="30"/>
                    <a:pt x="394" y="15"/>
                  </a:cubicBezTo>
                  <a:cubicBezTo>
                    <a:pt x="485" y="0"/>
                    <a:pt x="636" y="166"/>
                    <a:pt x="711" y="242"/>
                  </a:cubicBezTo>
                  <a:cubicBezTo>
                    <a:pt x="786" y="318"/>
                    <a:pt x="854" y="431"/>
                    <a:pt x="847" y="469"/>
                  </a:cubicBezTo>
                  <a:cubicBezTo>
                    <a:pt x="840" y="507"/>
                    <a:pt x="794" y="469"/>
                    <a:pt x="666" y="469"/>
                  </a:cubicBezTo>
                  <a:cubicBezTo>
                    <a:pt x="538" y="469"/>
                    <a:pt x="152" y="499"/>
                    <a:pt x="76" y="469"/>
                  </a:cubicBezTo>
                  <a:cubicBezTo>
                    <a:pt x="0" y="439"/>
                    <a:pt x="106" y="363"/>
                    <a:pt x="212" y="288"/>
                  </a:cubicBezTo>
                </a:path>
              </a:pathLst>
            </a:custGeom>
            <a:solidFill>
              <a:srgbClr val="C0C0C0"/>
            </a:solidFill>
            <a:ln w="3175" cap="flat" cmpd="sng">
              <a:solidFill>
                <a:schemeClr val="bg1"/>
              </a:solidFill>
              <a:prstDash val="solid"/>
              <a:round/>
              <a:headEnd/>
              <a:tailEnd/>
            </a:ln>
          </p:spPr>
          <p:txBody>
            <a:bodyPr lIns="0" tIns="0" rIns="0" bIns="0">
              <a:spAutoFit/>
            </a:bodyPr>
            <a:lstStyle/>
            <a:p>
              <a:endParaRPr lang="zh-CN" altLang="en-US"/>
            </a:p>
          </p:txBody>
        </p:sp>
        <p:sp>
          <p:nvSpPr>
            <p:cNvPr id="230" name="Freeform 6"/>
            <p:cNvSpPr>
              <a:spLocks/>
            </p:cNvSpPr>
            <p:nvPr/>
          </p:nvSpPr>
          <p:spPr bwMode="auto">
            <a:xfrm>
              <a:off x="4195" y="1253"/>
              <a:ext cx="680" cy="371"/>
            </a:xfrm>
            <a:custGeom>
              <a:avLst/>
              <a:gdLst>
                <a:gd name="T0" fmla="*/ 106 w 854"/>
                <a:gd name="T1" fmla="*/ 179 h 507"/>
                <a:gd name="T2" fmla="*/ 250 w 854"/>
                <a:gd name="T3" fmla="*/ 8 h 507"/>
                <a:gd name="T4" fmla="*/ 451 w 854"/>
                <a:gd name="T5" fmla="*/ 130 h 507"/>
                <a:gd name="T6" fmla="*/ 537 w 854"/>
                <a:gd name="T7" fmla="*/ 251 h 507"/>
                <a:gd name="T8" fmla="*/ 422 w 854"/>
                <a:gd name="T9" fmla="*/ 251 h 507"/>
                <a:gd name="T10" fmla="*/ 49 w 854"/>
                <a:gd name="T11" fmla="*/ 251 h 507"/>
                <a:gd name="T12" fmla="*/ 135 w 854"/>
                <a:gd name="T13" fmla="*/ 154 h 507"/>
                <a:gd name="T14" fmla="*/ 0 60000 65536"/>
                <a:gd name="T15" fmla="*/ 0 60000 65536"/>
                <a:gd name="T16" fmla="*/ 0 60000 65536"/>
                <a:gd name="T17" fmla="*/ 0 60000 65536"/>
                <a:gd name="T18" fmla="*/ 0 60000 65536"/>
                <a:gd name="T19" fmla="*/ 0 60000 65536"/>
                <a:gd name="T20" fmla="*/ 0 60000 65536"/>
                <a:gd name="T21" fmla="*/ 0 w 854"/>
                <a:gd name="T22" fmla="*/ 0 h 507"/>
                <a:gd name="T23" fmla="*/ 854 w 854"/>
                <a:gd name="T24" fmla="*/ 507 h 5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4" h="507">
                  <a:moveTo>
                    <a:pt x="167" y="333"/>
                  </a:moveTo>
                  <a:cubicBezTo>
                    <a:pt x="235" y="181"/>
                    <a:pt x="303" y="30"/>
                    <a:pt x="394" y="15"/>
                  </a:cubicBezTo>
                  <a:cubicBezTo>
                    <a:pt x="485" y="0"/>
                    <a:pt x="636" y="166"/>
                    <a:pt x="711" y="242"/>
                  </a:cubicBezTo>
                  <a:cubicBezTo>
                    <a:pt x="786" y="318"/>
                    <a:pt x="854" y="431"/>
                    <a:pt x="847" y="469"/>
                  </a:cubicBezTo>
                  <a:cubicBezTo>
                    <a:pt x="840" y="507"/>
                    <a:pt x="794" y="469"/>
                    <a:pt x="666" y="469"/>
                  </a:cubicBezTo>
                  <a:cubicBezTo>
                    <a:pt x="538" y="469"/>
                    <a:pt x="152" y="499"/>
                    <a:pt x="76" y="469"/>
                  </a:cubicBezTo>
                  <a:cubicBezTo>
                    <a:pt x="0" y="439"/>
                    <a:pt x="106" y="363"/>
                    <a:pt x="212" y="288"/>
                  </a:cubicBezTo>
                </a:path>
              </a:pathLst>
            </a:custGeom>
            <a:solidFill>
              <a:srgbClr val="808080"/>
            </a:solidFill>
            <a:ln w="3175" cap="flat" cmpd="sng">
              <a:solidFill>
                <a:schemeClr val="bg1"/>
              </a:solidFill>
              <a:prstDash val="solid"/>
              <a:round/>
              <a:headEnd/>
              <a:tailEnd/>
            </a:ln>
          </p:spPr>
          <p:txBody>
            <a:bodyPr lIns="0" tIns="0" rIns="0" bIns="0">
              <a:spAutoFit/>
            </a:bodyPr>
            <a:lstStyle/>
            <a:p>
              <a:endParaRPr lang="zh-CN" altLang="en-US"/>
            </a:p>
          </p:txBody>
        </p:sp>
      </p:grpSp>
      <p:grpSp>
        <p:nvGrpSpPr>
          <p:cNvPr id="3" name="组合 275"/>
          <p:cNvGrpSpPr>
            <a:grpSpLocks/>
          </p:cNvGrpSpPr>
          <p:nvPr/>
        </p:nvGrpSpPr>
        <p:grpSpPr bwMode="auto">
          <a:xfrm>
            <a:off x="2569195" y="1465983"/>
            <a:ext cx="343258" cy="667667"/>
            <a:chOff x="6640513" y="788988"/>
            <a:chExt cx="490538" cy="954088"/>
          </a:xfrm>
          <a:solidFill>
            <a:schemeClr val="bg1"/>
          </a:solidFill>
        </p:grpSpPr>
        <p:sp>
          <p:nvSpPr>
            <p:cNvPr id="220" name="Freeform 114"/>
            <p:cNvSpPr>
              <a:spLocks noEditPoints="1"/>
            </p:cNvSpPr>
            <p:nvPr/>
          </p:nvSpPr>
          <p:spPr bwMode="auto">
            <a:xfrm>
              <a:off x="6640513" y="860426"/>
              <a:ext cx="312738" cy="207963"/>
            </a:xfrm>
            <a:custGeom>
              <a:avLst/>
              <a:gdLst>
                <a:gd name="T0" fmla="*/ 2147483646 w 747"/>
                <a:gd name="T1" fmla="*/ 2147483646 h 496"/>
                <a:gd name="T2" fmla="*/ 2147483646 w 747"/>
                <a:gd name="T3" fmla="*/ 2147483646 h 496"/>
                <a:gd name="T4" fmla="*/ 2147483646 w 747"/>
                <a:gd name="T5" fmla="*/ 2147483646 h 496"/>
                <a:gd name="T6" fmla="*/ 2147483646 w 747"/>
                <a:gd name="T7" fmla="*/ 2147483646 h 496"/>
                <a:gd name="T8" fmla="*/ 2147483646 w 747"/>
                <a:gd name="T9" fmla="*/ 2147483646 h 496"/>
                <a:gd name="T10" fmla="*/ 2147483646 w 747"/>
                <a:gd name="T11" fmla="*/ 2147483646 h 496"/>
                <a:gd name="T12" fmla="*/ 2147483646 w 747"/>
                <a:gd name="T13" fmla="*/ 2147483646 h 496"/>
                <a:gd name="T14" fmla="*/ 2147483646 w 747"/>
                <a:gd name="T15" fmla="*/ 2147483646 h 496"/>
                <a:gd name="T16" fmla="*/ 2147483646 w 747"/>
                <a:gd name="T17" fmla="*/ 2147483646 h 496"/>
                <a:gd name="T18" fmla="*/ 2147483646 w 747"/>
                <a:gd name="T19" fmla="*/ 2147483646 h 496"/>
                <a:gd name="T20" fmla="*/ 2147483646 w 747"/>
                <a:gd name="T21" fmla="*/ 2147483646 h 496"/>
                <a:gd name="T22" fmla="*/ 2147483646 w 747"/>
                <a:gd name="T23" fmla="*/ 2147483646 h 496"/>
                <a:gd name="T24" fmla="*/ 2147483646 w 747"/>
                <a:gd name="T25" fmla="*/ 2147483646 h 496"/>
                <a:gd name="T26" fmla="*/ 2147483646 w 747"/>
                <a:gd name="T27" fmla="*/ 2147483646 h 496"/>
                <a:gd name="T28" fmla="*/ 2147483646 w 747"/>
                <a:gd name="T29" fmla="*/ 2147483646 h 496"/>
                <a:gd name="T30" fmla="*/ 2147483646 w 747"/>
                <a:gd name="T31" fmla="*/ 2147483646 h 496"/>
                <a:gd name="T32" fmla="*/ 2147483646 w 747"/>
                <a:gd name="T33" fmla="*/ 2147483646 h 496"/>
                <a:gd name="T34" fmla="*/ 2147483646 w 747"/>
                <a:gd name="T35" fmla="*/ 2147483646 h 496"/>
                <a:gd name="T36" fmla="*/ 2147483646 w 747"/>
                <a:gd name="T37" fmla="*/ 2147483646 h 496"/>
                <a:gd name="T38" fmla="*/ 2147483646 w 747"/>
                <a:gd name="T39" fmla="*/ 2147483646 h 496"/>
                <a:gd name="T40" fmla="*/ 2147483646 w 747"/>
                <a:gd name="T41" fmla="*/ 2147483646 h 496"/>
                <a:gd name="T42" fmla="*/ 2147483646 w 747"/>
                <a:gd name="T43" fmla="*/ 2147483646 h 496"/>
                <a:gd name="T44" fmla="*/ 2147483646 w 747"/>
                <a:gd name="T45" fmla="*/ 2147483646 h 496"/>
                <a:gd name="T46" fmla="*/ 2147483646 w 747"/>
                <a:gd name="T47" fmla="*/ 2147483646 h 496"/>
                <a:gd name="T48" fmla="*/ 2147483646 w 747"/>
                <a:gd name="T49" fmla="*/ 2147483646 h 496"/>
                <a:gd name="T50" fmla="*/ 2147483646 w 747"/>
                <a:gd name="T51" fmla="*/ 2147483646 h 496"/>
                <a:gd name="T52" fmla="*/ 2147483646 w 747"/>
                <a:gd name="T53" fmla="*/ 2147483646 h 496"/>
                <a:gd name="T54" fmla="*/ 2147483646 w 747"/>
                <a:gd name="T55" fmla="*/ 2147483646 h 496"/>
                <a:gd name="T56" fmla="*/ 2147483646 w 747"/>
                <a:gd name="T57" fmla="*/ 0 h 496"/>
                <a:gd name="T58" fmla="*/ 2147483646 w 747"/>
                <a:gd name="T59" fmla="*/ 2147483646 h 496"/>
                <a:gd name="T60" fmla="*/ 2147483646 w 747"/>
                <a:gd name="T61" fmla="*/ 2147483646 h 496"/>
                <a:gd name="T62" fmla="*/ 2147483646 w 747"/>
                <a:gd name="T63" fmla="*/ 2147483646 h 496"/>
                <a:gd name="T64" fmla="*/ 2147483646 w 747"/>
                <a:gd name="T65" fmla="*/ 2147483646 h 496"/>
                <a:gd name="T66" fmla="*/ 2147483646 w 747"/>
                <a:gd name="T67" fmla="*/ 2147483646 h 496"/>
                <a:gd name="T68" fmla="*/ 2147483646 w 747"/>
                <a:gd name="T69" fmla="*/ 2147483646 h 496"/>
                <a:gd name="T70" fmla="*/ 2147483646 w 747"/>
                <a:gd name="T71" fmla="*/ 2147483646 h 496"/>
                <a:gd name="T72" fmla="*/ 2147483646 w 747"/>
                <a:gd name="T73" fmla="*/ 2147483646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grpFill/>
            <a:ln w="0">
              <a:noFill/>
              <a:round/>
              <a:headEnd/>
              <a:tailEnd/>
            </a:ln>
          </p:spPr>
          <p:txBody>
            <a:bodyPr/>
            <a:lstStyle/>
            <a:p>
              <a:endParaRPr lang="zh-CN" altLang="en-US"/>
            </a:p>
          </p:txBody>
        </p:sp>
        <p:sp>
          <p:nvSpPr>
            <p:cNvPr id="221" name="Freeform 115"/>
            <p:cNvSpPr>
              <a:spLocks/>
            </p:cNvSpPr>
            <p:nvPr/>
          </p:nvSpPr>
          <p:spPr bwMode="auto">
            <a:xfrm>
              <a:off x="6910388" y="1008063"/>
              <a:ext cx="125413" cy="438150"/>
            </a:xfrm>
            <a:custGeom>
              <a:avLst/>
              <a:gdLst>
                <a:gd name="T0" fmla="*/ 2147483646 w 300"/>
                <a:gd name="T1" fmla="*/ 2147483646 h 1043"/>
                <a:gd name="T2" fmla="*/ 2147483646 w 300"/>
                <a:gd name="T3" fmla="*/ 2147483646 h 1043"/>
                <a:gd name="T4" fmla="*/ 2147483646 w 300"/>
                <a:gd name="T5" fmla="*/ 2147483646 h 1043"/>
                <a:gd name="T6" fmla="*/ 2147483646 w 300"/>
                <a:gd name="T7" fmla="*/ 2147483646 h 1043"/>
                <a:gd name="T8" fmla="*/ 2147483646 w 300"/>
                <a:gd name="T9" fmla="*/ 2147483646 h 1043"/>
                <a:gd name="T10" fmla="*/ 2147483646 w 300"/>
                <a:gd name="T11" fmla="*/ 2147483646 h 1043"/>
                <a:gd name="T12" fmla="*/ 2147483646 w 300"/>
                <a:gd name="T13" fmla="*/ 2147483646 h 1043"/>
                <a:gd name="T14" fmla="*/ 2147483646 w 300"/>
                <a:gd name="T15" fmla="*/ 2147483646 h 1043"/>
                <a:gd name="T16" fmla="*/ 2147483646 w 300"/>
                <a:gd name="T17" fmla="*/ 2147483646 h 1043"/>
                <a:gd name="T18" fmla="*/ 2147483646 w 300"/>
                <a:gd name="T19" fmla="*/ 2147483646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grpFill/>
            <a:ln w="0">
              <a:noFill/>
              <a:round/>
              <a:headEnd/>
              <a:tailEnd/>
            </a:ln>
          </p:spPr>
          <p:txBody>
            <a:bodyPr/>
            <a:lstStyle/>
            <a:p>
              <a:endParaRPr lang="zh-CN" altLang="en-US"/>
            </a:p>
          </p:txBody>
        </p:sp>
        <p:sp>
          <p:nvSpPr>
            <p:cNvPr id="222" name="Freeform 116"/>
            <p:cNvSpPr>
              <a:spLocks/>
            </p:cNvSpPr>
            <p:nvPr/>
          </p:nvSpPr>
          <p:spPr bwMode="auto">
            <a:xfrm>
              <a:off x="6659563" y="890588"/>
              <a:ext cx="280988" cy="168275"/>
            </a:xfrm>
            <a:custGeom>
              <a:avLst/>
              <a:gdLst>
                <a:gd name="T0" fmla="*/ 2147483646 w 670"/>
                <a:gd name="T1" fmla="*/ 2147483646 h 400"/>
                <a:gd name="T2" fmla="*/ 2147483646 w 670"/>
                <a:gd name="T3" fmla="*/ 2147483646 h 400"/>
                <a:gd name="T4" fmla="*/ 2147483646 w 670"/>
                <a:gd name="T5" fmla="*/ 2147483646 h 400"/>
                <a:gd name="T6" fmla="*/ 2147483646 w 670"/>
                <a:gd name="T7" fmla="*/ 2147483646 h 400"/>
                <a:gd name="T8" fmla="*/ 2147483646 w 670"/>
                <a:gd name="T9" fmla="*/ 2147483646 h 400"/>
                <a:gd name="T10" fmla="*/ 2147483646 w 670"/>
                <a:gd name="T11" fmla="*/ 2147483646 h 400"/>
                <a:gd name="T12" fmla="*/ 2147483646 w 670"/>
                <a:gd name="T13" fmla="*/ 2147483646 h 400"/>
                <a:gd name="T14" fmla="*/ 2147483646 w 670"/>
                <a:gd name="T15" fmla="*/ 2147483646 h 400"/>
                <a:gd name="T16" fmla="*/ 2147483646 w 670"/>
                <a:gd name="T17" fmla="*/ 2147483646 h 400"/>
                <a:gd name="T18" fmla="*/ 2147483646 w 670"/>
                <a:gd name="T19" fmla="*/ 2147483646 h 400"/>
                <a:gd name="T20" fmla="*/ 2147483646 w 670"/>
                <a:gd name="T21" fmla="*/ 2147483646 h 400"/>
                <a:gd name="T22" fmla="*/ 2147483646 w 670"/>
                <a:gd name="T23" fmla="*/ 2147483646 h 400"/>
                <a:gd name="T24" fmla="*/ 2147483646 w 670"/>
                <a:gd name="T25" fmla="*/ 2147483646 h 400"/>
                <a:gd name="T26" fmla="*/ 2147483646 w 670"/>
                <a:gd name="T27" fmla="*/ 2147483646 h 400"/>
                <a:gd name="T28" fmla="*/ 2147483646 w 670"/>
                <a:gd name="T29" fmla="*/ 2147483646 h 400"/>
                <a:gd name="T30" fmla="*/ 2147483646 w 670"/>
                <a:gd name="T31" fmla="*/ 2147483646 h 400"/>
                <a:gd name="T32" fmla="*/ 2147483646 w 670"/>
                <a:gd name="T33" fmla="*/ 2147483646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grpFill/>
            <a:ln w="0">
              <a:noFill/>
              <a:round/>
              <a:headEnd/>
              <a:tailEnd/>
            </a:ln>
          </p:spPr>
          <p:txBody>
            <a:bodyPr/>
            <a:lstStyle/>
            <a:p>
              <a:endParaRPr lang="zh-CN" altLang="en-US"/>
            </a:p>
          </p:txBody>
        </p:sp>
        <p:sp>
          <p:nvSpPr>
            <p:cNvPr id="223" name="Freeform 117"/>
            <p:cNvSpPr>
              <a:spLocks/>
            </p:cNvSpPr>
            <p:nvPr/>
          </p:nvSpPr>
          <p:spPr bwMode="auto">
            <a:xfrm>
              <a:off x="6981825" y="1422401"/>
              <a:ext cx="82550" cy="263525"/>
            </a:xfrm>
            <a:custGeom>
              <a:avLst/>
              <a:gdLst>
                <a:gd name="T0" fmla="*/ 2147483646 w 197"/>
                <a:gd name="T1" fmla="*/ 2147483646 h 629"/>
                <a:gd name="T2" fmla="*/ 2147483646 w 197"/>
                <a:gd name="T3" fmla="*/ 2147483646 h 629"/>
                <a:gd name="T4" fmla="*/ 0 w 197"/>
                <a:gd name="T5" fmla="*/ 2147483646 h 629"/>
                <a:gd name="T6" fmla="*/ 0 w 197"/>
                <a:gd name="T7" fmla="*/ 2147483646 h 629"/>
                <a:gd name="T8" fmla="*/ 2147483646 w 197"/>
                <a:gd name="T9" fmla="*/ 0 h 629"/>
                <a:gd name="T10" fmla="*/ 2147483646 w 197"/>
                <a:gd name="T11" fmla="*/ 2147483646 h 629"/>
                <a:gd name="T12" fmla="*/ 2147483646 w 197"/>
                <a:gd name="T13" fmla="*/ 2147483646 h 629"/>
                <a:gd name="T14" fmla="*/ 2147483646 w 197"/>
                <a:gd name="T15" fmla="*/ 2147483646 h 629"/>
                <a:gd name="T16" fmla="*/ 2147483646 w 197"/>
                <a:gd name="T17" fmla="*/ 2147483646 h 629"/>
                <a:gd name="T18" fmla="*/ 2147483646 w 197"/>
                <a:gd name="T19" fmla="*/ 2147483646 h 629"/>
                <a:gd name="T20" fmla="*/ 2147483646 w 197"/>
                <a:gd name="T21" fmla="*/ 2147483646 h 629"/>
                <a:gd name="T22" fmla="*/ 2147483646 w 197"/>
                <a:gd name="T23" fmla="*/ 2147483646 h 629"/>
                <a:gd name="T24" fmla="*/ 2147483646 w 197"/>
                <a:gd name="T25" fmla="*/ 2147483646 h 629"/>
                <a:gd name="T26" fmla="*/ 2147483646 w 197"/>
                <a:gd name="T27" fmla="*/ 2147483646 h 629"/>
                <a:gd name="T28" fmla="*/ 2147483646 w 197"/>
                <a:gd name="T29" fmla="*/ 2147483646 h 629"/>
                <a:gd name="T30" fmla="*/ 2147483646 w 197"/>
                <a:gd name="T31" fmla="*/ 2147483646 h 629"/>
                <a:gd name="T32" fmla="*/ 2147483646 w 197"/>
                <a:gd name="T33" fmla="*/ 2147483646 h 629"/>
                <a:gd name="T34" fmla="*/ 2147483646 w 197"/>
                <a:gd name="T35" fmla="*/ 2147483646 h 629"/>
                <a:gd name="T36" fmla="*/ 2147483646 w 197"/>
                <a:gd name="T37" fmla="*/ 2147483646 h 629"/>
                <a:gd name="T38" fmla="*/ 2147483646 w 197"/>
                <a:gd name="T39" fmla="*/ 2147483646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grpFill/>
            <a:ln w="0">
              <a:noFill/>
              <a:round/>
              <a:headEnd/>
              <a:tailEnd/>
            </a:ln>
          </p:spPr>
          <p:txBody>
            <a:bodyPr/>
            <a:lstStyle/>
            <a:p>
              <a:endParaRPr lang="zh-CN" altLang="en-US"/>
            </a:p>
          </p:txBody>
        </p:sp>
        <p:sp>
          <p:nvSpPr>
            <p:cNvPr id="224" name="Freeform 118"/>
            <p:cNvSpPr>
              <a:spLocks/>
            </p:cNvSpPr>
            <p:nvPr/>
          </p:nvSpPr>
          <p:spPr bwMode="auto">
            <a:xfrm>
              <a:off x="6904038" y="1604963"/>
              <a:ext cx="227013" cy="138113"/>
            </a:xfrm>
            <a:custGeom>
              <a:avLst/>
              <a:gdLst>
                <a:gd name="T0" fmla="*/ 2147483646 w 540"/>
                <a:gd name="T1" fmla="*/ 2147483646 h 330"/>
                <a:gd name="T2" fmla="*/ 2147483646 w 540"/>
                <a:gd name="T3" fmla="*/ 2147483646 h 330"/>
                <a:gd name="T4" fmla="*/ 2147483646 w 540"/>
                <a:gd name="T5" fmla="*/ 2147483646 h 330"/>
                <a:gd name="T6" fmla="*/ 2147483646 w 540"/>
                <a:gd name="T7" fmla="*/ 2147483646 h 330"/>
                <a:gd name="T8" fmla="*/ 0 w 540"/>
                <a:gd name="T9" fmla="*/ 2147483646 h 330"/>
                <a:gd name="T10" fmla="*/ 2147483646 w 540"/>
                <a:gd name="T11" fmla="*/ 2147483646 h 330"/>
                <a:gd name="T12" fmla="*/ 2147483646 w 540"/>
                <a:gd name="T13" fmla="*/ 2147483646 h 330"/>
                <a:gd name="T14" fmla="*/ 2147483646 w 540"/>
                <a:gd name="T15" fmla="*/ 2147483646 h 330"/>
                <a:gd name="T16" fmla="*/ 2147483646 w 540"/>
                <a:gd name="T17" fmla="*/ 2147483646 h 330"/>
                <a:gd name="T18" fmla="*/ 2147483646 w 540"/>
                <a:gd name="T19" fmla="*/ 2147483646 h 330"/>
                <a:gd name="T20" fmla="*/ 2147483646 w 540"/>
                <a:gd name="T21" fmla="*/ 2147483646 h 330"/>
                <a:gd name="T22" fmla="*/ 2147483646 w 540"/>
                <a:gd name="T23" fmla="*/ 2147483646 h 330"/>
                <a:gd name="T24" fmla="*/ 2147483646 w 540"/>
                <a:gd name="T25" fmla="*/ 2147483646 h 330"/>
                <a:gd name="T26" fmla="*/ 2147483646 w 540"/>
                <a:gd name="T27" fmla="*/ 2147483646 h 330"/>
                <a:gd name="T28" fmla="*/ 2147483646 w 540"/>
                <a:gd name="T29" fmla="*/ 2147483646 h 330"/>
                <a:gd name="T30" fmla="*/ 2147483646 w 540"/>
                <a:gd name="T31" fmla="*/ 2147483646 h 330"/>
                <a:gd name="T32" fmla="*/ 2147483646 w 540"/>
                <a:gd name="T33" fmla="*/ 2147483646 h 330"/>
                <a:gd name="T34" fmla="*/ 2147483646 w 540"/>
                <a:gd name="T35" fmla="*/ 2147483646 h 330"/>
                <a:gd name="T36" fmla="*/ 2147483646 w 540"/>
                <a:gd name="T37" fmla="*/ 2147483646 h 330"/>
                <a:gd name="T38" fmla="*/ 2147483646 w 540"/>
                <a:gd name="T39" fmla="*/ 2147483646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grpFill/>
            <a:ln w="0">
              <a:noFill/>
              <a:round/>
              <a:headEnd/>
              <a:tailEnd/>
            </a:ln>
          </p:spPr>
          <p:txBody>
            <a:bodyPr/>
            <a:lstStyle/>
            <a:p>
              <a:endParaRPr lang="zh-CN" altLang="en-US"/>
            </a:p>
          </p:txBody>
        </p:sp>
        <p:sp>
          <p:nvSpPr>
            <p:cNvPr id="225" name="Freeform 119"/>
            <p:cNvSpPr>
              <a:spLocks/>
            </p:cNvSpPr>
            <p:nvPr/>
          </p:nvSpPr>
          <p:spPr bwMode="auto">
            <a:xfrm>
              <a:off x="7021513" y="1479551"/>
              <a:ext cx="57150" cy="58738"/>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26" name="Freeform 120"/>
            <p:cNvSpPr>
              <a:spLocks/>
            </p:cNvSpPr>
            <p:nvPr/>
          </p:nvSpPr>
          <p:spPr bwMode="auto">
            <a:xfrm>
              <a:off x="7021513" y="1570038"/>
              <a:ext cx="57150" cy="57150"/>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27" name="Freeform 121"/>
            <p:cNvSpPr>
              <a:spLocks/>
            </p:cNvSpPr>
            <p:nvPr/>
          </p:nvSpPr>
          <p:spPr bwMode="auto">
            <a:xfrm>
              <a:off x="6762750" y="788988"/>
              <a:ext cx="193675" cy="114300"/>
            </a:xfrm>
            <a:custGeom>
              <a:avLst/>
              <a:gdLst>
                <a:gd name="T0" fmla="*/ 2147483646 w 462"/>
                <a:gd name="T1" fmla="*/ 2147483646 h 272"/>
                <a:gd name="T2" fmla="*/ 2147483646 w 462"/>
                <a:gd name="T3" fmla="*/ 2147483646 h 272"/>
                <a:gd name="T4" fmla="*/ 2147483646 w 462"/>
                <a:gd name="T5" fmla="*/ 2147483646 h 272"/>
                <a:gd name="T6" fmla="*/ 2147483646 w 462"/>
                <a:gd name="T7" fmla="*/ 2147483646 h 272"/>
                <a:gd name="T8" fmla="*/ 2147483646 w 462"/>
                <a:gd name="T9" fmla="*/ 2147483646 h 272"/>
                <a:gd name="T10" fmla="*/ 2147483646 w 462"/>
                <a:gd name="T11" fmla="*/ 2147483646 h 272"/>
                <a:gd name="T12" fmla="*/ 2147483646 w 462"/>
                <a:gd name="T13" fmla="*/ 2147483646 h 272"/>
                <a:gd name="T14" fmla="*/ 2147483646 w 462"/>
                <a:gd name="T15" fmla="*/ 2147483646 h 272"/>
                <a:gd name="T16" fmla="*/ 2147483646 w 462"/>
                <a:gd name="T17" fmla="*/ 2147483646 h 272"/>
                <a:gd name="T18" fmla="*/ 2147483646 w 462"/>
                <a:gd name="T19" fmla="*/ 2147483646 h 272"/>
                <a:gd name="T20" fmla="*/ 2147483646 w 462"/>
                <a:gd name="T21" fmla="*/ 2147483646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grpFill/>
            <a:ln w="0">
              <a:noFill/>
              <a:round/>
              <a:headEnd/>
              <a:tailEnd/>
            </a:ln>
          </p:spPr>
          <p:txBody>
            <a:bodyPr/>
            <a:lstStyle/>
            <a:p>
              <a:endParaRPr lang="zh-CN" altLang="en-US"/>
            </a:p>
          </p:txBody>
        </p:sp>
        <p:sp>
          <p:nvSpPr>
            <p:cNvPr id="228" name="Freeform 122"/>
            <p:cNvSpPr>
              <a:spLocks/>
            </p:cNvSpPr>
            <p:nvPr/>
          </p:nvSpPr>
          <p:spPr bwMode="auto">
            <a:xfrm>
              <a:off x="6797675" y="847726"/>
              <a:ext cx="96838" cy="63500"/>
            </a:xfrm>
            <a:custGeom>
              <a:avLst/>
              <a:gdLst>
                <a:gd name="T0" fmla="*/ 2147483646 w 228"/>
                <a:gd name="T1" fmla="*/ 2147483646 h 148"/>
                <a:gd name="T2" fmla="*/ 2147483646 w 228"/>
                <a:gd name="T3" fmla="*/ 2147483646 h 148"/>
                <a:gd name="T4" fmla="*/ 2147483646 w 228"/>
                <a:gd name="T5" fmla="*/ 2147483646 h 148"/>
                <a:gd name="T6" fmla="*/ 2147483646 w 228"/>
                <a:gd name="T7" fmla="*/ 2147483646 h 148"/>
                <a:gd name="T8" fmla="*/ 2147483646 w 228"/>
                <a:gd name="T9" fmla="*/ 2147483646 h 148"/>
                <a:gd name="T10" fmla="*/ 2147483646 w 228"/>
                <a:gd name="T11" fmla="*/ 2147483646 h 148"/>
                <a:gd name="T12" fmla="*/ 2147483646 w 228"/>
                <a:gd name="T13" fmla="*/ 2147483646 h 148"/>
                <a:gd name="T14" fmla="*/ 2147483646 w 228"/>
                <a:gd name="T15" fmla="*/ 2147483646 h 148"/>
                <a:gd name="T16" fmla="*/ 2147483646 w 228"/>
                <a:gd name="T17" fmla="*/ 2147483646 h 148"/>
                <a:gd name="T18" fmla="*/ 2147483646 w 228"/>
                <a:gd name="T19" fmla="*/ 2147483646 h 148"/>
                <a:gd name="T20" fmla="*/ 2147483646 w 228"/>
                <a:gd name="T21" fmla="*/ 2147483646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grpFill/>
            <a:ln w="0">
              <a:noFill/>
              <a:round/>
              <a:headEnd/>
              <a:tailEnd/>
            </a:ln>
          </p:spPr>
          <p:txBody>
            <a:bodyPr/>
            <a:lstStyle/>
            <a:p>
              <a:endParaRPr lang="zh-CN" altLang="en-US"/>
            </a:p>
          </p:txBody>
        </p:sp>
      </p:grpSp>
      <p:grpSp>
        <p:nvGrpSpPr>
          <p:cNvPr id="4" name="组合 17"/>
          <p:cNvGrpSpPr>
            <a:grpSpLocks/>
          </p:cNvGrpSpPr>
          <p:nvPr/>
        </p:nvGrpSpPr>
        <p:grpSpPr bwMode="auto">
          <a:xfrm>
            <a:off x="1767061" y="1773610"/>
            <a:ext cx="730126" cy="256031"/>
            <a:chOff x="7510463" y="2419350"/>
            <a:chExt cx="1060450" cy="373063"/>
          </a:xfrm>
          <a:solidFill>
            <a:schemeClr val="bg1"/>
          </a:solidFill>
        </p:grpSpPr>
        <p:sp>
          <p:nvSpPr>
            <p:cNvPr id="218" name="Freeform 472"/>
            <p:cNvSpPr>
              <a:spLocks noEditPoints="1"/>
            </p:cNvSpPr>
            <p:nvPr/>
          </p:nvSpPr>
          <p:spPr bwMode="auto">
            <a:xfrm>
              <a:off x="7510463" y="2419350"/>
              <a:ext cx="1060450" cy="373063"/>
            </a:xfrm>
            <a:custGeom>
              <a:avLst/>
              <a:gdLst>
                <a:gd name="T0" fmla="*/ 2147483646 w 2201"/>
                <a:gd name="T1" fmla="*/ 2147483646 h 755"/>
                <a:gd name="T2" fmla="*/ 2147483646 w 2201"/>
                <a:gd name="T3" fmla="*/ 2147483646 h 755"/>
                <a:gd name="T4" fmla="*/ 2147483646 w 2201"/>
                <a:gd name="T5" fmla="*/ 2147483646 h 755"/>
                <a:gd name="T6" fmla="*/ 2147483646 w 2201"/>
                <a:gd name="T7" fmla="*/ 2147483646 h 755"/>
                <a:gd name="T8" fmla="*/ 2147483646 w 2201"/>
                <a:gd name="T9" fmla="*/ 2147483646 h 755"/>
                <a:gd name="T10" fmla="*/ 2147483646 w 2201"/>
                <a:gd name="T11" fmla="*/ 2147483646 h 755"/>
                <a:gd name="T12" fmla="*/ 2147483646 w 2201"/>
                <a:gd name="T13" fmla="*/ 2147483646 h 755"/>
                <a:gd name="T14" fmla="*/ 2147483646 w 2201"/>
                <a:gd name="T15" fmla="*/ 2147483646 h 755"/>
                <a:gd name="T16" fmla="*/ 2147483646 w 2201"/>
                <a:gd name="T17" fmla="*/ 2147483646 h 755"/>
                <a:gd name="T18" fmla="*/ 2147483646 w 2201"/>
                <a:gd name="T19" fmla="*/ 2147483646 h 755"/>
                <a:gd name="T20" fmla="*/ 2147483646 w 2201"/>
                <a:gd name="T21" fmla="*/ 2147483646 h 755"/>
                <a:gd name="T22" fmla="*/ 2147483646 w 2201"/>
                <a:gd name="T23" fmla="*/ 2147483646 h 755"/>
                <a:gd name="T24" fmla="*/ 2147483646 w 2201"/>
                <a:gd name="T25" fmla="*/ 2147483646 h 755"/>
                <a:gd name="T26" fmla="*/ 2147483646 w 2201"/>
                <a:gd name="T27" fmla="*/ 2147483646 h 755"/>
                <a:gd name="T28" fmla="*/ 2147483646 w 2201"/>
                <a:gd name="T29" fmla="*/ 2147483646 h 755"/>
                <a:gd name="T30" fmla="*/ 2147483646 w 2201"/>
                <a:gd name="T31" fmla="*/ 2147483646 h 755"/>
                <a:gd name="T32" fmla="*/ 2147483646 w 2201"/>
                <a:gd name="T33" fmla="*/ 2147483646 h 755"/>
                <a:gd name="T34" fmla="*/ 2147483646 w 2201"/>
                <a:gd name="T35" fmla="*/ 2147483646 h 755"/>
                <a:gd name="T36" fmla="*/ 2147483646 w 2201"/>
                <a:gd name="T37" fmla="*/ 2147483646 h 755"/>
                <a:gd name="T38" fmla="*/ 2147483646 w 2201"/>
                <a:gd name="T39" fmla="*/ 2147483646 h 755"/>
                <a:gd name="T40" fmla="*/ 2147483646 w 2201"/>
                <a:gd name="T41" fmla="*/ 2147483646 h 755"/>
                <a:gd name="T42" fmla="*/ 2147483646 w 2201"/>
                <a:gd name="T43" fmla="*/ 2147483646 h 755"/>
                <a:gd name="T44" fmla="*/ 2147483646 w 2201"/>
                <a:gd name="T45" fmla="*/ 2147483646 h 755"/>
                <a:gd name="T46" fmla="*/ 2147483646 w 2201"/>
                <a:gd name="T47" fmla="*/ 2147483646 h 755"/>
                <a:gd name="T48" fmla="*/ 2147483646 w 2201"/>
                <a:gd name="T49" fmla="*/ 2147483646 h 755"/>
                <a:gd name="T50" fmla="*/ 2147483646 w 2201"/>
                <a:gd name="T51" fmla="*/ 2147483646 h 755"/>
                <a:gd name="T52" fmla="*/ 2147483646 w 2201"/>
                <a:gd name="T53" fmla="*/ 2147483646 h 755"/>
                <a:gd name="T54" fmla="*/ 2147483646 w 2201"/>
                <a:gd name="T55" fmla="*/ 2147483646 h 755"/>
                <a:gd name="T56" fmla="*/ 2147483646 w 2201"/>
                <a:gd name="T57" fmla="*/ 2147483646 h 755"/>
                <a:gd name="T58" fmla="*/ 2147483646 w 2201"/>
                <a:gd name="T59" fmla="*/ 2147483646 h 755"/>
                <a:gd name="T60" fmla="*/ 2147483646 w 2201"/>
                <a:gd name="T61" fmla="*/ 2147483646 h 755"/>
                <a:gd name="T62" fmla="*/ 2147483646 w 2201"/>
                <a:gd name="T63" fmla="*/ 2147483646 h 755"/>
                <a:gd name="T64" fmla="*/ 2147483646 w 2201"/>
                <a:gd name="T65" fmla="*/ 2147483646 h 755"/>
                <a:gd name="T66" fmla="*/ 2147483646 w 2201"/>
                <a:gd name="T67" fmla="*/ 2147483646 h 755"/>
                <a:gd name="T68" fmla="*/ 2147483646 w 2201"/>
                <a:gd name="T69" fmla="*/ 2147483646 h 755"/>
                <a:gd name="T70" fmla="*/ 2147483646 w 2201"/>
                <a:gd name="T71" fmla="*/ 2147483646 h 755"/>
                <a:gd name="T72" fmla="*/ 2147483646 w 2201"/>
                <a:gd name="T73" fmla="*/ 2147483646 h 755"/>
                <a:gd name="T74" fmla="*/ 2147483646 w 2201"/>
                <a:gd name="T75" fmla="*/ 2147483646 h 755"/>
                <a:gd name="T76" fmla="*/ 2147483646 w 2201"/>
                <a:gd name="T77" fmla="*/ 2147483646 h 755"/>
                <a:gd name="T78" fmla="*/ 2147483646 w 2201"/>
                <a:gd name="T79" fmla="*/ 2147483646 h 755"/>
                <a:gd name="T80" fmla="*/ 2147483646 w 2201"/>
                <a:gd name="T81" fmla="*/ 2147483646 h 755"/>
                <a:gd name="T82" fmla="*/ 2147483646 w 2201"/>
                <a:gd name="T83" fmla="*/ 2147483646 h 755"/>
                <a:gd name="T84" fmla="*/ 2147483646 w 2201"/>
                <a:gd name="T85" fmla="*/ 2147483646 h 755"/>
                <a:gd name="T86" fmla="*/ 2147483646 w 2201"/>
                <a:gd name="T87" fmla="*/ 2147483646 h 755"/>
                <a:gd name="T88" fmla="*/ 2147483646 w 2201"/>
                <a:gd name="T89" fmla="*/ 2147483646 h 755"/>
                <a:gd name="T90" fmla="*/ 2147483646 w 2201"/>
                <a:gd name="T91" fmla="*/ 2147483646 h 755"/>
                <a:gd name="T92" fmla="*/ 2147483646 w 2201"/>
                <a:gd name="T93" fmla="*/ 0 h 755"/>
                <a:gd name="T94" fmla="*/ 2147483646 w 2201"/>
                <a:gd name="T95" fmla="*/ 2147483646 h 755"/>
                <a:gd name="T96" fmla="*/ 2147483646 w 2201"/>
                <a:gd name="T97" fmla="*/ 2147483646 h 755"/>
                <a:gd name="T98" fmla="*/ 2147483646 w 2201"/>
                <a:gd name="T99" fmla="*/ 2147483646 h 755"/>
                <a:gd name="T100" fmla="*/ 2147483646 w 2201"/>
                <a:gd name="T101" fmla="*/ 2147483646 h 755"/>
                <a:gd name="T102" fmla="*/ 0 w 2201"/>
                <a:gd name="T103" fmla="*/ 2147483646 h 755"/>
                <a:gd name="T104" fmla="*/ 2147483646 w 2201"/>
                <a:gd name="T105" fmla="*/ 2147483646 h 755"/>
                <a:gd name="T106" fmla="*/ 2147483646 w 2201"/>
                <a:gd name="T107" fmla="*/ 2147483646 h 755"/>
                <a:gd name="T108" fmla="*/ 2147483646 w 2201"/>
                <a:gd name="T109" fmla="*/ 2147483646 h 755"/>
                <a:gd name="T110" fmla="*/ 2147483646 w 2201"/>
                <a:gd name="T111" fmla="*/ 2147483646 h 755"/>
                <a:gd name="T112" fmla="*/ 2147483646 w 2201"/>
                <a:gd name="T113" fmla="*/ 2147483646 h 755"/>
                <a:gd name="T114" fmla="*/ 2147483646 w 2201"/>
                <a:gd name="T115" fmla="*/ 2147483646 h 755"/>
                <a:gd name="T116" fmla="*/ 2147483646 w 2201"/>
                <a:gd name="T117" fmla="*/ 2147483646 h 75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01"/>
                <a:gd name="T178" fmla="*/ 0 h 755"/>
                <a:gd name="T179" fmla="*/ 2201 w 2201"/>
                <a:gd name="T180" fmla="*/ 755 h 75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01" h="755">
                  <a:moveTo>
                    <a:pt x="2130" y="117"/>
                  </a:moveTo>
                  <a:lnTo>
                    <a:pt x="2130" y="117"/>
                  </a:lnTo>
                  <a:lnTo>
                    <a:pt x="1805" y="117"/>
                  </a:lnTo>
                  <a:lnTo>
                    <a:pt x="1830" y="39"/>
                  </a:lnTo>
                  <a:lnTo>
                    <a:pt x="2153" y="39"/>
                  </a:lnTo>
                  <a:lnTo>
                    <a:pt x="2130" y="117"/>
                  </a:lnTo>
                  <a:close/>
                  <a:moveTo>
                    <a:pt x="2064" y="340"/>
                  </a:moveTo>
                  <a:lnTo>
                    <a:pt x="2064" y="340"/>
                  </a:lnTo>
                  <a:lnTo>
                    <a:pt x="1952" y="340"/>
                  </a:lnTo>
                  <a:lnTo>
                    <a:pt x="1979" y="248"/>
                  </a:lnTo>
                  <a:lnTo>
                    <a:pt x="2091" y="248"/>
                  </a:lnTo>
                  <a:lnTo>
                    <a:pt x="2064" y="340"/>
                  </a:lnTo>
                  <a:close/>
                  <a:moveTo>
                    <a:pt x="1860" y="511"/>
                  </a:moveTo>
                  <a:lnTo>
                    <a:pt x="1860" y="511"/>
                  </a:lnTo>
                  <a:lnTo>
                    <a:pt x="1747" y="511"/>
                  </a:lnTo>
                  <a:lnTo>
                    <a:pt x="1774" y="419"/>
                  </a:lnTo>
                  <a:lnTo>
                    <a:pt x="1887" y="419"/>
                  </a:lnTo>
                  <a:lnTo>
                    <a:pt x="1860" y="511"/>
                  </a:lnTo>
                  <a:close/>
                  <a:moveTo>
                    <a:pt x="1655" y="681"/>
                  </a:moveTo>
                  <a:lnTo>
                    <a:pt x="1655" y="681"/>
                  </a:lnTo>
                  <a:lnTo>
                    <a:pt x="1325" y="681"/>
                  </a:lnTo>
                  <a:lnTo>
                    <a:pt x="1354" y="589"/>
                  </a:lnTo>
                  <a:lnTo>
                    <a:pt x="1682" y="589"/>
                  </a:lnTo>
                  <a:lnTo>
                    <a:pt x="1655" y="681"/>
                  </a:lnTo>
                  <a:close/>
                  <a:moveTo>
                    <a:pt x="964" y="589"/>
                  </a:moveTo>
                  <a:lnTo>
                    <a:pt x="964" y="589"/>
                  </a:lnTo>
                  <a:lnTo>
                    <a:pt x="1326" y="589"/>
                  </a:lnTo>
                  <a:lnTo>
                    <a:pt x="1297" y="681"/>
                  </a:lnTo>
                  <a:lnTo>
                    <a:pt x="930" y="681"/>
                  </a:lnTo>
                  <a:lnTo>
                    <a:pt x="964" y="589"/>
                  </a:lnTo>
                  <a:close/>
                  <a:moveTo>
                    <a:pt x="601" y="562"/>
                  </a:moveTo>
                  <a:lnTo>
                    <a:pt x="601" y="562"/>
                  </a:lnTo>
                  <a:lnTo>
                    <a:pt x="638" y="484"/>
                  </a:lnTo>
                  <a:lnTo>
                    <a:pt x="975" y="484"/>
                  </a:lnTo>
                  <a:lnTo>
                    <a:pt x="946" y="562"/>
                  </a:lnTo>
                  <a:lnTo>
                    <a:pt x="601" y="562"/>
                  </a:lnTo>
                  <a:close/>
                  <a:moveTo>
                    <a:pt x="572" y="238"/>
                  </a:moveTo>
                  <a:lnTo>
                    <a:pt x="572" y="238"/>
                  </a:lnTo>
                  <a:lnTo>
                    <a:pt x="658" y="192"/>
                  </a:lnTo>
                  <a:lnTo>
                    <a:pt x="658" y="349"/>
                  </a:lnTo>
                  <a:cubicBezTo>
                    <a:pt x="657" y="350"/>
                    <a:pt x="656" y="351"/>
                    <a:pt x="656" y="352"/>
                  </a:cubicBezTo>
                  <a:lnTo>
                    <a:pt x="572" y="529"/>
                  </a:lnTo>
                  <a:lnTo>
                    <a:pt x="572" y="238"/>
                  </a:lnTo>
                  <a:close/>
                  <a:moveTo>
                    <a:pt x="40" y="247"/>
                  </a:moveTo>
                  <a:lnTo>
                    <a:pt x="40" y="247"/>
                  </a:lnTo>
                  <a:lnTo>
                    <a:pt x="192" y="247"/>
                  </a:lnTo>
                  <a:lnTo>
                    <a:pt x="192" y="580"/>
                  </a:lnTo>
                  <a:lnTo>
                    <a:pt x="40" y="580"/>
                  </a:lnTo>
                  <a:lnTo>
                    <a:pt x="40" y="247"/>
                  </a:lnTo>
                  <a:close/>
                  <a:moveTo>
                    <a:pt x="159" y="120"/>
                  </a:moveTo>
                  <a:lnTo>
                    <a:pt x="159" y="120"/>
                  </a:lnTo>
                  <a:lnTo>
                    <a:pt x="598" y="120"/>
                  </a:lnTo>
                  <a:lnTo>
                    <a:pt x="542" y="148"/>
                  </a:lnTo>
                  <a:cubicBezTo>
                    <a:pt x="542" y="148"/>
                    <a:pt x="541" y="148"/>
                    <a:pt x="541" y="148"/>
                  </a:cubicBezTo>
                  <a:lnTo>
                    <a:pt x="107" y="148"/>
                  </a:lnTo>
                  <a:lnTo>
                    <a:pt x="159" y="120"/>
                  </a:lnTo>
                  <a:close/>
                  <a:moveTo>
                    <a:pt x="843" y="314"/>
                  </a:moveTo>
                  <a:lnTo>
                    <a:pt x="843" y="314"/>
                  </a:lnTo>
                  <a:lnTo>
                    <a:pt x="1180" y="314"/>
                  </a:lnTo>
                  <a:lnTo>
                    <a:pt x="1170" y="340"/>
                  </a:lnTo>
                  <a:lnTo>
                    <a:pt x="830" y="340"/>
                  </a:lnTo>
                  <a:lnTo>
                    <a:pt x="843" y="314"/>
                  </a:lnTo>
                  <a:close/>
                  <a:moveTo>
                    <a:pt x="892" y="210"/>
                  </a:moveTo>
                  <a:lnTo>
                    <a:pt x="892" y="210"/>
                  </a:lnTo>
                  <a:lnTo>
                    <a:pt x="1219" y="210"/>
                  </a:lnTo>
                  <a:lnTo>
                    <a:pt x="1190" y="287"/>
                  </a:lnTo>
                  <a:lnTo>
                    <a:pt x="855" y="287"/>
                  </a:lnTo>
                  <a:lnTo>
                    <a:pt x="892" y="210"/>
                  </a:lnTo>
                  <a:close/>
                  <a:moveTo>
                    <a:pt x="1047" y="143"/>
                  </a:moveTo>
                  <a:lnTo>
                    <a:pt x="1047" y="143"/>
                  </a:lnTo>
                  <a:lnTo>
                    <a:pt x="1384" y="143"/>
                  </a:lnTo>
                  <a:lnTo>
                    <a:pt x="1374" y="170"/>
                  </a:lnTo>
                  <a:lnTo>
                    <a:pt x="1034" y="170"/>
                  </a:lnTo>
                  <a:lnTo>
                    <a:pt x="1047" y="143"/>
                  </a:lnTo>
                  <a:close/>
                  <a:moveTo>
                    <a:pt x="1096" y="39"/>
                  </a:moveTo>
                  <a:lnTo>
                    <a:pt x="1096" y="39"/>
                  </a:lnTo>
                  <a:lnTo>
                    <a:pt x="1423" y="39"/>
                  </a:lnTo>
                  <a:lnTo>
                    <a:pt x="1394" y="117"/>
                  </a:lnTo>
                  <a:lnTo>
                    <a:pt x="1059" y="117"/>
                  </a:lnTo>
                  <a:lnTo>
                    <a:pt x="1096" y="39"/>
                  </a:lnTo>
                  <a:close/>
                  <a:moveTo>
                    <a:pt x="1423" y="117"/>
                  </a:moveTo>
                  <a:lnTo>
                    <a:pt x="1423" y="117"/>
                  </a:lnTo>
                  <a:lnTo>
                    <a:pt x="1452" y="39"/>
                  </a:lnTo>
                  <a:lnTo>
                    <a:pt x="1802" y="39"/>
                  </a:lnTo>
                  <a:lnTo>
                    <a:pt x="1777" y="117"/>
                  </a:lnTo>
                  <a:lnTo>
                    <a:pt x="1423" y="117"/>
                  </a:lnTo>
                  <a:close/>
                  <a:moveTo>
                    <a:pt x="1761" y="170"/>
                  </a:moveTo>
                  <a:lnTo>
                    <a:pt x="1761" y="170"/>
                  </a:lnTo>
                  <a:lnTo>
                    <a:pt x="1403" y="170"/>
                  </a:lnTo>
                  <a:lnTo>
                    <a:pt x="1413" y="143"/>
                  </a:lnTo>
                  <a:lnTo>
                    <a:pt x="1769" y="143"/>
                  </a:lnTo>
                  <a:lnTo>
                    <a:pt x="1761" y="170"/>
                  </a:lnTo>
                  <a:close/>
                  <a:moveTo>
                    <a:pt x="1926" y="287"/>
                  </a:moveTo>
                  <a:lnTo>
                    <a:pt x="1926" y="287"/>
                  </a:lnTo>
                  <a:lnTo>
                    <a:pt x="1601" y="287"/>
                  </a:lnTo>
                  <a:lnTo>
                    <a:pt x="1626" y="210"/>
                  </a:lnTo>
                  <a:lnTo>
                    <a:pt x="1949" y="210"/>
                  </a:lnTo>
                  <a:lnTo>
                    <a:pt x="1926" y="287"/>
                  </a:lnTo>
                  <a:close/>
                  <a:moveTo>
                    <a:pt x="1721" y="458"/>
                  </a:moveTo>
                  <a:lnTo>
                    <a:pt x="1721" y="458"/>
                  </a:lnTo>
                  <a:lnTo>
                    <a:pt x="1396" y="458"/>
                  </a:lnTo>
                  <a:lnTo>
                    <a:pt x="1421" y="380"/>
                  </a:lnTo>
                  <a:lnTo>
                    <a:pt x="1744" y="380"/>
                  </a:lnTo>
                  <a:lnTo>
                    <a:pt x="1721" y="458"/>
                  </a:lnTo>
                  <a:close/>
                  <a:moveTo>
                    <a:pt x="1388" y="484"/>
                  </a:moveTo>
                  <a:lnTo>
                    <a:pt x="1388" y="484"/>
                  </a:lnTo>
                  <a:lnTo>
                    <a:pt x="1713" y="484"/>
                  </a:lnTo>
                  <a:lnTo>
                    <a:pt x="1690" y="562"/>
                  </a:lnTo>
                  <a:lnTo>
                    <a:pt x="1363" y="562"/>
                  </a:lnTo>
                  <a:lnTo>
                    <a:pt x="1388" y="484"/>
                  </a:lnTo>
                  <a:close/>
                  <a:moveTo>
                    <a:pt x="1360" y="484"/>
                  </a:moveTo>
                  <a:lnTo>
                    <a:pt x="1360" y="484"/>
                  </a:lnTo>
                  <a:lnTo>
                    <a:pt x="1335" y="562"/>
                  </a:lnTo>
                  <a:lnTo>
                    <a:pt x="974" y="562"/>
                  </a:lnTo>
                  <a:lnTo>
                    <a:pt x="1004" y="484"/>
                  </a:lnTo>
                  <a:lnTo>
                    <a:pt x="1360" y="484"/>
                  </a:lnTo>
                  <a:close/>
                  <a:moveTo>
                    <a:pt x="1565" y="314"/>
                  </a:moveTo>
                  <a:lnTo>
                    <a:pt x="1565" y="314"/>
                  </a:lnTo>
                  <a:lnTo>
                    <a:pt x="1556" y="340"/>
                  </a:lnTo>
                  <a:lnTo>
                    <a:pt x="1199" y="340"/>
                  </a:lnTo>
                  <a:lnTo>
                    <a:pt x="1209" y="314"/>
                  </a:lnTo>
                  <a:lnTo>
                    <a:pt x="1565" y="314"/>
                  </a:lnTo>
                  <a:close/>
                  <a:moveTo>
                    <a:pt x="1598" y="210"/>
                  </a:moveTo>
                  <a:lnTo>
                    <a:pt x="1598" y="210"/>
                  </a:lnTo>
                  <a:lnTo>
                    <a:pt x="1573" y="287"/>
                  </a:lnTo>
                  <a:lnTo>
                    <a:pt x="1219" y="287"/>
                  </a:lnTo>
                  <a:lnTo>
                    <a:pt x="1248" y="210"/>
                  </a:lnTo>
                  <a:lnTo>
                    <a:pt x="1598" y="210"/>
                  </a:lnTo>
                  <a:close/>
                  <a:moveTo>
                    <a:pt x="1043" y="380"/>
                  </a:moveTo>
                  <a:lnTo>
                    <a:pt x="1043" y="380"/>
                  </a:lnTo>
                  <a:lnTo>
                    <a:pt x="1393" y="380"/>
                  </a:lnTo>
                  <a:lnTo>
                    <a:pt x="1368" y="458"/>
                  </a:lnTo>
                  <a:lnTo>
                    <a:pt x="1014" y="458"/>
                  </a:lnTo>
                  <a:lnTo>
                    <a:pt x="1043" y="380"/>
                  </a:lnTo>
                  <a:close/>
                  <a:moveTo>
                    <a:pt x="687" y="380"/>
                  </a:moveTo>
                  <a:lnTo>
                    <a:pt x="687" y="380"/>
                  </a:lnTo>
                  <a:lnTo>
                    <a:pt x="1014" y="380"/>
                  </a:lnTo>
                  <a:lnTo>
                    <a:pt x="985" y="458"/>
                  </a:lnTo>
                  <a:lnTo>
                    <a:pt x="650" y="458"/>
                  </a:lnTo>
                  <a:lnTo>
                    <a:pt x="687" y="380"/>
                  </a:lnTo>
                  <a:close/>
                  <a:moveTo>
                    <a:pt x="572" y="178"/>
                  </a:moveTo>
                  <a:lnTo>
                    <a:pt x="572" y="178"/>
                  </a:lnTo>
                  <a:lnTo>
                    <a:pt x="658" y="134"/>
                  </a:lnTo>
                  <a:lnTo>
                    <a:pt x="658" y="162"/>
                  </a:lnTo>
                  <a:lnTo>
                    <a:pt x="572" y="208"/>
                  </a:lnTo>
                  <a:lnTo>
                    <a:pt x="572" y="180"/>
                  </a:lnTo>
                  <a:cubicBezTo>
                    <a:pt x="572" y="179"/>
                    <a:pt x="572" y="178"/>
                    <a:pt x="572" y="178"/>
                  </a:cubicBezTo>
                  <a:close/>
                  <a:moveTo>
                    <a:pt x="388" y="247"/>
                  </a:moveTo>
                  <a:lnTo>
                    <a:pt x="388" y="247"/>
                  </a:lnTo>
                  <a:lnTo>
                    <a:pt x="532" y="247"/>
                  </a:lnTo>
                  <a:lnTo>
                    <a:pt x="532" y="580"/>
                  </a:lnTo>
                  <a:lnTo>
                    <a:pt x="388" y="580"/>
                  </a:lnTo>
                  <a:lnTo>
                    <a:pt x="388" y="247"/>
                  </a:lnTo>
                  <a:close/>
                  <a:moveTo>
                    <a:pt x="361" y="580"/>
                  </a:moveTo>
                  <a:lnTo>
                    <a:pt x="361" y="580"/>
                  </a:lnTo>
                  <a:lnTo>
                    <a:pt x="219" y="580"/>
                  </a:lnTo>
                  <a:lnTo>
                    <a:pt x="219" y="247"/>
                  </a:lnTo>
                  <a:lnTo>
                    <a:pt x="361" y="247"/>
                  </a:lnTo>
                  <a:lnTo>
                    <a:pt x="361" y="580"/>
                  </a:lnTo>
                  <a:close/>
                  <a:moveTo>
                    <a:pt x="40" y="188"/>
                  </a:moveTo>
                  <a:lnTo>
                    <a:pt x="40" y="188"/>
                  </a:lnTo>
                  <a:lnTo>
                    <a:pt x="532" y="188"/>
                  </a:lnTo>
                  <a:lnTo>
                    <a:pt x="532" y="221"/>
                  </a:lnTo>
                  <a:lnTo>
                    <a:pt x="40" y="221"/>
                  </a:lnTo>
                  <a:lnTo>
                    <a:pt x="40" y="188"/>
                  </a:lnTo>
                  <a:close/>
                  <a:moveTo>
                    <a:pt x="1787" y="348"/>
                  </a:moveTo>
                  <a:lnTo>
                    <a:pt x="1787" y="348"/>
                  </a:lnTo>
                  <a:cubicBezTo>
                    <a:pt x="1783" y="343"/>
                    <a:pt x="1777" y="340"/>
                    <a:pt x="1771" y="340"/>
                  </a:cubicBezTo>
                  <a:lnTo>
                    <a:pt x="1584" y="340"/>
                  </a:lnTo>
                  <a:lnTo>
                    <a:pt x="1593" y="314"/>
                  </a:lnTo>
                  <a:lnTo>
                    <a:pt x="1918" y="314"/>
                  </a:lnTo>
                  <a:lnTo>
                    <a:pt x="1895" y="392"/>
                  </a:lnTo>
                  <a:lnTo>
                    <a:pt x="1782" y="392"/>
                  </a:lnTo>
                  <a:lnTo>
                    <a:pt x="1790" y="366"/>
                  </a:lnTo>
                  <a:cubicBezTo>
                    <a:pt x="1792" y="360"/>
                    <a:pt x="1791" y="353"/>
                    <a:pt x="1787" y="348"/>
                  </a:cubicBezTo>
                  <a:close/>
                  <a:moveTo>
                    <a:pt x="1992" y="178"/>
                  </a:moveTo>
                  <a:lnTo>
                    <a:pt x="1992" y="178"/>
                  </a:lnTo>
                  <a:cubicBezTo>
                    <a:pt x="1988" y="173"/>
                    <a:pt x="1982" y="170"/>
                    <a:pt x="1976" y="170"/>
                  </a:cubicBezTo>
                  <a:lnTo>
                    <a:pt x="1789" y="170"/>
                  </a:lnTo>
                  <a:lnTo>
                    <a:pt x="1797" y="143"/>
                  </a:lnTo>
                  <a:lnTo>
                    <a:pt x="2122" y="143"/>
                  </a:lnTo>
                  <a:lnTo>
                    <a:pt x="2099" y="221"/>
                  </a:lnTo>
                  <a:lnTo>
                    <a:pt x="1987" y="221"/>
                  </a:lnTo>
                  <a:lnTo>
                    <a:pt x="1995" y="195"/>
                  </a:lnTo>
                  <a:cubicBezTo>
                    <a:pt x="1997" y="189"/>
                    <a:pt x="1995" y="183"/>
                    <a:pt x="1992" y="178"/>
                  </a:cubicBezTo>
                  <a:close/>
                  <a:moveTo>
                    <a:pt x="2196" y="7"/>
                  </a:moveTo>
                  <a:lnTo>
                    <a:pt x="2196" y="7"/>
                  </a:lnTo>
                  <a:cubicBezTo>
                    <a:pt x="2192" y="3"/>
                    <a:pt x="2186" y="0"/>
                    <a:pt x="2180" y="0"/>
                  </a:cubicBezTo>
                  <a:lnTo>
                    <a:pt x="1083" y="0"/>
                  </a:lnTo>
                  <a:cubicBezTo>
                    <a:pt x="1075" y="0"/>
                    <a:pt x="1068" y="5"/>
                    <a:pt x="1065" y="11"/>
                  </a:cubicBezTo>
                  <a:lnTo>
                    <a:pt x="990" y="170"/>
                  </a:lnTo>
                  <a:lnTo>
                    <a:pt x="879" y="170"/>
                  </a:lnTo>
                  <a:cubicBezTo>
                    <a:pt x="871" y="170"/>
                    <a:pt x="864" y="174"/>
                    <a:pt x="861" y="181"/>
                  </a:cubicBezTo>
                  <a:lnTo>
                    <a:pt x="786" y="340"/>
                  </a:lnTo>
                  <a:lnTo>
                    <a:pt x="698" y="340"/>
                  </a:lnTo>
                  <a:lnTo>
                    <a:pt x="698" y="111"/>
                  </a:lnTo>
                  <a:cubicBezTo>
                    <a:pt x="698" y="104"/>
                    <a:pt x="695" y="97"/>
                    <a:pt x="691" y="92"/>
                  </a:cubicBezTo>
                  <a:cubicBezTo>
                    <a:pt x="690" y="91"/>
                    <a:pt x="690" y="91"/>
                    <a:pt x="689" y="90"/>
                  </a:cubicBezTo>
                  <a:cubicBezTo>
                    <a:pt x="689" y="89"/>
                    <a:pt x="688" y="89"/>
                    <a:pt x="687" y="88"/>
                  </a:cubicBezTo>
                  <a:cubicBezTo>
                    <a:pt x="687" y="88"/>
                    <a:pt x="687" y="88"/>
                    <a:pt x="687" y="88"/>
                  </a:cubicBezTo>
                  <a:cubicBezTo>
                    <a:pt x="682" y="83"/>
                    <a:pt x="674" y="80"/>
                    <a:pt x="666" y="80"/>
                  </a:cubicBezTo>
                  <a:lnTo>
                    <a:pt x="154" y="80"/>
                  </a:lnTo>
                  <a:cubicBezTo>
                    <a:pt x="151" y="80"/>
                    <a:pt x="147" y="80"/>
                    <a:pt x="144" y="82"/>
                  </a:cubicBezTo>
                  <a:lnTo>
                    <a:pt x="15" y="152"/>
                  </a:lnTo>
                  <a:cubicBezTo>
                    <a:pt x="15" y="153"/>
                    <a:pt x="15" y="153"/>
                    <a:pt x="15" y="153"/>
                  </a:cubicBezTo>
                  <a:cubicBezTo>
                    <a:pt x="14" y="153"/>
                    <a:pt x="13" y="154"/>
                    <a:pt x="12" y="154"/>
                  </a:cubicBezTo>
                  <a:cubicBezTo>
                    <a:pt x="12" y="155"/>
                    <a:pt x="11" y="155"/>
                    <a:pt x="11" y="155"/>
                  </a:cubicBezTo>
                  <a:cubicBezTo>
                    <a:pt x="4" y="161"/>
                    <a:pt x="0" y="170"/>
                    <a:pt x="0" y="180"/>
                  </a:cubicBezTo>
                  <a:lnTo>
                    <a:pt x="0" y="589"/>
                  </a:lnTo>
                  <a:cubicBezTo>
                    <a:pt x="0" y="606"/>
                    <a:pt x="14" y="620"/>
                    <a:pt x="31" y="620"/>
                  </a:cubicBezTo>
                  <a:lnTo>
                    <a:pt x="530" y="620"/>
                  </a:lnTo>
                  <a:lnTo>
                    <a:pt x="496" y="693"/>
                  </a:lnTo>
                  <a:cubicBezTo>
                    <a:pt x="493" y="699"/>
                    <a:pt x="493" y="706"/>
                    <a:pt x="497" y="712"/>
                  </a:cubicBezTo>
                  <a:cubicBezTo>
                    <a:pt x="501" y="718"/>
                    <a:pt x="507" y="721"/>
                    <a:pt x="514" y="721"/>
                  </a:cubicBezTo>
                  <a:lnTo>
                    <a:pt x="590" y="721"/>
                  </a:lnTo>
                  <a:cubicBezTo>
                    <a:pt x="598" y="741"/>
                    <a:pt x="617" y="755"/>
                    <a:pt x="639" y="755"/>
                  </a:cubicBezTo>
                  <a:cubicBezTo>
                    <a:pt x="669" y="755"/>
                    <a:pt x="693" y="731"/>
                    <a:pt x="693" y="701"/>
                  </a:cubicBezTo>
                  <a:cubicBezTo>
                    <a:pt x="693" y="672"/>
                    <a:pt x="669" y="648"/>
                    <a:pt x="639" y="648"/>
                  </a:cubicBezTo>
                  <a:cubicBezTo>
                    <a:pt x="617" y="648"/>
                    <a:pt x="598" y="662"/>
                    <a:pt x="590" y="681"/>
                  </a:cubicBezTo>
                  <a:lnTo>
                    <a:pt x="545" y="681"/>
                  </a:lnTo>
                  <a:lnTo>
                    <a:pt x="589" y="589"/>
                  </a:lnTo>
                  <a:lnTo>
                    <a:pt x="936" y="589"/>
                  </a:lnTo>
                  <a:lnTo>
                    <a:pt x="901" y="681"/>
                  </a:lnTo>
                  <a:lnTo>
                    <a:pt x="850" y="681"/>
                  </a:lnTo>
                  <a:cubicBezTo>
                    <a:pt x="843" y="662"/>
                    <a:pt x="823" y="648"/>
                    <a:pt x="801" y="648"/>
                  </a:cubicBezTo>
                  <a:cubicBezTo>
                    <a:pt x="772" y="648"/>
                    <a:pt x="748" y="672"/>
                    <a:pt x="748" y="701"/>
                  </a:cubicBezTo>
                  <a:cubicBezTo>
                    <a:pt x="748" y="731"/>
                    <a:pt x="772" y="755"/>
                    <a:pt x="801" y="755"/>
                  </a:cubicBezTo>
                  <a:cubicBezTo>
                    <a:pt x="823" y="755"/>
                    <a:pt x="843" y="741"/>
                    <a:pt x="850" y="721"/>
                  </a:cubicBezTo>
                  <a:lnTo>
                    <a:pt x="1670" y="721"/>
                  </a:lnTo>
                  <a:cubicBezTo>
                    <a:pt x="1679" y="721"/>
                    <a:pt x="1687" y="715"/>
                    <a:pt x="1689" y="707"/>
                  </a:cubicBezTo>
                  <a:lnTo>
                    <a:pt x="1735" y="551"/>
                  </a:lnTo>
                  <a:lnTo>
                    <a:pt x="1875" y="551"/>
                  </a:lnTo>
                  <a:cubicBezTo>
                    <a:pt x="1884" y="551"/>
                    <a:pt x="1891" y="545"/>
                    <a:pt x="1894" y="536"/>
                  </a:cubicBezTo>
                  <a:lnTo>
                    <a:pt x="1940" y="380"/>
                  </a:lnTo>
                  <a:lnTo>
                    <a:pt x="2079" y="380"/>
                  </a:lnTo>
                  <a:cubicBezTo>
                    <a:pt x="2088" y="380"/>
                    <a:pt x="2096" y="374"/>
                    <a:pt x="2098" y="366"/>
                  </a:cubicBezTo>
                  <a:lnTo>
                    <a:pt x="2199" y="25"/>
                  </a:lnTo>
                  <a:cubicBezTo>
                    <a:pt x="2201" y="19"/>
                    <a:pt x="2200" y="12"/>
                    <a:pt x="2196" y="7"/>
                  </a:cubicBezTo>
                  <a:close/>
                </a:path>
              </a:pathLst>
            </a:custGeom>
            <a:grpFill/>
            <a:ln w="0">
              <a:noFill/>
              <a:round/>
              <a:headEnd/>
              <a:tailEnd/>
            </a:ln>
          </p:spPr>
          <p:txBody>
            <a:bodyPr/>
            <a:lstStyle/>
            <a:p>
              <a:endParaRPr lang="zh-CN" altLang="en-US"/>
            </a:p>
          </p:txBody>
        </p:sp>
        <p:sp>
          <p:nvSpPr>
            <p:cNvPr id="219" name="Freeform 473"/>
            <p:cNvSpPr>
              <a:spLocks/>
            </p:cNvSpPr>
            <p:nvPr/>
          </p:nvSpPr>
          <p:spPr bwMode="auto">
            <a:xfrm>
              <a:off x="7661276" y="2603500"/>
              <a:ext cx="12700" cy="30163"/>
            </a:xfrm>
            <a:custGeom>
              <a:avLst/>
              <a:gdLst>
                <a:gd name="T0" fmla="*/ 2147483646 w 27"/>
                <a:gd name="T1" fmla="*/ 0 h 61"/>
                <a:gd name="T2" fmla="*/ 2147483646 w 27"/>
                <a:gd name="T3" fmla="*/ 0 h 61"/>
                <a:gd name="T4" fmla="*/ 0 w 27"/>
                <a:gd name="T5" fmla="*/ 0 h 61"/>
                <a:gd name="T6" fmla="*/ 0 w 27"/>
                <a:gd name="T7" fmla="*/ 2147483646 h 61"/>
                <a:gd name="T8" fmla="*/ 2147483646 w 27"/>
                <a:gd name="T9" fmla="*/ 2147483646 h 61"/>
                <a:gd name="T10" fmla="*/ 2147483646 w 27"/>
                <a:gd name="T11" fmla="*/ 0 h 61"/>
                <a:gd name="T12" fmla="*/ 0 60000 65536"/>
                <a:gd name="T13" fmla="*/ 0 60000 65536"/>
                <a:gd name="T14" fmla="*/ 0 60000 65536"/>
                <a:gd name="T15" fmla="*/ 0 60000 65536"/>
                <a:gd name="T16" fmla="*/ 0 60000 65536"/>
                <a:gd name="T17" fmla="*/ 0 60000 65536"/>
                <a:gd name="T18" fmla="*/ 0 w 27"/>
                <a:gd name="T19" fmla="*/ 0 h 61"/>
                <a:gd name="T20" fmla="*/ 27 w 2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27" h="61">
                  <a:moveTo>
                    <a:pt x="27" y="0"/>
                  </a:moveTo>
                  <a:lnTo>
                    <a:pt x="27" y="0"/>
                  </a:lnTo>
                  <a:lnTo>
                    <a:pt x="0" y="0"/>
                  </a:lnTo>
                  <a:lnTo>
                    <a:pt x="0" y="61"/>
                  </a:lnTo>
                  <a:lnTo>
                    <a:pt x="27" y="61"/>
                  </a:lnTo>
                  <a:lnTo>
                    <a:pt x="27" y="0"/>
                  </a:lnTo>
                  <a:close/>
                </a:path>
              </a:pathLst>
            </a:custGeom>
            <a:grpFill/>
            <a:ln w="0">
              <a:noFill/>
              <a:round/>
              <a:headEnd/>
              <a:tailEnd/>
            </a:ln>
          </p:spPr>
          <p:txBody>
            <a:bodyPr/>
            <a:lstStyle/>
            <a:p>
              <a:endParaRPr lang="zh-CN" altLang="en-US"/>
            </a:p>
          </p:txBody>
        </p:sp>
      </p:grpSp>
      <p:pic>
        <p:nvPicPr>
          <p:cNvPr id="9" name="Picture 3" descr="j0233510"/>
          <p:cNvPicPr>
            <a:picLocks noChangeAspect="1" noChangeArrowheads="1"/>
          </p:cNvPicPr>
          <p:nvPr/>
        </p:nvPicPr>
        <p:blipFill>
          <a:blip r:embed="rId3" cstate="print"/>
          <a:srcRect/>
          <a:stretch>
            <a:fillRect/>
          </a:stretch>
        </p:blipFill>
        <p:spPr bwMode="auto">
          <a:xfrm>
            <a:off x="1498373" y="1341562"/>
            <a:ext cx="422750" cy="426946"/>
          </a:xfrm>
          <a:prstGeom prst="rect">
            <a:avLst/>
          </a:prstGeom>
          <a:noFill/>
          <a:ln w="9525">
            <a:noFill/>
            <a:miter lim="800000"/>
            <a:headEnd/>
            <a:tailEnd/>
          </a:ln>
        </p:spPr>
      </p:pic>
      <p:sp>
        <p:nvSpPr>
          <p:cNvPr id="10" name="TextBox 9"/>
          <p:cNvSpPr txBox="1"/>
          <p:nvPr/>
        </p:nvSpPr>
        <p:spPr>
          <a:xfrm>
            <a:off x="1601615" y="1981459"/>
            <a:ext cx="684000" cy="261610"/>
          </a:xfrm>
          <a:prstGeom prst="rect">
            <a:avLst/>
          </a:prstGeom>
          <a:noFill/>
        </p:spPr>
        <p:txBody>
          <a:bodyPr wrap="square" rtlCol="0">
            <a:spAutoFit/>
          </a:bodyPr>
          <a:lstStyle/>
          <a:p>
            <a:pPr algn="ctr"/>
            <a:r>
              <a:rPr lang="zh-CN" altLang="en-US" sz="1100" b="1" i="1" dirty="0" smtClean="0">
                <a:solidFill>
                  <a:srgbClr val="FFC000"/>
                </a:solidFill>
              </a:rPr>
              <a:t>Solar Energy </a:t>
            </a:r>
            <a:endParaRPr lang="zh-CN" altLang="en-US" sz="1100" b="1" i="1" dirty="0">
              <a:solidFill>
                <a:srgbClr val="FFC000"/>
              </a:solidFill>
            </a:endParaRPr>
          </a:p>
        </p:txBody>
      </p:sp>
      <p:sp>
        <p:nvSpPr>
          <p:cNvPr id="11" name="Freeform 59"/>
          <p:cNvSpPr>
            <a:spLocks noEditPoints="1"/>
          </p:cNvSpPr>
          <p:nvPr/>
        </p:nvSpPr>
        <p:spPr bwMode="auto">
          <a:xfrm flipH="1">
            <a:off x="3065350" y="1753834"/>
            <a:ext cx="295933" cy="354416"/>
          </a:xfrm>
          <a:custGeom>
            <a:avLst/>
            <a:gdLst>
              <a:gd name="T0" fmla="*/ 2147483646 w 1056"/>
              <a:gd name="T1" fmla="*/ 2147483646 h 1209"/>
              <a:gd name="T2" fmla="*/ 2147483646 w 1056"/>
              <a:gd name="T3" fmla="*/ 2147483646 h 1209"/>
              <a:gd name="T4" fmla="*/ 2147483646 w 1056"/>
              <a:gd name="T5" fmla="*/ 2147483646 h 1209"/>
              <a:gd name="T6" fmla="*/ 2147483646 w 1056"/>
              <a:gd name="T7" fmla="*/ 2147483646 h 1209"/>
              <a:gd name="T8" fmla="*/ 2147483646 w 1056"/>
              <a:gd name="T9" fmla="*/ 2147483646 h 1209"/>
              <a:gd name="T10" fmla="*/ 2147483646 w 1056"/>
              <a:gd name="T11" fmla="*/ 2147483646 h 1209"/>
              <a:gd name="T12" fmla="*/ 2147483646 w 1056"/>
              <a:gd name="T13" fmla="*/ 2147483646 h 1209"/>
              <a:gd name="T14" fmla="*/ 2147483646 w 1056"/>
              <a:gd name="T15" fmla="*/ 2147483646 h 1209"/>
              <a:gd name="T16" fmla="*/ 2147483646 w 1056"/>
              <a:gd name="T17" fmla="*/ 2147483646 h 1209"/>
              <a:gd name="T18" fmla="*/ 2147483646 w 1056"/>
              <a:gd name="T19" fmla="*/ 2147483646 h 1209"/>
              <a:gd name="T20" fmla="*/ 2147483646 w 1056"/>
              <a:gd name="T21" fmla="*/ 2147483646 h 1209"/>
              <a:gd name="T22" fmla="*/ 2147483646 w 1056"/>
              <a:gd name="T23" fmla="*/ 2147483646 h 1209"/>
              <a:gd name="T24" fmla="*/ 2147483646 w 1056"/>
              <a:gd name="T25" fmla="*/ 2147483646 h 1209"/>
              <a:gd name="T26" fmla="*/ 2147483646 w 1056"/>
              <a:gd name="T27" fmla="*/ 2147483646 h 1209"/>
              <a:gd name="T28" fmla="*/ 2147483646 w 1056"/>
              <a:gd name="T29" fmla="*/ 2147483646 h 1209"/>
              <a:gd name="T30" fmla="*/ 2147483646 w 1056"/>
              <a:gd name="T31" fmla="*/ 2147483646 h 1209"/>
              <a:gd name="T32" fmla="*/ 2147483646 w 1056"/>
              <a:gd name="T33" fmla="*/ 2147483646 h 1209"/>
              <a:gd name="T34" fmla="*/ 2147483646 w 1056"/>
              <a:gd name="T35" fmla="*/ 2147483646 h 1209"/>
              <a:gd name="T36" fmla="*/ 2147483646 w 1056"/>
              <a:gd name="T37" fmla="*/ 2147483646 h 1209"/>
              <a:gd name="T38" fmla="*/ 2147483646 w 1056"/>
              <a:gd name="T39" fmla="*/ 2147483646 h 1209"/>
              <a:gd name="T40" fmla="*/ 2147483646 w 1056"/>
              <a:gd name="T41" fmla="*/ 2147483646 h 1209"/>
              <a:gd name="T42" fmla="*/ 2147483646 w 1056"/>
              <a:gd name="T43" fmla="*/ 2147483646 h 1209"/>
              <a:gd name="T44" fmla="*/ 2147483646 w 1056"/>
              <a:gd name="T45" fmla="*/ 2147483646 h 1209"/>
              <a:gd name="T46" fmla="*/ 2147483646 w 1056"/>
              <a:gd name="T47" fmla="*/ 2147483646 h 1209"/>
              <a:gd name="T48" fmla="*/ 2147483646 w 1056"/>
              <a:gd name="T49" fmla="*/ 2147483646 h 1209"/>
              <a:gd name="T50" fmla="*/ 2147483646 w 1056"/>
              <a:gd name="T51" fmla="*/ 2147483646 h 1209"/>
              <a:gd name="T52" fmla="*/ 2147483646 w 1056"/>
              <a:gd name="T53" fmla="*/ 2147483646 h 1209"/>
              <a:gd name="T54" fmla="*/ 2147483646 w 1056"/>
              <a:gd name="T55" fmla="*/ 2147483646 h 1209"/>
              <a:gd name="T56" fmla="*/ 2147483646 w 1056"/>
              <a:gd name="T57" fmla="*/ 2147483646 h 1209"/>
              <a:gd name="T58" fmla="*/ 2147483646 w 1056"/>
              <a:gd name="T59" fmla="*/ 2147483646 h 1209"/>
              <a:gd name="T60" fmla="*/ 2147483646 w 1056"/>
              <a:gd name="T61" fmla="*/ 2147483646 h 1209"/>
              <a:gd name="T62" fmla="*/ 0 w 1056"/>
              <a:gd name="T63" fmla="*/ 2147483646 h 1209"/>
              <a:gd name="T64" fmla="*/ 2147483646 w 1056"/>
              <a:gd name="T65" fmla="*/ 2147483646 h 1209"/>
              <a:gd name="T66" fmla="*/ 2147483646 w 1056"/>
              <a:gd name="T67" fmla="*/ 2147483646 h 1209"/>
              <a:gd name="T68" fmla="*/ 2147483646 w 1056"/>
              <a:gd name="T69" fmla="*/ 2147483646 h 1209"/>
              <a:gd name="T70" fmla="*/ 2147483646 w 1056"/>
              <a:gd name="T71" fmla="*/ 2147483646 h 1209"/>
              <a:gd name="T72" fmla="*/ 2147483646 w 1056"/>
              <a:gd name="T73" fmla="*/ 2147483646 h 1209"/>
              <a:gd name="T74" fmla="*/ 2147483646 w 1056"/>
              <a:gd name="T75" fmla="*/ 2147483646 h 1209"/>
              <a:gd name="T76" fmla="*/ 2147483646 w 1056"/>
              <a:gd name="T77" fmla="*/ 0 h 1209"/>
              <a:gd name="T78" fmla="*/ 2147483646 w 1056"/>
              <a:gd name="T79" fmla="*/ 2147483646 h 1209"/>
              <a:gd name="T80" fmla="*/ 2147483646 w 1056"/>
              <a:gd name="T81" fmla="*/ 2147483646 h 1209"/>
              <a:gd name="T82" fmla="*/ 2147483646 w 1056"/>
              <a:gd name="T83" fmla="*/ 2147483646 h 1209"/>
              <a:gd name="T84" fmla="*/ 2147483646 w 1056"/>
              <a:gd name="T85" fmla="*/ 2147483646 h 1209"/>
              <a:gd name="T86" fmla="*/ 2147483646 w 1056"/>
              <a:gd name="T87" fmla="*/ 2147483646 h 1209"/>
              <a:gd name="T88" fmla="*/ 2147483646 w 1056"/>
              <a:gd name="T89" fmla="*/ 2147483646 h 120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56" h="1209">
                <a:moveTo>
                  <a:pt x="405" y="613"/>
                </a:moveTo>
                <a:lnTo>
                  <a:pt x="405" y="613"/>
                </a:lnTo>
                <a:cubicBezTo>
                  <a:pt x="405" y="430"/>
                  <a:pt x="374" y="245"/>
                  <a:pt x="313" y="153"/>
                </a:cubicBezTo>
                <a:cubicBezTo>
                  <a:pt x="569" y="190"/>
                  <a:pt x="764" y="382"/>
                  <a:pt x="764" y="613"/>
                </a:cubicBezTo>
                <a:cubicBezTo>
                  <a:pt x="764" y="844"/>
                  <a:pt x="569" y="1036"/>
                  <a:pt x="313" y="1073"/>
                </a:cubicBezTo>
                <a:cubicBezTo>
                  <a:pt x="374" y="981"/>
                  <a:pt x="405" y="796"/>
                  <a:pt x="405" y="613"/>
                </a:cubicBezTo>
                <a:close/>
                <a:moveTo>
                  <a:pt x="775" y="52"/>
                </a:moveTo>
                <a:lnTo>
                  <a:pt x="775" y="52"/>
                </a:lnTo>
                <a:lnTo>
                  <a:pt x="890" y="52"/>
                </a:lnTo>
                <a:lnTo>
                  <a:pt x="890" y="384"/>
                </a:lnTo>
                <a:lnTo>
                  <a:pt x="816" y="384"/>
                </a:lnTo>
                <a:lnTo>
                  <a:pt x="816" y="435"/>
                </a:lnTo>
                <a:cubicBezTo>
                  <a:pt x="807" y="433"/>
                  <a:pt x="799" y="432"/>
                  <a:pt x="791" y="432"/>
                </a:cubicBezTo>
                <a:cubicBezTo>
                  <a:pt x="787" y="432"/>
                  <a:pt x="784" y="433"/>
                  <a:pt x="781" y="434"/>
                </a:cubicBezTo>
                <a:cubicBezTo>
                  <a:pt x="779" y="430"/>
                  <a:pt x="777" y="425"/>
                  <a:pt x="775" y="421"/>
                </a:cubicBezTo>
                <a:lnTo>
                  <a:pt x="775" y="52"/>
                </a:lnTo>
                <a:close/>
                <a:moveTo>
                  <a:pt x="974" y="437"/>
                </a:moveTo>
                <a:lnTo>
                  <a:pt x="974" y="437"/>
                </a:lnTo>
                <a:lnTo>
                  <a:pt x="842" y="437"/>
                </a:lnTo>
                <a:lnTo>
                  <a:pt x="842" y="410"/>
                </a:lnTo>
                <a:lnTo>
                  <a:pt x="974" y="410"/>
                </a:lnTo>
                <a:lnTo>
                  <a:pt x="974" y="437"/>
                </a:lnTo>
                <a:close/>
                <a:moveTo>
                  <a:pt x="927" y="600"/>
                </a:moveTo>
                <a:lnTo>
                  <a:pt x="927" y="600"/>
                </a:lnTo>
                <a:cubicBezTo>
                  <a:pt x="927" y="590"/>
                  <a:pt x="926" y="581"/>
                  <a:pt x="924" y="572"/>
                </a:cubicBezTo>
                <a:lnTo>
                  <a:pt x="974" y="572"/>
                </a:lnTo>
                <a:lnTo>
                  <a:pt x="974" y="600"/>
                </a:lnTo>
                <a:lnTo>
                  <a:pt x="927" y="600"/>
                </a:lnTo>
                <a:close/>
                <a:moveTo>
                  <a:pt x="1030" y="694"/>
                </a:moveTo>
                <a:lnTo>
                  <a:pt x="1030" y="694"/>
                </a:lnTo>
                <a:lnTo>
                  <a:pt x="913" y="694"/>
                </a:lnTo>
                <a:cubicBezTo>
                  <a:pt x="915" y="688"/>
                  <a:pt x="917" y="682"/>
                  <a:pt x="919" y="676"/>
                </a:cubicBezTo>
                <a:lnTo>
                  <a:pt x="1030" y="676"/>
                </a:lnTo>
                <a:lnTo>
                  <a:pt x="1030" y="694"/>
                </a:lnTo>
                <a:close/>
                <a:moveTo>
                  <a:pt x="775" y="1156"/>
                </a:moveTo>
                <a:lnTo>
                  <a:pt x="775" y="1156"/>
                </a:lnTo>
                <a:lnTo>
                  <a:pt x="775" y="805"/>
                </a:lnTo>
                <a:cubicBezTo>
                  <a:pt x="777" y="801"/>
                  <a:pt x="779" y="796"/>
                  <a:pt x="781" y="792"/>
                </a:cubicBezTo>
                <a:cubicBezTo>
                  <a:pt x="784" y="793"/>
                  <a:pt x="787" y="794"/>
                  <a:pt x="791" y="794"/>
                </a:cubicBezTo>
                <a:cubicBezTo>
                  <a:pt x="830" y="794"/>
                  <a:pt x="865" y="772"/>
                  <a:pt x="890" y="737"/>
                </a:cubicBezTo>
                <a:lnTo>
                  <a:pt x="890" y="1156"/>
                </a:lnTo>
                <a:lnTo>
                  <a:pt x="775" y="1156"/>
                </a:lnTo>
                <a:close/>
                <a:moveTo>
                  <a:pt x="874" y="613"/>
                </a:moveTo>
                <a:lnTo>
                  <a:pt x="874" y="613"/>
                </a:lnTo>
                <a:cubicBezTo>
                  <a:pt x="874" y="678"/>
                  <a:pt x="841" y="733"/>
                  <a:pt x="799" y="740"/>
                </a:cubicBezTo>
                <a:cubicBezTo>
                  <a:pt x="811" y="699"/>
                  <a:pt x="817" y="657"/>
                  <a:pt x="817" y="613"/>
                </a:cubicBezTo>
                <a:cubicBezTo>
                  <a:pt x="817" y="569"/>
                  <a:pt x="811" y="527"/>
                  <a:pt x="799" y="486"/>
                </a:cubicBezTo>
                <a:cubicBezTo>
                  <a:pt x="841" y="493"/>
                  <a:pt x="874" y="548"/>
                  <a:pt x="874" y="613"/>
                </a:cubicBezTo>
                <a:close/>
                <a:moveTo>
                  <a:pt x="974" y="491"/>
                </a:moveTo>
                <a:lnTo>
                  <a:pt x="974" y="491"/>
                </a:lnTo>
                <a:lnTo>
                  <a:pt x="892" y="491"/>
                </a:lnTo>
                <a:cubicBezTo>
                  <a:pt x="884" y="481"/>
                  <a:pt x="876" y="471"/>
                  <a:pt x="868" y="463"/>
                </a:cubicBezTo>
                <a:lnTo>
                  <a:pt x="974" y="463"/>
                </a:lnTo>
                <a:lnTo>
                  <a:pt x="974" y="491"/>
                </a:lnTo>
                <a:close/>
                <a:moveTo>
                  <a:pt x="907" y="518"/>
                </a:moveTo>
                <a:lnTo>
                  <a:pt x="907" y="518"/>
                </a:lnTo>
                <a:lnTo>
                  <a:pt x="974" y="518"/>
                </a:lnTo>
                <a:lnTo>
                  <a:pt x="974" y="545"/>
                </a:lnTo>
                <a:lnTo>
                  <a:pt x="918" y="545"/>
                </a:lnTo>
                <a:cubicBezTo>
                  <a:pt x="915" y="536"/>
                  <a:pt x="911" y="527"/>
                  <a:pt x="907" y="518"/>
                </a:cubicBezTo>
                <a:close/>
                <a:moveTo>
                  <a:pt x="138" y="737"/>
                </a:moveTo>
                <a:lnTo>
                  <a:pt x="138" y="737"/>
                </a:lnTo>
                <a:cubicBezTo>
                  <a:pt x="138" y="698"/>
                  <a:pt x="107" y="667"/>
                  <a:pt x="69" y="667"/>
                </a:cubicBezTo>
                <a:cubicBezTo>
                  <a:pt x="30" y="667"/>
                  <a:pt x="0" y="698"/>
                  <a:pt x="0" y="737"/>
                </a:cubicBezTo>
                <a:cubicBezTo>
                  <a:pt x="0" y="770"/>
                  <a:pt x="24" y="799"/>
                  <a:pt x="56" y="805"/>
                </a:cubicBezTo>
                <a:cubicBezTo>
                  <a:pt x="78" y="967"/>
                  <a:pt x="131" y="1132"/>
                  <a:pt x="225" y="1132"/>
                </a:cubicBezTo>
                <a:cubicBezTo>
                  <a:pt x="433" y="1132"/>
                  <a:pt x="616" y="1038"/>
                  <a:pt x="722" y="895"/>
                </a:cubicBezTo>
                <a:lnTo>
                  <a:pt x="722" y="1209"/>
                </a:lnTo>
                <a:lnTo>
                  <a:pt x="944" y="1209"/>
                </a:lnTo>
                <a:lnTo>
                  <a:pt x="944" y="721"/>
                </a:lnTo>
                <a:lnTo>
                  <a:pt x="1056" y="721"/>
                </a:lnTo>
                <a:lnTo>
                  <a:pt x="1056" y="649"/>
                </a:lnTo>
                <a:lnTo>
                  <a:pt x="974" y="649"/>
                </a:lnTo>
                <a:lnTo>
                  <a:pt x="974" y="626"/>
                </a:lnTo>
                <a:lnTo>
                  <a:pt x="1001" y="626"/>
                </a:lnTo>
                <a:lnTo>
                  <a:pt x="1001" y="384"/>
                </a:lnTo>
                <a:lnTo>
                  <a:pt x="944" y="384"/>
                </a:lnTo>
                <a:lnTo>
                  <a:pt x="944" y="0"/>
                </a:lnTo>
                <a:lnTo>
                  <a:pt x="722" y="0"/>
                </a:lnTo>
                <a:lnTo>
                  <a:pt x="722" y="331"/>
                </a:lnTo>
                <a:cubicBezTo>
                  <a:pt x="616" y="188"/>
                  <a:pt x="433" y="93"/>
                  <a:pt x="225" y="93"/>
                </a:cubicBezTo>
                <a:cubicBezTo>
                  <a:pt x="128" y="93"/>
                  <a:pt x="70" y="274"/>
                  <a:pt x="51" y="467"/>
                </a:cubicBezTo>
                <a:cubicBezTo>
                  <a:pt x="21" y="475"/>
                  <a:pt x="0" y="502"/>
                  <a:pt x="0" y="534"/>
                </a:cubicBezTo>
                <a:cubicBezTo>
                  <a:pt x="0" y="572"/>
                  <a:pt x="30" y="604"/>
                  <a:pt x="69" y="604"/>
                </a:cubicBezTo>
                <a:cubicBezTo>
                  <a:pt x="107" y="604"/>
                  <a:pt x="138" y="572"/>
                  <a:pt x="138" y="534"/>
                </a:cubicBezTo>
                <a:cubicBezTo>
                  <a:pt x="138" y="509"/>
                  <a:pt x="124" y="486"/>
                  <a:pt x="104" y="474"/>
                </a:cubicBezTo>
                <a:cubicBezTo>
                  <a:pt x="124" y="260"/>
                  <a:pt x="185" y="147"/>
                  <a:pt x="225" y="147"/>
                </a:cubicBezTo>
                <a:cubicBezTo>
                  <a:pt x="278" y="147"/>
                  <a:pt x="352" y="324"/>
                  <a:pt x="352" y="613"/>
                </a:cubicBezTo>
                <a:cubicBezTo>
                  <a:pt x="352" y="902"/>
                  <a:pt x="278" y="1079"/>
                  <a:pt x="225" y="1079"/>
                </a:cubicBezTo>
                <a:cubicBezTo>
                  <a:pt x="190" y="1079"/>
                  <a:pt x="133" y="988"/>
                  <a:pt x="108" y="794"/>
                </a:cubicBezTo>
                <a:cubicBezTo>
                  <a:pt x="126" y="781"/>
                  <a:pt x="138" y="760"/>
                  <a:pt x="138" y="737"/>
                </a:cubicBezTo>
                <a:close/>
              </a:path>
            </a:pathLst>
          </a:custGeom>
          <a:solidFill>
            <a:schemeClr val="bg1"/>
          </a:solidFill>
          <a:ln w="9525">
            <a:noFill/>
            <a:round/>
            <a:headEnd/>
            <a:tailEnd/>
          </a:ln>
        </p:spPr>
        <p:txBody>
          <a:bodyPr lIns="102363" tIns="51181" rIns="102363" bIns="51181"/>
          <a:lstStyle/>
          <a:p>
            <a:endParaRPr lang="zh-CN" altLang="en-US"/>
          </a:p>
        </p:txBody>
      </p:sp>
      <p:sp>
        <p:nvSpPr>
          <p:cNvPr id="17" name="TextBox 16"/>
          <p:cNvSpPr txBox="1"/>
          <p:nvPr/>
        </p:nvSpPr>
        <p:spPr>
          <a:xfrm>
            <a:off x="501344" y="1366962"/>
            <a:ext cx="823391" cy="523220"/>
          </a:xfrm>
          <a:prstGeom prst="rect">
            <a:avLst/>
          </a:prstGeom>
          <a:noFill/>
        </p:spPr>
        <p:txBody>
          <a:bodyPr wrap="square" rtlCol="0">
            <a:spAutoFit/>
          </a:bodyPr>
          <a:lstStyle/>
          <a:p>
            <a:pPr algn="ctr"/>
            <a:r>
              <a:rPr lang="zh-CN" altLang="en-US" sz="1400" b="1" dirty="0" smtClean="0">
                <a:solidFill>
                  <a:schemeClr val="bg1"/>
                </a:solidFill>
              </a:rPr>
              <a:t>Hilly Areas</a:t>
            </a:r>
            <a:endParaRPr lang="zh-CN" altLang="en-US" sz="1400" b="1" dirty="0">
              <a:solidFill>
                <a:schemeClr val="bg1"/>
              </a:solidFill>
            </a:endParaRPr>
          </a:p>
        </p:txBody>
      </p:sp>
      <p:sp>
        <p:nvSpPr>
          <p:cNvPr id="19" name="TextBox 18"/>
          <p:cNvSpPr txBox="1"/>
          <p:nvPr/>
        </p:nvSpPr>
        <p:spPr>
          <a:xfrm>
            <a:off x="3322500" y="1493380"/>
            <a:ext cx="963634" cy="261610"/>
          </a:xfrm>
          <a:prstGeom prst="rect">
            <a:avLst/>
          </a:prstGeom>
          <a:noFill/>
        </p:spPr>
        <p:txBody>
          <a:bodyPr wrap="square" rtlCol="0">
            <a:spAutoFit/>
          </a:bodyPr>
          <a:lstStyle/>
          <a:p>
            <a:pPr algn="ctr"/>
            <a:r>
              <a:rPr lang="zh-CN" altLang="en-US" sz="1100" b="1" i="1" dirty="0" smtClean="0">
                <a:solidFill>
                  <a:srgbClr val="FFC000"/>
                </a:solidFill>
              </a:rPr>
              <a:t>Micro</a:t>
            </a:r>
            <a:r>
              <a:rPr lang="en-US" altLang="zh-CN" sz="1100" b="1" i="1" dirty="0" smtClean="0">
                <a:solidFill>
                  <a:srgbClr val="FFC000"/>
                </a:solidFill>
              </a:rPr>
              <a:t>w</a:t>
            </a:r>
            <a:r>
              <a:rPr lang="zh-CN" altLang="en-US" sz="1100" b="1" i="1" dirty="0" smtClean="0">
                <a:solidFill>
                  <a:srgbClr val="FFC000"/>
                </a:solidFill>
              </a:rPr>
              <a:t>ave</a:t>
            </a:r>
            <a:endParaRPr lang="zh-CN" altLang="en-US" sz="1100" b="1" i="1" dirty="0">
              <a:solidFill>
                <a:srgbClr val="FFC000"/>
              </a:solidFill>
            </a:endParaRPr>
          </a:p>
        </p:txBody>
      </p:sp>
      <p:grpSp>
        <p:nvGrpSpPr>
          <p:cNvPr id="6" name="组合 771"/>
          <p:cNvGrpSpPr>
            <a:grpSpLocks/>
          </p:cNvGrpSpPr>
          <p:nvPr/>
        </p:nvGrpSpPr>
        <p:grpSpPr bwMode="auto">
          <a:xfrm>
            <a:off x="4616483" y="1914490"/>
            <a:ext cx="732701" cy="790575"/>
            <a:chOff x="1814513" y="3687763"/>
            <a:chExt cx="752475" cy="706438"/>
          </a:xfrm>
          <a:solidFill>
            <a:schemeClr val="bg1"/>
          </a:solidFill>
        </p:grpSpPr>
        <p:sp>
          <p:nvSpPr>
            <p:cNvPr id="190" name="Freeform 445"/>
            <p:cNvSpPr>
              <a:spLocks/>
            </p:cNvSpPr>
            <p:nvPr/>
          </p:nvSpPr>
          <p:spPr bwMode="auto">
            <a:xfrm>
              <a:off x="2168525" y="3922713"/>
              <a:ext cx="222250" cy="471488"/>
            </a:xfrm>
            <a:custGeom>
              <a:avLst/>
              <a:gdLst>
                <a:gd name="T0" fmla="*/ 2147483646 w 532"/>
                <a:gd name="T1" fmla="*/ 2147483646 h 1124"/>
                <a:gd name="T2" fmla="*/ 2147483646 w 532"/>
                <a:gd name="T3" fmla="*/ 2147483646 h 1124"/>
                <a:gd name="T4" fmla="*/ 2147483646 w 532"/>
                <a:gd name="T5" fmla="*/ 2147483646 h 1124"/>
                <a:gd name="T6" fmla="*/ 2147483646 w 532"/>
                <a:gd name="T7" fmla="*/ 2147483646 h 1124"/>
                <a:gd name="T8" fmla="*/ 2147483646 w 532"/>
                <a:gd name="T9" fmla="*/ 2147483646 h 1124"/>
                <a:gd name="T10" fmla="*/ 2147483646 w 532"/>
                <a:gd name="T11" fmla="*/ 2147483646 h 1124"/>
                <a:gd name="T12" fmla="*/ 2147483646 w 532"/>
                <a:gd name="T13" fmla="*/ 2147483646 h 1124"/>
                <a:gd name="T14" fmla="*/ 2147483646 w 532"/>
                <a:gd name="T15" fmla="*/ 2147483646 h 1124"/>
                <a:gd name="T16" fmla="*/ 2147483646 w 532"/>
                <a:gd name="T17" fmla="*/ 2147483646 h 11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2"/>
                <a:gd name="T28" fmla="*/ 0 h 1124"/>
                <a:gd name="T29" fmla="*/ 532 w 532"/>
                <a:gd name="T30" fmla="*/ 1124 h 11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2" h="1124">
                  <a:moveTo>
                    <a:pt x="494" y="1124"/>
                  </a:moveTo>
                  <a:lnTo>
                    <a:pt x="494" y="1124"/>
                  </a:lnTo>
                  <a:cubicBezTo>
                    <a:pt x="481" y="1124"/>
                    <a:pt x="469" y="1116"/>
                    <a:pt x="464" y="1104"/>
                  </a:cubicBezTo>
                  <a:lnTo>
                    <a:pt x="7" y="51"/>
                  </a:lnTo>
                  <a:cubicBezTo>
                    <a:pt x="0" y="34"/>
                    <a:pt x="8" y="15"/>
                    <a:pt x="25" y="7"/>
                  </a:cubicBezTo>
                  <a:cubicBezTo>
                    <a:pt x="41" y="0"/>
                    <a:pt x="61" y="8"/>
                    <a:pt x="68" y="25"/>
                  </a:cubicBezTo>
                  <a:lnTo>
                    <a:pt x="525" y="1077"/>
                  </a:lnTo>
                  <a:cubicBezTo>
                    <a:pt x="532" y="1094"/>
                    <a:pt x="524" y="1114"/>
                    <a:pt x="507" y="1121"/>
                  </a:cubicBezTo>
                  <a:cubicBezTo>
                    <a:pt x="503" y="1123"/>
                    <a:pt x="499" y="1124"/>
                    <a:pt x="494" y="1124"/>
                  </a:cubicBezTo>
                  <a:close/>
                </a:path>
              </a:pathLst>
            </a:custGeom>
            <a:grpFill/>
            <a:ln w="0">
              <a:noFill/>
              <a:round/>
              <a:headEnd/>
              <a:tailEnd/>
            </a:ln>
          </p:spPr>
          <p:txBody>
            <a:bodyPr/>
            <a:lstStyle/>
            <a:p>
              <a:endParaRPr lang="zh-CN" altLang="en-US"/>
            </a:p>
          </p:txBody>
        </p:sp>
        <p:sp>
          <p:nvSpPr>
            <p:cNvPr id="191" name="Freeform 446"/>
            <p:cNvSpPr>
              <a:spLocks/>
            </p:cNvSpPr>
            <p:nvPr/>
          </p:nvSpPr>
          <p:spPr bwMode="auto">
            <a:xfrm>
              <a:off x="1976438" y="3922713"/>
              <a:ext cx="223838" cy="471488"/>
            </a:xfrm>
            <a:custGeom>
              <a:avLst/>
              <a:gdLst>
                <a:gd name="T0" fmla="*/ 2147483646 w 532"/>
                <a:gd name="T1" fmla="*/ 2147483646 h 1124"/>
                <a:gd name="T2" fmla="*/ 2147483646 w 532"/>
                <a:gd name="T3" fmla="*/ 2147483646 h 1124"/>
                <a:gd name="T4" fmla="*/ 2147483646 w 532"/>
                <a:gd name="T5" fmla="*/ 2147483646 h 1124"/>
                <a:gd name="T6" fmla="*/ 2147483646 w 532"/>
                <a:gd name="T7" fmla="*/ 2147483646 h 1124"/>
                <a:gd name="T8" fmla="*/ 2147483646 w 532"/>
                <a:gd name="T9" fmla="*/ 2147483646 h 1124"/>
                <a:gd name="T10" fmla="*/ 2147483646 w 532"/>
                <a:gd name="T11" fmla="*/ 2147483646 h 1124"/>
                <a:gd name="T12" fmla="*/ 2147483646 w 532"/>
                <a:gd name="T13" fmla="*/ 2147483646 h 1124"/>
                <a:gd name="T14" fmla="*/ 2147483646 w 532"/>
                <a:gd name="T15" fmla="*/ 2147483646 h 1124"/>
                <a:gd name="T16" fmla="*/ 2147483646 w 532"/>
                <a:gd name="T17" fmla="*/ 2147483646 h 11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2"/>
                <a:gd name="T28" fmla="*/ 0 h 1124"/>
                <a:gd name="T29" fmla="*/ 532 w 532"/>
                <a:gd name="T30" fmla="*/ 1124 h 11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2" h="1124">
                  <a:moveTo>
                    <a:pt x="37" y="1124"/>
                  </a:moveTo>
                  <a:lnTo>
                    <a:pt x="37" y="1124"/>
                  </a:lnTo>
                  <a:cubicBezTo>
                    <a:pt x="33" y="1124"/>
                    <a:pt x="28" y="1123"/>
                    <a:pt x="24" y="1121"/>
                  </a:cubicBezTo>
                  <a:cubicBezTo>
                    <a:pt x="7" y="1114"/>
                    <a:pt x="0" y="1094"/>
                    <a:pt x="7" y="1077"/>
                  </a:cubicBezTo>
                  <a:lnTo>
                    <a:pt x="463" y="25"/>
                  </a:lnTo>
                  <a:cubicBezTo>
                    <a:pt x="471" y="8"/>
                    <a:pt x="490" y="0"/>
                    <a:pt x="507" y="7"/>
                  </a:cubicBezTo>
                  <a:cubicBezTo>
                    <a:pt x="524" y="15"/>
                    <a:pt x="532" y="34"/>
                    <a:pt x="524" y="51"/>
                  </a:cubicBezTo>
                  <a:lnTo>
                    <a:pt x="68" y="1104"/>
                  </a:lnTo>
                  <a:cubicBezTo>
                    <a:pt x="63" y="1116"/>
                    <a:pt x="50" y="1124"/>
                    <a:pt x="37" y="1124"/>
                  </a:cubicBezTo>
                  <a:close/>
                </a:path>
              </a:pathLst>
            </a:custGeom>
            <a:grpFill/>
            <a:ln w="0">
              <a:noFill/>
              <a:round/>
              <a:headEnd/>
              <a:tailEnd/>
            </a:ln>
          </p:spPr>
          <p:txBody>
            <a:bodyPr/>
            <a:lstStyle/>
            <a:p>
              <a:endParaRPr lang="zh-CN" altLang="en-US"/>
            </a:p>
          </p:txBody>
        </p:sp>
        <p:sp>
          <p:nvSpPr>
            <p:cNvPr id="192" name="Freeform 447"/>
            <p:cNvSpPr>
              <a:spLocks/>
            </p:cNvSpPr>
            <p:nvPr/>
          </p:nvSpPr>
          <p:spPr bwMode="auto">
            <a:xfrm>
              <a:off x="2136775" y="3841750"/>
              <a:ext cx="93663" cy="93663"/>
            </a:xfrm>
            <a:custGeom>
              <a:avLst/>
              <a:gdLst>
                <a:gd name="T0" fmla="*/ 2147483646 w 225"/>
                <a:gd name="T1" fmla="*/ 2147483646 h 225"/>
                <a:gd name="T2" fmla="*/ 2147483646 w 225"/>
                <a:gd name="T3" fmla="*/ 2147483646 h 225"/>
                <a:gd name="T4" fmla="*/ 2147483646 w 225"/>
                <a:gd name="T5" fmla="*/ 2147483646 h 225"/>
                <a:gd name="T6" fmla="*/ 0 w 225"/>
                <a:gd name="T7" fmla="*/ 2147483646 h 225"/>
                <a:gd name="T8" fmla="*/ 2147483646 w 225"/>
                <a:gd name="T9" fmla="*/ 0 h 225"/>
                <a:gd name="T10" fmla="*/ 2147483646 w 225"/>
                <a:gd name="T11" fmla="*/ 2147483646 h 225"/>
                <a:gd name="T12" fmla="*/ 0 60000 65536"/>
                <a:gd name="T13" fmla="*/ 0 60000 65536"/>
                <a:gd name="T14" fmla="*/ 0 60000 65536"/>
                <a:gd name="T15" fmla="*/ 0 60000 65536"/>
                <a:gd name="T16" fmla="*/ 0 60000 65536"/>
                <a:gd name="T17" fmla="*/ 0 60000 65536"/>
                <a:gd name="T18" fmla="*/ 0 w 225"/>
                <a:gd name="T19" fmla="*/ 0 h 225"/>
                <a:gd name="T20" fmla="*/ 225 w 225"/>
                <a:gd name="T21" fmla="*/ 225 h 225"/>
              </a:gdLst>
              <a:ahLst/>
              <a:cxnLst>
                <a:cxn ang="T12">
                  <a:pos x="T0" y="T1"/>
                </a:cxn>
                <a:cxn ang="T13">
                  <a:pos x="T2" y="T3"/>
                </a:cxn>
                <a:cxn ang="T14">
                  <a:pos x="T4" y="T5"/>
                </a:cxn>
                <a:cxn ang="T15">
                  <a:pos x="T6" y="T7"/>
                </a:cxn>
                <a:cxn ang="T16">
                  <a:pos x="T8" y="T9"/>
                </a:cxn>
                <a:cxn ang="T17">
                  <a:pos x="T10" y="T11"/>
                </a:cxn>
              </a:cxnLst>
              <a:rect l="T18" t="T19" r="T20" b="T21"/>
              <a:pathLst>
                <a:path w="225" h="225">
                  <a:moveTo>
                    <a:pt x="225" y="112"/>
                  </a:moveTo>
                  <a:lnTo>
                    <a:pt x="225" y="112"/>
                  </a:lnTo>
                  <a:cubicBezTo>
                    <a:pt x="225" y="175"/>
                    <a:pt x="175" y="225"/>
                    <a:pt x="113" y="225"/>
                  </a:cubicBezTo>
                  <a:cubicBezTo>
                    <a:pt x="51" y="225"/>
                    <a:pt x="0" y="175"/>
                    <a:pt x="0" y="112"/>
                  </a:cubicBezTo>
                  <a:cubicBezTo>
                    <a:pt x="0" y="50"/>
                    <a:pt x="51" y="0"/>
                    <a:pt x="113" y="0"/>
                  </a:cubicBezTo>
                  <a:cubicBezTo>
                    <a:pt x="175" y="0"/>
                    <a:pt x="225" y="50"/>
                    <a:pt x="225" y="112"/>
                  </a:cubicBezTo>
                  <a:close/>
                </a:path>
              </a:pathLst>
            </a:custGeom>
            <a:grpFill/>
            <a:ln w="0">
              <a:noFill/>
              <a:round/>
              <a:headEnd/>
              <a:tailEnd/>
            </a:ln>
          </p:spPr>
          <p:txBody>
            <a:bodyPr/>
            <a:lstStyle/>
            <a:p>
              <a:endParaRPr lang="zh-CN" altLang="en-US"/>
            </a:p>
          </p:txBody>
        </p:sp>
        <p:sp>
          <p:nvSpPr>
            <p:cNvPr id="193" name="Freeform 448"/>
            <p:cNvSpPr>
              <a:spLocks/>
            </p:cNvSpPr>
            <p:nvPr/>
          </p:nvSpPr>
          <p:spPr bwMode="auto">
            <a:xfrm>
              <a:off x="1814513" y="3687763"/>
              <a:ext cx="111125" cy="398463"/>
            </a:xfrm>
            <a:custGeom>
              <a:avLst/>
              <a:gdLst>
                <a:gd name="T0" fmla="*/ 2147483646 w 268"/>
                <a:gd name="T1" fmla="*/ 2147483646 h 949"/>
                <a:gd name="T2" fmla="*/ 2147483646 w 268"/>
                <a:gd name="T3" fmla="*/ 2147483646 h 949"/>
                <a:gd name="T4" fmla="*/ 2147483646 w 268"/>
                <a:gd name="T5" fmla="*/ 2147483646 h 949"/>
                <a:gd name="T6" fmla="*/ 0 w 268"/>
                <a:gd name="T7" fmla="*/ 2147483646 h 949"/>
                <a:gd name="T8" fmla="*/ 2147483646 w 268"/>
                <a:gd name="T9" fmla="*/ 2147483646 h 949"/>
                <a:gd name="T10" fmla="*/ 2147483646 w 268"/>
                <a:gd name="T11" fmla="*/ 2147483646 h 949"/>
                <a:gd name="T12" fmla="*/ 2147483646 w 268"/>
                <a:gd name="T13" fmla="*/ 2147483646 h 949"/>
                <a:gd name="T14" fmla="*/ 2147483646 w 268"/>
                <a:gd name="T15" fmla="*/ 2147483646 h 949"/>
                <a:gd name="T16" fmla="*/ 2147483646 w 268"/>
                <a:gd name="T17" fmla="*/ 2147483646 h 949"/>
                <a:gd name="T18" fmla="*/ 2147483646 w 268"/>
                <a:gd name="T19" fmla="*/ 2147483646 h 949"/>
                <a:gd name="T20" fmla="*/ 2147483646 w 268"/>
                <a:gd name="T21" fmla="*/ 2147483646 h 9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8"/>
                <a:gd name="T34" fmla="*/ 0 h 949"/>
                <a:gd name="T35" fmla="*/ 268 w 268"/>
                <a:gd name="T36" fmla="*/ 949 h 9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8" h="949">
                  <a:moveTo>
                    <a:pt x="231" y="949"/>
                  </a:moveTo>
                  <a:lnTo>
                    <a:pt x="231" y="949"/>
                  </a:lnTo>
                  <a:cubicBezTo>
                    <a:pt x="223" y="949"/>
                    <a:pt x="216" y="947"/>
                    <a:pt x="209" y="941"/>
                  </a:cubicBezTo>
                  <a:cubicBezTo>
                    <a:pt x="76" y="826"/>
                    <a:pt x="0" y="657"/>
                    <a:pt x="0" y="476"/>
                  </a:cubicBezTo>
                  <a:cubicBezTo>
                    <a:pt x="0" y="296"/>
                    <a:pt x="76" y="127"/>
                    <a:pt x="209" y="12"/>
                  </a:cubicBezTo>
                  <a:cubicBezTo>
                    <a:pt x="223" y="0"/>
                    <a:pt x="244" y="1"/>
                    <a:pt x="256" y="15"/>
                  </a:cubicBezTo>
                  <a:cubicBezTo>
                    <a:pt x="268" y="29"/>
                    <a:pt x="267" y="50"/>
                    <a:pt x="253" y="62"/>
                  </a:cubicBezTo>
                  <a:cubicBezTo>
                    <a:pt x="134" y="164"/>
                    <a:pt x="66" y="315"/>
                    <a:pt x="66" y="476"/>
                  </a:cubicBezTo>
                  <a:cubicBezTo>
                    <a:pt x="66" y="637"/>
                    <a:pt x="134" y="788"/>
                    <a:pt x="253" y="891"/>
                  </a:cubicBezTo>
                  <a:cubicBezTo>
                    <a:pt x="267" y="903"/>
                    <a:pt x="268" y="924"/>
                    <a:pt x="256" y="938"/>
                  </a:cubicBezTo>
                  <a:cubicBezTo>
                    <a:pt x="250" y="945"/>
                    <a:pt x="241" y="949"/>
                    <a:pt x="231" y="949"/>
                  </a:cubicBezTo>
                  <a:close/>
                </a:path>
              </a:pathLst>
            </a:custGeom>
            <a:grpFill/>
            <a:ln w="0">
              <a:noFill/>
              <a:round/>
              <a:headEnd/>
              <a:tailEnd/>
            </a:ln>
          </p:spPr>
          <p:txBody>
            <a:bodyPr/>
            <a:lstStyle/>
            <a:p>
              <a:endParaRPr lang="zh-CN" altLang="en-US"/>
            </a:p>
          </p:txBody>
        </p:sp>
        <p:sp>
          <p:nvSpPr>
            <p:cNvPr id="194" name="Freeform 449"/>
            <p:cNvSpPr>
              <a:spLocks/>
            </p:cNvSpPr>
            <p:nvPr/>
          </p:nvSpPr>
          <p:spPr bwMode="auto">
            <a:xfrm>
              <a:off x="1911350" y="3740150"/>
              <a:ext cx="90488" cy="295275"/>
            </a:xfrm>
            <a:custGeom>
              <a:avLst/>
              <a:gdLst>
                <a:gd name="T0" fmla="*/ 2147483646 w 213"/>
                <a:gd name="T1" fmla="*/ 2147483646 h 703"/>
                <a:gd name="T2" fmla="*/ 2147483646 w 213"/>
                <a:gd name="T3" fmla="*/ 2147483646 h 703"/>
                <a:gd name="T4" fmla="*/ 2147483646 w 213"/>
                <a:gd name="T5" fmla="*/ 2147483646 h 703"/>
                <a:gd name="T6" fmla="*/ 0 w 213"/>
                <a:gd name="T7" fmla="*/ 2147483646 h 703"/>
                <a:gd name="T8" fmla="*/ 2147483646 w 213"/>
                <a:gd name="T9" fmla="*/ 2147483646 h 703"/>
                <a:gd name="T10" fmla="*/ 2147483646 w 213"/>
                <a:gd name="T11" fmla="*/ 2147483646 h 703"/>
                <a:gd name="T12" fmla="*/ 2147483646 w 213"/>
                <a:gd name="T13" fmla="*/ 2147483646 h 703"/>
                <a:gd name="T14" fmla="*/ 2147483646 w 213"/>
                <a:gd name="T15" fmla="*/ 2147483646 h 703"/>
                <a:gd name="T16" fmla="*/ 2147483646 w 213"/>
                <a:gd name="T17" fmla="*/ 2147483646 h 703"/>
                <a:gd name="T18" fmla="*/ 2147483646 w 213"/>
                <a:gd name="T19" fmla="*/ 2147483646 h 703"/>
                <a:gd name="T20" fmla="*/ 2147483646 w 213"/>
                <a:gd name="T21" fmla="*/ 2147483646 h 7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3"/>
                <a:gd name="T34" fmla="*/ 0 h 703"/>
                <a:gd name="T35" fmla="*/ 213 w 213"/>
                <a:gd name="T36" fmla="*/ 703 h 7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3" h="703">
                  <a:moveTo>
                    <a:pt x="176" y="703"/>
                  </a:moveTo>
                  <a:lnTo>
                    <a:pt x="176" y="703"/>
                  </a:lnTo>
                  <a:cubicBezTo>
                    <a:pt x="168" y="703"/>
                    <a:pt x="161" y="700"/>
                    <a:pt x="154" y="695"/>
                  </a:cubicBezTo>
                  <a:cubicBezTo>
                    <a:pt x="56" y="610"/>
                    <a:pt x="0" y="486"/>
                    <a:pt x="0" y="353"/>
                  </a:cubicBezTo>
                  <a:cubicBezTo>
                    <a:pt x="0" y="221"/>
                    <a:pt x="56" y="96"/>
                    <a:pt x="154" y="12"/>
                  </a:cubicBezTo>
                  <a:cubicBezTo>
                    <a:pt x="168" y="0"/>
                    <a:pt x="189" y="2"/>
                    <a:pt x="201" y="15"/>
                  </a:cubicBezTo>
                  <a:cubicBezTo>
                    <a:pt x="213" y="29"/>
                    <a:pt x="212" y="50"/>
                    <a:pt x="198" y="62"/>
                  </a:cubicBezTo>
                  <a:cubicBezTo>
                    <a:pt x="114" y="134"/>
                    <a:pt x="67" y="240"/>
                    <a:pt x="67" y="353"/>
                  </a:cubicBezTo>
                  <a:cubicBezTo>
                    <a:pt x="67" y="466"/>
                    <a:pt x="115" y="572"/>
                    <a:pt x="198" y="644"/>
                  </a:cubicBezTo>
                  <a:cubicBezTo>
                    <a:pt x="212" y="656"/>
                    <a:pt x="213" y="677"/>
                    <a:pt x="201" y="691"/>
                  </a:cubicBezTo>
                  <a:cubicBezTo>
                    <a:pt x="195" y="699"/>
                    <a:pt x="185" y="703"/>
                    <a:pt x="176" y="703"/>
                  </a:cubicBezTo>
                  <a:close/>
                </a:path>
              </a:pathLst>
            </a:custGeom>
            <a:grpFill/>
            <a:ln w="0">
              <a:noFill/>
              <a:round/>
              <a:headEnd/>
              <a:tailEnd/>
            </a:ln>
          </p:spPr>
          <p:txBody>
            <a:bodyPr/>
            <a:lstStyle/>
            <a:p>
              <a:endParaRPr lang="zh-CN" altLang="en-US"/>
            </a:p>
          </p:txBody>
        </p:sp>
        <p:sp>
          <p:nvSpPr>
            <p:cNvPr id="195" name="Freeform 450"/>
            <p:cNvSpPr>
              <a:spLocks/>
            </p:cNvSpPr>
            <p:nvPr/>
          </p:nvSpPr>
          <p:spPr bwMode="auto">
            <a:xfrm>
              <a:off x="2008188" y="3787775"/>
              <a:ext cx="74613" cy="198438"/>
            </a:xfrm>
            <a:custGeom>
              <a:avLst/>
              <a:gdLst>
                <a:gd name="T0" fmla="*/ 2147483646 w 177"/>
                <a:gd name="T1" fmla="*/ 2147483646 h 472"/>
                <a:gd name="T2" fmla="*/ 2147483646 w 177"/>
                <a:gd name="T3" fmla="*/ 2147483646 h 472"/>
                <a:gd name="T4" fmla="*/ 2147483646 w 177"/>
                <a:gd name="T5" fmla="*/ 2147483646 h 472"/>
                <a:gd name="T6" fmla="*/ 0 w 177"/>
                <a:gd name="T7" fmla="*/ 2147483646 h 472"/>
                <a:gd name="T8" fmla="*/ 2147483646 w 177"/>
                <a:gd name="T9" fmla="*/ 2147483646 h 472"/>
                <a:gd name="T10" fmla="*/ 2147483646 w 177"/>
                <a:gd name="T11" fmla="*/ 2147483646 h 472"/>
                <a:gd name="T12" fmla="*/ 2147483646 w 177"/>
                <a:gd name="T13" fmla="*/ 2147483646 h 472"/>
                <a:gd name="T14" fmla="*/ 2147483646 w 177"/>
                <a:gd name="T15" fmla="*/ 2147483646 h 472"/>
                <a:gd name="T16" fmla="*/ 2147483646 w 177"/>
                <a:gd name="T17" fmla="*/ 2147483646 h 472"/>
                <a:gd name="T18" fmla="*/ 2147483646 w 177"/>
                <a:gd name="T19" fmla="*/ 2147483646 h 472"/>
                <a:gd name="T20" fmla="*/ 2147483646 w 177"/>
                <a:gd name="T21" fmla="*/ 2147483646 h 4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7"/>
                <a:gd name="T34" fmla="*/ 0 h 472"/>
                <a:gd name="T35" fmla="*/ 177 w 177"/>
                <a:gd name="T36" fmla="*/ 472 h 4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7" h="472">
                  <a:moveTo>
                    <a:pt x="139" y="472"/>
                  </a:moveTo>
                  <a:lnTo>
                    <a:pt x="139" y="472"/>
                  </a:lnTo>
                  <a:cubicBezTo>
                    <a:pt x="132" y="472"/>
                    <a:pt x="126" y="470"/>
                    <a:pt x="120" y="466"/>
                  </a:cubicBezTo>
                  <a:cubicBezTo>
                    <a:pt x="45" y="417"/>
                    <a:pt x="0" y="331"/>
                    <a:pt x="0" y="238"/>
                  </a:cubicBezTo>
                  <a:cubicBezTo>
                    <a:pt x="0" y="145"/>
                    <a:pt x="45" y="60"/>
                    <a:pt x="120" y="10"/>
                  </a:cubicBezTo>
                  <a:cubicBezTo>
                    <a:pt x="136" y="0"/>
                    <a:pt x="156" y="4"/>
                    <a:pt x="166" y="20"/>
                  </a:cubicBezTo>
                  <a:cubicBezTo>
                    <a:pt x="177" y="35"/>
                    <a:pt x="172" y="56"/>
                    <a:pt x="157" y="66"/>
                  </a:cubicBezTo>
                  <a:cubicBezTo>
                    <a:pt x="100" y="103"/>
                    <a:pt x="66" y="168"/>
                    <a:pt x="66" y="238"/>
                  </a:cubicBezTo>
                  <a:cubicBezTo>
                    <a:pt x="66" y="309"/>
                    <a:pt x="100" y="373"/>
                    <a:pt x="157" y="411"/>
                  </a:cubicBezTo>
                  <a:cubicBezTo>
                    <a:pt x="172" y="421"/>
                    <a:pt x="177" y="442"/>
                    <a:pt x="167" y="457"/>
                  </a:cubicBezTo>
                  <a:cubicBezTo>
                    <a:pt x="160" y="467"/>
                    <a:pt x="149" y="472"/>
                    <a:pt x="139" y="472"/>
                  </a:cubicBezTo>
                  <a:close/>
                </a:path>
              </a:pathLst>
            </a:custGeom>
            <a:grpFill/>
            <a:ln w="0">
              <a:noFill/>
              <a:round/>
              <a:headEnd/>
              <a:tailEnd/>
            </a:ln>
          </p:spPr>
          <p:txBody>
            <a:bodyPr/>
            <a:lstStyle/>
            <a:p>
              <a:endParaRPr lang="zh-CN" altLang="en-US"/>
            </a:p>
          </p:txBody>
        </p:sp>
        <p:sp>
          <p:nvSpPr>
            <p:cNvPr id="196" name="Freeform 451"/>
            <p:cNvSpPr>
              <a:spLocks/>
            </p:cNvSpPr>
            <p:nvPr/>
          </p:nvSpPr>
          <p:spPr bwMode="auto">
            <a:xfrm>
              <a:off x="2454275" y="3687763"/>
              <a:ext cx="112713" cy="398463"/>
            </a:xfrm>
            <a:custGeom>
              <a:avLst/>
              <a:gdLst>
                <a:gd name="T0" fmla="*/ 2147483646 w 269"/>
                <a:gd name="T1" fmla="*/ 2147483646 h 949"/>
                <a:gd name="T2" fmla="*/ 2147483646 w 269"/>
                <a:gd name="T3" fmla="*/ 2147483646 h 949"/>
                <a:gd name="T4" fmla="*/ 2147483646 w 269"/>
                <a:gd name="T5" fmla="*/ 2147483646 h 949"/>
                <a:gd name="T6" fmla="*/ 2147483646 w 269"/>
                <a:gd name="T7" fmla="*/ 2147483646 h 949"/>
                <a:gd name="T8" fmla="*/ 2147483646 w 269"/>
                <a:gd name="T9" fmla="*/ 2147483646 h 949"/>
                <a:gd name="T10" fmla="*/ 2147483646 w 269"/>
                <a:gd name="T11" fmla="*/ 2147483646 h 949"/>
                <a:gd name="T12" fmla="*/ 2147483646 w 269"/>
                <a:gd name="T13" fmla="*/ 2147483646 h 949"/>
                <a:gd name="T14" fmla="*/ 2147483646 w 269"/>
                <a:gd name="T15" fmla="*/ 2147483646 h 949"/>
                <a:gd name="T16" fmla="*/ 2147483646 w 269"/>
                <a:gd name="T17" fmla="*/ 2147483646 h 949"/>
                <a:gd name="T18" fmla="*/ 2147483646 w 269"/>
                <a:gd name="T19" fmla="*/ 2147483646 h 949"/>
                <a:gd name="T20" fmla="*/ 2147483646 w 269"/>
                <a:gd name="T21" fmla="*/ 2147483646 h 9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9"/>
                <a:gd name="T34" fmla="*/ 0 h 949"/>
                <a:gd name="T35" fmla="*/ 269 w 269"/>
                <a:gd name="T36" fmla="*/ 949 h 9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9" h="949">
                  <a:moveTo>
                    <a:pt x="38" y="949"/>
                  </a:moveTo>
                  <a:lnTo>
                    <a:pt x="38" y="949"/>
                  </a:lnTo>
                  <a:cubicBezTo>
                    <a:pt x="28" y="949"/>
                    <a:pt x="19" y="945"/>
                    <a:pt x="12" y="938"/>
                  </a:cubicBezTo>
                  <a:cubicBezTo>
                    <a:pt x="0" y="924"/>
                    <a:pt x="2" y="903"/>
                    <a:pt x="16" y="891"/>
                  </a:cubicBezTo>
                  <a:cubicBezTo>
                    <a:pt x="134" y="788"/>
                    <a:pt x="202" y="637"/>
                    <a:pt x="202" y="476"/>
                  </a:cubicBezTo>
                  <a:cubicBezTo>
                    <a:pt x="202" y="315"/>
                    <a:pt x="134" y="164"/>
                    <a:pt x="16" y="62"/>
                  </a:cubicBezTo>
                  <a:cubicBezTo>
                    <a:pt x="2" y="50"/>
                    <a:pt x="0" y="29"/>
                    <a:pt x="12" y="15"/>
                  </a:cubicBezTo>
                  <a:cubicBezTo>
                    <a:pt x="24" y="1"/>
                    <a:pt x="46" y="0"/>
                    <a:pt x="59" y="12"/>
                  </a:cubicBezTo>
                  <a:cubicBezTo>
                    <a:pt x="193" y="127"/>
                    <a:pt x="269" y="296"/>
                    <a:pt x="269" y="476"/>
                  </a:cubicBezTo>
                  <a:cubicBezTo>
                    <a:pt x="269" y="657"/>
                    <a:pt x="193" y="826"/>
                    <a:pt x="59" y="941"/>
                  </a:cubicBezTo>
                  <a:cubicBezTo>
                    <a:pt x="53" y="946"/>
                    <a:pt x="45" y="949"/>
                    <a:pt x="38" y="949"/>
                  </a:cubicBezTo>
                  <a:close/>
                </a:path>
              </a:pathLst>
            </a:custGeom>
            <a:grpFill/>
            <a:ln w="0">
              <a:noFill/>
              <a:round/>
              <a:headEnd/>
              <a:tailEnd/>
            </a:ln>
          </p:spPr>
          <p:txBody>
            <a:bodyPr/>
            <a:lstStyle/>
            <a:p>
              <a:endParaRPr lang="zh-CN" altLang="en-US"/>
            </a:p>
          </p:txBody>
        </p:sp>
        <p:sp>
          <p:nvSpPr>
            <p:cNvPr id="197" name="Freeform 452"/>
            <p:cNvSpPr>
              <a:spLocks/>
            </p:cNvSpPr>
            <p:nvPr/>
          </p:nvSpPr>
          <p:spPr bwMode="auto">
            <a:xfrm>
              <a:off x="2379663" y="3740150"/>
              <a:ext cx="88900" cy="295275"/>
            </a:xfrm>
            <a:custGeom>
              <a:avLst/>
              <a:gdLst>
                <a:gd name="T0" fmla="*/ 2147483646 w 213"/>
                <a:gd name="T1" fmla="*/ 2147483646 h 703"/>
                <a:gd name="T2" fmla="*/ 2147483646 w 213"/>
                <a:gd name="T3" fmla="*/ 2147483646 h 703"/>
                <a:gd name="T4" fmla="*/ 2147483646 w 213"/>
                <a:gd name="T5" fmla="*/ 2147483646 h 703"/>
                <a:gd name="T6" fmla="*/ 2147483646 w 213"/>
                <a:gd name="T7" fmla="*/ 2147483646 h 703"/>
                <a:gd name="T8" fmla="*/ 2147483646 w 213"/>
                <a:gd name="T9" fmla="*/ 2147483646 h 703"/>
                <a:gd name="T10" fmla="*/ 2147483646 w 213"/>
                <a:gd name="T11" fmla="*/ 2147483646 h 703"/>
                <a:gd name="T12" fmla="*/ 2147483646 w 213"/>
                <a:gd name="T13" fmla="*/ 2147483646 h 703"/>
                <a:gd name="T14" fmla="*/ 2147483646 w 213"/>
                <a:gd name="T15" fmla="*/ 2147483646 h 703"/>
                <a:gd name="T16" fmla="*/ 2147483646 w 213"/>
                <a:gd name="T17" fmla="*/ 2147483646 h 703"/>
                <a:gd name="T18" fmla="*/ 2147483646 w 213"/>
                <a:gd name="T19" fmla="*/ 2147483646 h 703"/>
                <a:gd name="T20" fmla="*/ 2147483646 w 213"/>
                <a:gd name="T21" fmla="*/ 2147483646 h 7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3"/>
                <a:gd name="T34" fmla="*/ 0 h 703"/>
                <a:gd name="T35" fmla="*/ 213 w 213"/>
                <a:gd name="T36" fmla="*/ 703 h 7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3" h="703">
                  <a:moveTo>
                    <a:pt x="37" y="703"/>
                  </a:moveTo>
                  <a:lnTo>
                    <a:pt x="37" y="703"/>
                  </a:lnTo>
                  <a:cubicBezTo>
                    <a:pt x="28" y="703"/>
                    <a:pt x="18" y="699"/>
                    <a:pt x="12" y="691"/>
                  </a:cubicBezTo>
                  <a:cubicBezTo>
                    <a:pt x="0" y="677"/>
                    <a:pt x="1" y="656"/>
                    <a:pt x="15" y="644"/>
                  </a:cubicBezTo>
                  <a:cubicBezTo>
                    <a:pt x="98" y="572"/>
                    <a:pt x="146" y="466"/>
                    <a:pt x="146" y="353"/>
                  </a:cubicBezTo>
                  <a:cubicBezTo>
                    <a:pt x="146" y="240"/>
                    <a:pt x="98" y="134"/>
                    <a:pt x="15" y="62"/>
                  </a:cubicBezTo>
                  <a:cubicBezTo>
                    <a:pt x="1" y="50"/>
                    <a:pt x="0" y="29"/>
                    <a:pt x="12" y="15"/>
                  </a:cubicBezTo>
                  <a:cubicBezTo>
                    <a:pt x="24" y="2"/>
                    <a:pt x="45" y="0"/>
                    <a:pt x="59" y="12"/>
                  </a:cubicBezTo>
                  <a:cubicBezTo>
                    <a:pt x="157" y="96"/>
                    <a:pt x="213" y="221"/>
                    <a:pt x="213" y="353"/>
                  </a:cubicBezTo>
                  <a:cubicBezTo>
                    <a:pt x="213" y="486"/>
                    <a:pt x="157" y="610"/>
                    <a:pt x="59" y="695"/>
                  </a:cubicBezTo>
                  <a:cubicBezTo>
                    <a:pt x="52" y="700"/>
                    <a:pt x="45" y="703"/>
                    <a:pt x="37" y="703"/>
                  </a:cubicBezTo>
                  <a:close/>
                </a:path>
              </a:pathLst>
            </a:custGeom>
            <a:grpFill/>
            <a:ln w="0">
              <a:noFill/>
              <a:round/>
              <a:headEnd/>
              <a:tailEnd/>
            </a:ln>
          </p:spPr>
          <p:txBody>
            <a:bodyPr/>
            <a:lstStyle/>
            <a:p>
              <a:endParaRPr lang="zh-CN" altLang="en-US"/>
            </a:p>
          </p:txBody>
        </p:sp>
        <p:sp>
          <p:nvSpPr>
            <p:cNvPr id="198" name="Freeform 453"/>
            <p:cNvSpPr>
              <a:spLocks/>
            </p:cNvSpPr>
            <p:nvPr/>
          </p:nvSpPr>
          <p:spPr bwMode="auto">
            <a:xfrm>
              <a:off x="2298700" y="3787775"/>
              <a:ext cx="74613" cy="198438"/>
            </a:xfrm>
            <a:custGeom>
              <a:avLst/>
              <a:gdLst>
                <a:gd name="T0" fmla="*/ 2147483646 w 177"/>
                <a:gd name="T1" fmla="*/ 2147483646 h 472"/>
                <a:gd name="T2" fmla="*/ 2147483646 w 177"/>
                <a:gd name="T3" fmla="*/ 2147483646 h 472"/>
                <a:gd name="T4" fmla="*/ 2147483646 w 177"/>
                <a:gd name="T5" fmla="*/ 2147483646 h 472"/>
                <a:gd name="T6" fmla="*/ 2147483646 w 177"/>
                <a:gd name="T7" fmla="*/ 2147483646 h 472"/>
                <a:gd name="T8" fmla="*/ 2147483646 w 177"/>
                <a:gd name="T9" fmla="*/ 2147483646 h 472"/>
                <a:gd name="T10" fmla="*/ 2147483646 w 177"/>
                <a:gd name="T11" fmla="*/ 2147483646 h 472"/>
                <a:gd name="T12" fmla="*/ 2147483646 w 177"/>
                <a:gd name="T13" fmla="*/ 2147483646 h 472"/>
                <a:gd name="T14" fmla="*/ 2147483646 w 177"/>
                <a:gd name="T15" fmla="*/ 2147483646 h 472"/>
                <a:gd name="T16" fmla="*/ 2147483646 w 177"/>
                <a:gd name="T17" fmla="*/ 2147483646 h 472"/>
                <a:gd name="T18" fmla="*/ 2147483646 w 177"/>
                <a:gd name="T19" fmla="*/ 2147483646 h 472"/>
                <a:gd name="T20" fmla="*/ 2147483646 w 177"/>
                <a:gd name="T21" fmla="*/ 2147483646 h 4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7"/>
                <a:gd name="T34" fmla="*/ 0 h 472"/>
                <a:gd name="T35" fmla="*/ 177 w 177"/>
                <a:gd name="T36" fmla="*/ 472 h 4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7" h="472">
                  <a:moveTo>
                    <a:pt x="38" y="472"/>
                  </a:moveTo>
                  <a:lnTo>
                    <a:pt x="38" y="472"/>
                  </a:lnTo>
                  <a:cubicBezTo>
                    <a:pt x="27" y="472"/>
                    <a:pt x="17" y="467"/>
                    <a:pt x="10" y="457"/>
                  </a:cubicBezTo>
                  <a:cubicBezTo>
                    <a:pt x="0" y="442"/>
                    <a:pt x="4" y="421"/>
                    <a:pt x="20" y="411"/>
                  </a:cubicBezTo>
                  <a:cubicBezTo>
                    <a:pt x="77" y="373"/>
                    <a:pt x="111" y="309"/>
                    <a:pt x="111" y="238"/>
                  </a:cubicBezTo>
                  <a:cubicBezTo>
                    <a:pt x="111" y="168"/>
                    <a:pt x="77" y="103"/>
                    <a:pt x="20" y="66"/>
                  </a:cubicBezTo>
                  <a:cubicBezTo>
                    <a:pt x="5" y="56"/>
                    <a:pt x="0" y="35"/>
                    <a:pt x="11" y="20"/>
                  </a:cubicBezTo>
                  <a:cubicBezTo>
                    <a:pt x="21" y="4"/>
                    <a:pt x="41" y="0"/>
                    <a:pt x="57" y="10"/>
                  </a:cubicBezTo>
                  <a:cubicBezTo>
                    <a:pt x="132" y="60"/>
                    <a:pt x="177" y="145"/>
                    <a:pt x="177" y="238"/>
                  </a:cubicBezTo>
                  <a:cubicBezTo>
                    <a:pt x="177" y="331"/>
                    <a:pt x="132" y="417"/>
                    <a:pt x="57" y="466"/>
                  </a:cubicBezTo>
                  <a:cubicBezTo>
                    <a:pt x="51" y="470"/>
                    <a:pt x="45" y="472"/>
                    <a:pt x="38" y="472"/>
                  </a:cubicBezTo>
                  <a:close/>
                </a:path>
              </a:pathLst>
            </a:custGeom>
            <a:grpFill/>
            <a:ln w="0">
              <a:noFill/>
              <a:round/>
              <a:headEnd/>
              <a:tailEnd/>
            </a:ln>
          </p:spPr>
          <p:txBody>
            <a:bodyPr/>
            <a:lstStyle/>
            <a:p>
              <a:endParaRPr lang="zh-CN" altLang="en-US"/>
            </a:p>
          </p:txBody>
        </p:sp>
        <p:sp>
          <p:nvSpPr>
            <p:cNvPr id="199" name="Freeform 454"/>
            <p:cNvSpPr>
              <a:spLocks/>
            </p:cNvSpPr>
            <p:nvPr/>
          </p:nvSpPr>
          <p:spPr bwMode="auto">
            <a:xfrm>
              <a:off x="2087563" y="4116388"/>
              <a:ext cx="192088" cy="26988"/>
            </a:xfrm>
            <a:custGeom>
              <a:avLst/>
              <a:gdLst>
                <a:gd name="T0" fmla="*/ 2147483646 w 461"/>
                <a:gd name="T1" fmla="*/ 2147483646 h 66"/>
                <a:gd name="T2" fmla="*/ 2147483646 w 461"/>
                <a:gd name="T3" fmla="*/ 2147483646 h 66"/>
                <a:gd name="T4" fmla="*/ 2147483646 w 461"/>
                <a:gd name="T5" fmla="*/ 2147483646 h 66"/>
                <a:gd name="T6" fmla="*/ 0 w 461"/>
                <a:gd name="T7" fmla="*/ 2147483646 h 66"/>
                <a:gd name="T8" fmla="*/ 2147483646 w 461"/>
                <a:gd name="T9" fmla="*/ 0 h 66"/>
                <a:gd name="T10" fmla="*/ 2147483646 w 461"/>
                <a:gd name="T11" fmla="*/ 0 h 66"/>
                <a:gd name="T12" fmla="*/ 2147483646 w 461"/>
                <a:gd name="T13" fmla="*/ 2147483646 h 66"/>
                <a:gd name="T14" fmla="*/ 2147483646 w 461"/>
                <a:gd name="T15" fmla="*/ 2147483646 h 66"/>
                <a:gd name="T16" fmla="*/ 0 60000 65536"/>
                <a:gd name="T17" fmla="*/ 0 60000 65536"/>
                <a:gd name="T18" fmla="*/ 0 60000 65536"/>
                <a:gd name="T19" fmla="*/ 0 60000 65536"/>
                <a:gd name="T20" fmla="*/ 0 60000 65536"/>
                <a:gd name="T21" fmla="*/ 0 60000 65536"/>
                <a:gd name="T22" fmla="*/ 0 60000 65536"/>
                <a:gd name="T23" fmla="*/ 0 60000 65536"/>
                <a:gd name="T24" fmla="*/ 0 w 461"/>
                <a:gd name="T25" fmla="*/ 0 h 66"/>
                <a:gd name="T26" fmla="*/ 461 w 461"/>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1" h="66">
                  <a:moveTo>
                    <a:pt x="428" y="66"/>
                  </a:moveTo>
                  <a:lnTo>
                    <a:pt x="428" y="66"/>
                  </a:lnTo>
                  <a:lnTo>
                    <a:pt x="34" y="66"/>
                  </a:lnTo>
                  <a:cubicBezTo>
                    <a:pt x="15" y="66"/>
                    <a:pt x="0" y="51"/>
                    <a:pt x="0" y="33"/>
                  </a:cubicBezTo>
                  <a:cubicBezTo>
                    <a:pt x="0" y="15"/>
                    <a:pt x="15" y="0"/>
                    <a:pt x="34" y="0"/>
                  </a:cubicBezTo>
                  <a:lnTo>
                    <a:pt x="428" y="0"/>
                  </a:lnTo>
                  <a:cubicBezTo>
                    <a:pt x="447" y="0"/>
                    <a:pt x="461" y="15"/>
                    <a:pt x="461" y="33"/>
                  </a:cubicBezTo>
                  <a:cubicBezTo>
                    <a:pt x="461" y="51"/>
                    <a:pt x="447" y="66"/>
                    <a:pt x="428" y="66"/>
                  </a:cubicBezTo>
                  <a:close/>
                </a:path>
              </a:pathLst>
            </a:custGeom>
            <a:grpFill/>
            <a:ln w="0">
              <a:noFill/>
              <a:round/>
              <a:headEnd/>
              <a:tailEnd/>
            </a:ln>
          </p:spPr>
          <p:txBody>
            <a:bodyPr/>
            <a:lstStyle/>
            <a:p>
              <a:endParaRPr lang="zh-CN" altLang="en-US"/>
            </a:p>
          </p:txBody>
        </p:sp>
        <p:sp>
          <p:nvSpPr>
            <p:cNvPr id="200" name="Freeform 455"/>
            <p:cNvSpPr>
              <a:spLocks/>
            </p:cNvSpPr>
            <p:nvPr/>
          </p:nvSpPr>
          <p:spPr bwMode="auto">
            <a:xfrm>
              <a:off x="2228850" y="4283075"/>
              <a:ext cx="123825" cy="28575"/>
            </a:xfrm>
            <a:custGeom>
              <a:avLst/>
              <a:gdLst>
                <a:gd name="T0" fmla="*/ 2147483646 w 295"/>
                <a:gd name="T1" fmla="*/ 2147483646 h 67"/>
                <a:gd name="T2" fmla="*/ 2147483646 w 295"/>
                <a:gd name="T3" fmla="*/ 2147483646 h 67"/>
                <a:gd name="T4" fmla="*/ 2147483646 w 295"/>
                <a:gd name="T5" fmla="*/ 2147483646 h 67"/>
                <a:gd name="T6" fmla="*/ 0 w 295"/>
                <a:gd name="T7" fmla="*/ 2147483646 h 67"/>
                <a:gd name="T8" fmla="*/ 2147483646 w 295"/>
                <a:gd name="T9" fmla="*/ 0 h 67"/>
                <a:gd name="T10" fmla="*/ 2147483646 w 295"/>
                <a:gd name="T11" fmla="*/ 0 h 67"/>
                <a:gd name="T12" fmla="*/ 2147483646 w 295"/>
                <a:gd name="T13" fmla="*/ 2147483646 h 67"/>
                <a:gd name="T14" fmla="*/ 2147483646 w 295"/>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295"/>
                <a:gd name="T25" fmla="*/ 0 h 67"/>
                <a:gd name="T26" fmla="*/ 295 w 295"/>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5" h="67">
                  <a:moveTo>
                    <a:pt x="262" y="67"/>
                  </a:moveTo>
                  <a:lnTo>
                    <a:pt x="262" y="67"/>
                  </a:lnTo>
                  <a:lnTo>
                    <a:pt x="33" y="67"/>
                  </a:lnTo>
                  <a:cubicBezTo>
                    <a:pt x="15" y="67"/>
                    <a:pt x="0" y="52"/>
                    <a:pt x="0" y="34"/>
                  </a:cubicBezTo>
                  <a:cubicBezTo>
                    <a:pt x="0" y="15"/>
                    <a:pt x="15" y="0"/>
                    <a:pt x="33" y="0"/>
                  </a:cubicBezTo>
                  <a:lnTo>
                    <a:pt x="262" y="0"/>
                  </a:lnTo>
                  <a:cubicBezTo>
                    <a:pt x="280" y="0"/>
                    <a:pt x="295" y="15"/>
                    <a:pt x="295" y="34"/>
                  </a:cubicBezTo>
                  <a:cubicBezTo>
                    <a:pt x="295" y="52"/>
                    <a:pt x="280" y="67"/>
                    <a:pt x="262" y="67"/>
                  </a:cubicBezTo>
                  <a:close/>
                </a:path>
              </a:pathLst>
            </a:custGeom>
            <a:grpFill/>
            <a:ln w="0">
              <a:noFill/>
              <a:round/>
              <a:headEnd/>
              <a:tailEnd/>
            </a:ln>
          </p:spPr>
          <p:txBody>
            <a:bodyPr/>
            <a:lstStyle/>
            <a:p>
              <a:endParaRPr lang="zh-CN" altLang="en-US"/>
            </a:p>
          </p:txBody>
        </p:sp>
        <p:sp>
          <p:nvSpPr>
            <p:cNvPr id="201" name="Freeform 456"/>
            <p:cNvSpPr>
              <a:spLocks/>
            </p:cNvSpPr>
            <p:nvPr/>
          </p:nvSpPr>
          <p:spPr bwMode="auto">
            <a:xfrm>
              <a:off x="2014538" y="4283075"/>
              <a:ext cx="136525" cy="28575"/>
            </a:xfrm>
            <a:custGeom>
              <a:avLst/>
              <a:gdLst>
                <a:gd name="T0" fmla="*/ 2147483646 w 325"/>
                <a:gd name="T1" fmla="*/ 2147483646 h 67"/>
                <a:gd name="T2" fmla="*/ 2147483646 w 325"/>
                <a:gd name="T3" fmla="*/ 2147483646 h 67"/>
                <a:gd name="T4" fmla="*/ 2147483646 w 325"/>
                <a:gd name="T5" fmla="*/ 2147483646 h 67"/>
                <a:gd name="T6" fmla="*/ 0 w 325"/>
                <a:gd name="T7" fmla="*/ 2147483646 h 67"/>
                <a:gd name="T8" fmla="*/ 2147483646 w 325"/>
                <a:gd name="T9" fmla="*/ 0 h 67"/>
                <a:gd name="T10" fmla="*/ 2147483646 w 325"/>
                <a:gd name="T11" fmla="*/ 0 h 67"/>
                <a:gd name="T12" fmla="*/ 2147483646 w 325"/>
                <a:gd name="T13" fmla="*/ 2147483646 h 67"/>
                <a:gd name="T14" fmla="*/ 2147483646 w 325"/>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325"/>
                <a:gd name="T25" fmla="*/ 0 h 67"/>
                <a:gd name="T26" fmla="*/ 325 w 325"/>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5" h="67">
                  <a:moveTo>
                    <a:pt x="291" y="67"/>
                  </a:moveTo>
                  <a:lnTo>
                    <a:pt x="291" y="67"/>
                  </a:lnTo>
                  <a:lnTo>
                    <a:pt x="33" y="67"/>
                  </a:lnTo>
                  <a:cubicBezTo>
                    <a:pt x="15" y="67"/>
                    <a:pt x="0" y="52"/>
                    <a:pt x="0" y="34"/>
                  </a:cubicBezTo>
                  <a:cubicBezTo>
                    <a:pt x="0" y="15"/>
                    <a:pt x="15" y="0"/>
                    <a:pt x="33" y="0"/>
                  </a:cubicBezTo>
                  <a:lnTo>
                    <a:pt x="291" y="0"/>
                  </a:lnTo>
                  <a:cubicBezTo>
                    <a:pt x="310" y="0"/>
                    <a:pt x="325" y="15"/>
                    <a:pt x="325" y="34"/>
                  </a:cubicBezTo>
                  <a:cubicBezTo>
                    <a:pt x="325" y="52"/>
                    <a:pt x="310" y="67"/>
                    <a:pt x="291" y="67"/>
                  </a:cubicBezTo>
                  <a:close/>
                </a:path>
              </a:pathLst>
            </a:custGeom>
            <a:grpFill/>
            <a:ln w="0">
              <a:noFill/>
              <a:round/>
              <a:headEnd/>
              <a:tailEnd/>
            </a:ln>
          </p:spPr>
          <p:txBody>
            <a:bodyPr/>
            <a:lstStyle/>
            <a:p>
              <a:endParaRPr lang="zh-CN" altLang="en-US"/>
            </a:p>
          </p:txBody>
        </p:sp>
        <p:sp>
          <p:nvSpPr>
            <p:cNvPr id="202" name="Freeform 457"/>
            <p:cNvSpPr>
              <a:spLocks/>
            </p:cNvSpPr>
            <p:nvPr/>
          </p:nvSpPr>
          <p:spPr bwMode="auto">
            <a:xfrm>
              <a:off x="2117725" y="4268788"/>
              <a:ext cx="58738" cy="57150"/>
            </a:xfrm>
            <a:custGeom>
              <a:avLst/>
              <a:gdLst>
                <a:gd name="T0" fmla="*/ 2147483646 w 139"/>
                <a:gd name="T1" fmla="*/ 2147483646 h 138"/>
                <a:gd name="T2" fmla="*/ 2147483646 w 139"/>
                <a:gd name="T3" fmla="*/ 2147483646 h 138"/>
                <a:gd name="T4" fmla="*/ 0 w 139"/>
                <a:gd name="T5" fmla="*/ 2147483646 h 138"/>
                <a:gd name="T6" fmla="*/ 2147483646 w 139"/>
                <a:gd name="T7" fmla="*/ 0 h 138"/>
                <a:gd name="T8" fmla="*/ 2147483646 w 139"/>
                <a:gd name="T9" fmla="*/ 2147483646 h 138"/>
                <a:gd name="T10" fmla="*/ 2147483646 w 139"/>
                <a:gd name="T11" fmla="*/ 2147483646 h 138"/>
                <a:gd name="T12" fmla="*/ 0 60000 65536"/>
                <a:gd name="T13" fmla="*/ 0 60000 65536"/>
                <a:gd name="T14" fmla="*/ 0 60000 65536"/>
                <a:gd name="T15" fmla="*/ 0 60000 65536"/>
                <a:gd name="T16" fmla="*/ 0 60000 65536"/>
                <a:gd name="T17" fmla="*/ 0 60000 65536"/>
                <a:gd name="T18" fmla="*/ 0 w 139"/>
                <a:gd name="T19" fmla="*/ 0 h 138"/>
                <a:gd name="T20" fmla="*/ 139 w 139"/>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9" h="138">
                  <a:moveTo>
                    <a:pt x="70" y="138"/>
                  </a:moveTo>
                  <a:lnTo>
                    <a:pt x="70" y="138"/>
                  </a:lnTo>
                  <a:cubicBezTo>
                    <a:pt x="31" y="138"/>
                    <a:pt x="0" y="107"/>
                    <a:pt x="0" y="69"/>
                  </a:cubicBezTo>
                  <a:cubicBezTo>
                    <a:pt x="0" y="31"/>
                    <a:pt x="31" y="0"/>
                    <a:pt x="70" y="0"/>
                  </a:cubicBezTo>
                  <a:cubicBezTo>
                    <a:pt x="108" y="0"/>
                    <a:pt x="139" y="31"/>
                    <a:pt x="139" y="69"/>
                  </a:cubicBezTo>
                  <a:cubicBezTo>
                    <a:pt x="139" y="107"/>
                    <a:pt x="108" y="138"/>
                    <a:pt x="70" y="138"/>
                  </a:cubicBezTo>
                  <a:close/>
                </a:path>
              </a:pathLst>
            </a:custGeom>
            <a:grpFill/>
            <a:ln w="0">
              <a:noFill/>
              <a:round/>
              <a:headEnd/>
              <a:tailEnd/>
            </a:ln>
          </p:spPr>
          <p:txBody>
            <a:bodyPr/>
            <a:lstStyle/>
            <a:p>
              <a:endParaRPr lang="zh-CN" altLang="en-US"/>
            </a:p>
          </p:txBody>
        </p:sp>
        <p:sp>
          <p:nvSpPr>
            <p:cNvPr id="203" name="Freeform 458"/>
            <p:cNvSpPr>
              <a:spLocks/>
            </p:cNvSpPr>
            <p:nvPr/>
          </p:nvSpPr>
          <p:spPr bwMode="auto">
            <a:xfrm>
              <a:off x="2208213" y="4267200"/>
              <a:ext cx="58738" cy="58738"/>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noFill/>
              <a:round/>
              <a:headEnd/>
              <a:tailEnd/>
            </a:ln>
          </p:spPr>
          <p:txBody>
            <a:bodyPr/>
            <a:lstStyle/>
            <a:p>
              <a:endParaRPr lang="zh-CN" altLang="en-US"/>
            </a:p>
          </p:txBody>
        </p:sp>
      </p:grpSp>
      <p:cxnSp>
        <p:nvCxnSpPr>
          <p:cNvPr id="22" name="直接连接符 21"/>
          <p:cNvCxnSpPr/>
          <p:nvPr/>
        </p:nvCxnSpPr>
        <p:spPr>
          <a:xfrm>
            <a:off x="3595671" y="1866826"/>
            <a:ext cx="396000" cy="0"/>
          </a:xfrm>
          <a:prstGeom prst="line">
            <a:avLst/>
          </a:prstGeom>
          <a:ln>
            <a:solidFill>
              <a:srgbClr val="FFC00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 name="组合 189"/>
          <p:cNvGrpSpPr>
            <a:grpSpLocks/>
          </p:cNvGrpSpPr>
          <p:nvPr/>
        </p:nvGrpSpPr>
        <p:grpSpPr bwMode="auto">
          <a:xfrm>
            <a:off x="4585419" y="3132529"/>
            <a:ext cx="767654" cy="604508"/>
            <a:chOff x="3222625" y="803275"/>
            <a:chExt cx="746125" cy="588963"/>
          </a:xfrm>
          <a:solidFill>
            <a:schemeClr val="bg1"/>
          </a:solidFill>
        </p:grpSpPr>
        <p:sp>
          <p:nvSpPr>
            <p:cNvPr id="176" name="Freeform 80"/>
            <p:cNvSpPr>
              <a:spLocks/>
            </p:cNvSpPr>
            <p:nvPr/>
          </p:nvSpPr>
          <p:spPr bwMode="auto">
            <a:xfrm>
              <a:off x="3819525" y="1250950"/>
              <a:ext cx="42863" cy="44450"/>
            </a:xfrm>
            <a:custGeom>
              <a:avLst/>
              <a:gdLst>
                <a:gd name="T0" fmla="*/ 2147483646 w 103"/>
                <a:gd name="T1" fmla="*/ 2147483646 h 104"/>
                <a:gd name="T2" fmla="*/ 2147483646 w 103"/>
                <a:gd name="T3" fmla="*/ 2147483646 h 104"/>
                <a:gd name="T4" fmla="*/ 2147483646 w 103"/>
                <a:gd name="T5" fmla="*/ 2147483646 h 104"/>
                <a:gd name="T6" fmla="*/ 2147483646 w 103"/>
                <a:gd name="T7" fmla="*/ 0 h 104"/>
                <a:gd name="T8" fmla="*/ 0 w 103"/>
                <a:gd name="T9" fmla="*/ 2147483646 h 104"/>
                <a:gd name="T10" fmla="*/ 2147483646 w 103"/>
                <a:gd name="T11" fmla="*/ 2147483646 h 104"/>
                <a:gd name="T12" fmla="*/ 0 60000 65536"/>
                <a:gd name="T13" fmla="*/ 0 60000 65536"/>
                <a:gd name="T14" fmla="*/ 0 60000 65536"/>
                <a:gd name="T15" fmla="*/ 0 60000 65536"/>
                <a:gd name="T16" fmla="*/ 0 60000 65536"/>
                <a:gd name="T17" fmla="*/ 0 60000 65536"/>
                <a:gd name="T18" fmla="*/ 0 w 103"/>
                <a:gd name="T19" fmla="*/ 0 h 104"/>
                <a:gd name="T20" fmla="*/ 103 w 103"/>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3" h="104">
                  <a:moveTo>
                    <a:pt x="52" y="104"/>
                  </a:moveTo>
                  <a:lnTo>
                    <a:pt x="52" y="104"/>
                  </a:lnTo>
                  <a:cubicBezTo>
                    <a:pt x="80" y="104"/>
                    <a:pt x="103" y="80"/>
                    <a:pt x="103" y="52"/>
                  </a:cubicBezTo>
                  <a:cubicBezTo>
                    <a:pt x="103" y="23"/>
                    <a:pt x="80" y="0"/>
                    <a:pt x="52" y="0"/>
                  </a:cubicBezTo>
                  <a:cubicBezTo>
                    <a:pt x="23" y="0"/>
                    <a:pt x="0" y="23"/>
                    <a:pt x="0" y="52"/>
                  </a:cubicBezTo>
                  <a:cubicBezTo>
                    <a:pt x="0" y="80"/>
                    <a:pt x="23" y="104"/>
                    <a:pt x="52" y="104"/>
                  </a:cubicBezTo>
                  <a:close/>
                </a:path>
              </a:pathLst>
            </a:custGeom>
            <a:grpFill/>
            <a:ln w="0">
              <a:noFill/>
              <a:round/>
              <a:headEnd/>
              <a:tailEnd/>
            </a:ln>
          </p:spPr>
          <p:txBody>
            <a:bodyPr/>
            <a:lstStyle/>
            <a:p>
              <a:endParaRPr lang="zh-CN" altLang="en-US"/>
            </a:p>
          </p:txBody>
        </p:sp>
        <p:sp>
          <p:nvSpPr>
            <p:cNvPr id="177" name="Freeform 81"/>
            <p:cNvSpPr>
              <a:spLocks/>
            </p:cNvSpPr>
            <p:nvPr/>
          </p:nvSpPr>
          <p:spPr bwMode="auto">
            <a:xfrm>
              <a:off x="3328988" y="1250950"/>
              <a:ext cx="44450" cy="42863"/>
            </a:xfrm>
            <a:custGeom>
              <a:avLst/>
              <a:gdLst>
                <a:gd name="T0" fmla="*/ 2147483646 w 104"/>
                <a:gd name="T1" fmla="*/ 0 h 103"/>
                <a:gd name="T2" fmla="*/ 2147483646 w 104"/>
                <a:gd name="T3" fmla="*/ 0 h 103"/>
                <a:gd name="T4" fmla="*/ 0 w 104"/>
                <a:gd name="T5" fmla="*/ 0 h 103"/>
                <a:gd name="T6" fmla="*/ 0 w 104"/>
                <a:gd name="T7" fmla="*/ 2147483646 h 103"/>
                <a:gd name="T8" fmla="*/ 2147483646 w 104"/>
                <a:gd name="T9" fmla="*/ 2147483646 h 103"/>
                <a:gd name="T10" fmla="*/ 2147483646 w 104"/>
                <a:gd name="T11" fmla="*/ 0 h 103"/>
                <a:gd name="T12" fmla="*/ 0 60000 65536"/>
                <a:gd name="T13" fmla="*/ 0 60000 65536"/>
                <a:gd name="T14" fmla="*/ 0 60000 65536"/>
                <a:gd name="T15" fmla="*/ 0 60000 65536"/>
                <a:gd name="T16" fmla="*/ 0 60000 65536"/>
                <a:gd name="T17" fmla="*/ 0 60000 65536"/>
                <a:gd name="T18" fmla="*/ 0 w 104"/>
                <a:gd name="T19" fmla="*/ 0 h 103"/>
                <a:gd name="T20" fmla="*/ 104 w 104"/>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4" h="103">
                  <a:moveTo>
                    <a:pt x="104" y="0"/>
                  </a:moveTo>
                  <a:lnTo>
                    <a:pt x="104" y="0"/>
                  </a:lnTo>
                  <a:lnTo>
                    <a:pt x="0" y="0"/>
                  </a:lnTo>
                  <a:lnTo>
                    <a:pt x="0" y="103"/>
                  </a:lnTo>
                  <a:lnTo>
                    <a:pt x="104" y="103"/>
                  </a:lnTo>
                  <a:lnTo>
                    <a:pt x="104" y="0"/>
                  </a:lnTo>
                  <a:close/>
                </a:path>
              </a:pathLst>
            </a:custGeom>
            <a:grpFill/>
            <a:ln w="0">
              <a:noFill/>
              <a:round/>
              <a:headEnd/>
              <a:tailEnd/>
            </a:ln>
          </p:spPr>
          <p:txBody>
            <a:bodyPr/>
            <a:lstStyle/>
            <a:p>
              <a:endParaRPr lang="zh-CN" altLang="en-US"/>
            </a:p>
          </p:txBody>
        </p:sp>
        <p:sp>
          <p:nvSpPr>
            <p:cNvPr id="178" name="Freeform 82"/>
            <p:cNvSpPr>
              <a:spLocks/>
            </p:cNvSpPr>
            <p:nvPr/>
          </p:nvSpPr>
          <p:spPr bwMode="auto">
            <a:xfrm>
              <a:off x="3413125" y="1250950"/>
              <a:ext cx="42863" cy="42863"/>
            </a:xfrm>
            <a:custGeom>
              <a:avLst/>
              <a:gdLst>
                <a:gd name="T0" fmla="*/ 2147483646 w 103"/>
                <a:gd name="T1" fmla="*/ 0 h 103"/>
                <a:gd name="T2" fmla="*/ 2147483646 w 103"/>
                <a:gd name="T3" fmla="*/ 0 h 103"/>
                <a:gd name="T4" fmla="*/ 0 w 103"/>
                <a:gd name="T5" fmla="*/ 0 h 103"/>
                <a:gd name="T6" fmla="*/ 0 w 103"/>
                <a:gd name="T7" fmla="*/ 2147483646 h 103"/>
                <a:gd name="T8" fmla="*/ 2147483646 w 103"/>
                <a:gd name="T9" fmla="*/ 2147483646 h 103"/>
                <a:gd name="T10" fmla="*/ 2147483646 w 103"/>
                <a:gd name="T11" fmla="*/ 0 h 103"/>
                <a:gd name="T12" fmla="*/ 0 60000 65536"/>
                <a:gd name="T13" fmla="*/ 0 60000 65536"/>
                <a:gd name="T14" fmla="*/ 0 60000 65536"/>
                <a:gd name="T15" fmla="*/ 0 60000 65536"/>
                <a:gd name="T16" fmla="*/ 0 60000 65536"/>
                <a:gd name="T17" fmla="*/ 0 60000 65536"/>
                <a:gd name="T18" fmla="*/ 0 w 103"/>
                <a:gd name="T19" fmla="*/ 0 h 103"/>
                <a:gd name="T20" fmla="*/ 103 w 103"/>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3" h="103">
                  <a:moveTo>
                    <a:pt x="103" y="0"/>
                  </a:moveTo>
                  <a:lnTo>
                    <a:pt x="103" y="0"/>
                  </a:lnTo>
                  <a:lnTo>
                    <a:pt x="0" y="0"/>
                  </a:lnTo>
                  <a:lnTo>
                    <a:pt x="0" y="103"/>
                  </a:lnTo>
                  <a:lnTo>
                    <a:pt x="103" y="103"/>
                  </a:lnTo>
                  <a:lnTo>
                    <a:pt x="103" y="0"/>
                  </a:lnTo>
                  <a:close/>
                </a:path>
              </a:pathLst>
            </a:custGeom>
            <a:grpFill/>
            <a:ln w="0">
              <a:noFill/>
              <a:round/>
              <a:headEnd/>
              <a:tailEnd/>
            </a:ln>
          </p:spPr>
          <p:txBody>
            <a:bodyPr/>
            <a:lstStyle/>
            <a:p>
              <a:endParaRPr lang="zh-CN" altLang="en-US"/>
            </a:p>
          </p:txBody>
        </p:sp>
        <p:sp>
          <p:nvSpPr>
            <p:cNvPr id="179" name="Freeform 83"/>
            <p:cNvSpPr>
              <a:spLocks/>
            </p:cNvSpPr>
            <p:nvPr/>
          </p:nvSpPr>
          <p:spPr bwMode="auto">
            <a:xfrm>
              <a:off x="3495675" y="1250950"/>
              <a:ext cx="44450" cy="42863"/>
            </a:xfrm>
            <a:custGeom>
              <a:avLst/>
              <a:gdLst>
                <a:gd name="T0" fmla="*/ 2147483646 w 104"/>
                <a:gd name="T1" fmla="*/ 0 h 103"/>
                <a:gd name="T2" fmla="*/ 2147483646 w 104"/>
                <a:gd name="T3" fmla="*/ 0 h 103"/>
                <a:gd name="T4" fmla="*/ 0 w 104"/>
                <a:gd name="T5" fmla="*/ 0 h 103"/>
                <a:gd name="T6" fmla="*/ 0 w 104"/>
                <a:gd name="T7" fmla="*/ 2147483646 h 103"/>
                <a:gd name="T8" fmla="*/ 2147483646 w 104"/>
                <a:gd name="T9" fmla="*/ 2147483646 h 103"/>
                <a:gd name="T10" fmla="*/ 2147483646 w 104"/>
                <a:gd name="T11" fmla="*/ 0 h 103"/>
                <a:gd name="T12" fmla="*/ 0 60000 65536"/>
                <a:gd name="T13" fmla="*/ 0 60000 65536"/>
                <a:gd name="T14" fmla="*/ 0 60000 65536"/>
                <a:gd name="T15" fmla="*/ 0 60000 65536"/>
                <a:gd name="T16" fmla="*/ 0 60000 65536"/>
                <a:gd name="T17" fmla="*/ 0 60000 65536"/>
                <a:gd name="T18" fmla="*/ 0 w 104"/>
                <a:gd name="T19" fmla="*/ 0 h 103"/>
                <a:gd name="T20" fmla="*/ 104 w 104"/>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4" h="103">
                  <a:moveTo>
                    <a:pt x="104" y="0"/>
                  </a:moveTo>
                  <a:lnTo>
                    <a:pt x="104" y="0"/>
                  </a:lnTo>
                  <a:lnTo>
                    <a:pt x="0" y="0"/>
                  </a:lnTo>
                  <a:lnTo>
                    <a:pt x="0" y="103"/>
                  </a:lnTo>
                  <a:lnTo>
                    <a:pt x="104" y="103"/>
                  </a:lnTo>
                  <a:lnTo>
                    <a:pt x="104" y="0"/>
                  </a:lnTo>
                  <a:close/>
                </a:path>
              </a:pathLst>
            </a:custGeom>
            <a:grpFill/>
            <a:ln w="0">
              <a:noFill/>
              <a:round/>
              <a:headEnd/>
              <a:tailEnd/>
            </a:ln>
          </p:spPr>
          <p:txBody>
            <a:bodyPr/>
            <a:lstStyle/>
            <a:p>
              <a:endParaRPr lang="zh-CN" altLang="en-US"/>
            </a:p>
          </p:txBody>
        </p:sp>
        <p:sp>
          <p:nvSpPr>
            <p:cNvPr id="180" name="Freeform 84"/>
            <p:cNvSpPr>
              <a:spLocks/>
            </p:cNvSpPr>
            <p:nvPr/>
          </p:nvSpPr>
          <p:spPr bwMode="auto">
            <a:xfrm>
              <a:off x="3819525" y="1069975"/>
              <a:ext cx="42863" cy="42863"/>
            </a:xfrm>
            <a:custGeom>
              <a:avLst/>
              <a:gdLst>
                <a:gd name="T0" fmla="*/ 2147483646 w 103"/>
                <a:gd name="T1" fmla="*/ 0 h 103"/>
                <a:gd name="T2" fmla="*/ 2147483646 w 103"/>
                <a:gd name="T3" fmla="*/ 0 h 103"/>
                <a:gd name="T4" fmla="*/ 0 w 103"/>
                <a:gd name="T5" fmla="*/ 2147483646 h 103"/>
                <a:gd name="T6" fmla="*/ 2147483646 w 103"/>
                <a:gd name="T7" fmla="*/ 2147483646 h 103"/>
                <a:gd name="T8" fmla="*/ 2147483646 w 103"/>
                <a:gd name="T9" fmla="*/ 2147483646 h 103"/>
                <a:gd name="T10" fmla="*/ 2147483646 w 103"/>
                <a:gd name="T11" fmla="*/ 0 h 103"/>
                <a:gd name="T12" fmla="*/ 0 60000 65536"/>
                <a:gd name="T13" fmla="*/ 0 60000 65536"/>
                <a:gd name="T14" fmla="*/ 0 60000 65536"/>
                <a:gd name="T15" fmla="*/ 0 60000 65536"/>
                <a:gd name="T16" fmla="*/ 0 60000 65536"/>
                <a:gd name="T17" fmla="*/ 0 60000 65536"/>
                <a:gd name="T18" fmla="*/ 0 w 103"/>
                <a:gd name="T19" fmla="*/ 0 h 103"/>
                <a:gd name="T20" fmla="*/ 103 w 103"/>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3" h="103">
                  <a:moveTo>
                    <a:pt x="52" y="0"/>
                  </a:moveTo>
                  <a:lnTo>
                    <a:pt x="52" y="0"/>
                  </a:lnTo>
                  <a:cubicBezTo>
                    <a:pt x="23" y="0"/>
                    <a:pt x="0" y="23"/>
                    <a:pt x="0" y="52"/>
                  </a:cubicBezTo>
                  <a:cubicBezTo>
                    <a:pt x="0" y="80"/>
                    <a:pt x="23" y="103"/>
                    <a:pt x="52" y="103"/>
                  </a:cubicBezTo>
                  <a:cubicBezTo>
                    <a:pt x="80" y="103"/>
                    <a:pt x="103" y="80"/>
                    <a:pt x="103" y="52"/>
                  </a:cubicBezTo>
                  <a:cubicBezTo>
                    <a:pt x="103" y="23"/>
                    <a:pt x="80" y="0"/>
                    <a:pt x="52" y="0"/>
                  </a:cubicBezTo>
                  <a:close/>
                </a:path>
              </a:pathLst>
            </a:custGeom>
            <a:grpFill/>
            <a:ln w="0">
              <a:noFill/>
              <a:round/>
              <a:headEnd/>
              <a:tailEnd/>
            </a:ln>
          </p:spPr>
          <p:txBody>
            <a:bodyPr/>
            <a:lstStyle/>
            <a:p>
              <a:endParaRPr lang="zh-CN" altLang="en-US"/>
            </a:p>
          </p:txBody>
        </p:sp>
        <p:sp>
          <p:nvSpPr>
            <p:cNvPr id="181" name="Freeform 85"/>
            <p:cNvSpPr>
              <a:spLocks/>
            </p:cNvSpPr>
            <p:nvPr/>
          </p:nvSpPr>
          <p:spPr bwMode="auto">
            <a:xfrm>
              <a:off x="3328988" y="1068388"/>
              <a:ext cx="44450" cy="42863"/>
            </a:xfrm>
            <a:custGeom>
              <a:avLst/>
              <a:gdLst>
                <a:gd name="T0" fmla="*/ 0 w 104"/>
                <a:gd name="T1" fmla="*/ 2147483646 h 103"/>
                <a:gd name="T2" fmla="*/ 0 w 104"/>
                <a:gd name="T3" fmla="*/ 2147483646 h 103"/>
                <a:gd name="T4" fmla="*/ 2147483646 w 104"/>
                <a:gd name="T5" fmla="*/ 2147483646 h 103"/>
                <a:gd name="T6" fmla="*/ 2147483646 w 104"/>
                <a:gd name="T7" fmla="*/ 0 h 103"/>
                <a:gd name="T8" fmla="*/ 0 w 104"/>
                <a:gd name="T9" fmla="*/ 0 h 103"/>
                <a:gd name="T10" fmla="*/ 0 w 104"/>
                <a:gd name="T11" fmla="*/ 2147483646 h 103"/>
                <a:gd name="T12" fmla="*/ 0 60000 65536"/>
                <a:gd name="T13" fmla="*/ 0 60000 65536"/>
                <a:gd name="T14" fmla="*/ 0 60000 65536"/>
                <a:gd name="T15" fmla="*/ 0 60000 65536"/>
                <a:gd name="T16" fmla="*/ 0 60000 65536"/>
                <a:gd name="T17" fmla="*/ 0 60000 65536"/>
                <a:gd name="T18" fmla="*/ 0 w 104"/>
                <a:gd name="T19" fmla="*/ 0 h 103"/>
                <a:gd name="T20" fmla="*/ 104 w 104"/>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4" h="103">
                  <a:moveTo>
                    <a:pt x="0" y="103"/>
                  </a:moveTo>
                  <a:lnTo>
                    <a:pt x="0" y="103"/>
                  </a:lnTo>
                  <a:lnTo>
                    <a:pt x="104" y="103"/>
                  </a:lnTo>
                  <a:lnTo>
                    <a:pt x="104" y="0"/>
                  </a:lnTo>
                  <a:lnTo>
                    <a:pt x="0" y="0"/>
                  </a:lnTo>
                  <a:lnTo>
                    <a:pt x="0" y="103"/>
                  </a:lnTo>
                  <a:close/>
                </a:path>
              </a:pathLst>
            </a:custGeom>
            <a:grpFill/>
            <a:ln w="0">
              <a:noFill/>
              <a:round/>
              <a:headEnd/>
              <a:tailEnd/>
            </a:ln>
          </p:spPr>
          <p:txBody>
            <a:bodyPr/>
            <a:lstStyle/>
            <a:p>
              <a:endParaRPr lang="zh-CN" altLang="en-US"/>
            </a:p>
          </p:txBody>
        </p:sp>
        <p:sp>
          <p:nvSpPr>
            <p:cNvPr id="183" name="Freeform 86"/>
            <p:cNvSpPr>
              <a:spLocks/>
            </p:cNvSpPr>
            <p:nvPr/>
          </p:nvSpPr>
          <p:spPr bwMode="auto">
            <a:xfrm>
              <a:off x="3413125" y="1068388"/>
              <a:ext cx="42863" cy="42863"/>
            </a:xfrm>
            <a:custGeom>
              <a:avLst/>
              <a:gdLst>
                <a:gd name="T0" fmla="*/ 0 w 103"/>
                <a:gd name="T1" fmla="*/ 2147483646 h 103"/>
                <a:gd name="T2" fmla="*/ 0 w 103"/>
                <a:gd name="T3" fmla="*/ 2147483646 h 103"/>
                <a:gd name="T4" fmla="*/ 2147483646 w 103"/>
                <a:gd name="T5" fmla="*/ 2147483646 h 103"/>
                <a:gd name="T6" fmla="*/ 2147483646 w 103"/>
                <a:gd name="T7" fmla="*/ 0 h 103"/>
                <a:gd name="T8" fmla="*/ 0 w 103"/>
                <a:gd name="T9" fmla="*/ 0 h 103"/>
                <a:gd name="T10" fmla="*/ 0 w 103"/>
                <a:gd name="T11" fmla="*/ 2147483646 h 103"/>
                <a:gd name="T12" fmla="*/ 0 60000 65536"/>
                <a:gd name="T13" fmla="*/ 0 60000 65536"/>
                <a:gd name="T14" fmla="*/ 0 60000 65536"/>
                <a:gd name="T15" fmla="*/ 0 60000 65536"/>
                <a:gd name="T16" fmla="*/ 0 60000 65536"/>
                <a:gd name="T17" fmla="*/ 0 60000 65536"/>
                <a:gd name="T18" fmla="*/ 0 w 103"/>
                <a:gd name="T19" fmla="*/ 0 h 103"/>
                <a:gd name="T20" fmla="*/ 103 w 103"/>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3" h="103">
                  <a:moveTo>
                    <a:pt x="0" y="103"/>
                  </a:moveTo>
                  <a:lnTo>
                    <a:pt x="0" y="103"/>
                  </a:lnTo>
                  <a:lnTo>
                    <a:pt x="103" y="103"/>
                  </a:lnTo>
                  <a:lnTo>
                    <a:pt x="103" y="0"/>
                  </a:lnTo>
                  <a:lnTo>
                    <a:pt x="0" y="0"/>
                  </a:lnTo>
                  <a:lnTo>
                    <a:pt x="0" y="103"/>
                  </a:lnTo>
                  <a:close/>
                </a:path>
              </a:pathLst>
            </a:custGeom>
            <a:grpFill/>
            <a:ln w="0">
              <a:noFill/>
              <a:round/>
              <a:headEnd/>
              <a:tailEnd/>
            </a:ln>
          </p:spPr>
          <p:txBody>
            <a:bodyPr/>
            <a:lstStyle/>
            <a:p>
              <a:endParaRPr lang="zh-CN" altLang="en-US"/>
            </a:p>
          </p:txBody>
        </p:sp>
        <p:sp>
          <p:nvSpPr>
            <p:cNvPr id="184" name="Freeform 87"/>
            <p:cNvSpPr>
              <a:spLocks/>
            </p:cNvSpPr>
            <p:nvPr/>
          </p:nvSpPr>
          <p:spPr bwMode="auto">
            <a:xfrm>
              <a:off x="3495675" y="1068388"/>
              <a:ext cx="44450" cy="42863"/>
            </a:xfrm>
            <a:custGeom>
              <a:avLst/>
              <a:gdLst>
                <a:gd name="T0" fmla="*/ 0 w 104"/>
                <a:gd name="T1" fmla="*/ 2147483646 h 103"/>
                <a:gd name="T2" fmla="*/ 0 w 104"/>
                <a:gd name="T3" fmla="*/ 2147483646 h 103"/>
                <a:gd name="T4" fmla="*/ 2147483646 w 104"/>
                <a:gd name="T5" fmla="*/ 2147483646 h 103"/>
                <a:gd name="T6" fmla="*/ 2147483646 w 104"/>
                <a:gd name="T7" fmla="*/ 0 h 103"/>
                <a:gd name="T8" fmla="*/ 0 w 104"/>
                <a:gd name="T9" fmla="*/ 0 h 103"/>
                <a:gd name="T10" fmla="*/ 0 w 104"/>
                <a:gd name="T11" fmla="*/ 2147483646 h 103"/>
                <a:gd name="T12" fmla="*/ 0 60000 65536"/>
                <a:gd name="T13" fmla="*/ 0 60000 65536"/>
                <a:gd name="T14" fmla="*/ 0 60000 65536"/>
                <a:gd name="T15" fmla="*/ 0 60000 65536"/>
                <a:gd name="T16" fmla="*/ 0 60000 65536"/>
                <a:gd name="T17" fmla="*/ 0 60000 65536"/>
                <a:gd name="T18" fmla="*/ 0 w 104"/>
                <a:gd name="T19" fmla="*/ 0 h 103"/>
                <a:gd name="T20" fmla="*/ 104 w 104"/>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4" h="103">
                  <a:moveTo>
                    <a:pt x="0" y="103"/>
                  </a:moveTo>
                  <a:lnTo>
                    <a:pt x="0" y="103"/>
                  </a:lnTo>
                  <a:lnTo>
                    <a:pt x="104" y="103"/>
                  </a:lnTo>
                  <a:lnTo>
                    <a:pt x="104" y="0"/>
                  </a:lnTo>
                  <a:lnTo>
                    <a:pt x="0" y="0"/>
                  </a:lnTo>
                  <a:lnTo>
                    <a:pt x="0" y="103"/>
                  </a:lnTo>
                  <a:close/>
                </a:path>
              </a:pathLst>
            </a:custGeom>
            <a:grpFill/>
            <a:ln w="0">
              <a:noFill/>
              <a:round/>
              <a:headEnd/>
              <a:tailEnd/>
            </a:ln>
          </p:spPr>
          <p:txBody>
            <a:bodyPr/>
            <a:lstStyle/>
            <a:p>
              <a:endParaRPr lang="zh-CN" altLang="en-US"/>
            </a:p>
          </p:txBody>
        </p:sp>
        <p:sp>
          <p:nvSpPr>
            <p:cNvPr id="185" name="Freeform 88"/>
            <p:cNvSpPr>
              <a:spLocks noEditPoints="1"/>
            </p:cNvSpPr>
            <p:nvPr/>
          </p:nvSpPr>
          <p:spPr bwMode="auto">
            <a:xfrm>
              <a:off x="3222625" y="803275"/>
              <a:ext cx="746125" cy="588963"/>
            </a:xfrm>
            <a:custGeom>
              <a:avLst/>
              <a:gdLst>
                <a:gd name="T0" fmla="*/ 2147483646 w 1779"/>
                <a:gd name="T1" fmla="*/ 2147483646 h 1403"/>
                <a:gd name="T2" fmla="*/ 2147483646 w 1779"/>
                <a:gd name="T3" fmla="*/ 2147483646 h 1403"/>
                <a:gd name="T4" fmla="*/ 2147483646 w 1779"/>
                <a:gd name="T5" fmla="*/ 2147483646 h 1403"/>
                <a:gd name="T6" fmla="*/ 2147483646 w 1779"/>
                <a:gd name="T7" fmla="*/ 2147483646 h 1403"/>
                <a:gd name="T8" fmla="*/ 2147483646 w 1779"/>
                <a:gd name="T9" fmla="*/ 2147483646 h 1403"/>
                <a:gd name="T10" fmla="*/ 2147483646 w 1779"/>
                <a:gd name="T11" fmla="*/ 2147483646 h 1403"/>
                <a:gd name="T12" fmla="*/ 2147483646 w 1779"/>
                <a:gd name="T13" fmla="*/ 2147483646 h 1403"/>
                <a:gd name="T14" fmla="*/ 2147483646 w 1779"/>
                <a:gd name="T15" fmla="*/ 2147483646 h 1403"/>
                <a:gd name="T16" fmla="*/ 2147483646 w 1779"/>
                <a:gd name="T17" fmla="*/ 2147483646 h 1403"/>
                <a:gd name="T18" fmla="*/ 2147483646 w 1779"/>
                <a:gd name="T19" fmla="*/ 2147483646 h 1403"/>
                <a:gd name="T20" fmla="*/ 2147483646 w 1779"/>
                <a:gd name="T21" fmla="*/ 2147483646 h 1403"/>
                <a:gd name="T22" fmla="*/ 2147483646 w 1779"/>
                <a:gd name="T23" fmla="*/ 2147483646 h 1403"/>
                <a:gd name="T24" fmla="*/ 2147483646 w 1779"/>
                <a:gd name="T25" fmla="*/ 2147483646 h 1403"/>
                <a:gd name="T26" fmla="*/ 2147483646 w 1779"/>
                <a:gd name="T27" fmla="*/ 2147483646 h 1403"/>
                <a:gd name="T28" fmla="*/ 2147483646 w 1779"/>
                <a:gd name="T29" fmla="*/ 0 h 1403"/>
                <a:gd name="T30" fmla="*/ 0 w 1779"/>
                <a:gd name="T31" fmla="*/ 2147483646 h 1403"/>
                <a:gd name="T32" fmla="*/ 0 w 1779"/>
                <a:gd name="T33" fmla="*/ 2147483646 h 1403"/>
                <a:gd name="T34" fmla="*/ 2147483646 w 1779"/>
                <a:gd name="T35" fmla="*/ 2147483646 h 1403"/>
                <a:gd name="T36" fmla="*/ 0 w 1779"/>
                <a:gd name="T37" fmla="*/ 2147483646 h 1403"/>
                <a:gd name="T38" fmla="*/ 2147483646 w 1779"/>
                <a:gd name="T39" fmla="*/ 2147483646 h 1403"/>
                <a:gd name="T40" fmla="*/ 2147483646 w 1779"/>
                <a:gd name="T41" fmla="*/ 2147483646 h 1403"/>
                <a:gd name="T42" fmla="*/ 2147483646 w 1779"/>
                <a:gd name="T43" fmla="*/ 2147483646 h 1403"/>
                <a:gd name="T44" fmla="*/ 2147483646 w 1779"/>
                <a:gd name="T45" fmla="*/ 2147483646 h 1403"/>
                <a:gd name="T46" fmla="*/ 2147483646 w 1779"/>
                <a:gd name="T47" fmla="*/ 2147483646 h 1403"/>
                <a:gd name="T48" fmla="*/ 2147483646 w 1779"/>
                <a:gd name="T49" fmla="*/ 2147483646 h 1403"/>
                <a:gd name="T50" fmla="*/ 2147483646 w 1779"/>
                <a:gd name="T51" fmla="*/ 2147483646 h 1403"/>
                <a:gd name="T52" fmla="*/ 2147483646 w 1779"/>
                <a:gd name="T53" fmla="*/ 2147483646 h 1403"/>
                <a:gd name="T54" fmla="*/ 2147483646 w 1779"/>
                <a:gd name="T55" fmla="*/ 2147483646 h 1403"/>
                <a:gd name="T56" fmla="*/ 2147483646 w 1779"/>
                <a:gd name="T57" fmla="*/ 2147483646 h 1403"/>
                <a:gd name="T58" fmla="*/ 2147483646 w 1779"/>
                <a:gd name="T59" fmla="*/ 2147483646 h 1403"/>
                <a:gd name="T60" fmla="*/ 2147483646 w 1779"/>
                <a:gd name="T61" fmla="*/ 2147483646 h 1403"/>
                <a:gd name="T62" fmla="*/ 2147483646 w 1779"/>
                <a:gd name="T63" fmla="*/ 2147483646 h 1403"/>
                <a:gd name="T64" fmla="*/ 2147483646 w 1779"/>
                <a:gd name="T65" fmla="*/ 2147483646 h 1403"/>
                <a:gd name="T66" fmla="*/ 2147483646 w 1779"/>
                <a:gd name="T67" fmla="*/ 2147483646 h 14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79"/>
                <a:gd name="T103" fmla="*/ 0 h 1403"/>
                <a:gd name="T104" fmla="*/ 1779 w 1779"/>
                <a:gd name="T105" fmla="*/ 1403 h 14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79" h="1403">
                  <a:moveTo>
                    <a:pt x="1443" y="867"/>
                  </a:moveTo>
                  <a:lnTo>
                    <a:pt x="1443" y="867"/>
                  </a:lnTo>
                  <a:lnTo>
                    <a:pt x="1199" y="867"/>
                  </a:lnTo>
                  <a:lnTo>
                    <a:pt x="93" y="867"/>
                  </a:lnTo>
                  <a:cubicBezTo>
                    <a:pt x="79" y="867"/>
                    <a:pt x="67" y="855"/>
                    <a:pt x="67" y="840"/>
                  </a:cubicBezTo>
                  <a:lnTo>
                    <a:pt x="67" y="526"/>
                  </a:lnTo>
                  <a:cubicBezTo>
                    <a:pt x="67" y="512"/>
                    <a:pt x="79" y="500"/>
                    <a:pt x="93" y="500"/>
                  </a:cubicBezTo>
                  <a:lnTo>
                    <a:pt x="1199" y="500"/>
                  </a:lnTo>
                  <a:lnTo>
                    <a:pt x="1443" y="500"/>
                  </a:lnTo>
                  <a:lnTo>
                    <a:pt x="1686" y="500"/>
                  </a:lnTo>
                  <a:cubicBezTo>
                    <a:pt x="1700" y="500"/>
                    <a:pt x="1712" y="512"/>
                    <a:pt x="1712" y="526"/>
                  </a:cubicBezTo>
                  <a:lnTo>
                    <a:pt x="1712" y="840"/>
                  </a:lnTo>
                  <a:cubicBezTo>
                    <a:pt x="1712" y="855"/>
                    <a:pt x="1700" y="867"/>
                    <a:pt x="1686" y="867"/>
                  </a:cubicBezTo>
                  <a:lnTo>
                    <a:pt x="1443" y="867"/>
                  </a:lnTo>
                  <a:close/>
                  <a:moveTo>
                    <a:pt x="67" y="93"/>
                  </a:moveTo>
                  <a:lnTo>
                    <a:pt x="67" y="93"/>
                  </a:lnTo>
                  <a:cubicBezTo>
                    <a:pt x="67" y="78"/>
                    <a:pt x="79" y="67"/>
                    <a:pt x="93" y="67"/>
                  </a:cubicBezTo>
                  <a:lnTo>
                    <a:pt x="1686" y="67"/>
                  </a:lnTo>
                  <a:cubicBezTo>
                    <a:pt x="1700" y="67"/>
                    <a:pt x="1712" y="78"/>
                    <a:pt x="1712" y="93"/>
                  </a:cubicBezTo>
                  <a:lnTo>
                    <a:pt x="1712" y="407"/>
                  </a:lnTo>
                  <a:cubicBezTo>
                    <a:pt x="1712" y="422"/>
                    <a:pt x="1700" y="433"/>
                    <a:pt x="1686" y="433"/>
                  </a:cubicBezTo>
                  <a:lnTo>
                    <a:pt x="1443" y="433"/>
                  </a:lnTo>
                  <a:lnTo>
                    <a:pt x="1199" y="433"/>
                  </a:lnTo>
                  <a:lnTo>
                    <a:pt x="93" y="433"/>
                  </a:lnTo>
                  <a:cubicBezTo>
                    <a:pt x="79" y="433"/>
                    <a:pt x="67" y="422"/>
                    <a:pt x="67" y="407"/>
                  </a:cubicBezTo>
                  <a:lnTo>
                    <a:pt x="67" y="93"/>
                  </a:lnTo>
                  <a:close/>
                  <a:moveTo>
                    <a:pt x="1779" y="93"/>
                  </a:moveTo>
                  <a:lnTo>
                    <a:pt x="1779" y="93"/>
                  </a:lnTo>
                  <a:cubicBezTo>
                    <a:pt x="1779" y="42"/>
                    <a:pt x="1737" y="0"/>
                    <a:pt x="1686" y="0"/>
                  </a:cubicBezTo>
                  <a:lnTo>
                    <a:pt x="93" y="0"/>
                  </a:lnTo>
                  <a:cubicBezTo>
                    <a:pt x="42" y="0"/>
                    <a:pt x="0" y="42"/>
                    <a:pt x="0" y="93"/>
                  </a:cubicBezTo>
                  <a:lnTo>
                    <a:pt x="0" y="407"/>
                  </a:lnTo>
                  <a:cubicBezTo>
                    <a:pt x="0" y="430"/>
                    <a:pt x="8" y="451"/>
                    <a:pt x="22" y="467"/>
                  </a:cubicBezTo>
                  <a:cubicBezTo>
                    <a:pt x="8" y="483"/>
                    <a:pt x="0" y="503"/>
                    <a:pt x="0" y="526"/>
                  </a:cubicBezTo>
                  <a:lnTo>
                    <a:pt x="0" y="840"/>
                  </a:lnTo>
                  <a:cubicBezTo>
                    <a:pt x="0" y="863"/>
                    <a:pt x="8" y="884"/>
                    <a:pt x="22" y="900"/>
                  </a:cubicBezTo>
                  <a:cubicBezTo>
                    <a:pt x="8" y="916"/>
                    <a:pt x="0" y="937"/>
                    <a:pt x="0" y="959"/>
                  </a:cubicBezTo>
                  <a:lnTo>
                    <a:pt x="0" y="1274"/>
                  </a:lnTo>
                  <a:cubicBezTo>
                    <a:pt x="0" y="1325"/>
                    <a:pt x="42" y="1366"/>
                    <a:pt x="93" y="1366"/>
                  </a:cubicBezTo>
                  <a:lnTo>
                    <a:pt x="1155" y="1366"/>
                  </a:lnTo>
                  <a:cubicBezTo>
                    <a:pt x="1167" y="1388"/>
                    <a:pt x="1189" y="1403"/>
                    <a:pt x="1215" y="1403"/>
                  </a:cubicBezTo>
                  <a:cubicBezTo>
                    <a:pt x="1254" y="1403"/>
                    <a:pt x="1285" y="1371"/>
                    <a:pt x="1285" y="1333"/>
                  </a:cubicBezTo>
                  <a:cubicBezTo>
                    <a:pt x="1285" y="1295"/>
                    <a:pt x="1254" y="1264"/>
                    <a:pt x="1215" y="1264"/>
                  </a:cubicBezTo>
                  <a:cubicBezTo>
                    <a:pt x="1189" y="1264"/>
                    <a:pt x="1167" y="1278"/>
                    <a:pt x="1155" y="1300"/>
                  </a:cubicBezTo>
                  <a:lnTo>
                    <a:pt x="93" y="1300"/>
                  </a:lnTo>
                  <a:cubicBezTo>
                    <a:pt x="79" y="1300"/>
                    <a:pt x="67" y="1288"/>
                    <a:pt x="67" y="1274"/>
                  </a:cubicBezTo>
                  <a:lnTo>
                    <a:pt x="67" y="959"/>
                  </a:lnTo>
                  <a:cubicBezTo>
                    <a:pt x="67" y="945"/>
                    <a:pt x="79" y="933"/>
                    <a:pt x="93" y="933"/>
                  </a:cubicBezTo>
                  <a:lnTo>
                    <a:pt x="1199" y="933"/>
                  </a:lnTo>
                  <a:lnTo>
                    <a:pt x="1443" y="933"/>
                  </a:lnTo>
                  <a:lnTo>
                    <a:pt x="1686" y="933"/>
                  </a:lnTo>
                  <a:cubicBezTo>
                    <a:pt x="1700" y="933"/>
                    <a:pt x="1712" y="945"/>
                    <a:pt x="1712" y="959"/>
                  </a:cubicBezTo>
                  <a:lnTo>
                    <a:pt x="1712" y="1274"/>
                  </a:lnTo>
                  <a:cubicBezTo>
                    <a:pt x="1712" y="1288"/>
                    <a:pt x="1700" y="1300"/>
                    <a:pt x="1686" y="1300"/>
                  </a:cubicBezTo>
                  <a:lnTo>
                    <a:pt x="1489" y="1300"/>
                  </a:lnTo>
                  <a:cubicBezTo>
                    <a:pt x="1477" y="1278"/>
                    <a:pt x="1455" y="1264"/>
                    <a:pt x="1428" y="1264"/>
                  </a:cubicBezTo>
                  <a:cubicBezTo>
                    <a:pt x="1390" y="1264"/>
                    <a:pt x="1359" y="1295"/>
                    <a:pt x="1359" y="1333"/>
                  </a:cubicBezTo>
                  <a:cubicBezTo>
                    <a:pt x="1359" y="1371"/>
                    <a:pt x="1390" y="1403"/>
                    <a:pt x="1428" y="1403"/>
                  </a:cubicBezTo>
                  <a:cubicBezTo>
                    <a:pt x="1454" y="1403"/>
                    <a:pt x="1477" y="1388"/>
                    <a:pt x="1489" y="1366"/>
                  </a:cubicBezTo>
                  <a:lnTo>
                    <a:pt x="1686" y="1366"/>
                  </a:lnTo>
                  <a:cubicBezTo>
                    <a:pt x="1737" y="1366"/>
                    <a:pt x="1779" y="1325"/>
                    <a:pt x="1779" y="1274"/>
                  </a:cubicBezTo>
                  <a:lnTo>
                    <a:pt x="1779" y="959"/>
                  </a:lnTo>
                  <a:cubicBezTo>
                    <a:pt x="1779" y="937"/>
                    <a:pt x="1770" y="916"/>
                    <a:pt x="1757" y="900"/>
                  </a:cubicBezTo>
                  <a:cubicBezTo>
                    <a:pt x="1770" y="884"/>
                    <a:pt x="1779" y="863"/>
                    <a:pt x="1779" y="840"/>
                  </a:cubicBezTo>
                  <a:lnTo>
                    <a:pt x="1779" y="526"/>
                  </a:lnTo>
                  <a:cubicBezTo>
                    <a:pt x="1779" y="503"/>
                    <a:pt x="1770" y="483"/>
                    <a:pt x="1757" y="467"/>
                  </a:cubicBezTo>
                  <a:cubicBezTo>
                    <a:pt x="1770" y="451"/>
                    <a:pt x="1779" y="430"/>
                    <a:pt x="1779" y="407"/>
                  </a:cubicBezTo>
                  <a:lnTo>
                    <a:pt x="1779" y="93"/>
                  </a:lnTo>
                  <a:close/>
                </a:path>
              </a:pathLst>
            </a:custGeom>
            <a:grpFill/>
            <a:ln w="0">
              <a:noFill/>
              <a:round/>
              <a:headEnd/>
              <a:tailEnd/>
            </a:ln>
          </p:spPr>
          <p:txBody>
            <a:bodyPr/>
            <a:lstStyle/>
            <a:p>
              <a:endParaRPr lang="zh-CN" altLang="en-US"/>
            </a:p>
          </p:txBody>
        </p:sp>
        <p:sp>
          <p:nvSpPr>
            <p:cNvPr id="186" name="Freeform 89"/>
            <p:cNvSpPr>
              <a:spLocks/>
            </p:cNvSpPr>
            <p:nvPr/>
          </p:nvSpPr>
          <p:spPr bwMode="auto">
            <a:xfrm>
              <a:off x="3819525" y="887413"/>
              <a:ext cx="42863" cy="42863"/>
            </a:xfrm>
            <a:custGeom>
              <a:avLst/>
              <a:gdLst>
                <a:gd name="T0" fmla="*/ 2147483646 w 103"/>
                <a:gd name="T1" fmla="*/ 2147483646 h 103"/>
                <a:gd name="T2" fmla="*/ 2147483646 w 103"/>
                <a:gd name="T3" fmla="*/ 2147483646 h 103"/>
                <a:gd name="T4" fmla="*/ 2147483646 w 103"/>
                <a:gd name="T5" fmla="*/ 2147483646 h 103"/>
                <a:gd name="T6" fmla="*/ 2147483646 w 103"/>
                <a:gd name="T7" fmla="*/ 0 h 103"/>
                <a:gd name="T8" fmla="*/ 0 w 103"/>
                <a:gd name="T9" fmla="*/ 2147483646 h 103"/>
                <a:gd name="T10" fmla="*/ 2147483646 w 103"/>
                <a:gd name="T11" fmla="*/ 2147483646 h 103"/>
                <a:gd name="T12" fmla="*/ 0 60000 65536"/>
                <a:gd name="T13" fmla="*/ 0 60000 65536"/>
                <a:gd name="T14" fmla="*/ 0 60000 65536"/>
                <a:gd name="T15" fmla="*/ 0 60000 65536"/>
                <a:gd name="T16" fmla="*/ 0 60000 65536"/>
                <a:gd name="T17" fmla="*/ 0 60000 65536"/>
                <a:gd name="T18" fmla="*/ 0 w 103"/>
                <a:gd name="T19" fmla="*/ 0 h 103"/>
                <a:gd name="T20" fmla="*/ 103 w 103"/>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103" h="103">
                  <a:moveTo>
                    <a:pt x="52" y="103"/>
                  </a:moveTo>
                  <a:lnTo>
                    <a:pt x="52" y="103"/>
                  </a:lnTo>
                  <a:cubicBezTo>
                    <a:pt x="80" y="103"/>
                    <a:pt x="103" y="80"/>
                    <a:pt x="103" y="51"/>
                  </a:cubicBezTo>
                  <a:cubicBezTo>
                    <a:pt x="103" y="23"/>
                    <a:pt x="80" y="0"/>
                    <a:pt x="52" y="0"/>
                  </a:cubicBezTo>
                  <a:cubicBezTo>
                    <a:pt x="23" y="0"/>
                    <a:pt x="0" y="23"/>
                    <a:pt x="0" y="51"/>
                  </a:cubicBezTo>
                  <a:cubicBezTo>
                    <a:pt x="0" y="80"/>
                    <a:pt x="23" y="103"/>
                    <a:pt x="52" y="103"/>
                  </a:cubicBezTo>
                  <a:close/>
                </a:path>
              </a:pathLst>
            </a:custGeom>
            <a:grpFill/>
            <a:ln w="0">
              <a:noFill/>
              <a:round/>
              <a:headEnd/>
              <a:tailEnd/>
            </a:ln>
          </p:spPr>
          <p:txBody>
            <a:bodyPr/>
            <a:lstStyle/>
            <a:p>
              <a:endParaRPr lang="zh-CN" altLang="en-US"/>
            </a:p>
          </p:txBody>
        </p:sp>
        <p:sp>
          <p:nvSpPr>
            <p:cNvPr id="187" name="Freeform 90"/>
            <p:cNvSpPr>
              <a:spLocks/>
            </p:cNvSpPr>
            <p:nvPr/>
          </p:nvSpPr>
          <p:spPr bwMode="auto">
            <a:xfrm>
              <a:off x="3328988" y="885825"/>
              <a:ext cx="44450" cy="44450"/>
            </a:xfrm>
            <a:custGeom>
              <a:avLst/>
              <a:gdLst>
                <a:gd name="T0" fmla="*/ 2147483646 w 104"/>
                <a:gd name="T1" fmla="*/ 0 h 104"/>
                <a:gd name="T2" fmla="*/ 2147483646 w 104"/>
                <a:gd name="T3" fmla="*/ 0 h 104"/>
                <a:gd name="T4" fmla="*/ 0 w 104"/>
                <a:gd name="T5" fmla="*/ 0 h 104"/>
                <a:gd name="T6" fmla="*/ 0 w 104"/>
                <a:gd name="T7" fmla="*/ 2147483646 h 104"/>
                <a:gd name="T8" fmla="*/ 2147483646 w 104"/>
                <a:gd name="T9" fmla="*/ 2147483646 h 104"/>
                <a:gd name="T10" fmla="*/ 2147483646 w 104"/>
                <a:gd name="T11" fmla="*/ 0 h 104"/>
                <a:gd name="T12" fmla="*/ 0 60000 65536"/>
                <a:gd name="T13" fmla="*/ 0 60000 65536"/>
                <a:gd name="T14" fmla="*/ 0 60000 65536"/>
                <a:gd name="T15" fmla="*/ 0 60000 65536"/>
                <a:gd name="T16" fmla="*/ 0 60000 65536"/>
                <a:gd name="T17" fmla="*/ 0 60000 65536"/>
                <a:gd name="T18" fmla="*/ 0 w 104"/>
                <a:gd name="T19" fmla="*/ 0 h 104"/>
                <a:gd name="T20" fmla="*/ 104 w 104"/>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4" h="104">
                  <a:moveTo>
                    <a:pt x="104" y="0"/>
                  </a:moveTo>
                  <a:lnTo>
                    <a:pt x="104" y="0"/>
                  </a:lnTo>
                  <a:lnTo>
                    <a:pt x="0" y="0"/>
                  </a:lnTo>
                  <a:lnTo>
                    <a:pt x="0" y="104"/>
                  </a:lnTo>
                  <a:lnTo>
                    <a:pt x="104" y="104"/>
                  </a:lnTo>
                  <a:lnTo>
                    <a:pt x="104" y="0"/>
                  </a:lnTo>
                  <a:close/>
                </a:path>
              </a:pathLst>
            </a:custGeom>
            <a:grpFill/>
            <a:ln w="0">
              <a:noFill/>
              <a:round/>
              <a:headEnd/>
              <a:tailEnd/>
            </a:ln>
          </p:spPr>
          <p:txBody>
            <a:bodyPr/>
            <a:lstStyle/>
            <a:p>
              <a:endParaRPr lang="zh-CN" altLang="en-US"/>
            </a:p>
          </p:txBody>
        </p:sp>
        <p:sp>
          <p:nvSpPr>
            <p:cNvPr id="188" name="Freeform 91"/>
            <p:cNvSpPr>
              <a:spLocks/>
            </p:cNvSpPr>
            <p:nvPr/>
          </p:nvSpPr>
          <p:spPr bwMode="auto">
            <a:xfrm>
              <a:off x="3413125" y="885825"/>
              <a:ext cx="42863" cy="44450"/>
            </a:xfrm>
            <a:custGeom>
              <a:avLst/>
              <a:gdLst>
                <a:gd name="T0" fmla="*/ 2147483646 w 103"/>
                <a:gd name="T1" fmla="*/ 0 h 104"/>
                <a:gd name="T2" fmla="*/ 2147483646 w 103"/>
                <a:gd name="T3" fmla="*/ 0 h 104"/>
                <a:gd name="T4" fmla="*/ 0 w 103"/>
                <a:gd name="T5" fmla="*/ 0 h 104"/>
                <a:gd name="T6" fmla="*/ 0 w 103"/>
                <a:gd name="T7" fmla="*/ 2147483646 h 104"/>
                <a:gd name="T8" fmla="*/ 2147483646 w 103"/>
                <a:gd name="T9" fmla="*/ 2147483646 h 104"/>
                <a:gd name="T10" fmla="*/ 2147483646 w 103"/>
                <a:gd name="T11" fmla="*/ 0 h 104"/>
                <a:gd name="T12" fmla="*/ 0 60000 65536"/>
                <a:gd name="T13" fmla="*/ 0 60000 65536"/>
                <a:gd name="T14" fmla="*/ 0 60000 65536"/>
                <a:gd name="T15" fmla="*/ 0 60000 65536"/>
                <a:gd name="T16" fmla="*/ 0 60000 65536"/>
                <a:gd name="T17" fmla="*/ 0 60000 65536"/>
                <a:gd name="T18" fmla="*/ 0 w 103"/>
                <a:gd name="T19" fmla="*/ 0 h 104"/>
                <a:gd name="T20" fmla="*/ 103 w 103"/>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3" h="104">
                  <a:moveTo>
                    <a:pt x="103" y="0"/>
                  </a:moveTo>
                  <a:lnTo>
                    <a:pt x="103" y="0"/>
                  </a:lnTo>
                  <a:lnTo>
                    <a:pt x="0" y="0"/>
                  </a:lnTo>
                  <a:lnTo>
                    <a:pt x="0" y="104"/>
                  </a:lnTo>
                  <a:lnTo>
                    <a:pt x="103" y="104"/>
                  </a:lnTo>
                  <a:lnTo>
                    <a:pt x="103" y="0"/>
                  </a:lnTo>
                  <a:close/>
                </a:path>
              </a:pathLst>
            </a:custGeom>
            <a:grpFill/>
            <a:ln w="0">
              <a:noFill/>
              <a:round/>
              <a:headEnd/>
              <a:tailEnd/>
            </a:ln>
          </p:spPr>
          <p:txBody>
            <a:bodyPr/>
            <a:lstStyle/>
            <a:p>
              <a:endParaRPr lang="zh-CN" altLang="en-US"/>
            </a:p>
          </p:txBody>
        </p:sp>
        <p:sp>
          <p:nvSpPr>
            <p:cNvPr id="189" name="Freeform 92"/>
            <p:cNvSpPr>
              <a:spLocks/>
            </p:cNvSpPr>
            <p:nvPr/>
          </p:nvSpPr>
          <p:spPr bwMode="auto">
            <a:xfrm>
              <a:off x="3495675" y="885825"/>
              <a:ext cx="44450" cy="44450"/>
            </a:xfrm>
            <a:custGeom>
              <a:avLst/>
              <a:gdLst>
                <a:gd name="T0" fmla="*/ 2147483646 w 104"/>
                <a:gd name="T1" fmla="*/ 0 h 104"/>
                <a:gd name="T2" fmla="*/ 2147483646 w 104"/>
                <a:gd name="T3" fmla="*/ 0 h 104"/>
                <a:gd name="T4" fmla="*/ 0 w 104"/>
                <a:gd name="T5" fmla="*/ 0 h 104"/>
                <a:gd name="T6" fmla="*/ 0 w 104"/>
                <a:gd name="T7" fmla="*/ 2147483646 h 104"/>
                <a:gd name="T8" fmla="*/ 2147483646 w 104"/>
                <a:gd name="T9" fmla="*/ 2147483646 h 104"/>
                <a:gd name="T10" fmla="*/ 2147483646 w 104"/>
                <a:gd name="T11" fmla="*/ 0 h 104"/>
                <a:gd name="T12" fmla="*/ 0 60000 65536"/>
                <a:gd name="T13" fmla="*/ 0 60000 65536"/>
                <a:gd name="T14" fmla="*/ 0 60000 65536"/>
                <a:gd name="T15" fmla="*/ 0 60000 65536"/>
                <a:gd name="T16" fmla="*/ 0 60000 65536"/>
                <a:gd name="T17" fmla="*/ 0 60000 65536"/>
                <a:gd name="T18" fmla="*/ 0 w 104"/>
                <a:gd name="T19" fmla="*/ 0 h 104"/>
                <a:gd name="T20" fmla="*/ 104 w 104"/>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4" h="104">
                  <a:moveTo>
                    <a:pt x="104" y="0"/>
                  </a:moveTo>
                  <a:lnTo>
                    <a:pt x="104" y="0"/>
                  </a:lnTo>
                  <a:lnTo>
                    <a:pt x="0" y="0"/>
                  </a:lnTo>
                  <a:lnTo>
                    <a:pt x="0" y="104"/>
                  </a:lnTo>
                  <a:lnTo>
                    <a:pt x="104" y="104"/>
                  </a:lnTo>
                  <a:lnTo>
                    <a:pt x="104" y="0"/>
                  </a:lnTo>
                  <a:close/>
                </a:path>
              </a:pathLst>
            </a:custGeom>
            <a:grpFill/>
            <a:ln w="0">
              <a:noFill/>
              <a:round/>
              <a:headEnd/>
              <a:tailEnd/>
            </a:ln>
          </p:spPr>
          <p:txBody>
            <a:bodyPr/>
            <a:lstStyle/>
            <a:p>
              <a:endParaRPr lang="zh-CN" altLang="en-US"/>
            </a:p>
          </p:txBody>
        </p:sp>
      </p:grpSp>
      <p:cxnSp>
        <p:nvCxnSpPr>
          <p:cNvPr id="24" name="直接连接符 23"/>
          <p:cNvCxnSpPr/>
          <p:nvPr/>
        </p:nvCxnSpPr>
        <p:spPr>
          <a:xfrm>
            <a:off x="4962875" y="2680008"/>
            <a:ext cx="0" cy="4139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24832"/>
          <p:cNvGrpSpPr>
            <a:grpSpLocks/>
          </p:cNvGrpSpPr>
          <p:nvPr/>
        </p:nvGrpSpPr>
        <p:grpSpPr bwMode="auto">
          <a:xfrm rot="5400000">
            <a:off x="4739619" y="5241165"/>
            <a:ext cx="465917" cy="486285"/>
            <a:chOff x="2178050" y="3503613"/>
            <a:chExt cx="581025" cy="606425"/>
          </a:xfrm>
          <a:solidFill>
            <a:schemeClr val="bg1"/>
          </a:solidFill>
        </p:grpSpPr>
        <p:sp>
          <p:nvSpPr>
            <p:cNvPr id="171" name="Freeform 271"/>
            <p:cNvSpPr>
              <a:spLocks noEditPoints="1"/>
            </p:cNvSpPr>
            <p:nvPr/>
          </p:nvSpPr>
          <p:spPr bwMode="auto">
            <a:xfrm>
              <a:off x="2344738" y="3570288"/>
              <a:ext cx="247650" cy="295275"/>
            </a:xfrm>
            <a:custGeom>
              <a:avLst/>
              <a:gdLst>
                <a:gd name="T0" fmla="*/ 2147483646 w 525"/>
                <a:gd name="T1" fmla="*/ 2147483646 h 630"/>
                <a:gd name="T2" fmla="*/ 2147483646 w 525"/>
                <a:gd name="T3" fmla="*/ 2147483646 h 630"/>
                <a:gd name="T4" fmla="*/ 2147483646 w 525"/>
                <a:gd name="T5" fmla="*/ 2147483646 h 630"/>
                <a:gd name="T6" fmla="*/ 2147483646 w 525"/>
                <a:gd name="T7" fmla="*/ 2147483646 h 630"/>
                <a:gd name="T8" fmla="*/ 2147483646 w 525"/>
                <a:gd name="T9" fmla="*/ 2147483646 h 630"/>
                <a:gd name="T10" fmla="*/ 2147483646 w 525"/>
                <a:gd name="T11" fmla="*/ 2147483646 h 630"/>
                <a:gd name="T12" fmla="*/ 2147483646 w 525"/>
                <a:gd name="T13" fmla="*/ 2147483646 h 630"/>
                <a:gd name="T14" fmla="*/ 2147483646 w 525"/>
                <a:gd name="T15" fmla="*/ 2147483646 h 630"/>
                <a:gd name="T16" fmla="*/ 2147483646 w 525"/>
                <a:gd name="T17" fmla="*/ 2147483646 h 630"/>
                <a:gd name="T18" fmla="*/ 2147483646 w 525"/>
                <a:gd name="T19" fmla="*/ 2147483646 h 630"/>
                <a:gd name="T20" fmla="*/ 2147483646 w 525"/>
                <a:gd name="T21" fmla="*/ 2147483646 h 630"/>
                <a:gd name="T22" fmla="*/ 2147483646 w 525"/>
                <a:gd name="T23" fmla="*/ 0 h 630"/>
                <a:gd name="T24" fmla="*/ 2147483646 w 525"/>
                <a:gd name="T25" fmla="*/ 2147483646 h 630"/>
                <a:gd name="T26" fmla="*/ 2147483646 w 525"/>
                <a:gd name="T27" fmla="*/ 2147483646 h 630"/>
                <a:gd name="T28" fmla="*/ 2147483646 w 525"/>
                <a:gd name="T29" fmla="*/ 2147483646 h 630"/>
                <a:gd name="T30" fmla="*/ 2147483646 w 525"/>
                <a:gd name="T31" fmla="*/ 2147483646 h 630"/>
                <a:gd name="T32" fmla="*/ 2147483646 w 525"/>
                <a:gd name="T33" fmla="*/ 2147483646 h 630"/>
                <a:gd name="T34" fmla="*/ 2147483646 w 525"/>
                <a:gd name="T35" fmla="*/ 2147483646 h 630"/>
                <a:gd name="T36" fmla="*/ 2147483646 w 525"/>
                <a:gd name="T37" fmla="*/ 2147483646 h 630"/>
                <a:gd name="T38" fmla="*/ 2147483646 w 525"/>
                <a:gd name="T39" fmla="*/ 2147483646 h 630"/>
                <a:gd name="T40" fmla="*/ 2147483646 w 525"/>
                <a:gd name="T41" fmla="*/ 2147483646 h 630"/>
                <a:gd name="T42" fmla="*/ 2147483646 w 525"/>
                <a:gd name="T43" fmla="*/ 2147483646 h 630"/>
                <a:gd name="T44" fmla="*/ 2147483646 w 525"/>
                <a:gd name="T45" fmla="*/ 2147483646 h 630"/>
                <a:gd name="T46" fmla="*/ 2147483646 w 525"/>
                <a:gd name="T47" fmla="*/ 2147483646 h 6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25" h="630">
                  <a:moveTo>
                    <a:pt x="75" y="568"/>
                  </a:moveTo>
                  <a:lnTo>
                    <a:pt x="75" y="568"/>
                  </a:lnTo>
                  <a:lnTo>
                    <a:pt x="143" y="358"/>
                  </a:lnTo>
                  <a:lnTo>
                    <a:pt x="383" y="358"/>
                  </a:lnTo>
                  <a:lnTo>
                    <a:pt x="451" y="568"/>
                  </a:lnTo>
                  <a:lnTo>
                    <a:pt x="75" y="568"/>
                  </a:lnTo>
                  <a:close/>
                  <a:moveTo>
                    <a:pt x="435" y="318"/>
                  </a:moveTo>
                  <a:lnTo>
                    <a:pt x="435" y="318"/>
                  </a:lnTo>
                  <a:cubicBezTo>
                    <a:pt x="431" y="305"/>
                    <a:pt x="419" y="296"/>
                    <a:pt x="406" y="296"/>
                  </a:cubicBezTo>
                  <a:lnTo>
                    <a:pt x="290" y="296"/>
                  </a:lnTo>
                  <a:lnTo>
                    <a:pt x="290" y="31"/>
                  </a:lnTo>
                  <a:cubicBezTo>
                    <a:pt x="290" y="14"/>
                    <a:pt x="276" y="0"/>
                    <a:pt x="259" y="0"/>
                  </a:cubicBezTo>
                  <a:cubicBezTo>
                    <a:pt x="242" y="0"/>
                    <a:pt x="228" y="14"/>
                    <a:pt x="228" y="31"/>
                  </a:cubicBezTo>
                  <a:lnTo>
                    <a:pt x="228" y="296"/>
                  </a:lnTo>
                  <a:lnTo>
                    <a:pt x="120" y="296"/>
                  </a:lnTo>
                  <a:cubicBezTo>
                    <a:pt x="107" y="296"/>
                    <a:pt x="95" y="305"/>
                    <a:pt x="91" y="318"/>
                  </a:cubicBezTo>
                  <a:lnTo>
                    <a:pt x="3" y="590"/>
                  </a:lnTo>
                  <a:cubicBezTo>
                    <a:pt x="0" y="599"/>
                    <a:pt x="1" y="609"/>
                    <a:pt x="7" y="617"/>
                  </a:cubicBezTo>
                  <a:cubicBezTo>
                    <a:pt x="13" y="626"/>
                    <a:pt x="22" y="630"/>
                    <a:pt x="32" y="630"/>
                  </a:cubicBezTo>
                  <a:lnTo>
                    <a:pt x="494" y="630"/>
                  </a:lnTo>
                  <a:cubicBezTo>
                    <a:pt x="494" y="630"/>
                    <a:pt x="494" y="630"/>
                    <a:pt x="494" y="630"/>
                  </a:cubicBezTo>
                  <a:cubicBezTo>
                    <a:pt x="511" y="630"/>
                    <a:pt x="525" y="616"/>
                    <a:pt x="525" y="599"/>
                  </a:cubicBezTo>
                  <a:cubicBezTo>
                    <a:pt x="525" y="595"/>
                    <a:pt x="524" y="590"/>
                    <a:pt x="522" y="586"/>
                  </a:cubicBezTo>
                  <a:lnTo>
                    <a:pt x="435" y="318"/>
                  </a:lnTo>
                  <a:close/>
                </a:path>
              </a:pathLst>
            </a:custGeom>
            <a:grpFill/>
            <a:ln w="0">
              <a:noFill/>
              <a:prstDash val="solid"/>
              <a:round/>
              <a:headEnd/>
              <a:tailEnd/>
            </a:ln>
          </p:spPr>
          <p:txBody>
            <a:bodyPr/>
            <a:lstStyle/>
            <a:p>
              <a:endParaRPr lang="zh-CN" altLang="en-US"/>
            </a:p>
          </p:txBody>
        </p:sp>
        <p:sp>
          <p:nvSpPr>
            <p:cNvPr id="172" name="Freeform 272"/>
            <p:cNvSpPr>
              <a:spLocks/>
            </p:cNvSpPr>
            <p:nvPr/>
          </p:nvSpPr>
          <p:spPr bwMode="auto">
            <a:xfrm>
              <a:off x="2343150" y="3894138"/>
              <a:ext cx="76200" cy="107950"/>
            </a:xfrm>
            <a:custGeom>
              <a:avLst/>
              <a:gdLst>
                <a:gd name="T0" fmla="*/ 2147483646 w 164"/>
                <a:gd name="T1" fmla="*/ 2147483646 h 228"/>
                <a:gd name="T2" fmla="*/ 2147483646 w 164"/>
                <a:gd name="T3" fmla="*/ 2147483646 h 228"/>
                <a:gd name="T4" fmla="*/ 2147483646 w 164"/>
                <a:gd name="T5" fmla="*/ 2147483646 h 228"/>
                <a:gd name="T6" fmla="*/ 2147483646 w 164"/>
                <a:gd name="T7" fmla="*/ 2147483646 h 228"/>
                <a:gd name="T8" fmla="*/ 2147483646 w 164"/>
                <a:gd name="T9" fmla="*/ 2147483646 h 228"/>
                <a:gd name="T10" fmla="*/ 2147483646 w 164"/>
                <a:gd name="T11" fmla="*/ 2147483646 h 228"/>
                <a:gd name="T12" fmla="*/ 2147483646 w 164"/>
                <a:gd name="T13" fmla="*/ 2147483646 h 228"/>
                <a:gd name="T14" fmla="*/ 2147483646 w 164"/>
                <a:gd name="T15" fmla="*/ 2147483646 h 228"/>
                <a:gd name="T16" fmla="*/ 2147483646 w 164"/>
                <a:gd name="T17" fmla="*/ 2147483646 h 2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4" h="228">
                  <a:moveTo>
                    <a:pt x="101" y="20"/>
                  </a:moveTo>
                  <a:lnTo>
                    <a:pt x="101" y="20"/>
                  </a:lnTo>
                  <a:lnTo>
                    <a:pt x="8" y="182"/>
                  </a:lnTo>
                  <a:cubicBezTo>
                    <a:pt x="0" y="196"/>
                    <a:pt x="5" y="215"/>
                    <a:pt x="20" y="224"/>
                  </a:cubicBezTo>
                  <a:cubicBezTo>
                    <a:pt x="24" y="227"/>
                    <a:pt x="30" y="228"/>
                    <a:pt x="35" y="228"/>
                  </a:cubicBezTo>
                  <a:cubicBezTo>
                    <a:pt x="46" y="228"/>
                    <a:pt x="56" y="222"/>
                    <a:pt x="62" y="213"/>
                  </a:cubicBezTo>
                  <a:lnTo>
                    <a:pt x="155" y="51"/>
                  </a:lnTo>
                  <a:cubicBezTo>
                    <a:pt x="164" y="36"/>
                    <a:pt x="159" y="17"/>
                    <a:pt x="144" y="9"/>
                  </a:cubicBezTo>
                  <a:cubicBezTo>
                    <a:pt x="129" y="0"/>
                    <a:pt x="110" y="5"/>
                    <a:pt x="101" y="20"/>
                  </a:cubicBezTo>
                  <a:close/>
                </a:path>
              </a:pathLst>
            </a:custGeom>
            <a:grpFill/>
            <a:ln w="0">
              <a:noFill/>
              <a:prstDash val="solid"/>
              <a:round/>
              <a:headEnd/>
              <a:tailEnd/>
            </a:ln>
          </p:spPr>
          <p:txBody>
            <a:bodyPr/>
            <a:lstStyle/>
            <a:p>
              <a:endParaRPr lang="zh-CN" altLang="en-US"/>
            </a:p>
          </p:txBody>
        </p:sp>
        <p:sp>
          <p:nvSpPr>
            <p:cNvPr id="173" name="Freeform 273"/>
            <p:cNvSpPr>
              <a:spLocks/>
            </p:cNvSpPr>
            <p:nvPr/>
          </p:nvSpPr>
          <p:spPr bwMode="auto">
            <a:xfrm>
              <a:off x="2513013" y="3894138"/>
              <a:ext cx="77788" cy="107950"/>
            </a:xfrm>
            <a:custGeom>
              <a:avLst/>
              <a:gdLst>
                <a:gd name="T0" fmla="*/ 2147483646 w 164"/>
                <a:gd name="T1" fmla="*/ 2147483646 h 228"/>
                <a:gd name="T2" fmla="*/ 2147483646 w 164"/>
                <a:gd name="T3" fmla="*/ 2147483646 h 228"/>
                <a:gd name="T4" fmla="*/ 2147483646 w 164"/>
                <a:gd name="T5" fmla="*/ 2147483646 h 228"/>
                <a:gd name="T6" fmla="*/ 2147483646 w 164"/>
                <a:gd name="T7" fmla="*/ 2147483646 h 228"/>
                <a:gd name="T8" fmla="*/ 2147483646 w 164"/>
                <a:gd name="T9" fmla="*/ 2147483646 h 228"/>
                <a:gd name="T10" fmla="*/ 2147483646 w 164"/>
                <a:gd name="T11" fmla="*/ 2147483646 h 228"/>
                <a:gd name="T12" fmla="*/ 2147483646 w 164"/>
                <a:gd name="T13" fmla="*/ 2147483646 h 228"/>
                <a:gd name="T14" fmla="*/ 2147483646 w 164"/>
                <a:gd name="T15" fmla="*/ 2147483646 h 228"/>
                <a:gd name="T16" fmla="*/ 2147483646 w 164"/>
                <a:gd name="T17" fmla="*/ 2147483646 h 2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4" h="228">
                  <a:moveTo>
                    <a:pt x="62" y="20"/>
                  </a:moveTo>
                  <a:lnTo>
                    <a:pt x="62" y="20"/>
                  </a:lnTo>
                  <a:cubicBezTo>
                    <a:pt x="53" y="5"/>
                    <a:pt x="34" y="0"/>
                    <a:pt x="20" y="9"/>
                  </a:cubicBezTo>
                  <a:cubicBezTo>
                    <a:pt x="5" y="17"/>
                    <a:pt x="0" y="36"/>
                    <a:pt x="8" y="51"/>
                  </a:cubicBezTo>
                  <a:lnTo>
                    <a:pt x="101" y="213"/>
                  </a:lnTo>
                  <a:cubicBezTo>
                    <a:pt x="107" y="222"/>
                    <a:pt x="118" y="228"/>
                    <a:pt x="128" y="228"/>
                  </a:cubicBezTo>
                  <a:cubicBezTo>
                    <a:pt x="134" y="228"/>
                    <a:pt x="139" y="227"/>
                    <a:pt x="144" y="224"/>
                  </a:cubicBezTo>
                  <a:cubicBezTo>
                    <a:pt x="159" y="215"/>
                    <a:pt x="164" y="196"/>
                    <a:pt x="155" y="182"/>
                  </a:cubicBezTo>
                  <a:lnTo>
                    <a:pt x="62" y="20"/>
                  </a:lnTo>
                  <a:close/>
                </a:path>
              </a:pathLst>
            </a:custGeom>
            <a:grpFill/>
            <a:ln w="0">
              <a:noFill/>
              <a:prstDash val="solid"/>
              <a:round/>
              <a:headEnd/>
              <a:tailEnd/>
            </a:ln>
          </p:spPr>
          <p:txBody>
            <a:bodyPr/>
            <a:lstStyle/>
            <a:p>
              <a:endParaRPr lang="zh-CN" altLang="en-US"/>
            </a:p>
          </p:txBody>
        </p:sp>
        <p:sp>
          <p:nvSpPr>
            <p:cNvPr id="174" name="Freeform 274"/>
            <p:cNvSpPr>
              <a:spLocks/>
            </p:cNvSpPr>
            <p:nvPr/>
          </p:nvSpPr>
          <p:spPr bwMode="auto">
            <a:xfrm>
              <a:off x="2452688" y="3914775"/>
              <a:ext cx="28575" cy="114300"/>
            </a:xfrm>
            <a:custGeom>
              <a:avLst/>
              <a:gdLst>
                <a:gd name="T0" fmla="*/ 0 w 62"/>
                <a:gd name="T1" fmla="*/ 2147483646 h 242"/>
                <a:gd name="T2" fmla="*/ 0 w 62"/>
                <a:gd name="T3" fmla="*/ 2147483646 h 242"/>
                <a:gd name="T4" fmla="*/ 0 w 62"/>
                <a:gd name="T5" fmla="*/ 2147483646 h 242"/>
                <a:gd name="T6" fmla="*/ 2147483646 w 62"/>
                <a:gd name="T7" fmla="*/ 2147483646 h 242"/>
                <a:gd name="T8" fmla="*/ 2147483646 w 62"/>
                <a:gd name="T9" fmla="*/ 2147483646 h 242"/>
                <a:gd name="T10" fmla="*/ 2147483646 w 62"/>
                <a:gd name="T11" fmla="*/ 2147483646 h 242"/>
                <a:gd name="T12" fmla="*/ 2147483646 w 62"/>
                <a:gd name="T13" fmla="*/ 0 h 242"/>
                <a:gd name="T14" fmla="*/ 0 w 62"/>
                <a:gd name="T15" fmla="*/ 2147483646 h 2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242">
                  <a:moveTo>
                    <a:pt x="0" y="31"/>
                  </a:moveTo>
                  <a:lnTo>
                    <a:pt x="0" y="31"/>
                  </a:lnTo>
                  <a:lnTo>
                    <a:pt x="0" y="211"/>
                  </a:lnTo>
                  <a:cubicBezTo>
                    <a:pt x="0" y="228"/>
                    <a:pt x="14" y="242"/>
                    <a:pt x="31" y="242"/>
                  </a:cubicBezTo>
                  <a:cubicBezTo>
                    <a:pt x="48" y="242"/>
                    <a:pt x="62" y="228"/>
                    <a:pt x="62" y="211"/>
                  </a:cubicBezTo>
                  <a:lnTo>
                    <a:pt x="62" y="31"/>
                  </a:lnTo>
                  <a:cubicBezTo>
                    <a:pt x="62" y="14"/>
                    <a:pt x="48" y="0"/>
                    <a:pt x="31" y="0"/>
                  </a:cubicBezTo>
                  <a:cubicBezTo>
                    <a:pt x="14" y="0"/>
                    <a:pt x="0" y="14"/>
                    <a:pt x="0" y="31"/>
                  </a:cubicBezTo>
                  <a:close/>
                </a:path>
              </a:pathLst>
            </a:custGeom>
            <a:grpFill/>
            <a:ln w="0">
              <a:noFill/>
              <a:prstDash val="solid"/>
              <a:round/>
              <a:headEnd/>
              <a:tailEnd/>
            </a:ln>
          </p:spPr>
          <p:txBody>
            <a:bodyPr/>
            <a:lstStyle/>
            <a:p>
              <a:endParaRPr lang="zh-CN" altLang="en-US"/>
            </a:p>
          </p:txBody>
        </p:sp>
        <p:sp>
          <p:nvSpPr>
            <p:cNvPr id="175" name="Freeform 275"/>
            <p:cNvSpPr>
              <a:spLocks/>
            </p:cNvSpPr>
            <p:nvPr/>
          </p:nvSpPr>
          <p:spPr bwMode="auto">
            <a:xfrm>
              <a:off x="2178050" y="3503613"/>
              <a:ext cx="581025" cy="606425"/>
            </a:xfrm>
            <a:custGeom>
              <a:avLst/>
              <a:gdLst>
                <a:gd name="T0" fmla="*/ 2147483646 w 1236"/>
                <a:gd name="T1" fmla="*/ 2147483646 h 1287"/>
                <a:gd name="T2" fmla="*/ 2147483646 w 1236"/>
                <a:gd name="T3" fmla="*/ 2147483646 h 1287"/>
                <a:gd name="T4" fmla="*/ 2147483646 w 1236"/>
                <a:gd name="T5" fmla="*/ 2147483646 h 1287"/>
                <a:gd name="T6" fmla="*/ 2147483646 w 1236"/>
                <a:gd name="T7" fmla="*/ 0 h 1287"/>
                <a:gd name="T8" fmla="*/ 2147483646 w 1236"/>
                <a:gd name="T9" fmla="*/ 0 h 1287"/>
                <a:gd name="T10" fmla="*/ 2147483646 w 1236"/>
                <a:gd name="T11" fmla="*/ 2147483646 h 1287"/>
                <a:gd name="T12" fmla="*/ 2147483646 w 1236"/>
                <a:gd name="T13" fmla="*/ 2147483646 h 1287"/>
                <a:gd name="T14" fmla="*/ 2147483646 w 1236"/>
                <a:gd name="T15" fmla="*/ 2147483646 h 1287"/>
                <a:gd name="T16" fmla="*/ 2147483646 w 1236"/>
                <a:gd name="T17" fmla="*/ 2147483646 h 1287"/>
                <a:gd name="T18" fmla="*/ 2147483646 w 1236"/>
                <a:gd name="T19" fmla="*/ 2147483646 h 1287"/>
                <a:gd name="T20" fmla="*/ 2147483646 w 1236"/>
                <a:gd name="T21" fmla="*/ 2147483646 h 1287"/>
                <a:gd name="T22" fmla="*/ 2147483646 w 1236"/>
                <a:gd name="T23" fmla="*/ 2147483646 h 1287"/>
                <a:gd name="T24" fmla="*/ 2147483646 w 1236"/>
                <a:gd name="T25" fmla="*/ 2147483646 h 1287"/>
                <a:gd name="T26" fmla="*/ 2147483646 w 1236"/>
                <a:gd name="T27" fmla="*/ 2147483646 h 1287"/>
                <a:gd name="T28" fmla="*/ 2147483646 w 1236"/>
                <a:gd name="T29" fmla="*/ 2147483646 h 1287"/>
                <a:gd name="T30" fmla="*/ 2147483646 w 1236"/>
                <a:gd name="T31" fmla="*/ 2147483646 h 1287"/>
                <a:gd name="T32" fmla="*/ 2147483646 w 1236"/>
                <a:gd name="T33" fmla="*/ 2147483646 h 1287"/>
                <a:gd name="T34" fmla="*/ 2147483646 w 1236"/>
                <a:gd name="T35" fmla="*/ 2147483646 h 1287"/>
                <a:gd name="T36" fmla="*/ 2147483646 w 1236"/>
                <a:gd name="T37" fmla="*/ 2147483646 h 1287"/>
                <a:gd name="T38" fmla="*/ 2147483646 w 1236"/>
                <a:gd name="T39" fmla="*/ 2147483646 h 1287"/>
                <a:gd name="T40" fmla="*/ 2147483646 w 1236"/>
                <a:gd name="T41" fmla="*/ 2147483646 h 1287"/>
                <a:gd name="T42" fmla="*/ 2147483646 w 1236"/>
                <a:gd name="T43" fmla="*/ 2147483646 h 1287"/>
                <a:gd name="T44" fmla="*/ 2147483646 w 1236"/>
                <a:gd name="T45" fmla="*/ 2147483646 h 1287"/>
                <a:gd name="T46" fmla="*/ 2147483646 w 1236"/>
                <a:gd name="T47" fmla="*/ 2147483646 h 1287"/>
                <a:gd name="T48" fmla="*/ 2147483646 w 1236"/>
                <a:gd name="T49" fmla="*/ 2147483646 h 1287"/>
                <a:gd name="T50" fmla="*/ 2147483646 w 1236"/>
                <a:gd name="T51" fmla="*/ 2147483646 h 1287"/>
                <a:gd name="T52" fmla="*/ 2147483646 w 1236"/>
                <a:gd name="T53" fmla="*/ 2147483646 h 1287"/>
                <a:gd name="T54" fmla="*/ 2147483646 w 1236"/>
                <a:gd name="T55" fmla="*/ 2147483646 h 1287"/>
                <a:gd name="T56" fmla="*/ 2147483646 w 1236"/>
                <a:gd name="T57" fmla="*/ 2147483646 h 1287"/>
                <a:gd name="T58" fmla="*/ 2147483646 w 1236"/>
                <a:gd name="T59" fmla="*/ 2147483646 h 1287"/>
                <a:gd name="T60" fmla="*/ 2147483646 w 1236"/>
                <a:gd name="T61" fmla="*/ 2147483646 h 1287"/>
                <a:gd name="T62" fmla="*/ 2147483646 w 1236"/>
                <a:gd name="T63" fmla="*/ 2147483646 h 12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36" h="1287">
                  <a:moveTo>
                    <a:pt x="1232" y="1145"/>
                  </a:moveTo>
                  <a:lnTo>
                    <a:pt x="1232" y="1145"/>
                  </a:lnTo>
                  <a:lnTo>
                    <a:pt x="1085" y="96"/>
                  </a:lnTo>
                  <a:cubicBezTo>
                    <a:pt x="1077" y="42"/>
                    <a:pt x="1029" y="0"/>
                    <a:pt x="974" y="0"/>
                  </a:cubicBezTo>
                  <a:lnTo>
                    <a:pt x="262" y="0"/>
                  </a:lnTo>
                  <a:cubicBezTo>
                    <a:pt x="207" y="0"/>
                    <a:pt x="159" y="42"/>
                    <a:pt x="151" y="96"/>
                  </a:cubicBezTo>
                  <a:lnTo>
                    <a:pt x="4" y="1145"/>
                  </a:lnTo>
                  <a:cubicBezTo>
                    <a:pt x="0" y="1172"/>
                    <a:pt x="8" y="1199"/>
                    <a:pt x="25" y="1219"/>
                  </a:cubicBezTo>
                  <a:cubicBezTo>
                    <a:pt x="43" y="1239"/>
                    <a:pt x="68" y="1250"/>
                    <a:pt x="96" y="1250"/>
                  </a:cubicBezTo>
                  <a:lnTo>
                    <a:pt x="687" y="1250"/>
                  </a:lnTo>
                  <a:cubicBezTo>
                    <a:pt x="698" y="1272"/>
                    <a:pt x="721" y="1287"/>
                    <a:pt x="748" y="1287"/>
                  </a:cubicBezTo>
                  <a:cubicBezTo>
                    <a:pt x="786" y="1287"/>
                    <a:pt x="817" y="1256"/>
                    <a:pt x="817" y="1218"/>
                  </a:cubicBezTo>
                  <a:cubicBezTo>
                    <a:pt x="817" y="1179"/>
                    <a:pt x="786" y="1148"/>
                    <a:pt x="748" y="1148"/>
                  </a:cubicBezTo>
                  <a:cubicBezTo>
                    <a:pt x="720" y="1148"/>
                    <a:pt x="696" y="1165"/>
                    <a:pt x="685" y="1188"/>
                  </a:cubicBezTo>
                  <a:lnTo>
                    <a:pt x="96" y="1188"/>
                  </a:lnTo>
                  <a:cubicBezTo>
                    <a:pt x="86" y="1188"/>
                    <a:pt x="78" y="1185"/>
                    <a:pt x="72" y="1178"/>
                  </a:cubicBezTo>
                  <a:cubicBezTo>
                    <a:pt x="67" y="1172"/>
                    <a:pt x="64" y="1163"/>
                    <a:pt x="66" y="1154"/>
                  </a:cubicBezTo>
                  <a:lnTo>
                    <a:pt x="212" y="105"/>
                  </a:lnTo>
                  <a:cubicBezTo>
                    <a:pt x="216" y="82"/>
                    <a:pt x="239" y="62"/>
                    <a:pt x="262" y="62"/>
                  </a:cubicBezTo>
                  <a:lnTo>
                    <a:pt x="974" y="62"/>
                  </a:lnTo>
                  <a:cubicBezTo>
                    <a:pt x="997" y="62"/>
                    <a:pt x="1020" y="82"/>
                    <a:pt x="1024" y="105"/>
                  </a:cubicBezTo>
                  <a:lnTo>
                    <a:pt x="1170" y="1154"/>
                  </a:lnTo>
                  <a:cubicBezTo>
                    <a:pt x="1172" y="1163"/>
                    <a:pt x="1169" y="1172"/>
                    <a:pt x="1164" y="1178"/>
                  </a:cubicBezTo>
                  <a:cubicBezTo>
                    <a:pt x="1158" y="1185"/>
                    <a:pt x="1150" y="1188"/>
                    <a:pt x="1140" y="1188"/>
                  </a:cubicBezTo>
                  <a:lnTo>
                    <a:pt x="1024" y="1188"/>
                  </a:lnTo>
                  <a:cubicBezTo>
                    <a:pt x="1013" y="1164"/>
                    <a:pt x="989" y="1148"/>
                    <a:pt x="962" y="1148"/>
                  </a:cubicBezTo>
                  <a:cubicBezTo>
                    <a:pt x="923" y="1148"/>
                    <a:pt x="892" y="1179"/>
                    <a:pt x="892" y="1217"/>
                  </a:cubicBezTo>
                  <a:cubicBezTo>
                    <a:pt x="892" y="1255"/>
                    <a:pt x="923" y="1286"/>
                    <a:pt x="962" y="1286"/>
                  </a:cubicBezTo>
                  <a:cubicBezTo>
                    <a:pt x="988" y="1286"/>
                    <a:pt x="1010" y="1272"/>
                    <a:pt x="1022" y="1250"/>
                  </a:cubicBezTo>
                  <a:lnTo>
                    <a:pt x="1140" y="1250"/>
                  </a:lnTo>
                  <a:cubicBezTo>
                    <a:pt x="1168" y="1250"/>
                    <a:pt x="1193" y="1239"/>
                    <a:pt x="1211" y="1219"/>
                  </a:cubicBezTo>
                  <a:cubicBezTo>
                    <a:pt x="1228" y="1199"/>
                    <a:pt x="1236" y="1172"/>
                    <a:pt x="1232" y="1145"/>
                  </a:cubicBezTo>
                  <a:close/>
                </a:path>
              </a:pathLst>
            </a:custGeom>
            <a:grpFill/>
            <a:ln w="0">
              <a:noFill/>
              <a:prstDash val="solid"/>
              <a:round/>
              <a:headEnd/>
              <a:tailEnd/>
            </a:ln>
          </p:spPr>
          <p:txBody>
            <a:bodyPr/>
            <a:lstStyle/>
            <a:p>
              <a:endParaRPr lang="zh-CN" altLang="en-US"/>
            </a:p>
          </p:txBody>
        </p:sp>
      </p:grpSp>
      <p:sp>
        <p:nvSpPr>
          <p:cNvPr id="26" name="TextBox 25"/>
          <p:cNvSpPr txBox="1"/>
          <p:nvPr/>
        </p:nvSpPr>
        <p:spPr>
          <a:xfrm>
            <a:off x="4571771" y="5789274"/>
            <a:ext cx="1080120" cy="307777"/>
          </a:xfrm>
          <a:prstGeom prst="rect">
            <a:avLst/>
          </a:prstGeom>
          <a:noFill/>
        </p:spPr>
        <p:txBody>
          <a:bodyPr wrap="square" rtlCol="0">
            <a:spAutoFit/>
          </a:bodyPr>
          <a:lstStyle/>
          <a:p>
            <a:pPr algn="ctr"/>
            <a:r>
              <a:rPr lang="en-US" altLang="zh-CN" sz="1400" b="1" i="1" dirty="0" smtClean="0">
                <a:solidFill>
                  <a:srgbClr val="FFC000"/>
                </a:solidFill>
              </a:rPr>
              <a:t>Splitter</a:t>
            </a:r>
            <a:endParaRPr lang="zh-CN" altLang="en-US" sz="1400" b="1" i="1" dirty="0">
              <a:solidFill>
                <a:srgbClr val="FFC000"/>
              </a:solidFill>
            </a:endParaRPr>
          </a:p>
        </p:txBody>
      </p:sp>
      <p:grpSp>
        <p:nvGrpSpPr>
          <p:cNvPr id="12" name="组合 24822"/>
          <p:cNvGrpSpPr>
            <a:grpSpLocks/>
          </p:cNvGrpSpPr>
          <p:nvPr/>
        </p:nvGrpSpPr>
        <p:grpSpPr bwMode="auto">
          <a:xfrm>
            <a:off x="4705795" y="4197856"/>
            <a:ext cx="572628" cy="646113"/>
            <a:chOff x="3698875" y="612776"/>
            <a:chExt cx="655638" cy="739775"/>
          </a:xfrm>
          <a:solidFill>
            <a:schemeClr val="bg1"/>
          </a:solidFill>
        </p:grpSpPr>
        <p:sp>
          <p:nvSpPr>
            <p:cNvPr id="163" name="Freeform 105"/>
            <p:cNvSpPr>
              <a:spLocks noEditPoints="1"/>
            </p:cNvSpPr>
            <p:nvPr/>
          </p:nvSpPr>
          <p:spPr bwMode="auto">
            <a:xfrm>
              <a:off x="3698875" y="612776"/>
              <a:ext cx="655638" cy="739775"/>
            </a:xfrm>
            <a:custGeom>
              <a:avLst/>
              <a:gdLst>
                <a:gd name="T0" fmla="*/ 2147483646 w 1393"/>
                <a:gd name="T1" fmla="*/ 2147483646 h 1572"/>
                <a:gd name="T2" fmla="*/ 2147483646 w 1393"/>
                <a:gd name="T3" fmla="*/ 2147483646 h 1572"/>
                <a:gd name="T4" fmla="*/ 2147483646 w 1393"/>
                <a:gd name="T5" fmla="*/ 2147483646 h 1572"/>
                <a:gd name="T6" fmla="*/ 2147483646 w 1393"/>
                <a:gd name="T7" fmla="*/ 2147483646 h 1572"/>
                <a:gd name="T8" fmla="*/ 2147483646 w 1393"/>
                <a:gd name="T9" fmla="*/ 2147483646 h 1572"/>
                <a:gd name="T10" fmla="*/ 2147483646 w 1393"/>
                <a:gd name="T11" fmla="*/ 2147483646 h 1572"/>
                <a:gd name="T12" fmla="*/ 2147483646 w 1393"/>
                <a:gd name="T13" fmla="*/ 2147483646 h 1572"/>
                <a:gd name="T14" fmla="*/ 2147483646 w 1393"/>
                <a:gd name="T15" fmla="*/ 2147483646 h 1572"/>
                <a:gd name="T16" fmla="*/ 2147483646 w 1393"/>
                <a:gd name="T17" fmla="*/ 0 h 1572"/>
                <a:gd name="T18" fmla="*/ 2147483646 w 1393"/>
                <a:gd name="T19" fmla="*/ 0 h 1572"/>
                <a:gd name="T20" fmla="*/ 2147483646 w 1393"/>
                <a:gd name="T21" fmla="*/ 0 h 1572"/>
                <a:gd name="T22" fmla="*/ 0 w 1393"/>
                <a:gd name="T23" fmla="*/ 2147483646 h 1572"/>
                <a:gd name="T24" fmla="*/ 0 w 1393"/>
                <a:gd name="T25" fmla="*/ 2147483646 h 1572"/>
                <a:gd name="T26" fmla="*/ 2147483646 w 1393"/>
                <a:gd name="T27" fmla="*/ 2147483646 h 1572"/>
                <a:gd name="T28" fmla="*/ 2147483646 w 1393"/>
                <a:gd name="T29" fmla="*/ 2147483646 h 1572"/>
                <a:gd name="T30" fmla="*/ 2147483646 w 1393"/>
                <a:gd name="T31" fmla="*/ 2147483646 h 1572"/>
                <a:gd name="T32" fmla="*/ 2147483646 w 1393"/>
                <a:gd name="T33" fmla="*/ 2147483646 h 1572"/>
                <a:gd name="T34" fmla="*/ 2147483646 w 1393"/>
                <a:gd name="T35" fmla="*/ 2147483646 h 1572"/>
                <a:gd name="T36" fmla="*/ 2147483646 w 1393"/>
                <a:gd name="T37" fmla="*/ 2147483646 h 1572"/>
                <a:gd name="T38" fmla="*/ 2147483646 w 1393"/>
                <a:gd name="T39" fmla="*/ 2147483646 h 1572"/>
                <a:gd name="T40" fmla="*/ 2147483646 w 1393"/>
                <a:gd name="T41" fmla="*/ 2147483646 h 1572"/>
                <a:gd name="T42" fmla="*/ 2147483646 w 1393"/>
                <a:gd name="T43" fmla="*/ 2147483646 h 1572"/>
                <a:gd name="T44" fmla="*/ 2147483646 w 1393"/>
                <a:gd name="T45" fmla="*/ 2147483646 h 1572"/>
                <a:gd name="T46" fmla="*/ 2147483646 w 1393"/>
                <a:gd name="T47" fmla="*/ 2147483646 h 1572"/>
                <a:gd name="T48" fmla="*/ 2147483646 w 1393"/>
                <a:gd name="T49" fmla="*/ 2147483646 h 1572"/>
                <a:gd name="T50" fmla="*/ 2147483646 w 1393"/>
                <a:gd name="T51" fmla="*/ 2147483646 h 1572"/>
                <a:gd name="T52" fmla="*/ 2147483646 w 1393"/>
                <a:gd name="T53" fmla="*/ 2147483646 h 1572"/>
                <a:gd name="T54" fmla="*/ 2147483646 w 1393"/>
                <a:gd name="T55" fmla="*/ 2147483646 h 1572"/>
                <a:gd name="T56" fmla="*/ 2147483646 w 1393"/>
                <a:gd name="T57" fmla="*/ 2147483646 h 1572"/>
                <a:gd name="T58" fmla="*/ 2147483646 w 1393"/>
                <a:gd name="T59" fmla="*/ 2147483646 h 1572"/>
                <a:gd name="T60" fmla="*/ 2147483646 w 1393"/>
                <a:gd name="T61" fmla="*/ 2147483646 h 1572"/>
                <a:gd name="T62" fmla="*/ 2147483646 w 1393"/>
                <a:gd name="T63" fmla="*/ 2147483646 h 1572"/>
                <a:gd name="T64" fmla="*/ 2147483646 w 1393"/>
                <a:gd name="T65" fmla="*/ 2147483646 h 1572"/>
                <a:gd name="T66" fmla="*/ 2147483646 w 1393"/>
                <a:gd name="T67" fmla="*/ 0 h 157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93" h="1572">
                  <a:moveTo>
                    <a:pt x="66" y="851"/>
                  </a:moveTo>
                  <a:lnTo>
                    <a:pt x="66" y="851"/>
                  </a:lnTo>
                  <a:lnTo>
                    <a:pt x="66" y="117"/>
                  </a:lnTo>
                  <a:cubicBezTo>
                    <a:pt x="66" y="89"/>
                    <a:pt x="93" y="67"/>
                    <a:pt x="127" y="67"/>
                  </a:cubicBezTo>
                  <a:lnTo>
                    <a:pt x="1266" y="67"/>
                  </a:lnTo>
                  <a:cubicBezTo>
                    <a:pt x="1299" y="67"/>
                    <a:pt x="1326" y="89"/>
                    <a:pt x="1326" y="117"/>
                  </a:cubicBezTo>
                  <a:lnTo>
                    <a:pt x="1326" y="851"/>
                  </a:lnTo>
                  <a:lnTo>
                    <a:pt x="66" y="851"/>
                  </a:lnTo>
                  <a:close/>
                  <a:moveTo>
                    <a:pt x="1266" y="0"/>
                  </a:moveTo>
                  <a:lnTo>
                    <a:pt x="1266" y="0"/>
                  </a:lnTo>
                  <a:lnTo>
                    <a:pt x="127" y="0"/>
                  </a:lnTo>
                  <a:cubicBezTo>
                    <a:pt x="57" y="0"/>
                    <a:pt x="0" y="53"/>
                    <a:pt x="0" y="117"/>
                  </a:cubicBezTo>
                  <a:lnTo>
                    <a:pt x="0" y="1419"/>
                  </a:lnTo>
                  <a:cubicBezTo>
                    <a:pt x="0" y="1483"/>
                    <a:pt x="57" y="1536"/>
                    <a:pt x="127" y="1536"/>
                  </a:cubicBezTo>
                  <a:lnTo>
                    <a:pt x="839" y="1536"/>
                  </a:lnTo>
                  <a:cubicBezTo>
                    <a:pt x="851" y="1557"/>
                    <a:pt x="874" y="1572"/>
                    <a:pt x="900" y="1572"/>
                  </a:cubicBezTo>
                  <a:cubicBezTo>
                    <a:pt x="938" y="1572"/>
                    <a:pt x="969" y="1540"/>
                    <a:pt x="969" y="1502"/>
                  </a:cubicBezTo>
                  <a:cubicBezTo>
                    <a:pt x="969" y="1464"/>
                    <a:pt x="938" y="1433"/>
                    <a:pt x="900" y="1433"/>
                  </a:cubicBezTo>
                  <a:cubicBezTo>
                    <a:pt x="874" y="1433"/>
                    <a:pt x="851" y="1448"/>
                    <a:pt x="839" y="1469"/>
                  </a:cubicBezTo>
                  <a:lnTo>
                    <a:pt x="127" y="1469"/>
                  </a:lnTo>
                  <a:cubicBezTo>
                    <a:pt x="93" y="1469"/>
                    <a:pt x="66" y="1446"/>
                    <a:pt x="66" y="1419"/>
                  </a:cubicBezTo>
                  <a:lnTo>
                    <a:pt x="66" y="918"/>
                  </a:lnTo>
                  <a:lnTo>
                    <a:pt x="1326" y="918"/>
                  </a:lnTo>
                  <a:lnTo>
                    <a:pt x="1326" y="1419"/>
                  </a:lnTo>
                  <a:cubicBezTo>
                    <a:pt x="1326" y="1446"/>
                    <a:pt x="1299" y="1469"/>
                    <a:pt x="1266" y="1469"/>
                  </a:cubicBezTo>
                  <a:lnTo>
                    <a:pt x="1174" y="1469"/>
                  </a:lnTo>
                  <a:cubicBezTo>
                    <a:pt x="1162" y="1448"/>
                    <a:pt x="1139" y="1433"/>
                    <a:pt x="1113" y="1433"/>
                  </a:cubicBezTo>
                  <a:cubicBezTo>
                    <a:pt x="1074" y="1433"/>
                    <a:pt x="1044" y="1464"/>
                    <a:pt x="1044" y="1502"/>
                  </a:cubicBezTo>
                  <a:cubicBezTo>
                    <a:pt x="1044" y="1540"/>
                    <a:pt x="1074" y="1572"/>
                    <a:pt x="1113" y="1572"/>
                  </a:cubicBezTo>
                  <a:cubicBezTo>
                    <a:pt x="1139" y="1572"/>
                    <a:pt x="1162" y="1557"/>
                    <a:pt x="1174" y="1536"/>
                  </a:cubicBezTo>
                  <a:lnTo>
                    <a:pt x="1266" y="1536"/>
                  </a:lnTo>
                  <a:cubicBezTo>
                    <a:pt x="1336" y="1536"/>
                    <a:pt x="1393" y="1483"/>
                    <a:pt x="1393" y="1419"/>
                  </a:cubicBezTo>
                  <a:lnTo>
                    <a:pt x="1393" y="117"/>
                  </a:lnTo>
                  <a:cubicBezTo>
                    <a:pt x="1393" y="53"/>
                    <a:pt x="1336" y="0"/>
                    <a:pt x="1266" y="0"/>
                  </a:cubicBezTo>
                  <a:close/>
                </a:path>
              </a:pathLst>
            </a:custGeom>
            <a:grpFill/>
            <a:ln w="0">
              <a:noFill/>
              <a:prstDash val="solid"/>
              <a:round/>
              <a:headEnd/>
              <a:tailEnd/>
            </a:ln>
          </p:spPr>
          <p:txBody>
            <a:bodyPr/>
            <a:lstStyle/>
            <a:p>
              <a:endParaRPr lang="zh-CN" altLang="en-US"/>
            </a:p>
          </p:txBody>
        </p:sp>
        <p:sp>
          <p:nvSpPr>
            <p:cNvPr id="164" name="Freeform 106"/>
            <p:cNvSpPr>
              <a:spLocks/>
            </p:cNvSpPr>
            <p:nvPr/>
          </p:nvSpPr>
          <p:spPr bwMode="auto">
            <a:xfrm>
              <a:off x="3873500" y="1081088"/>
              <a:ext cx="82550" cy="190500"/>
            </a:xfrm>
            <a:custGeom>
              <a:avLst/>
              <a:gdLst>
                <a:gd name="T0" fmla="*/ 2147483646 w 176"/>
                <a:gd name="T1" fmla="*/ 2147483646 h 406"/>
                <a:gd name="T2" fmla="*/ 2147483646 w 176"/>
                <a:gd name="T3" fmla="*/ 2147483646 h 406"/>
                <a:gd name="T4" fmla="*/ 2147483646 w 176"/>
                <a:gd name="T5" fmla="*/ 2147483646 h 406"/>
                <a:gd name="T6" fmla="*/ 2147483646 w 176"/>
                <a:gd name="T7" fmla="*/ 2147483646 h 406"/>
                <a:gd name="T8" fmla="*/ 2147483646 w 176"/>
                <a:gd name="T9" fmla="*/ 2147483646 h 406"/>
                <a:gd name="T10" fmla="*/ 2147483646 w 176"/>
                <a:gd name="T11" fmla="*/ 2147483646 h 406"/>
                <a:gd name="T12" fmla="*/ 2147483646 w 176"/>
                <a:gd name="T13" fmla="*/ 2147483646 h 406"/>
                <a:gd name="T14" fmla="*/ 2147483646 w 176"/>
                <a:gd name="T15" fmla="*/ 2147483646 h 406"/>
                <a:gd name="T16" fmla="*/ 2147483646 w 176"/>
                <a:gd name="T17" fmla="*/ 2147483646 h 406"/>
                <a:gd name="T18" fmla="*/ 2147483646 w 176"/>
                <a:gd name="T19" fmla="*/ 2147483646 h 406"/>
                <a:gd name="T20" fmla="*/ 2147483646 w 176"/>
                <a:gd name="T21" fmla="*/ 2147483646 h 406"/>
                <a:gd name="T22" fmla="*/ 2147483646 w 176"/>
                <a:gd name="T23" fmla="*/ 2147483646 h 406"/>
                <a:gd name="T24" fmla="*/ 2147483646 w 176"/>
                <a:gd name="T25" fmla="*/ 2147483646 h 406"/>
                <a:gd name="T26" fmla="*/ 2147483646 w 176"/>
                <a:gd name="T27" fmla="*/ 2147483646 h 406"/>
                <a:gd name="T28" fmla="*/ 2147483646 w 176"/>
                <a:gd name="T29" fmla="*/ 2147483646 h 406"/>
                <a:gd name="T30" fmla="*/ 2147483646 w 176"/>
                <a:gd name="T31" fmla="*/ 2147483646 h 4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6" h="406">
                  <a:moveTo>
                    <a:pt x="119" y="110"/>
                  </a:moveTo>
                  <a:lnTo>
                    <a:pt x="119" y="110"/>
                  </a:lnTo>
                  <a:cubicBezTo>
                    <a:pt x="119" y="110"/>
                    <a:pt x="157" y="106"/>
                    <a:pt x="165" y="106"/>
                  </a:cubicBezTo>
                  <a:cubicBezTo>
                    <a:pt x="174" y="106"/>
                    <a:pt x="173" y="98"/>
                    <a:pt x="174" y="83"/>
                  </a:cubicBezTo>
                  <a:cubicBezTo>
                    <a:pt x="176" y="67"/>
                    <a:pt x="175" y="41"/>
                    <a:pt x="174" y="30"/>
                  </a:cubicBezTo>
                  <a:cubicBezTo>
                    <a:pt x="173" y="12"/>
                    <a:pt x="168" y="0"/>
                    <a:pt x="145" y="3"/>
                  </a:cubicBezTo>
                  <a:cubicBezTo>
                    <a:pt x="129" y="5"/>
                    <a:pt x="72" y="9"/>
                    <a:pt x="43" y="25"/>
                  </a:cubicBezTo>
                  <a:cubicBezTo>
                    <a:pt x="14" y="41"/>
                    <a:pt x="3" y="91"/>
                    <a:pt x="2" y="118"/>
                  </a:cubicBezTo>
                  <a:cubicBezTo>
                    <a:pt x="1" y="166"/>
                    <a:pt x="0" y="298"/>
                    <a:pt x="10" y="334"/>
                  </a:cubicBezTo>
                  <a:cubicBezTo>
                    <a:pt x="20" y="375"/>
                    <a:pt x="44" y="391"/>
                    <a:pt x="82" y="396"/>
                  </a:cubicBezTo>
                  <a:cubicBezTo>
                    <a:pt x="120" y="401"/>
                    <a:pt x="169" y="406"/>
                    <a:pt x="170" y="381"/>
                  </a:cubicBezTo>
                  <a:lnTo>
                    <a:pt x="166" y="327"/>
                  </a:lnTo>
                  <a:cubicBezTo>
                    <a:pt x="166" y="327"/>
                    <a:pt x="166" y="298"/>
                    <a:pt x="147" y="298"/>
                  </a:cubicBezTo>
                  <a:cubicBezTo>
                    <a:pt x="136" y="298"/>
                    <a:pt x="110" y="300"/>
                    <a:pt x="106" y="278"/>
                  </a:cubicBezTo>
                  <a:cubicBezTo>
                    <a:pt x="102" y="257"/>
                    <a:pt x="105" y="120"/>
                    <a:pt x="105" y="120"/>
                  </a:cubicBezTo>
                  <a:cubicBezTo>
                    <a:pt x="105" y="120"/>
                    <a:pt x="106" y="110"/>
                    <a:pt x="119" y="110"/>
                  </a:cubicBezTo>
                  <a:close/>
                </a:path>
              </a:pathLst>
            </a:custGeom>
            <a:grpFill/>
            <a:ln w="0">
              <a:noFill/>
              <a:prstDash val="solid"/>
              <a:round/>
              <a:headEnd/>
              <a:tailEnd/>
            </a:ln>
          </p:spPr>
          <p:txBody>
            <a:bodyPr/>
            <a:lstStyle/>
            <a:p>
              <a:endParaRPr lang="zh-CN" altLang="en-US"/>
            </a:p>
          </p:txBody>
        </p:sp>
        <p:sp>
          <p:nvSpPr>
            <p:cNvPr id="165" name="Freeform 107"/>
            <p:cNvSpPr>
              <a:spLocks noEditPoints="1"/>
            </p:cNvSpPr>
            <p:nvPr/>
          </p:nvSpPr>
          <p:spPr bwMode="auto">
            <a:xfrm>
              <a:off x="4006850" y="1082676"/>
              <a:ext cx="177800" cy="176213"/>
            </a:xfrm>
            <a:custGeom>
              <a:avLst/>
              <a:gdLst>
                <a:gd name="T0" fmla="*/ 2147483646 w 379"/>
                <a:gd name="T1" fmla="*/ 2147483646 h 375"/>
                <a:gd name="T2" fmla="*/ 2147483646 w 379"/>
                <a:gd name="T3" fmla="*/ 2147483646 h 375"/>
                <a:gd name="T4" fmla="*/ 2147483646 w 379"/>
                <a:gd name="T5" fmla="*/ 2147483646 h 375"/>
                <a:gd name="T6" fmla="*/ 2147483646 w 379"/>
                <a:gd name="T7" fmla="*/ 2147483646 h 375"/>
                <a:gd name="T8" fmla="*/ 2147483646 w 379"/>
                <a:gd name="T9" fmla="*/ 2147483646 h 375"/>
                <a:gd name="T10" fmla="*/ 2147483646 w 379"/>
                <a:gd name="T11" fmla="*/ 2147483646 h 375"/>
                <a:gd name="T12" fmla="*/ 2147483646 w 379"/>
                <a:gd name="T13" fmla="*/ 2147483646 h 375"/>
                <a:gd name="T14" fmla="*/ 2147483646 w 379"/>
                <a:gd name="T15" fmla="*/ 2147483646 h 375"/>
                <a:gd name="T16" fmla="*/ 2147483646 w 379"/>
                <a:gd name="T17" fmla="*/ 2147483646 h 375"/>
                <a:gd name="T18" fmla="*/ 2147483646 w 379"/>
                <a:gd name="T19" fmla="*/ 2147483646 h 375"/>
                <a:gd name="T20" fmla="*/ 2147483646 w 379"/>
                <a:gd name="T21" fmla="*/ 2147483646 h 375"/>
                <a:gd name="T22" fmla="*/ 2147483646 w 379"/>
                <a:gd name="T23" fmla="*/ 2147483646 h 375"/>
                <a:gd name="T24" fmla="*/ 2147483646 w 379"/>
                <a:gd name="T25" fmla="*/ 2147483646 h 375"/>
                <a:gd name="T26" fmla="*/ 2147483646 w 379"/>
                <a:gd name="T27" fmla="*/ 2147483646 h 375"/>
                <a:gd name="T28" fmla="*/ 2147483646 w 379"/>
                <a:gd name="T29" fmla="*/ 2147483646 h 375"/>
                <a:gd name="T30" fmla="*/ 2147483646 w 379"/>
                <a:gd name="T31" fmla="*/ 2147483646 h 375"/>
                <a:gd name="T32" fmla="*/ 2147483646 w 379"/>
                <a:gd name="T33" fmla="*/ 0 h 375"/>
                <a:gd name="T34" fmla="*/ 2147483646 w 379"/>
                <a:gd name="T35" fmla="*/ 0 h 375"/>
                <a:gd name="T36" fmla="*/ 2147483646 w 379"/>
                <a:gd name="T37" fmla="*/ 0 h 375"/>
                <a:gd name="T38" fmla="*/ 0 w 379"/>
                <a:gd name="T39" fmla="*/ 2147483646 h 375"/>
                <a:gd name="T40" fmla="*/ 0 w 379"/>
                <a:gd name="T41" fmla="*/ 2147483646 h 375"/>
                <a:gd name="T42" fmla="*/ 2147483646 w 379"/>
                <a:gd name="T43" fmla="*/ 2147483646 h 375"/>
                <a:gd name="T44" fmla="*/ 2147483646 w 379"/>
                <a:gd name="T45" fmla="*/ 2147483646 h 375"/>
                <a:gd name="T46" fmla="*/ 2147483646 w 379"/>
                <a:gd name="T47" fmla="*/ 2147483646 h 375"/>
                <a:gd name="T48" fmla="*/ 2147483646 w 379"/>
                <a:gd name="T49" fmla="*/ 2147483646 h 375"/>
                <a:gd name="T50" fmla="*/ 2147483646 w 379"/>
                <a:gd name="T51" fmla="*/ 2147483646 h 375"/>
                <a:gd name="T52" fmla="*/ 2147483646 w 379"/>
                <a:gd name="T53" fmla="*/ 2147483646 h 375"/>
                <a:gd name="T54" fmla="*/ 2147483646 w 379"/>
                <a:gd name="T55" fmla="*/ 2147483646 h 375"/>
                <a:gd name="T56" fmla="*/ 2147483646 w 379"/>
                <a:gd name="T57" fmla="*/ 2147483646 h 375"/>
                <a:gd name="T58" fmla="*/ 2147483646 w 379"/>
                <a:gd name="T59" fmla="*/ 2147483646 h 375"/>
                <a:gd name="T60" fmla="*/ 2147483646 w 379"/>
                <a:gd name="T61" fmla="*/ 2147483646 h 375"/>
                <a:gd name="T62" fmla="*/ 2147483646 w 379"/>
                <a:gd name="T63" fmla="*/ 2147483646 h 375"/>
                <a:gd name="T64" fmla="*/ 2147483646 w 379"/>
                <a:gd name="T65" fmla="*/ 2147483646 h 375"/>
                <a:gd name="T66" fmla="*/ 2147483646 w 379"/>
                <a:gd name="T67" fmla="*/ 2147483646 h 375"/>
                <a:gd name="T68" fmla="*/ 2147483646 w 379"/>
                <a:gd name="T69" fmla="*/ 2147483646 h 375"/>
                <a:gd name="T70" fmla="*/ 2147483646 w 379"/>
                <a:gd name="T71" fmla="*/ 0 h 3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79" h="375">
                  <a:moveTo>
                    <a:pt x="326" y="216"/>
                  </a:moveTo>
                  <a:lnTo>
                    <a:pt x="326" y="216"/>
                  </a:lnTo>
                  <a:cubicBezTo>
                    <a:pt x="326" y="225"/>
                    <a:pt x="319" y="232"/>
                    <a:pt x="310" y="232"/>
                  </a:cubicBezTo>
                  <a:lnTo>
                    <a:pt x="69" y="232"/>
                  </a:lnTo>
                  <a:cubicBezTo>
                    <a:pt x="60" y="232"/>
                    <a:pt x="53" y="225"/>
                    <a:pt x="53" y="216"/>
                  </a:cubicBezTo>
                  <a:lnTo>
                    <a:pt x="53" y="69"/>
                  </a:lnTo>
                  <a:cubicBezTo>
                    <a:pt x="53" y="61"/>
                    <a:pt x="60" y="53"/>
                    <a:pt x="69" y="53"/>
                  </a:cubicBezTo>
                  <a:lnTo>
                    <a:pt x="310" y="53"/>
                  </a:lnTo>
                  <a:cubicBezTo>
                    <a:pt x="319" y="53"/>
                    <a:pt x="326" y="61"/>
                    <a:pt x="326" y="69"/>
                  </a:cubicBezTo>
                  <a:lnTo>
                    <a:pt x="326" y="216"/>
                  </a:lnTo>
                  <a:close/>
                  <a:moveTo>
                    <a:pt x="229" y="322"/>
                  </a:moveTo>
                  <a:lnTo>
                    <a:pt x="229" y="322"/>
                  </a:lnTo>
                  <a:lnTo>
                    <a:pt x="150" y="322"/>
                  </a:lnTo>
                  <a:lnTo>
                    <a:pt x="150" y="286"/>
                  </a:lnTo>
                  <a:lnTo>
                    <a:pt x="229" y="286"/>
                  </a:lnTo>
                  <a:lnTo>
                    <a:pt x="229" y="322"/>
                  </a:lnTo>
                  <a:close/>
                  <a:moveTo>
                    <a:pt x="310" y="0"/>
                  </a:moveTo>
                  <a:lnTo>
                    <a:pt x="310" y="0"/>
                  </a:lnTo>
                  <a:lnTo>
                    <a:pt x="69" y="0"/>
                  </a:lnTo>
                  <a:cubicBezTo>
                    <a:pt x="31" y="0"/>
                    <a:pt x="0" y="31"/>
                    <a:pt x="0" y="69"/>
                  </a:cubicBezTo>
                  <a:lnTo>
                    <a:pt x="0" y="216"/>
                  </a:lnTo>
                  <a:cubicBezTo>
                    <a:pt x="0" y="255"/>
                    <a:pt x="31" y="286"/>
                    <a:pt x="69" y="286"/>
                  </a:cubicBezTo>
                  <a:lnTo>
                    <a:pt x="96" y="286"/>
                  </a:lnTo>
                  <a:lnTo>
                    <a:pt x="96" y="322"/>
                  </a:lnTo>
                  <a:lnTo>
                    <a:pt x="52" y="322"/>
                  </a:lnTo>
                  <a:cubicBezTo>
                    <a:pt x="37" y="322"/>
                    <a:pt x="25" y="334"/>
                    <a:pt x="25" y="349"/>
                  </a:cubicBezTo>
                  <a:cubicBezTo>
                    <a:pt x="25" y="363"/>
                    <a:pt x="37" y="375"/>
                    <a:pt x="52" y="375"/>
                  </a:cubicBezTo>
                  <a:lnTo>
                    <a:pt x="327" y="375"/>
                  </a:lnTo>
                  <a:cubicBezTo>
                    <a:pt x="342" y="375"/>
                    <a:pt x="354" y="363"/>
                    <a:pt x="354" y="349"/>
                  </a:cubicBezTo>
                  <a:cubicBezTo>
                    <a:pt x="354" y="334"/>
                    <a:pt x="342" y="322"/>
                    <a:pt x="327" y="322"/>
                  </a:cubicBezTo>
                  <a:lnTo>
                    <a:pt x="283" y="322"/>
                  </a:lnTo>
                  <a:lnTo>
                    <a:pt x="283" y="286"/>
                  </a:lnTo>
                  <a:lnTo>
                    <a:pt x="310" y="286"/>
                  </a:lnTo>
                  <a:cubicBezTo>
                    <a:pt x="348" y="286"/>
                    <a:pt x="379" y="255"/>
                    <a:pt x="379" y="216"/>
                  </a:cubicBezTo>
                  <a:lnTo>
                    <a:pt x="379" y="69"/>
                  </a:lnTo>
                  <a:cubicBezTo>
                    <a:pt x="379" y="31"/>
                    <a:pt x="348" y="0"/>
                    <a:pt x="310" y="0"/>
                  </a:cubicBezTo>
                  <a:close/>
                </a:path>
              </a:pathLst>
            </a:custGeom>
            <a:grpFill/>
            <a:ln w="0">
              <a:noFill/>
              <a:prstDash val="solid"/>
              <a:round/>
              <a:headEnd/>
              <a:tailEnd/>
            </a:ln>
          </p:spPr>
          <p:txBody>
            <a:bodyPr/>
            <a:lstStyle/>
            <a:p>
              <a:endParaRPr lang="zh-CN" altLang="en-US"/>
            </a:p>
          </p:txBody>
        </p:sp>
        <p:sp>
          <p:nvSpPr>
            <p:cNvPr id="166" name="Freeform 108"/>
            <p:cNvSpPr>
              <a:spLocks noEditPoints="1"/>
            </p:cNvSpPr>
            <p:nvPr/>
          </p:nvSpPr>
          <p:spPr bwMode="auto">
            <a:xfrm>
              <a:off x="3954463" y="771526"/>
              <a:ext cx="119063" cy="119063"/>
            </a:xfrm>
            <a:custGeom>
              <a:avLst/>
              <a:gdLst>
                <a:gd name="T0" fmla="*/ 2147483646 w 252"/>
                <a:gd name="T1" fmla="*/ 2147483646 h 253"/>
                <a:gd name="T2" fmla="*/ 2147483646 w 252"/>
                <a:gd name="T3" fmla="*/ 2147483646 h 253"/>
                <a:gd name="T4" fmla="*/ 2147483646 w 252"/>
                <a:gd name="T5" fmla="*/ 2147483646 h 253"/>
                <a:gd name="T6" fmla="*/ 2147483646 w 252"/>
                <a:gd name="T7" fmla="*/ 2147483646 h 253"/>
                <a:gd name="T8" fmla="*/ 2147483646 w 252"/>
                <a:gd name="T9" fmla="*/ 2147483646 h 253"/>
                <a:gd name="T10" fmla="*/ 2147483646 w 252"/>
                <a:gd name="T11" fmla="*/ 2147483646 h 253"/>
                <a:gd name="T12" fmla="*/ 2147483646 w 252"/>
                <a:gd name="T13" fmla="*/ 0 h 253"/>
                <a:gd name="T14" fmla="*/ 2147483646 w 252"/>
                <a:gd name="T15" fmla="*/ 0 h 253"/>
                <a:gd name="T16" fmla="*/ 0 w 252"/>
                <a:gd name="T17" fmla="*/ 2147483646 h 253"/>
                <a:gd name="T18" fmla="*/ 2147483646 w 252"/>
                <a:gd name="T19" fmla="*/ 2147483646 h 253"/>
                <a:gd name="T20" fmla="*/ 2147483646 w 252"/>
                <a:gd name="T21" fmla="*/ 2147483646 h 253"/>
                <a:gd name="T22" fmla="*/ 2147483646 w 252"/>
                <a:gd name="T23" fmla="*/ 0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2" h="253">
                  <a:moveTo>
                    <a:pt x="126" y="186"/>
                  </a:moveTo>
                  <a:lnTo>
                    <a:pt x="126" y="186"/>
                  </a:lnTo>
                  <a:cubicBezTo>
                    <a:pt x="93" y="186"/>
                    <a:pt x="67" y="160"/>
                    <a:pt x="67" y="127"/>
                  </a:cubicBezTo>
                  <a:cubicBezTo>
                    <a:pt x="67" y="94"/>
                    <a:pt x="93" y="67"/>
                    <a:pt x="126" y="67"/>
                  </a:cubicBezTo>
                  <a:cubicBezTo>
                    <a:pt x="159" y="67"/>
                    <a:pt x="186" y="94"/>
                    <a:pt x="186" y="127"/>
                  </a:cubicBezTo>
                  <a:cubicBezTo>
                    <a:pt x="186" y="160"/>
                    <a:pt x="159" y="186"/>
                    <a:pt x="126" y="186"/>
                  </a:cubicBezTo>
                  <a:close/>
                  <a:moveTo>
                    <a:pt x="126" y="0"/>
                  </a:moveTo>
                  <a:lnTo>
                    <a:pt x="126" y="0"/>
                  </a:lnTo>
                  <a:cubicBezTo>
                    <a:pt x="56" y="0"/>
                    <a:pt x="0" y="57"/>
                    <a:pt x="0" y="127"/>
                  </a:cubicBezTo>
                  <a:cubicBezTo>
                    <a:pt x="0" y="196"/>
                    <a:pt x="56" y="253"/>
                    <a:pt x="126" y="253"/>
                  </a:cubicBezTo>
                  <a:cubicBezTo>
                    <a:pt x="196" y="253"/>
                    <a:pt x="252" y="196"/>
                    <a:pt x="252" y="127"/>
                  </a:cubicBezTo>
                  <a:cubicBezTo>
                    <a:pt x="252" y="57"/>
                    <a:pt x="196" y="0"/>
                    <a:pt x="126" y="0"/>
                  </a:cubicBezTo>
                  <a:close/>
                </a:path>
              </a:pathLst>
            </a:custGeom>
            <a:grpFill/>
            <a:ln w="0">
              <a:noFill/>
              <a:prstDash val="solid"/>
              <a:round/>
              <a:headEnd/>
              <a:tailEnd/>
            </a:ln>
          </p:spPr>
          <p:txBody>
            <a:bodyPr/>
            <a:lstStyle/>
            <a:p>
              <a:endParaRPr lang="zh-CN" altLang="en-US"/>
            </a:p>
          </p:txBody>
        </p:sp>
        <p:sp>
          <p:nvSpPr>
            <p:cNvPr id="167" name="Freeform 109"/>
            <p:cNvSpPr>
              <a:spLocks/>
            </p:cNvSpPr>
            <p:nvPr/>
          </p:nvSpPr>
          <p:spPr bwMode="auto">
            <a:xfrm>
              <a:off x="3786188" y="790576"/>
              <a:ext cx="142875" cy="80963"/>
            </a:xfrm>
            <a:custGeom>
              <a:avLst/>
              <a:gdLst>
                <a:gd name="T0" fmla="*/ 2147483646 w 301"/>
                <a:gd name="T1" fmla="*/ 2147483646 h 171"/>
                <a:gd name="T2" fmla="*/ 2147483646 w 301"/>
                <a:gd name="T3" fmla="*/ 2147483646 h 171"/>
                <a:gd name="T4" fmla="*/ 0 w 301"/>
                <a:gd name="T5" fmla="*/ 2147483646 h 171"/>
                <a:gd name="T6" fmla="*/ 0 w 301"/>
                <a:gd name="T7" fmla="*/ 2147483646 h 171"/>
                <a:gd name="T8" fmla="*/ 2147483646 w 301"/>
                <a:gd name="T9" fmla="*/ 2147483646 h 171"/>
                <a:gd name="T10" fmla="*/ 2147483646 w 301"/>
                <a:gd name="T11" fmla="*/ 2147483646 h 171"/>
                <a:gd name="T12" fmla="*/ 2147483646 w 301"/>
                <a:gd name="T13" fmla="*/ 2147483646 h 171"/>
                <a:gd name="T14" fmla="*/ 2147483646 w 301"/>
                <a:gd name="T15" fmla="*/ 0 h 171"/>
                <a:gd name="T16" fmla="*/ 2147483646 w 301"/>
                <a:gd name="T17" fmla="*/ 214748364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1" h="171">
                  <a:moveTo>
                    <a:pt x="204" y="59"/>
                  </a:moveTo>
                  <a:lnTo>
                    <a:pt x="204" y="59"/>
                  </a:lnTo>
                  <a:lnTo>
                    <a:pt x="0" y="59"/>
                  </a:lnTo>
                  <a:lnTo>
                    <a:pt x="0" y="112"/>
                  </a:lnTo>
                  <a:lnTo>
                    <a:pt x="204" y="112"/>
                  </a:lnTo>
                  <a:lnTo>
                    <a:pt x="204" y="171"/>
                  </a:lnTo>
                  <a:lnTo>
                    <a:pt x="301" y="86"/>
                  </a:lnTo>
                  <a:lnTo>
                    <a:pt x="204" y="0"/>
                  </a:lnTo>
                  <a:lnTo>
                    <a:pt x="204" y="59"/>
                  </a:lnTo>
                  <a:close/>
                </a:path>
              </a:pathLst>
            </a:custGeom>
            <a:grpFill/>
            <a:ln w="0">
              <a:noFill/>
              <a:prstDash val="solid"/>
              <a:round/>
              <a:headEnd/>
              <a:tailEnd/>
            </a:ln>
          </p:spPr>
          <p:txBody>
            <a:bodyPr/>
            <a:lstStyle/>
            <a:p>
              <a:endParaRPr lang="zh-CN" altLang="en-US"/>
            </a:p>
          </p:txBody>
        </p:sp>
        <p:sp>
          <p:nvSpPr>
            <p:cNvPr id="168" name="Freeform 110"/>
            <p:cNvSpPr>
              <a:spLocks/>
            </p:cNvSpPr>
            <p:nvPr/>
          </p:nvSpPr>
          <p:spPr bwMode="auto">
            <a:xfrm>
              <a:off x="4111625" y="790576"/>
              <a:ext cx="152400" cy="80963"/>
            </a:xfrm>
            <a:custGeom>
              <a:avLst/>
              <a:gdLst>
                <a:gd name="T0" fmla="*/ 2147483646 w 321"/>
                <a:gd name="T1" fmla="*/ 2147483646 h 171"/>
                <a:gd name="T2" fmla="*/ 2147483646 w 321"/>
                <a:gd name="T3" fmla="*/ 2147483646 h 171"/>
                <a:gd name="T4" fmla="*/ 0 w 321"/>
                <a:gd name="T5" fmla="*/ 2147483646 h 171"/>
                <a:gd name="T6" fmla="*/ 0 w 321"/>
                <a:gd name="T7" fmla="*/ 2147483646 h 171"/>
                <a:gd name="T8" fmla="*/ 2147483646 w 321"/>
                <a:gd name="T9" fmla="*/ 2147483646 h 171"/>
                <a:gd name="T10" fmla="*/ 2147483646 w 321"/>
                <a:gd name="T11" fmla="*/ 2147483646 h 171"/>
                <a:gd name="T12" fmla="*/ 2147483646 w 321"/>
                <a:gd name="T13" fmla="*/ 2147483646 h 171"/>
                <a:gd name="T14" fmla="*/ 2147483646 w 321"/>
                <a:gd name="T15" fmla="*/ 0 h 171"/>
                <a:gd name="T16" fmla="*/ 2147483646 w 321"/>
                <a:gd name="T17" fmla="*/ 214748364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1" h="171">
                  <a:moveTo>
                    <a:pt x="224" y="57"/>
                  </a:moveTo>
                  <a:lnTo>
                    <a:pt x="224" y="57"/>
                  </a:lnTo>
                  <a:lnTo>
                    <a:pt x="0" y="57"/>
                  </a:lnTo>
                  <a:lnTo>
                    <a:pt x="0" y="110"/>
                  </a:lnTo>
                  <a:lnTo>
                    <a:pt x="224" y="110"/>
                  </a:lnTo>
                  <a:lnTo>
                    <a:pt x="224" y="171"/>
                  </a:lnTo>
                  <a:lnTo>
                    <a:pt x="321" y="86"/>
                  </a:lnTo>
                  <a:lnTo>
                    <a:pt x="224" y="0"/>
                  </a:lnTo>
                  <a:lnTo>
                    <a:pt x="224" y="57"/>
                  </a:lnTo>
                  <a:close/>
                </a:path>
              </a:pathLst>
            </a:custGeom>
            <a:grpFill/>
            <a:ln w="0">
              <a:noFill/>
              <a:prstDash val="solid"/>
              <a:round/>
              <a:headEnd/>
              <a:tailEnd/>
            </a:ln>
          </p:spPr>
          <p:txBody>
            <a:bodyPr/>
            <a:lstStyle/>
            <a:p>
              <a:endParaRPr lang="zh-CN" altLang="en-US"/>
            </a:p>
          </p:txBody>
        </p:sp>
        <p:sp>
          <p:nvSpPr>
            <p:cNvPr id="169" name="Freeform 111"/>
            <p:cNvSpPr>
              <a:spLocks/>
            </p:cNvSpPr>
            <p:nvPr/>
          </p:nvSpPr>
          <p:spPr bwMode="auto">
            <a:xfrm>
              <a:off x="4090988" y="696913"/>
              <a:ext cx="153988" cy="87313"/>
            </a:xfrm>
            <a:custGeom>
              <a:avLst/>
              <a:gdLst>
                <a:gd name="T0" fmla="*/ 2147483646 w 327"/>
                <a:gd name="T1" fmla="*/ 2147483646 h 186"/>
                <a:gd name="T2" fmla="*/ 2147483646 w 327"/>
                <a:gd name="T3" fmla="*/ 2147483646 h 186"/>
                <a:gd name="T4" fmla="*/ 2147483646 w 327"/>
                <a:gd name="T5" fmla="*/ 2147483646 h 186"/>
                <a:gd name="T6" fmla="*/ 2147483646 w 327"/>
                <a:gd name="T7" fmla="*/ 2147483646 h 186"/>
                <a:gd name="T8" fmla="*/ 2147483646 w 327"/>
                <a:gd name="T9" fmla="*/ 2147483646 h 186"/>
                <a:gd name="T10" fmla="*/ 2147483646 w 327"/>
                <a:gd name="T11" fmla="*/ 0 h 186"/>
                <a:gd name="T12" fmla="*/ 2147483646 w 327"/>
                <a:gd name="T13" fmla="*/ 2147483646 h 186"/>
                <a:gd name="T14" fmla="*/ 0 w 327"/>
                <a:gd name="T15" fmla="*/ 2147483646 h 186"/>
                <a:gd name="T16" fmla="*/ 2147483646 w 327"/>
                <a:gd name="T17" fmla="*/ 2147483646 h 1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7" h="186">
                  <a:moveTo>
                    <a:pt x="19" y="186"/>
                  </a:moveTo>
                  <a:lnTo>
                    <a:pt x="19" y="186"/>
                  </a:lnTo>
                  <a:lnTo>
                    <a:pt x="244" y="103"/>
                  </a:lnTo>
                  <a:lnTo>
                    <a:pt x="265" y="161"/>
                  </a:lnTo>
                  <a:lnTo>
                    <a:pt x="327" y="47"/>
                  </a:lnTo>
                  <a:lnTo>
                    <a:pt x="207" y="0"/>
                  </a:lnTo>
                  <a:lnTo>
                    <a:pt x="226" y="53"/>
                  </a:lnTo>
                  <a:lnTo>
                    <a:pt x="0" y="136"/>
                  </a:lnTo>
                  <a:lnTo>
                    <a:pt x="19" y="186"/>
                  </a:lnTo>
                  <a:close/>
                </a:path>
              </a:pathLst>
            </a:custGeom>
            <a:grpFill/>
            <a:ln w="0">
              <a:noFill/>
              <a:prstDash val="solid"/>
              <a:round/>
              <a:headEnd/>
              <a:tailEnd/>
            </a:ln>
          </p:spPr>
          <p:txBody>
            <a:bodyPr/>
            <a:lstStyle/>
            <a:p>
              <a:endParaRPr lang="zh-CN" altLang="en-US"/>
            </a:p>
          </p:txBody>
        </p:sp>
        <p:sp>
          <p:nvSpPr>
            <p:cNvPr id="170" name="Freeform 112"/>
            <p:cNvSpPr>
              <a:spLocks/>
            </p:cNvSpPr>
            <p:nvPr/>
          </p:nvSpPr>
          <p:spPr bwMode="auto">
            <a:xfrm>
              <a:off x="4090988" y="879476"/>
              <a:ext cx="153988" cy="87313"/>
            </a:xfrm>
            <a:custGeom>
              <a:avLst/>
              <a:gdLst>
                <a:gd name="T0" fmla="*/ 2147483646 w 327"/>
                <a:gd name="T1" fmla="*/ 2147483646 h 186"/>
                <a:gd name="T2" fmla="*/ 2147483646 w 327"/>
                <a:gd name="T3" fmla="*/ 2147483646 h 186"/>
                <a:gd name="T4" fmla="*/ 2147483646 w 327"/>
                <a:gd name="T5" fmla="*/ 0 h 186"/>
                <a:gd name="T6" fmla="*/ 0 w 327"/>
                <a:gd name="T7" fmla="*/ 2147483646 h 186"/>
                <a:gd name="T8" fmla="*/ 2147483646 w 327"/>
                <a:gd name="T9" fmla="*/ 2147483646 h 186"/>
                <a:gd name="T10" fmla="*/ 2147483646 w 327"/>
                <a:gd name="T11" fmla="*/ 2147483646 h 186"/>
                <a:gd name="T12" fmla="*/ 2147483646 w 327"/>
                <a:gd name="T13" fmla="*/ 2147483646 h 186"/>
                <a:gd name="T14" fmla="*/ 2147483646 w 327"/>
                <a:gd name="T15" fmla="*/ 2147483646 h 186"/>
                <a:gd name="T16" fmla="*/ 2147483646 w 327"/>
                <a:gd name="T17" fmla="*/ 2147483646 h 1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7" h="186">
                  <a:moveTo>
                    <a:pt x="244" y="83"/>
                  </a:moveTo>
                  <a:lnTo>
                    <a:pt x="244" y="83"/>
                  </a:lnTo>
                  <a:lnTo>
                    <a:pt x="19" y="0"/>
                  </a:lnTo>
                  <a:lnTo>
                    <a:pt x="0" y="50"/>
                  </a:lnTo>
                  <a:lnTo>
                    <a:pt x="226" y="133"/>
                  </a:lnTo>
                  <a:lnTo>
                    <a:pt x="207" y="186"/>
                  </a:lnTo>
                  <a:lnTo>
                    <a:pt x="327" y="139"/>
                  </a:lnTo>
                  <a:lnTo>
                    <a:pt x="265" y="25"/>
                  </a:lnTo>
                  <a:lnTo>
                    <a:pt x="244" y="83"/>
                  </a:lnTo>
                  <a:close/>
                </a:path>
              </a:pathLst>
            </a:custGeom>
            <a:grpFill/>
            <a:ln w="0">
              <a:noFill/>
              <a:prstDash val="solid"/>
              <a:round/>
              <a:headEnd/>
              <a:tailEnd/>
            </a:ln>
          </p:spPr>
          <p:txBody>
            <a:bodyPr/>
            <a:lstStyle/>
            <a:p>
              <a:endParaRPr lang="zh-CN" altLang="en-US"/>
            </a:p>
          </p:txBody>
        </p:sp>
      </p:grpSp>
      <p:cxnSp>
        <p:nvCxnSpPr>
          <p:cNvPr id="28" name="直接连接符 27"/>
          <p:cNvCxnSpPr/>
          <p:nvPr/>
        </p:nvCxnSpPr>
        <p:spPr>
          <a:xfrm>
            <a:off x="4962875" y="3746480"/>
            <a:ext cx="0" cy="4139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4962875" y="4840248"/>
            <a:ext cx="0" cy="4139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337383" y="3708594"/>
            <a:ext cx="1372868" cy="523220"/>
          </a:xfrm>
          <a:prstGeom prst="rect">
            <a:avLst/>
          </a:prstGeom>
          <a:noFill/>
        </p:spPr>
        <p:txBody>
          <a:bodyPr wrap="square" rtlCol="0">
            <a:spAutoFit/>
          </a:bodyPr>
          <a:lstStyle/>
          <a:p>
            <a:pPr algn="ctr"/>
            <a:r>
              <a:rPr lang="zh-CN" altLang="en-US" sz="1400" b="1" i="1" dirty="0" smtClean="0">
                <a:solidFill>
                  <a:srgbClr val="FFC000"/>
                </a:solidFill>
              </a:rPr>
              <a:t>Aggregation Switch</a:t>
            </a:r>
            <a:endParaRPr lang="zh-CN" altLang="en-US" sz="1400" b="1" i="1" dirty="0">
              <a:solidFill>
                <a:srgbClr val="FFC000"/>
              </a:solidFill>
            </a:endParaRPr>
          </a:p>
        </p:txBody>
      </p:sp>
      <p:sp>
        <p:nvSpPr>
          <p:cNvPr id="31" name="TextBox 30"/>
          <p:cNvSpPr txBox="1"/>
          <p:nvPr/>
        </p:nvSpPr>
        <p:spPr>
          <a:xfrm>
            <a:off x="4911654" y="4897882"/>
            <a:ext cx="537861" cy="307777"/>
          </a:xfrm>
          <a:prstGeom prst="rect">
            <a:avLst/>
          </a:prstGeom>
          <a:noFill/>
        </p:spPr>
        <p:txBody>
          <a:bodyPr wrap="square" rtlCol="0">
            <a:spAutoFit/>
          </a:bodyPr>
          <a:lstStyle/>
          <a:p>
            <a:pPr algn="ctr"/>
            <a:r>
              <a:rPr lang="en-US" altLang="zh-CN" sz="1400" b="1" i="1" dirty="0" smtClean="0">
                <a:solidFill>
                  <a:srgbClr val="FFC000"/>
                </a:solidFill>
              </a:rPr>
              <a:t>OLT</a:t>
            </a:r>
            <a:endParaRPr lang="zh-CN" altLang="en-US" sz="1400" b="1" i="1" dirty="0">
              <a:solidFill>
                <a:srgbClr val="FFC000"/>
              </a:solidFill>
            </a:endParaRPr>
          </a:p>
        </p:txBody>
      </p:sp>
      <p:cxnSp>
        <p:nvCxnSpPr>
          <p:cNvPr id="32" name="直接连接符 31"/>
          <p:cNvCxnSpPr/>
          <p:nvPr/>
        </p:nvCxnSpPr>
        <p:spPr>
          <a:xfrm>
            <a:off x="3577307" y="5590034"/>
            <a:ext cx="4320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3" name="组合 314"/>
          <p:cNvGrpSpPr>
            <a:grpSpLocks/>
          </p:cNvGrpSpPr>
          <p:nvPr/>
        </p:nvGrpSpPr>
        <p:grpSpPr bwMode="auto">
          <a:xfrm>
            <a:off x="6904574" y="2883662"/>
            <a:ext cx="746125" cy="809625"/>
            <a:chOff x="1789113" y="906463"/>
            <a:chExt cx="665163" cy="723900"/>
          </a:xfrm>
          <a:solidFill>
            <a:schemeClr val="bg1"/>
          </a:solidFill>
        </p:grpSpPr>
        <p:sp>
          <p:nvSpPr>
            <p:cNvPr id="98" name="Freeform 252"/>
            <p:cNvSpPr>
              <a:spLocks/>
            </p:cNvSpPr>
            <p:nvPr/>
          </p:nvSpPr>
          <p:spPr bwMode="auto">
            <a:xfrm>
              <a:off x="2243138" y="1571625"/>
              <a:ext cx="57150" cy="58738"/>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endParaRPr lang="zh-CN" altLang="en-US"/>
            </a:p>
          </p:txBody>
        </p:sp>
        <p:sp>
          <p:nvSpPr>
            <p:cNvPr id="99" name="Freeform 253"/>
            <p:cNvSpPr>
              <a:spLocks/>
            </p:cNvSpPr>
            <p:nvPr/>
          </p:nvSpPr>
          <p:spPr bwMode="auto">
            <a:xfrm>
              <a:off x="2332038" y="1571625"/>
              <a:ext cx="58738" cy="58738"/>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endParaRPr lang="zh-CN" altLang="en-US"/>
            </a:p>
          </p:txBody>
        </p:sp>
        <p:sp>
          <p:nvSpPr>
            <p:cNvPr id="100" name="Freeform 254"/>
            <p:cNvSpPr>
              <a:spLocks/>
            </p:cNvSpPr>
            <p:nvPr/>
          </p:nvSpPr>
          <p:spPr bwMode="auto">
            <a:xfrm>
              <a:off x="1789113" y="906463"/>
              <a:ext cx="665163" cy="142875"/>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01" name="Freeform 255"/>
            <p:cNvSpPr>
              <a:spLocks/>
            </p:cNvSpPr>
            <p:nvPr/>
          </p:nvSpPr>
          <p:spPr bwMode="auto">
            <a:xfrm>
              <a:off x="1857375" y="955675"/>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endParaRPr lang="zh-CN" altLang="en-US"/>
            </a:p>
          </p:txBody>
        </p:sp>
        <p:sp>
          <p:nvSpPr>
            <p:cNvPr id="102" name="Freeform 256"/>
            <p:cNvSpPr>
              <a:spLocks/>
            </p:cNvSpPr>
            <p:nvPr/>
          </p:nvSpPr>
          <p:spPr bwMode="auto">
            <a:xfrm>
              <a:off x="1928813" y="955675"/>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03" name="Freeform 257"/>
            <p:cNvSpPr>
              <a:spLocks/>
            </p:cNvSpPr>
            <p:nvPr/>
          </p:nvSpPr>
          <p:spPr bwMode="auto">
            <a:xfrm>
              <a:off x="2000250" y="955675"/>
              <a:ext cx="49213"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04" name="Freeform 258"/>
            <p:cNvSpPr>
              <a:spLocks/>
            </p:cNvSpPr>
            <p:nvPr/>
          </p:nvSpPr>
          <p:spPr bwMode="auto">
            <a:xfrm>
              <a:off x="2073275" y="955675"/>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05" name="Freeform 259"/>
            <p:cNvSpPr>
              <a:spLocks/>
            </p:cNvSpPr>
            <p:nvPr/>
          </p:nvSpPr>
          <p:spPr bwMode="auto">
            <a:xfrm>
              <a:off x="2144713" y="955675"/>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06" name="Freeform 260"/>
            <p:cNvSpPr>
              <a:spLocks/>
            </p:cNvSpPr>
            <p:nvPr/>
          </p:nvSpPr>
          <p:spPr bwMode="auto">
            <a:xfrm>
              <a:off x="2271713" y="947738"/>
              <a:ext cx="88900" cy="22225"/>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07" name="Freeform 261"/>
            <p:cNvSpPr>
              <a:spLocks/>
            </p:cNvSpPr>
            <p:nvPr/>
          </p:nvSpPr>
          <p:spPr bwMode="auto">
            <a:xfrm>
              <a:off x="2271713" y="977900"/>
              <a:ext cx="20638"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08" name="Freeform 262"/>
            <p:cNvSpPr>
              <a:spLocks/>
            </p:cNvSpPr>
            <p:nvPr/>
          </p:nvSpPr>
          <p:spPr bwMode="auto">
            <a:xfrm>
              <a:off x="2305050" y="977900"/>
              <a:ext cx="22225"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09" name="Freeform 263"/>
            <p:cNvSpPr>
              <a:spLocks/>
            </p:cNvSpPr>
            <p:nvPr/>
          </p:nvSpPr>
          <p:spPr bwMode="auto">
            <a:xfrm>
              <a:off x="2339975" y="977900"/>
              <a:ext cx="20638"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10" name="Freeform 264"/>
            <p:cNvSpPr>
              <a:spLocks/>
            </p:cNvSpPr>
            <p:nvPr/>
          </p:nvSpPr>
          <p:spPr bwMode="auto">
            <a:xfrm>
              <a:off x="1789113" y="1020763"/>
              <a:ext cx="665163" cy="141288"/>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11" name="Freeform 265"/>
            <p:cNvSpPr>
              <a:spLocks/>
            </p:cNvSpPr>
            <p:nvPr/>
          </p:nvSpPr>
          <p:spPr bwMode="auto">
            <a:xfrm>
              <a:off x="1857375" y="1068388"/>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endParaRPr lang="zh-CN" altLang="en-US"/>
            </a:p>
          </p:txBody>
        </p:sp>
        <p:sp>
          <p:nvSpPr>
            <p:cNvPr id="112" name="Freeform 266"/>
            <p:cNvSpPr>
              <a:spLocks/>
            </p:cNvSpPr>
            <p:nvPr/>
          </p:nvSpPr>
          <p:spPr bwMode="auto">
            <a:xfrm>
              <a:off x="1928813" y="1068388"/>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13" name="Freeform 267"/>
            <p:cNvSpPr>
              <a:spLocks/>
            </p:cNvSpPr>
            <p:nvPr/>
          </p:nvSpPr>
          <p:spPr bwMode="auto">
            <a:xfrm>
              <a:off x="2000250" y="1068388"/>
              <a:ext cx="49213"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14" name="Freeform 268"/>
            <p:cNvSpPr>
              <a:spLocks/>
            </p:cNvSpPr>
            <p:nvPr/>
          </p:nvSpPr>
          <p:spPr bwMode="auto">
            <a:xfrm>
              <a:off x="2073275" y="1068388"/>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15" name="Freeform 269"/>
            <p:cNvSpPr>
              <a:spLocks/>
            </p:cNvSpPr>
            <p:nvPr/>
          </p:nvSpPr>
          <p:spPr bwMode="auto">
            <a:xfrm>
              <a:off x="2144713" y="1068388"/>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16" name="Freeform 270"/>
            <p:cNvSpPr>
              <a:spLocks/>
            </p:cNvSpPr>
            <p:nvPr/>
          </p:nvSpPr>
          <p:spPr bwMode="auto">
            <a:xfrm>
              <a:off x="2271713" y="1062038"/>
              <a:ext cx="88900" cy="20638"/>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17" name="Freeform 271"/>
            <p:cNvSpPr>
              <a:spLocks/>
            </p:cNvSpPr>
            <p:nvPr/>
          </p:nvSpPr>
          <p:spPr bwMode="auto">
            <a:xfrm>
              <a:off x="2271713" y="1090613"/>
              <a:ext cx="20638"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18" name="Freeform 272"/>
            <p:cNvSpPr>
              <a:spLocks/>
            </p:cNvSpPr>
            <p:nvPr/>
          </p:nvSpPr>
          <p:spPr bwMode="auto">
            <a:xfrm>
              <a:off x="2305050" y="1090613"/>
              <a:ext cx="22225"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19" name="Freeform 273"/>
            <p:cNvSpPr>
              <a:spLocks/>
            </p:cNvSpPr>
            <p:nvPr/>
          </p:nvSpPr>
          <p:spPr bwMode="auto">
            <a:xfrm>
              <a:off x="2339975" y="1090613"/>
              <a:ext cx="20638" cy="22225"/>
            </a:xfrm>
            <a:custGeom>
              <a:avLst/>
              <a:gdLst>
                <a:gd name="T0" fmla="*/ 2147483646 w 52"/>
                <a:gd name="T1" fmla="*/ 2147483646 h 51"/>
                <a:gd name="T2" fmla="*/ 2147483646 w 52"/>
                <a:gd name="T3" fmla="*/ 2147483646 h 51"/>
                <a:gd name="T4" fmla="*/ 0 w 52"/>
                <a:gd name="T5" fmla="*/ 2147483646 h 51"/>
                <a:gd name="T6" fmla="*/ 0 w 52"/>
                <a:gd name="T7" fmla="*/ 0 h 51"/>
                <a:gd name="T8" fmla="*/ 2147483646 w 52"/>
                <a:gd name="T9" fmla="*/ 0 h 51"/>
                <a:gd name="T10" fmla="*/ 2147483646 w 52"/>
                <a:gd name="T11" fmla="*/ 2147483646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endParaRPr lang="zh-CN" altLang="en-US"/>
            </a:p>
          </p:txBody>
        </p:sp>
        <p:sp>
          <p:nvSpPr>
            <p:cNvPr id="120" name="Freeform 274"/>
            <p:cNvSpPr>
              <a:spLocks/>
            </p:cNvSpPr>
            <p:nvPr/>
          </p:nvSpPr>
          <p:spPr bwMode="auto">
            <a:xfrm>
              <a:off x="1789113" y="1133475"/>
              <a:ext cx="665163" cy="141288"/>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21" name="Freeform 275"/>
            <p:cNvSpPr>
              <a:spLocks/>
            </p:cNvSpPr>
            <p:nvPr/>
          </p:nvSpPr>
          <p:spPr bwMode="auto">
            <a:xfrm>
              <a:off x="1857375" y="1182688"/>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endParaRPr lang="zh-CN" altLang="en-US"/>
            </a:p>
          </p:txBody>
        </p:sp>
        <p:sp>
          <p:nvSpPr>
            <p:cNvPr id="122" name="Freeform 276"/>
            <p:cNvSpPr>
              <a:spLocks/>
            </p:cNvSpPr>
            <p:nvPr/>
          </p:nvSpPr>
          <p:spPr bwMode="auto">
            <a:xfrm>
              <a:off x="1928813" y="1182688"/>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23" name="Freeform 277"/>
            <p:cNvSpPr>
              <a:spLocks/>
            </p:cNvSpPr>
            <p:nvPr/>
          </p:nvSpPr>
          <p:spPr bwMode="auto">
            <a:xfrm>
              <a:off x="2000250" y="1182688"/>
              <a:ext cx="49213"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24" name="Freeform 278"/>
            <p:cNvSpPr>
              <a:spLocks/>
            </p:cNvSpPr>
            <p:nvPr/>
          </p:nvSpPr>
          <p:spPr bwMode="auto">
            <a:xfrm>
              <a:off x="2073275" y="1182688"/>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25" name="Freeform 279"/>
            <p:cNvSpPr>
              <a:spLocks/>
            </p:cNvSpPr>
            <p:nvPr/>
          </p:nvSpPr>
          <p:spPr bwMode="auto">
            <a:xfrm>
              <a:off x="2144713" y="1182688"/>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endParaRPr lang="zh-CN" altLang="en-US"/>
            </a:p>
          </p:txBody>
        </p:sp>
        <p:sp>
          <p:nvSpPr>
            <p:cNvPr id="126" name="Freeform 280"/>
            <p:cNvSpPr>
              <a:spLocks/>
            </p:cNvSpPr>
            <p:nvPr/>
          </p:nvSpPr>
          <p:spPr bwMode="auto">
            <a:xfrm>
              <a:off x="2271713" y="1174750"/>
              <a:ext cx="88900" cy="22225"/>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27" name="Freeform 281"/>
            <p:cNvSpPr>
              <a:spLocks/>
            </p:cNvSpPr>
            <p:nvPr/>
          </p:nvSpPr>
          <p:spPr bwMode="auto">
            <a:xfrm>
              <a:off x="2271713" y="1204913"/>
              <a:ext cx="20638" cy="20638"/>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28" name="Freeform 282"/>
            <p:cNvSpPr>
              <a:spLocks/>
            </p:cNvSpPr>
            <p:nvPr/>
          </p:nvSpPr>
          <p:spPr bwMode="auto">
            <a:xfrm>
              <a:off x="2305050" y="1204913"/>
              <a:ext cx="22225" cy="20638"/>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29" name="Freeform 283"/>
            <p:cNvSpPr>
              <a:spLocks/>
            </p:cNvSpPr>
            <p:nvPr/>
          </p:nvSpPr>
          <p:spPr bwMode="auto">
            <a:xfrm>
              <a:off x="2339975" y="1204913"/>
              <a:ext cx="20638" cy="20638"/>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30" name="Freeform 284"/>
            <p:cNvSpPr>
              <a:spLocks/>
            </p:cNvSpPr>
            <p:nvPr/>
          </p:nvSpPr>
          <p:spPr bwMode="auto">
            <a:xfrm>
              <a:off x="1789113" y="1247775"/>
              <a:ext cx="665163" cy="141288"/>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31" name="Freeform 285"/>
            <p:cNvSpPr>
              <a:spLocks/>
            </p:cNvSpPr>
            <p:nvPr/>
          </p:nvSpPr>
          <p:spPr bwMode="auto">
            <a:xfrm>
              <a:off x="1857375" y="1295400"/>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endParaRPr lang="zh-CN" altLang="en-US"/>
            </a:p>
          </p:txBody>
        </p:sp>
        <p:sp>
          <p:nvSpPr>
            <p:cNvPr id="132" name="Freeform 286"/>
            <p:cNvSpPr>
              <a:spLocks/>
            </p:cNvSpPr>
            <p:nvPr/>
          </p:nvSpPr>
          <p:spPr bwMode="auto">
            <a:xfrm>
              <a:off x="1928813" y="1295400"/>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33" name="Freeform 287"/>
            <p:cNvSpPr>
              <a:spLocks/>
            </p:cNvSpPr>
            <p:nvPr/>
          </p:nvSpPr>
          <p:spPr bwMode="auto">
            <a:xfrm>
              <a:off x="2000250" y="1295400"/>
              <a:ext cx="49213"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34" name="Freeform 288"/>
            <p:cNvSpPr>
              <a:spLocks/>
            </p:cNvSpPr>
            <p:nvPr/>
          </p:nvSpPr>
          <p:spPr bwMode="auto">
            <a:xfrm>
              <a:off x="2073275" y="1295400"/>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35" name="Freeform 289"/>
            <p:cNvSpPr>
              <a:spLocks/>
            </p:cNvSpPr>
            <p:nvPr/>
          </p:nvSpPr>
          <p:spPr bwMode="auto">
            <a:xfrm>
              <a:off x="2144713" y="1295400"/>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36" name="Freeform 290"/>
            <p:cNvSpPr>
              <a:spLocks/>
            </p:cNvSpPr>
            <p:nvPr/>
          </p:nvSpPr>
          <p:spPr bwMode="auto">
            <a:xfrm>
              <a:off x="2271713" y="1289050"/>
              <a:ext cx="88900" cy="20638"/>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37" name="Freeform 291"/>
            <p:cNvSpPr>
              <a:spLocks/>
            </p:cNvSpPr>
            <p:nvPr/>
          </p:nvSpPr>
          <p:spPr bwMode="auto">
            <a:xfrm>
              <a:off x="2271713" y="1317625"/>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38" name="Freeform 292"/>
            <p:cNvSpPr>
              <a:spLocks/>
            </p:cNvSpPr>
            <p:nvPr/>
          </p:nvSpPr>
          <p:spPr bwMode="auto">
            <a:xfrm>
              <a:off x="2305050" y="1317625"/>
              <a:ext cx="22225"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39" name="Freeform 293"/>
            <p:cNvSpPr>
              <a:spLocks/>
            </p:cNvSpPr>
            <p:nvPr/>
          </p:nvSpPr>
          <p:spPr bwMode="auto">
            <a:xfrm>
              <a:off x="2339975" y="1317625"/>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40" name="Freeform 294"/>
            <p:cNvSpPr>
              <a:spLocks/>
            </p:cNvSpPr>
            <p:nvPr/>
          </p:nvSpPr>
          <p:spPr bwMode="auto">
            <a:xfrm>
              <a:off x="1789113" y="1360488"/>
              <a:ext cx="665163" cy="141288"/>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41" name="Freeform 295"/>
            <p:cNvSpPr>
              <a:spLocks/>
            </p:cNvSpPr>
            <p:nvPr/>
          </p:nvSpPr>
          <p:spPr bwMode="auto">
            <a:xfrm>
              <a:off x="1857375" y="1408113"/>
              <a:ext cx="47625" cy="38100"/>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endParaRPr lang="zh-CN" altLang="en-US"/>
            </a:p>
          </p:txBody>
        </p:sp>
        <p:sp>
          <p:nvSpPr>
            <p:cNvPr id="142" name="Freeform 296"/>
            <p:cNvSpPr>
              <a:spLocks/>
            </p:cNvSpPr>
            <p:nvPr/>
          </p:nvSpPr>
          <p:spPr bwMode="auto">
            <a:xfrm>
              <a:off x="1928813" y="1408113"/>
              <a:ext cx="47625" cy="38100"/>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43" name="Freeform 297"/>
            <p:cNvSpPr>
              <a:spLocks/>
            </p:cNvSpPr>
            <p:nvPr/>
          </p:nvSpPr>
          <p:spPr bwMode="auto">
            <a:xfrm>
              <a:off x="2000250" y="1408113"/>
              <a:ext cx="49213" cy="38100"/>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44" name="Freeform 298"/>
            <p:cNvSpPr>
              <a:spLocks/>
            </p:cNvSpPr>
            <p:nvPr/>
          </p:nvSpPr>
          <p:spPr bwMode="auto">
            <a:xfrm>
              <a:off x="2073275" y="1408113"/>
              <a:ext cx="47625" cy="38100"/>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45" name="Freeform 299"/>
            <p:cNvSpPr>
              <a:spLocks/>
            </p:cNvSpPr>
            <p:nvPr/>
          </p:nvSpPr>
          <p:spPr bwMode="auto">
            <a:xfrm>
              <a:off x="2144713" y="1408113"/>
              <a:ext cx="47625" cy="38100"/>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46" name="Freeform 300"/>
            <p:cNvSpPr>
              <a:spLocks/>
            </p:cNvSpPr>
            <p:nvPr/>
          </p:nvSpPr>
          <p:spPr bwMode="auto">
            <a:xfrm>
              <a:off x="2271713" y="1401763"/>
              <a:ext cx="88900" cy="22225"/>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47" name="Freeform 301"/>
            <p:cNvSpPr>
              <a:spLocks/>
            </p:cNvSpPr>
            <p:nvPr/>
          </p:nvSpPr>
          <p:spPr bwMode="auto">
            <a:xfrm>
              <a:off x="2271713" y="1430338"/>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48" name="Freeform 302"/>
            <p:cNvSpPr>
              <a:spLocks/>
            </p:cNvSpPr>
            <p:nvPr/>
          </p:nvSpPr>
          <p:spPr bwMode="auto">
            <a:xfrm>
              <a:off x="2305050" y="1430338"/>
              <a:ext cx="22225"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49" name="Freeform 303"/>
            <p:cNvSpPr>
              <a:spLocks/>
            </p:cNvSpPr>
            <p:nvPr/>
          </p:nvSpPr>
          <p:spPr bwMode="auto">
            <a:xfrm>
              <a:off x="2339975" y="1430338"/>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50" name="Freeform 304"/>
            <p:cNvSpPr>
              <a:spLocks/>
            </p:cNvSpPr>
            <p:nvPr/>
          </p:nvSpPr>
          <p:spPr bwMode="auto">
            <a:xfrm>
              <a:off x="1789113" y="1473200"/>
              <a:ext cx="665163" cy="141288"/>
            </a:xfrm>
            <a:custGeom>
              <a:avLst/>
              <a:gdLst>
                <a:gd name="T0" fmla="*/ 2147483646 w 1584"/>
                <a:gd name="T1" fmla="*/ 2147483646 h 337"/>
                <a:gd name="T2" fmla="*/ 2147483646 w 1584"/>
                <a:gd name="T3" fmla="*/ 2147483646 h 337"/>
                <a:gd name="T4" fmla="*/ 2147483646 w 1584"/>
                <a:gd name="T5" fmla="*/ 2147483646 h 337"/>
                <a:gd name="T6" fmla="*/ 2147483646 w 1584"/>
                <a:gd name="T7" fmla="*/ 2147483646 h 337"/>
                <a:gd name="T8" fmla="*/ 2147483646 w 1584"/>
                <a:gd name="T9" fmla="*/ 2147483646 h 337"/>
                <a:gd name="T10" fmla="*/ 2147483646 w 1584"/>
                <a:gd name="T11" fmla="*/ 2147483646 h 337"/>
                <a:gd name="T12" fmla="*/ 2147483646 w 1584"/>
                <a:gd name="T13" fmla="*/ 2147483646 h 337"/>
                <a:gd name="T14" fmla="*/ 2147483646 w 1584"/>
                <a:gd name="T15" fmla="*/ 2147483646 h 337"/>
                <a:gd name="T16" fmla="*/ 2147483646 w 1584"/>
                <a:gd name="T17" fmla="*/ 2147483646 h 337"/>
                <a:gd name="T18" fmla="*/ 2147483646 w 1584"/>
                <a:gd name="T19" fmla="*/ 2147483646 h 337"/>
                <a:gd name="T20" fmla="*/ 2147483646 w 1584"/>
                <a:gd name="T21" fmla="*/ 2147483646 h 337"/>
                <a:gd name="T22" fmla="*/ 2147483646 w 1584"/>
                <a:gd name="T23" fmla="*/ 2147483646 h 337"/>
                <a:gd name="T24" fmla="*/ 2147483646 w 1584"/>
                <a:gd name="T25" fmla="*/ 2147483646 h 337"/>
                <a:gd name="T26" fmla="*/ 2147483646 w 1584"/>
                <a:gd name="T27" fmla="*/ 2147483646 h 337"/>
                <a:gd name="T28" fmla="*/ 2147483646 w 1584"/>
                <a:gd name="T29" fmla="*/ 2147483646 h 337"/>
                <a:gd name="T30" fmla="*/ 2147483646 w 1584"/>
                <a:gd name="T31" fmla="*/ 2147483646 h 337"/>
                <a:gd name="T32" fmla="*/ 2147483646 w 1584"/>
                <a:gd name="T33" fmla="*/ 2147483646 h 337"/>
                <a:gd name="T34" fmla="*/ 0 w 1584"/>
                <a:gd name="T35" fmla="*/ 2147483646 h 337"/>
                <a:gd name="T36" fmla="*/ 0 w 1584"/>
                <a:gd name="T37" fmla="*/ 2147483646 h 337"/>
                <a:gd name="T38" fmla="*/ 2147483646 w 1584"/>
                <a:gd name="T39" fmla="*/ 0 h 337"/>
                <a:gd name="T40" fmla="*/ 2147483646 w 1584"/>
                <a:gd name="T41" fmla="*/ 0 h 337"/>
                <a:gd name="T42" fmla="*/ 2147483646 w 1584"/>
                <a:gd name="T43" fmla="*/ 2147483646 h 337"/>
                <a:gd name="T44" fmla="*/ 2147483646 w 1584"/>
                <a:gd name="T45" fmla="*/ 2147483646 h 337"/>
                <a:gd name="T46" fmla="*/ 2147483646 w 1584"/>
                <a:gd name="T47" fmla="*/ 2147483646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endParaRPr lang="zh-CN" altLang="en-US"/>
            </a:p>
          </p:txBody>
        </p:sp>
        <p:sp>
          <p:nvSpPr>
            <p:cNvPr id="151" name="Freeform 305"/>
            <p:cNvSpPr>
              <a:spLocks/>
            </p:cNvSpPr>
            <p:nvPr/>
          </p:nvSpPr>
          <p:spPr bwMode="auto">
            <a:xfrm>
              <a:off x="1857375" y="1522413"/>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endParaRPr lang="zh-CN" altLang="en-US"/>
            </a:p>
          </p:txBody>
        </p:sp>
        <p:sp>
          <p:nvSpPr>
            <p:cNvPr id="152" name="Freeform 306"/>
            <p:cNvSpPr>
              <a:spLocks/>
            </p:cNvSpPr>
            <p:nvPr/>
          </p:nvSpPr>
          <p:spPr bwMode="auto">
            <a:xfrm>
              <a:off x="1928813" y="1522413"/>
              <a:ext cx="47625" cy="36513"/>
            </a:xfrm>
            <a:custGeom>
              <a:avLst/>
              <a:gdLst>
                <a:gd name="T0" fmla="*/ 0 w 115"/>
                <a:gd name="T1" fmla="*/ 2147483646 h 88"/>
                <a:gd name="T2" fmla="*/ 0 w 115"/>
                <a:gd name="T3" fmla="*/ 2147483646 h 88"/>
                <a:gd name="T4" fmla="*/ 2147483646 w 115"/>
                <a:gd name="T5" fmla="*/ 2147483646 h 88"/>
                <a:gd name="T6" fmla="*/ 2147483646 w 115"/>
                <a:gd name="T7" fmla="*/ 2147483646 h 88"/>
                <a:gd name="T8" fmla="*/ 2147483646 w 115"/>
                <a:gd name="T9" fmla="*/ 2147483646 h 88"/>
                <a:gd name="T10" fmla="*/ 2147483646 w 115"/>
                <a:gd name="T11" fmla="*/ 0 h 88"/>
                <a:gd name="T12" fmla="*/ 2147483646 w 115"/>
                <a:gd name="T13" fmla="*/ 0 h 88"/>
                <a:gd name="T14" fmla="*/ 2147483646 w 115"/>
                <a:gd name="T15" fmla="*/ 2147483646 h 88"/>
                <a:gd name="T16" fmla="*/ 0 w 115"/>
                <a:gd name="T17" fmla="*/ 2147483646 h 88"/>
                <a:gd name="T18" fmla="*/ 0 w 115"/>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53" name="Freeform 307"/>
            <p:cNvSpPr>
              <a:spLocks/>
            </p:cNvSpPr>
            <p:nvPr/>
          </p:nvSpPr>
          <p:spPr bwMode="auto">
            <a:xfrm>
              <a:off x="2000250" y="1522413"/>
              <a:ext cx="49213"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54" name="Freeform 308"/>
            <p:cNvSpPr>
              <a:spLocks/>
            </p:cNvSpPr>
            <p:nvPr/>
          </p:nvSpPr>
          <p:spPr bwMode="auto">
            <a:xfrm>
              <a:off x="2073275" y="1522413"/>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55" name="Freeform 309"/>
            <p:cNvSpPr>
              <a:spLocks/>
            </p:cNvSpPr>
            <p:nvPr/>
          </p:nvSpPr>
          <p:spPr bwMode="auto">
            <a:xfrm>
              <a:off x="2144713" y="1522413"/>
              <a:ext cx="47625" cy="36513"/>
            </a:xfrm>
            <a:custGeom>
              <a:avLst/>
              <a:gdLst>
                <a:gd name="T0" fmla="*/ 0 w 114"/>
                <a:gd name="T1" fmla="*/ 2147483646 h 88"/>
                <a:gd name="T2" fmla="*/ 0 w 114"/>
                <a:gd name="T3" fmla="*/ 2147483646 h 88"/>
                <a:gd name="T4" fmla="*/ 2147483646 w 114"/>
                <a:gd name="T5" fmla="*/ 2147483646 h 88"/>
                <a:gd name="T6" fmla="*/ 2147483646 w 114"/>
                <a:gd name="T7" fmla="*/ 2147483646 h 88"/>
                <a:gd name="T8" fmla="*/ 2147483646 w 114"/>
                <a:gd name="T9" fmla="*/ 2147483646 h 88"/>
                <a:gd name="T10" fmla="*/ 2147483646 w 114"/>
                <a:gd name="T11" fmla="*/ 0 h 88"/>
                <a:gd name="T12" fmla="*/ 2147483646 w 114"/>
                <a:gd name="T13" fmla="*/ 0 h 88"/>
                <a:gd name="T14" fmla="*/ 2147483646 w 114"/>
                <a:gd name="T15" fmla="*/ 2147483646 h 88"/>
                <a:gd name="T16" fmla="*/ 0 w 114"/>
                <a:gd name="T17" fmla="*/ 2147483646 h 88"/>
                <a:gd name="T18" fmla="*/ 0 w 114"/>
                <a:gd name="T19" fmla="*/ 2147483646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endParaRPr lang="zh-CN" altLang="en-US"/>
            </a:p>
          </p:txBody>
        </p:sp>
        <p:sp>
          <p:nvSpPr>
            <p:cNvPr id="156" name="Freeform 310"/>
            <p:cNvSpPr>
              <a:spLocks/>
            </p:cNvSpPr>
            <p:nvPr/>
          </p:nvSpPr>
          <p:spPr bwMode="auto">
            <a:xfrm>
              <a:off x="2271713" y="1514475"/>
              <a:ext cx="88900" cy="22225"/>
            </a:xfrm>
            <a:custGeom>
              <a:avLst/>
              <a:gdLst>
                <a:gd name="T0" fmla="*/ 2147483646 w 215"/>
                <a:gd name="T1" fmla="*/ 2147483646 h 52"/>
                <a:gd name="T2" fmla="*/ 2147483646 w 215"/>
                <a:gd name="T3" fmla="*/ 2147483646 h 52"/>
                <a:gd name="T4" fmla="*/ 0 w 215"/>
                <a:gd name="T5" fmla="*/ 2147483646 h 52"/>
                <a:gd name="T6" fmla="*/ 0 w 215"/>
                <a:gd name="T7" fmla="*/ 0 h 52"/>
                <a:gd name="T8" fmla="*/ 2147483646 w 215"/>
                <a:gd name="T9" fmla="*/ 0 h 52"/>
                <a:gd name="T10" fmla="*/ 2147483646 w 215"/>
                <a:gd name="T11" fmla="*/ 2147483646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endParaRPr lang="zh-CN" altLang="en-US"/>
            </a:p>
          </p:txBody>
        </p:sp>
        <p:sp>
          <p:nvSpPr>
            <p:cNvPr id="157" name="Freeform 311"/>
            <p:cNvSpPr>
              <a:spLocks/>
            </p:cNvSpPr>
            <p:nvPr/>
          </p:nvSpPr>
          <p:spPr bwMode="auto">
            <a:xfrm>
              <a:off x="2271713" y="1544638"/>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58" name="Freeform 312"/>
            <p:cNvSpPr>
              <a:spLocks/>
            </p:cNvSpPr>
            <p:nvPr/>
          </p:nvSpPr>
          <p:spPr bwMode="auto">
            <a:xfrm>
              <a:off x="2305050" y="1544638"/>
              <a:ext cx="22225"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sp>
          <p:nvSpPr>
            <p:cNvPr id="159" name="Freeform 313"/>
            <p:cNvSpPr>
              <a:spLocks/>
            </p:cNvSpPr>
            <p:nvPr/>
          </p:nvSpPr>
          <p:spPr bwMode="auto">
            <a:xfrm>
              <a:off x="2339975" y="1544638"/>
              <a:ext cx="20638" cy="22225"/>
            </a:xfrm>
            <a:custGeom>
              <a:avLst/>
              <a:gdLst>
                <a:gd name="T0" fmla="*/ 2147483646 w 52"/>
                <a:gd name="T1" fmla="*/ 2147483646 h 52"/>
                <a:gd name="T2" fmla="*/ 2147483646 w 52"/>
                <a:gd name="T3" fmla="*/ 2147483646 h 52"/>
                <a:gd name="T4" fmla="*/ 0 w 52"/>
                <a:gd name="T5" fmla="*/ 2147483646 h 52"/>
                <a:gd name="T6" fmla="*/ 0 w 52"/>
                <a:gd name="T7" fmla="*/ 0 h 52"/>
                <a:gd name="T8" fmla="*/ 2147483646 w 52"/>
                <a:gd name="T9" fmla="*/ 0 h 52"/>
                <a:gd name="T10" fmla="*/ 2147483646 w 52"/>
                <a:gd name="T11" fmla="*/ 2147483646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endParaRPr lang="zh-CN" altLang="en-US"/>
            </a:p>
          </p:txBody>
        </p:sp>
      </p:grpSp>
      <p:sp>
        <p:nvSpPr>
          <p:cNvPr id="35" name="TextBox 34"/>
          <p:cNvSpPr txBox="1"/>
          <p:nvPr/>
        </p:nvSpPr>
        <p:spPr>
          <a:xfrm>
            <a:off x="6543283" y="3711289"/>
            <a:ext cx="1399216" cy="307777"/>
          </a:xfrm>
          <a:prstGeom prst="rect">
            <a:avLst/>
          </a:prstGeom>
          <a:noFill/>
        </p:spPr>
        <p:txBody>
          <a:bodyPr wrap="square" rtlCol="0">
            <a:spAutoFit/>
          </a:bodyPr>
          <a:lstStyle/>
          <a:p>
            <a:pPr algn="ctr"/>
            <a:r>
              <a:rPr lang="zh-CN" altLang="en-US" sz="1400" b="1" i="1" dirty="0" smtClean="0">
                <a:solidFill>
                  <a:srgbClr val="FFC000"/>
                </a:solidFill>
              </a:rPr>
              <a:t>Core Switch</a:t>
            </a:r>
            <a:endParaRPr lang="zh-CN" altLang="en-US" sz="1400" b="1" i="1" dirty="0">
              <a:solidFill>
                <a:srgbClr val="FFC000"/>
              </a:solidFill>
            </a:endParaRPr>
          </a:p>
        </p:txBody>
      </p:sp>
      <p:cxnSp>
        <p:nvCxnSpPr>
          <p:cNvPr id="36" name="直接连接符 35"/>
          <p:cNvCxnSpPr/>
          <p:nvPr/>
        </p:nvCxnSpPr>
        <p:spPr>
          <a:xfrm>
            <a:off x="5449515" y="3464316"/>
            <a:ext cx="13680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996655" y="1295464"/>
            <a:ext cx="1944216" cy="338554"/>
          </a:xfrm>
          <a:prstGeom prst="rect">
            <a:avLst/>
          </a:prstGeom>
          <a:noFill/>
        </p:spPr>
        <p:txBody>
          <a:bodyPr wrap="square" rtlCol="0">
            <a:spAutoFit/>
          </a:bodyPr>
          <a:lstStyle/>
          <a:p>
            <a:pPr algn="ctr"/>
            <a:r>
              <a:rPr lang="zh-CN" altLang="en-US" sz="1600" b="1" dirty="0" smtClean="0">
                <a:solidFill>
                  <a:schemeClr val="bg1"/>
                </a:solidFill>
              </a:rPr>
              <a:t>Aggregation Network</a:t>
            </a:r>
            <a:endParaRPr lang="zh-CN" altLang="en-US" sz="1600" b="1" dirty="0">
              <a:solidFill>
                <a:schemeClr val="bg1"/>
              </a:solidFill>
            </a:endParaRPr>
          </a:p>
        </p:txBody>
      </p:sp>
      <p:sp>
        <p:nvSpPr>
          <p:cNvPr id="38" name="TextBox 37"/>
          <p:cNvSpPr txBox="1"/>
          <p:nvPr/>
        </p:nvSpPr>
        <p:spPr>
          <a:xfrm>
            <a:off x="6385619" y="1301274"/>
            <a:ext cx="1728192" cy="338554"/>
          </a:xfrm>
          <a:prstGeom prst="rect">
            <a:avLst/>
          </a:prstGeom>
          <a:noFill/>
        </p:spPr>
        <p:txBody>
          <a:bodyPr wrap="square" rtlCol="0">
            <a:spAutoFit/>
          </a:bodyPr>
          <a:lstStyle/>
          <a:p>
            <a:pPr algn="ctr"/>
            <a:r>
              <a:rPr lang="zh-CN" altLang="en-US" sz="1600" b="1" dirty="0" smtClean="0">
                <a:solidFill>
                  <a:schemeClr val="bg1"/>
                </a:solidFill>
              </a:rPr>
              <a:t>Operation Center</a:t>
            </a:r>
            <a:endParaRPr lang="zh-CN" altLang="en-US" sz="1600" b="1" dirty="0">
              <a:solidFill>
                <a:schemeClr val="bg1"/>
              </a:solidFill>
            </a:endParaRPr>
          </a:p>
        </p:txBody>
      </p:sp>
      <p:grpSp>
        <p:nvGrpSpPr>
          <p:cNvPr id="14" name="组合 299"/>
          <p:cNvGrpSpPr>
            <a:grpSpLocks/>
          </p:cNvGrpSpPr>
          <p:nvPr/>
        </p:nvGrpSpPr>
        <p:grpSpPr bwMode="auto">
          <a:xfrm>
            <a:off x="1662212" y="5409480"/>
            <a:ext cx="834975" cy="612602"/>
            <a:chOff x="5370513" y="3716338"/>
            <a:chExt cx="823913" cy="604838"/>
          </a:xfrm>
          <a:solidFill>
            <a:schemeClr val="bg1"/>
          </a:solidFill>
        </p:grpSpPr>
        <p:sp>
          <p:nvSpPr>
            <p:cNvPr id="213" name="Freeform 62"/>
            <p:cNvSpPr>
              <a:spLocks/>
            </p:cNvSpPr>
            <p:nvPr/>
          </p:nvSpPr>
          <p:spPr bwMode="auto">
            <a:xfrm>
              <a:off x="5519738" y="3948113"/>
              <a:ext cx="138113" cy="28575"/>
            </a:xfrm>
            <a:custGeom>
              <a:avLst/>
              <a:gdLst>
                <a:gd name="T0" fmla="*/ 2147483646 w 328"/>
                <a:gd name="T1" fmla="*/ 2147483646 h 67"/>
                <a:gd name="T2" fmla="*/ 2147483646 w 328"/>
                <a:gd name="T3" fmla="*/ 2147483646 h 67"/>
                <a:gd name="T4" fmla="*/ 2147483646 w 328"/>
                <a:gd name="T5" fmla="*/ 2147483646 h 67"/>
                <a:gd name="T6" fmla="*/ 2147483646 w 328"/>
                <a:gd name="T7" fmla="*/ 2147483646 h 67"/>
                <a:gd name="T8" fmla="*/ 2147483646 w 328"/>
                <a:gd name="T9" fmla="*/ 0 h 67"/>
                <a:gd name="T10" fmla="*/ 2147483646 w 328"/>
                <a:gd name="T11" fmla="*/ 0 h 67"/>
                <a:gd name="T12" fmla="*/ 0 w 328"/>
                <a:gd name="T13" fmla="*/ 2147483646 h 67"/>
                <a:gd name="T14" fmla="*/ 2147483646 w 328"/>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328"/>
                <a:gd name="T25" fmla="*/ 0 h 67"/>
                <a:gd name="T26" fmla="*/ 328 w 328"/>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8" h="67">
                  <a:moveTo>
                    <a:pt x="33" y="67"/>
                  </a:moveTo>
                  <a:lnTo>
                    <a:pt x="33" y="67"/>
                  </a:lnTo>
                  <a:lnTo>
                    <a:pt x="295" y="67"/>
                  </a:lnTo>
                  <a:cubicBezTo>
                    <a:pt x="313" y="67"/>
                    <a:pt x="328" y="52"/>
                    <a:pt x="328" y="34"/>
                  </a:cubicBezTo>
                  <a:cubicBezTo>
                    <a:pt x="328" y="15"/>
                    <a:pt x="313" y="0"/>
                    <a:pt x="295" y="0"/>
                  </a:cubicBezTo>
                  <a:lnTo>
                    <a:pt x="33" y="0"/>
                  </a:lnTo>
                  <a:cubicBezTo>
                    <a:pt x="15" y="0"/>
                    <a:pt x="0" y="15"/>
                    <a:pt x="0" y="34"/>
                  </a:cubicBezTo>
                  <a:cubicBezTo>
                    <a:pt x="0" y="52"/>
                    <a:pt x="15" y="67"/>
                    <a:pt x="33" y="67"/>
                  </a:cubicBezTo>
                  <a:close/>
                </a:path>
              </a:pathLst>
            </a:custGeom>
            <a:grpFill/>
            <a:ln w="0">
              <a:noFill/>
              <a:round/>
              <a:headEnd/>
              <a:tailEnd/>
            </a:ln>
          </p:spPr>
          <p:txBody>
            <a:bodyPr/>
            <a:lstStyle/>
            <a:p>
              <a:endParaRPr lang="zh-CN" altLang="en-US"/>
            </a:p>
          </p:txBody>
        </p:sp>
        <p:sp>
          <p:nvSpPr>
            <p:cNvPr id="214" name="Freeform 63"/>
            <p:cNvSpPr>
              <a:spLocks noEditPoints="1"/>
            </p:cNvSpPr>
            <p:nvPr/>
          </p:nvSpPr>
          <p:spPr bwMode="auto">
            <a:xfrm>
              <a:off x="5370513" y="3716338"/>
              <a:ext cx="823913" cy="604838"/>
            </a:xfrm>
            <a:custGeom>
              <a:avLst/>
              <a:gdLst>
                <a:gd name="T0" fmla="*/ 2147483646 w 1961"/>
                <a:gd name="T1" fmla="*/ 2147483646 h 1439"/>
                <a:gd name="T2" fmla="*/ 2147483646 w 1961"/>
                <a:gd name="T3" fmla="*/ 2147483646 h 1439"/>
                <a:gd name="T4" fmla="*/ 2147483646 w 1961"/>
                <a:gd name="T5" fmla="*/ 2147483646 h 1439"/>
                <a:gd name="T6" fmla="*/ 2147483646 w 1961"/>
                <a:gd name="T7" fmla="*/ 2147483646 h 1439"/>
                <a:gd name="T8" fmla="*/ 2147483646 w 1961"/>
                <a:gd name="T9" fmla="*/ 2147483646 h 1439"/>
                <a:gd name="T10" fmla="*/ 2147483646 w 1961"/>
                <a:gd name="T11" fmla="*/ 2147483646 h 1439"/>
                <a:gd name="T12" fmla="*/ 2147483646 w 1961"/>
                <a:gd name="T13" fmla="*/ 2147483646 h 1439"/>
                <a:gd name="T14" fmla="*/ 2147483646 w 1961"/>
                <a:gd name="T15" fmla="*/ 2147483646 h 1439"/>
                <a:gd name="T16" fmla="*/ 2147483646 w 1961"/>
                <a:gd name="T17" fmla="*/ 2147483646 h 1439"/>
                <a:gd name="T18" fmla="*/ 2147483646 w 1961"/>
                <a:gd name="T19" fmla="*/ 2147483646 h 1439"/>
                <a:gd name="T20" fmla="*/ 2147483646 w 1961"/>
                <a:gd name="T21" fmla="*/ 2147483646 h 1439"/>
                <a:gd name="T22" fmla="*/ 2147483646 w 1961"/>
                <a:gd name="T23" fmla="*/ 2147483646 h 1439"/>
                <a:gd name="T24" fmla="*/ 2147483646 w 1961"/>
                <a:gd name="T25" fmla="*/ 2147483646 h 1439"/>
                <a:gd name="T26" fmla="*/ 2147483646 w 1961"/>
                <a:gd name="T27" fmla="*/ 2147483646 h 1439"/>
                <a:gd name="T28" fmla="*/ 2147483646 w 1961"/>
                <a:gd name="T29" fmla="*/ 2147483646 h 1439"/>
                <a:gd name="T30" fmla="*/ 2147483646 w 1961"/>
                <a:gd name="T31" fmla="*/ 2147483646 h 1439"/>
                <a:gd name="T32" fmla="*/ 2147483646 w 1961"/>
                <a:gd name="T33" fmla="*/ 2147483646 h 1439"/>
                <a:gd name="T34" fmla="*/ 2147483646 w 1961"/>
                <a:gd name="T35" fmla="*/ 2147483646 h 1439"/>
                <a:gd name="T36" fmla="*/ 2147483646 w 1961"/>
                <a:gd name="T37" fmla="*/ 2147483646 h 1439"/>
                <a:gd name="T38" fmla="*/ 2147483646 w 1961"/>
                <a:gd name="T39" fmla="*/ 2147483646 h 1439"/>
                <a:gd name="T40" fmla="*/ 2147483646 w 1961"/>
                <a:gd name="T41" fmla="*/ 2147483646 h 1439"/>
                <a:gd name="T42" fmla="*/ 2147483646 w 1961"/>
                <a:gd name="T43" fmla="*/ 2147483646 h 1439"/>
                <a:gd name="T44" fmla="*/ 2147483646 w 1961"/>
                <a:gd name="T45" fmla="*/ 2147483646 h 1439"/>
                <a:gd name="T46" fmla="*/ 2147483646 w 1961"/>
                <a:gd name="T47" fmla="*/ 2147483646 h 1439"/>
                <a:gd name="T48" fmla="*/ 2147483646 w 1961"/>
                <a:gd name="T49" fmla="*/ 2147483646 h 1439"/>
                <a:gd name="T50" fmla="*/ 2147483646 w 1961"/>
                <a:gd name="T51" fmla="*/ 2147483646 h 1439"/>
                <a:gd name="T52" fmla="*/ 2147483646 w 1961"/>
                <a:gd name="T53" fmla="*/ 2147483646 h 1439"/>
                <a:gd name="T54" fmla="*/ 2147483646 w 1961"/>
                <a:gd name="T55" fmla="*/ 2147483646 h 1439"/>
                <a:gd name="T56" fmla="*/ 2147483646 w 1961"/>
                <a:gd name="T57" fmla="*/ 2147483646 h 1439"/>
                <a:gd name="T58" fmla="*/ 2147483646 w 1961"/>
                <a:gd name="T59" fmla="*/ 2147483646 h 1439"/>
                <a:gd name="T60" fmla="*/ 2147483646 w 1961"/>
                <a:gd name="T61" fmla="*/ 2147483646 h 1439"/>
                <a:gd name="T62" fmla="*/ 2147483646 w 1961"/>
                <a:gd name="T63" fmla="*/ 2147483646 h 1439"/>
                <a:gd name="T64" fmla="*/ 2147483646 w 1961"/>
                <a:gd name="T65" fmla="*/ 2147483646 h 1439"/>
                <a:gd name="T66" fmla="*/ 2147483646 w 1961"/>
                <a:gd name="T67" fmla="*/ 2147483646 h 1439"/>
                <a:gd name="T68" fmla="*/ 0 w 1961"/>
                <a:gd name="T69" fmla="*/ 2147483646 h 1439"/>
                <a:gd name="T70" fmla="*/ 2147483646 w 1961"/>
                <a:gd name="T71" fmla="*/ 2147483646 h 1439"/>
                <a:gd name="T72" fmla="*/ 2147483646 w 1961"/>
                <a:gd name="T73" fmla="*/ 2147483646 h 1439"/>
                <a:gd name="T74" fmla="*/ 2147483646 w 1961"/>
                <a:gd name="T75" fmla="*/ 2147483646 h 1439"/>
                <a:gd name="T76" fmla="*/ 2147483646 w 1961"/>
                <a:gd name="T77" fmla="*/ 2147483646 h 1439"/>
                <a:gd name="T78" fmla="*/ 2147483646 w 1961"/>
                <a:gd name="T79" fmla="*/ 2147483646 h 1439"/>
                <a:gd name="T80" fmla="*/ 2147483646 w 1961"/>
                <a:gd name="T81" fmla="*/ 2147483646 h 1439"/>
                <a:gd name="T82" fmla="*/ 2147483646 w 1961"/>
                <a:gd name="T83" fmla="*/ 2147483646 h 1439"/>
                <a:gd name="T84" fmla="*/ 2147483646 w 1961"/>
                <a:gd name="T85" fmla="*/ 2147483646 h 1439"/>
                <a:gd name="T86" fmla="*/ 2147483646 w 1961"/>
                <a:gd name="T87" fmla="*/ 2147483646 h 1439"/>
                <a:gd name="T88" fmla="*/ 2147483646 w 1961"/>
                <a:gd name="T89" fmla="*/ 2147483646 h 14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61"/>
                <a:gd name="T136" fmla="*/ 0 h 1439"/>
                <a:gd name="T137" fmla="*/ 1961 w 1961"/>
                <a:gd name="T138" fmla="*/ 1439 h 14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61" h="1439">
                  <a:moveTo>
                    <a:pt x="1174" y="811"/>
                  </a:moveTo>
                  <a:lnTo>
                    <a:pt x="1174" y="811"/>
                  </a:lnTo>
                  <a:lnTo>
                    <a:pt x="1512" y="811"/>
                  </a:lnTo>
                  <a:lnTo>
                    <a:pt x="1512" y="1169"/>
                  </a:lnTo>
                  <a:lnTo>
                    <a:pt x="1174" y="1169"/>
                  </a:lnTo>
                  <a:lnTo>
                    <a:pt x="1174" y="811"/>
                  </a:lnTo>
                  <a:close/>
                  <a:moveTo>
                    <a:pt x="616" y="1169"/>
                  </a:moveTo>
                  <a:lnTo>
                    <a:pt x="616" y="1169"/>
                  </a:lnTo>
                  <a:lnTo>
                    <a:pt x="421" y="1169"/>
                  </a:lnTo>
                  <a:lnTo>
                    <a:pt x="421" y="788"/>
                  </a:lnTo>
                  <a:lnTo>
                    <a:pt x="616" y="788"/>
                  </a:lnTo>
                  <a:lnTo>
                    <a:pt x="616" y="1169"/>
                  </a:lnTo>
                  <a:close/>
                  <a:moveTo>
                    <a:pt x="196" y="407"/>
                  </a:moveTo>
                  <a:lnTo>
                    <a:pt x="196" y="407"/>
                  </a:lnTo>
                  <a:lnTo>
                    <a:pt x="519" y="83"/>
                  </a:lnTo>
                  <a:lnTo>
                    <a:pt x="842" y="406"/>
                  </a:lnTo>
                  <a:lnTo>
                    <a:pt x="842" y="1169"/>
                  </a:lnTo>
                  <a:lnTo>
                    <a:pt x="683" y="1169"/>
                  </a:lnTo>
                  <a:lnTo>
                    <a:pt x="683" y="755"/>
                  </a:lnTo>
                  <a:cubicBezTo>
                    <a:pt x="683" y="736"/>
                    <a:pt x="668" y="721"/>
                    <a:pt x="650" y="721"/>
                  </a:cubicBezTo>
                  <a:lnTo>
                    <a:pt x="388" y="721"/>
                  </a:lnTo>
                  <a:cubicBezTo>
                    <a:pt x="370" y="721"/>
                    <a:pt x="355" y="736"/>
                    <a:pt x="355" y="755"/>
                  </a:cubicBezTo>
                  <a:lnTo>
                    <a:pt x="355" y="1169"/>
                  </a:lnTo>
                  <a:lnTo>
                    <a:pt x="196" y="1169"/>
                  </a:lnTo>
                  <a:lnTo>
                    <a:pt x="196" y="407"/>
                  </a:lnTo>
                  <a:close/>
                  <a:moveTo>
                    <a:pt x="1683" y="287"/>
                  </a:moveTo>
                  <a:lnTo>
                    <a:pt x="1683" y="287"/>
                  </a:lnTo>
                  <a:lnTo>
                    <a:pt x="1837" y="562"/>
                  </a:lnTo>
                  <a:lnTo>
                    <a:pt x="909" y="562"/>
                  </a:lnTo>
                  <a:lnTo>
                    <a:pt x="909" y="473"/>
                  </a:lnTo>
                  <a:lnTo>
                    <a:pt x="929" y="494"/>
                  </a:lnTo>
                  <a:cubicBezTo>
                    <a:pt x="936" y="500"/>
                    <a:pt x="944" y="504"/>
                    <a:pt x="953" y="504"/>
                  </a:cubicBezTo>
                  <a:cubicBezTo>
                    <a:pt x="961" y="504"/>
                    <a:pt x="970" y="500"/>
                    <a:pt x="976" y="494"/>
                  </a:cubicBezTo>
                  <a:cubicBezTo>
                    <a:pt x="990" y="481"/>
                    <a:pt x="990" y="460"/>
                    <a:pt x="976" y="447"/>
                  </a:cubicBezTo>
                  <a:lnTo>
                    <a:pt x="816" y="287"/>
                  </a:lnTo>
                  <a:lnTo>
                    <a:pt x="1683" y="287"/>
                  </a:lnTo>
                  <a:close/>
                  <a:moveTo>
                    <a:pt x="1777" y="1169"/>
                  </a:moveTo>
                  <a:lnTo>
                    <a:pt x="1777" y="1169"/>
                  </a:lnTo>
                  <a:lnTo>
                    <a:pt x="1578" y="1169"/>
                  </a:lnTo>
                  <a:lnTo>
                    <a:pt x="1578" y="778"/>
                  </a:lnTo>
                  <a:cubicBezTo>
                    <a:pt x="1578" y="760"/>
                    <a:pt x="1563" y="745"/>
                    <a:pt x="1545" y="745"/>
                  </a:cubicBezTo>
                  <a:lnTo>
                    <a:pt x="1140" y="745"/>
                  </a:lnTo>
                  <a:cubicBezTo>
                    <a:pt x="1122" y="745"/>
                    <a:pt x="1107" y="760"/>
                    <a:pt x="1107" y="778"/>
                  </a:cubicBezTo>
                  <a:lnTo>
                    <a:pt x="1107" y="1169"/>
                  </a:lnTo>
                  <a:lnTo>
                    <a:pt x="909" y="1169"/>
                  </a:lnTo>
                  <a:lnTo>
                    <a:pt x="909" y="629"/>
                  </a:lnTo>
                  <a:lnTo>
                    <a:pt x="1777" y="629"/>
                  </a:lnTo>
                  <a:lnTo>
                    <a:pt x="1777" y="1169"/>
                  </a:lnTo>
                  <a:close/>
                  <a:moveTo>
                    <a:pt x="1928" y="1169"/>
                  </a:moveTo>
                  <a:lnTo>
                    <a:pt x="1928" y="1169"/>
                  </a:lnTo>
                  <a:lnTo>
                    <a:pt x="1844" y="1169"/>
                  </a:lnTo>
                  <a:lnTo>
                    <a:pt x="1844" y="629"/>
                  </a:lnTo>
                  <a:lnTo>
                    <a:pt x="1894" y="629"/>
                  </a:lnTo>
                  <a:cubicBezTo>
                    <a:pt x="1906" y="629"/>
                    <a:pt x="1917" y="623"/>
                    <a:pt x="1923" y="612"/>
                  </a:cubicBezTo>
                  <a:cubicBezTo>
                    <a:pt x="1929" y="602"/>
                    <a:pt x="1929" y="590"/>
                    <a:pt x="1924" y="579"/>
                  </a:cubicBezTo>
                  <a:lnTo>
                    <a:pt x="1731" y="237"/>
                  </a:lnTo>
                  <a:cubicBezTo>
                    <a:pt x="1725" y="226"/>
                    <a:pt x="1714" y="220"/>
                    <a:pt x="1702" y="220"/>
                  </a:cubicBezTo>
                  <a:lnTo>
                    <a:pt x="750" y="220"/>
                  </a:lnTo>
                  <a:lnTo>
                    <a:pt x="542" y="13"/>
                  </a:lnTo>
                  <a:cubicBezTo>
                    <a:pt x="529" y="0"/>
                    <a:pt x="508" y="0"/>
                    <a:pt x="495" y="13"/>
                  </a:cubicBezTo>
                  <a:lnTo>
                    <a:pt x="139" y="369"/>
                  </a:lnTo>
                  <a:lnTo>
                    <a:pt x="61" y="447"/>
                  </a:lnTo>
                  <a:cubicBezTo>
                    <a:pt x="48" y="460"/>
                    <a:pt x="48" y="481"/>
                    <a:pt x="61" y="494"/>
                  </a:cubicBezTo>
                  <a:cubicBezTo>
                    <a:pt x="74" y="507"/>
                    <a:pt x="95" y="507"/>
                    <a:pt x="108" y="494"/>
                  </a:cubicBezTo>
                  <a:lnTo>
                    <a:pt x="129" y="473"/>
                  </a:lnTo>
                  <a:lnTo>
                    <a:pt x="129" y="1169"/>
                  </a:lnTo>
                  <a:lnTo>
                    <a:pt x="33" y="1169"/>
                  </a:lnTo>
                  <a:cubicBezTo>
                    <a:pt x="14" y="1169"/>
                    <a:pt x="0" y="1184"/>
                    <a:pt x="0" y="1202"/>
                  </a:cubicBezTo>
                  <a:lnTo>
                    <a:pt x="0" y="1369"/>
                  </a:lnTo>
                  <a:cubicBezTo>
                    <a:pt x="0" y="1388"/>
                    <a:pt x="14" y="1403"/>
                    <a:pt x="33" y="1403"/>
                  </a:cubicBezTo>
                  <a:lnTo>
                    <a:pt x="1262" y="1403"/>
                  </a:lnTo>
                  <a:cubicBezTo>
                    <a:pt x="1273" y="1424"/>
                    <a:pt x="1296" y="1439"/>
                    <a:pt x="1322" y="1439"/>
                  </a:cubicBezTo>
                  <a:cubicBezTo>
                    <a:pt x="1361" y="1439"/>
                    <a:pt x="1392" y="1408"/>
                    <a:pt x="1392" y="1370"/>
                  </a:cubicBezTo>
                  <a:cubicBezTo>
                    <a:pt x="1392" y="1332"/>
                    <a:pt x="1361" y="1300"/>
                    <a:pt x="1322" y="1300"/>
                  </a:cubicBezTo>
                  <a:cubicBezTo>
                    <a:pt x="1296" y="1300"/>
                    <a:pt x="1274" y="1315"/>
                    <a:pt x="1262" y="1336"/>
                  </a:cubicBezTo>
                  <a:lnTo>
                    <a:pt x="66" y="1336"/>
                  </a:lnTo>
                  <a:lnTo>
                    <a:pt x="66" y="1235"/>
                  </a:lnTo>
                  <a:lnTo>
                    <a:pt x="1140" y="1235"/>
                  </a:lnTo>
                  <a:lnTo>
                    <a:pt x="1545" y="1235"/>
                  </a:lnTo>
                  <a:lnTo>
                    <a:pt x="1894" y="1235"/>
                  </a:lnTo>
                  <a:lnTo>
                    <a:pt x="1894" y="1336"/>
                  </a:lnTo>
                  <a:lnTo>
                    <a:pt x="1597" y="1336"/>
                  </a:lnTo>
                  <a:cubicBezTo>
                    <a:pt x="1585" y="1314"/>
                    <a:pt x="1563" y="1300"/>
                    <a:pt x="1536" y="1300"/>
                  </a:cubicBezTo>
                  <a:cubicBezTo>
                    <a:pt x="1498" y="1300"/>
                    <a:pt x="1467" y="1331"/>
                    <a:pt x="1467" y="1369"/>
                  </a:cubicBezTo>
                  <a:cubicBezTo>
                    <a:pt x="1467" y="1407"/>
                    <a:pt x="1498" y="1438"/>
                    <a:pt x="1536" y="1438"/>
                  </a:cubicBezTo>
                  <a:cubicBezTo>
                    <a:pt x="1562" y="1438"/>
                    <a:pt x="1585" y="1424"/>
                    <a:pt x="1597" y="1403"/>
                  </a:cubicBezTo>
                  <a:lnTo>
                    <a:pt x="1928" y="1403"/>
                  </a:lnTo>
                  <a:cubicBezTo>
                    <a:pt x="1946" y="1403"/>
                    <a:pt x="1961" y="1388"/>
                    <a:pt x="1961" y="1369"/>
                  </a:cubicBezTo>
                  <a:lnTo>
                    <a:pt x="1961" y="1202"/>
                  </a:lnTo>
                  <a:cubicBezTo>
                    <a:pt x="1961" y="1184"/>
                    <a:pt x="1946" y="1169"/>
                    <a:pt x="1928" y="1169"/>
                  </a:cubicBezTo>
                  <a:close/>
                </a:path>
              </a:pathLst>
            </a:custGeom>
            <a:grpFill/>
            <a:ln w="0">
              <a:noFill/>
              <a:round/>
              <a:headEnd/>
              <a:tailEnd/>
            </a:ln>
          </p:spPr>
          <p:txBody>
            <a:bodyPr/>
            <a:lstStyle/>
            <a:p>
              <a:endParaRPr lang="zh-CN" altLang="en-US"/>
            </a:p>
          </p:txBody>
        </p:sp>
        <p:sp>
          <p:nvSpPr>
            <p:cNvPr id="215" name="Freeform 64"/>
            <p:cNvSpPr>
              <a:spLocks/>
            </p:cNvSpPr>
            <p:nvPr/>
          </p:nvSpPr>
          <p:spPr bwMode="auto">
            <a:xfrm>
              <a:off x="5883275" y="4090988"/>
              <a:ext cx="103188" cy="17463"/>
            </a:xfrm>
            <a:custGeom>
              <a:avLst/>
              <a:gdLst>
                <a:gd name="T0" fmla="*/ 2147483646 w 246"/>
                <a:gd name="T1" fmla="*/ 0 h 40"/>
                <a:gd name="T2" fmla="*/ 2147483646 w 246"/>
                <a:gd name="T3" fmla="*/ 0 h 40"/>
                <a:gd name="T4" fmla="*/ 2147483646 w 246"/>
                <a:gd name="T5" fmla="*/ 0 h 40"/>
                <a:gd name="T6" fmla="*/ 0 w 246"/>
                <a:gd name="T7" fmla="*/ 2147483646 h 40"/>
                <a:gd name="T8" fmla="*/ 2147483646 w 246"/>
                <a:gd name="T9" fmla="*/ 2147483646 h 40"/>
                <a:gd name="T10" fmla="*/ 2147483646 w 246"/>
                <a:gd name="T11" fmla="*/ 2147483646 h 40"/>
                <a:gd name="T12" fmla="*/ 2147483646 w 246"/>
                <a:gd name="T13" fmla="*/ 2147483646 h 40"/>
                <a:gd name="T14" fmla="*/ 2147483646 w 246"/>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246"/>
                <a:gd name="T25" fmla="*/ 0 h 40"/>
                <a:gd name="T26" fmla="*/ 246 w 246"/>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6" h="40">
                  <a:moveTo>
                    <a:pt x="226" y="0"/>
                  </a:moveTo>
                  <a:lnTo>
                    <a:pt x="226" y="0"/>
                  </a:lnTo>
                  <a:lnTo>
                    <a:pt x="20" y="0"/>
                  </a:lnTo>
                  <a:cubicBezTo>
                    <a:pt x="9" y="0"/>
                    <a:pt x="0" y="9"/>
                    <a:pt x="0" y="20"/>
                  </a:cubicBezTo>
                  <a:cubicBezTo>
                    <a:pt x="0" y="31"/>
                    <a:pt x="9" y="40"/>
                    <a:pt x="20" y="40"/>
                  </a:cubicBezTo>
                  <a:lnTo>
                    <a:pt x="226" y="40"/>
                  </a:lnTo>
                  <a:cubicBezTo>
                    <a:pt x="237" y="40"/>
                    <a:pt x="246" y="31"/>
                    <a:pt x="246" y="20"/>
                  </a:cubicBezTo>
                  <a:cubicBezTo>
                    <a:pt x="246" y="9"/>
                    <a:pt x="237" y="0"/>
                    <a:pt x="226" y="0"/>
                  </a:cubicBezTo>
                  <a:close/>
                </a:path>
              </a:pathLst>
            </a:custGeom>
            <a:grpFill/>
            <a:ln w="0">
              <a:noFill/>
              <a:round/>
              <a:headEnd/>
              <a:tailEnd/>
            </a:ln>
          </p:spPr>
          <p:txBody>
            <a:bodyPr/>
            <a:lstStyle/>
            <a:p>
              <a:endParaRPr lang="zh-CN" altLang="en-US"/>
            </a:p>
          </p:txBody>
        </p:sp>
        <p:sp>
          <p:nvSpPr>
            <p:cNvPr id="216" name="Freeform 65"/>
            <p:cNvSpPr>
              <a:spLocks/>
            </p:cNvSpPr>
            <p:nvPr/>
          </p:nvSpPr>
          <p:spPr bwMode="auto">
            <a:xfrm>
              <a:off x="5883275" y="4125913"/>
              <a:ext cx="103188" cy="17463"/>
            </a:xfrm>
            <a:custGeom>
              <a:avLst/>
              <a:gdLst>
                <a:gd name="T0" fmla="*/ 2147483646 w 246"/>
                <a:gd name="T1" fmla="*/ 0 h 40"/>
                <a:gd name="T2" fmla="*/ 2147483646 w 246"/>
                <a:gd name="T3" fmla="*/ 0 h 40"/>
                <a:gd name="T4" fmla="*/ 2147483646 w 246"/>
                <a:gd name="T5" fmla="*/ 0 h 40"/>
                <a:gd name="T6" fmla="*/ 0 w 246"/>
                <a:gd name="T7" fmla="*/ 2147483646 h 40"/>
                <a:gd name="T8" fmla="*/ 2147483646 w 246"/>
                <a:gd name="T9" fmla="*/ 2147483646 h 40"/>
                <a:gd name="T10" fmla="*/ 2147483646 w 246"/>
                <a:gd name="T11" fmla="*/ 2147483646 h 40"/>
                <a:gd name="T12" fmla="*/ 2147483646 w 246"/>
                <a:gd name="T13" fmla="*/ 2147483646 h 40"/>
                <a:gd name="T14" fmla="*/ 2147483646 w 246"/>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246"/>
                <a:gd name="T25" fmla="*/ 0 h 40"/>
                <a:gd name="T26" fmla="*/ 246 w 246"/>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6" h="40">
                  <a:moveTo>
                    <a:pt x="226" y="0"/>
                  </a:moveTo>
                  <a:lnTo>
                    <a:pt x="226" y="0"/>
                  </a:lnTo>
                  <a:lnTo>
                    <a:pt x="20" y="0"/>
                  </a:lnTo>
                  <a:cubicBezTo>
                    <a:pt x="9" y="0"/>
                    <a:pt x="0" y="9"/>
                    <a:pt x="0" y="20"/>
                  </a:cubicBezTo>
                  <a:cubicBezTo>
                    <a:pt x="0" y="31"/>
                    <a:pt x="9" y="40"/>
                    <a:pt x="20" y="40"/>
                  </a:cubicBezTo>
                  <a:lnTo>
                    <a:pt x="226" y="40"/>
                  </a:lnTo>
                  <a:cubicBezTo>
                    <a:pt x="237" y="40"/>
                    <a:pt x="246" y="31"/>
                    <a:pt x="246" y="20"/>
                  </a:cubicBezTo>
                  <a:cubicBezTo>
                    <a:pt x="246" y="9"/>
                    <a:pt x="237" y="0"/>
                    <a:pt x="226" y="0"/>
                  </a:cubicBezTo>
                  <a:close/>
                </a:path>
              </a:pathLst>
            </a:custGeom>
            <a:grpFill/>
            <a:ln w="0">
              <a:noFill/>
              <a:round/>
              <a:headEnd/>
              <a:tailEnd/>
            </a:ln>
          </p:spPr>
          <p:txBody>
            <a:bodyPr/>
            <a:lstStyle/>
            <a:p>
              <a:endParaRPr lang="zh-CN" altLang="en-US"/>
            </a:p>
          </p:txBody>
        </p:sp>
        <p:sp>
          <p:nvSpPr>
            <p:cNvPr id="217" name="Freeform 66"/>
            <p:cNvSpPr>
              <a:spLocks/>
            </p:cNvSpPr>
            <p:nvPr/>
          </p:nvSpPr>
          <p:spPr bwMode="auto">
            <a:xfrm>
              <a:off x="5883275" y="4160838"/>
              <a:ext cx="103188" cy="17463"/>
            </a:xfrm>
            <a:custGeom>
              <a:avLst/>
              <a:gdLst>
                <a:gd name="T0" fmla="*/ 2147483646 w 246"/>
                <a:gd name="T1" fmla="*/ 0 h 40"/>
                <a:gd name="T2" fmla="*/ 2147483646 w 246"/>
                <a:gd name="T3" fmla="*/ 0 h 40"/>
                <a:gd name="T4" fmla="*/ 2147483646 w 246"/>
                <a:gd name="T5" fmla="*/ 0 h 40"/>
                <a:gd name="T6" fmla="*/ 0 w 246"/>
                <a:gd name="T7" fmla="*/ 2147483646 h 40"/>
                <a:gd name="T8" fmla="*/ 2147483646 w 246"/>
                <a:gd name="T9" fmla="*/ 2147483646 h 40"/>
                <a:gd name="T10" fmla="*/ 2147483646 w 246"/>
                <a:gd name="T11" fmla="*/ 2147483646 h 40"/>
                <a:gd name="T12" fmla="*/ 2147483646 w 246"/>
                <a:gd name="T13" fmla="*/ 2147483646 h 40"/>
                <a:gd name="T14" fmla="*/ 2147483646 w 246"/>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246"/>
                <a:gd name="T25" fmla="*/ 0 h 40"/>
                <a:gd name="T26" fmla="*/ 246 w 246"/>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6" h="40">
                  <a:moveTo>
                    <a:pt x="226" y="0"/>
                  </a:moveTo>
                  <a:lnTo>
                    <a:pt x="226" y="0"/>
                  </a:lnTo>
                  <a:lnTo>
                    <a:pt x="20" y="0"/>
                  </a:lnTo>
                  <a:cubicBezTo>
                    <a:pt x="9" y="0"/>
                    <a:pt x="0" y="9"/>
                    <a:pt x="0" y="20"/>
                  </a:cubicBezTo>
                  <a:cubicBezTo>
                    <a:pt x="0" y="31"/>
                    <a:pt x="9" y="40"/>
                    <a:pt x="20" y="40"/>
                  </a:cubicBezTo>
                  <a:lnTo>
                    <a:pt x="226" y="40"/>
                  </a:lnTo>
                  <a:cubicBezTo>
                    <a:pt x="237" y="40"/>
                    <a:pt x="246" y="31"/>
                    <a:pt x="246" y="20"/>
                  </a:cubicBezTo>
                  <a:cubicBezTo>
                    <a:pt x="246" y="9"/>
                    <a:pt x="237" y="0"/>
                    <a:pt x="226" y="0"/>
                  </a:cubicBezTo>
                  <a:close/>
                </a:path>
              </a:pathLst>
            </a:custGeom>
            <a:grpFill/>
            <a:ln w="0">
              <a:noFill/>
              <a:round/>
              <a:headEnd/>
              <a:tailEnd/>
            </a:ln>
          </p:spPr>
          <p:txBody>
            <a:bodyPr/>
            <a:lstStyle/>
            <a:p>
              <a:endParaRPr lang="zh-CN" altLang="en-US"/>
            </a:p>
          </p:txBody>
        </p:sp>
      </p:grpSp>
      <p:grpSp>
        <p:nvGrpSpPr>
          <p:cNvPr id="18" name="组合 275"/>
          <p:cNvGrpSpPr>
            <a:grpSpLocks/>
          </p:cNvGrpSpPr>
          <p:nvPr/>
        </p:nvGrpSpPr>
        <p:grpSpPr bwMode="auto">
          <a:xfrm>
            <a:off x="2425179" y="5249939"/>
            <a:ext cx="396971" cy="772143"/>
            <a:chOff x="6640513" y="788988"/>
            <a:chExt cx="490538" cy="954088"/>
          </a:xfrm>
          <a:solidFill>
            <a:schemeClr val="bg1"/>
          </a:solidFill>
        </p:grpSpPr>
        <p:sp>
          <p:nvSpPr>
            <p:cNvPr id="204" name="Freeform 114"/>
            <p:cNvSpPr>
              <a:spLocks noEditPoints="1"/>
            </p:cNvSpPr>
            <p:nvPr/>
          </p:nvSpPr>
          <p:spPr bwMode="auto">
            <a:xfrm>
              <a:off x="6640513" y="860426"/>
              <a:ext cx="312738" cy="207963"/>
            </a:xfrm>
            <a:custGeom>
              <a:avLst/>
              <a:gdLst>
                <a:gd name="T0" fmla="*/ 2147483646 w 747"/>
                <a:gd name="T1" fmla="*/ 2147483646 h 496"/>
                <a:gd name="T2" fmla="*/ 2147483646 w 747"/>
                <a:gd name="T3" fmla="*/ 2147483646 h 496"/>
                <a:gd name="T4" fmla="*/ 2147483646 w 747"/>
                <a:gd name="T5" fmla="*/ 2147483646 h 496"/>
                <a:gd name="T6" fmla="*/ 2147483646 w 747"/>
                <a:gd name="T7" fmla="*/ 2147483646 h 496"/>
                <a:gd name="T8" fmla="*/ 2147483646 w 747"/>
                <a:gd name="T9" fmla="*/ 2147483646 h 496"/>
                <a:gd name="T10" fmla="*/ 2147483646 w 747"/>
                <a:gd name="T11" fmla="*/ 2147483646 h 496"/>
                <a:gd name="T12" fmla="*/ 2147483646 w 747"/>
                <a:gd name="T13" fmla="*/ 2147483646 h 496"/>
                <a:gd name="T14" fmla="*/ 2147483646 w 747"/>
                <a:gd name="T15" fmla="*/ 2147483646 h 496"/>
                <a:gd name="T16" fmla="*/ 2147483646 w 747"/>
                <a:gd name="T17" fmla="*/ 2147483646 h 496"/>
                <a:gd name="T18" fmla="*/ 2147483646 w 747"/>
                <a:gd name="T19" fmla="*/ 2147483646 h 496"/>
                <a:gd name="T20" fmla="*/ 2147483646 w 747"/>
                <a:gd name="T21" fmla="*/ 2147483646 h 496"/>
                <a:gd name="T22" fmla="*/ 2147483646 w 747"/>
                <a:gd name="T23" fmla="*/ 2147483646 h 496"/>
                <a:gd name="T24" fmla="*/ 2147483646 w 747"/>
                <a:gd name="T25" fmla="*/ 2147483646 h 496"/>
                <a:gd name="T26" fmla="*/ 2147483646 w 747"/>
                <a:gd name="T27" fmla="*/ 2147483646 h 496"/>
                <a:gd name="T28" fmla="*/ 2147483646 w 747"/>
                <a:gd name="T29" fmla="*/ 2147483646 h 496"/>
                <a:gd name="T30" fmla="*/ 2147483646 w 747"/>
                <a:gd name="T31" fmla="*/ 2147483646 h 496"/>
                <a:gd name="T32" fmla="*/ 2147483646 w 747"/>
                <a:gd name="T33" fmla="*/ 2147483646 h 496"/>
                <a:gd name="T34" fmla="*/ 2147483646 w 747"/>
                <a:gd name="T35" fmla="*/ 2147483646 h 496"/>
                <a:gd name="T36" fmla="*/ 2147483646 w 747"/>
                <a:gd name="T37" fmla="*/ 2147483646 h 496"/>
                <a:gd name="T38" fmla="*/ 2147483646 w 747"/>
                <a:gd name="T39" fmla="*/ 2147483646 h 496"/>
                <a:gd name="T40" fmla="*/ 2147483646 w 747"/>
                <a:gd name="T41" fmla="*/ 2147483646 h 496"/>
                <a:gd name="T42" fmla="*/ 2147483646 w 747"/>
                <a:gd name="T43" fmla="*/ 2147483646 h 496"/>
                <a:gd name="T44" fmla="*/ 2147483646 w 747"/>
                <a:gd name="T45" fmla="*/ 2147483646 h 496"/>
                <a:gd name="T46" fmla="*/ 2147483646 w 747"/>
                <a:gd name="T47" fmla="*/ 2147483646 h 496"/>
                <a:gd name="T48" fmla="*/ 2147483646 w 747"/>
                <a:gd name="T49" fmla="*/ 2147483646 h 496"/>
                <a:gd name="T50" fmla="*/ 2147483646 w 747"/>
                <a:gd name="T51" fmla="*/ 2147483646 h 496"/>
                <a:gd name="T52" fmla="*/ 2147483646 w 747"/>
                <a:gd name="T53" fmla="*/ 2147483646 h 496"/>
                <a:gd name="T54" fmla="*/ 2147483646 w 747"/>
                <a:gd name="T55" fmla="*/ 2147483646 h 496"/>
                <a:gd name="T56" fmla="*/ 2147483646 w 747"/>
                <a:gd name="T57" fmla="*/ 0 h 496"/>
                <a:gd name="T58" fmla="*/ 2147483646 w 747"/>
                <a:gd name="T59" fmla="*/ 2147483646 h 496"/>
                <a:gd name="T60" fmla="*/ 2147483646 w 747"/>
                <a:gd name="T61" fmla="*/ 2147483646 h 496"/>
                <a:gd name="T62" fmla="*/ 2147483646 w 747"/>
                <a:gd name="T63" fmla="*/ 2147483646 h 496"/>
                <a:gd name="T64" fmla="*/ 2147483646 w 747"/>
                <a:gd name="T65" fmla="*/ 2147483646 h 496"/>
                <a:gd name="T66" fmla="*/ 2147483646 w 747"/>
                <a:gd name="T67" fmla="*/ 2147483646 h 496"/>
                <a:gd name="T68" fmla="*/ 2147483646 w 747"/>
                <a:gd name="T69" fmla="*/ 2147483646 h 496"/>
                <a:gd name="T70" fmla="*/ 2147483646 w 747"/>
                <a:gd name="T71" fmla="*/ 2147483646 h 496"/>
                <a:gd name="T72" fmla="*/ 2147483646 w 747"/>
                <a:gd name="T73" fmla="*/ 2147483646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grpFill/>
            <a:ln w="0">
              <a:noFill/>
              <a:round/>
              <a:headEnd/>
              <a:tailEnd/>
            </a:ln>
          </p:spPr>
          <p:txBody>
            <a:bodyPr/>
            <a:lstStyle/>
            <a:p>
              <a:endParaRPr lang="zh-CN" altLang="en-US"/>
            </a:p>
          </p:txBody>
        </p:sp>
        <p:sp>
          <p:nvSpPr>
            <p:cNvPr id="205" name="Freeform 115"/>
            <p:cNvSpPr>
              <a:spLocks/>
            </p:cNvSpPr>
            <p:nvPr/>
          </p:nvSpPr>
          <p:spPr bwMode="auto">
            <a:xfrm>
              <a:off x="6910388" y="1008063"/>
              <a:ext cx="125413" cy="438150"/>
            </a:xfrm>
            <a:custGeom>
              <a:avLst/>
              <a:gdLst>
                <a:gd name="T0" fmla="*/ 2147483646 w 300"/>
                <a:gd name="T1" fmla="*/ 2147483646 h 1043"/>
                <a:gd name="T2" fmla="*/ 2147483646 w 300"/>
                <a:gd name="T3" fmla="*/ 2147483646 h 1043"/>
                <a:gd name="T4" fmla="*/ 2147483646 w 300"/>
                <a:gd name="T5" fmla="*/ 2147483646 h 1043"/>
                <a:gd name="T6" fmla="*/ 2147483646 w 300"/>
                <a:gd name="T7" fmla="*/ 2147483646 h 1043"/>
                <a:gd name="T8" fmla="*/ 2147483646 w 300"/>
                <a:gd name="T9" fmla="*/ 2147483646 h 1043"/>
                <a:gd name="T10" fmla="*/ 2147483646 w 300"/>
                <a:gd name="T11" fmla="*/ 2147483646 h 1043"/>
                <a:gd name="T12" fmla="*/ 2147483646 w 300"/>
                <a:gd name="T13" fmla="*/ 2147483646 h 1043"/>
                <a:gd name="T14" fmla="*/ 2147483646 w 300"/>
                <a:gd name="T15" fmla="*/ 2147483646 h 1043"/>
                <a:gd name="T16" fmla="*/ 2147483646 w 300"/>
                <a:gd name="T17" fmla="*/ 2147483646 h 1043"/>
                <a:gd name="T18" fmla="*/ 2147483646 w 300"/>
                <a:gd name="T19" fmla="*/ 2147483646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grpFill/>
            <a:ln w="0">
              <a:noFill/>
              <a:round/>
              <a:headEnd/>
              <a:tailEnd/>
            </a:ln>
          </p:spPr>
          <p:txBody>
            <a:bodyPr/>
            <a:lstStyle/>
            <a:p>
              <a:endParaRPr lang="zh-CN" altLang="en-US"/>
            </a:p>
          </p:txBody>
        </p:sp>
        <p:sp>
          <p:nvSpPr>
            <p:cNvPr id="206" name="Freeform 116"/>
            <p:cNvSpPr>
              <a:spLocks/>
            </p:cNvSpPr>
            <p:nvPr/>
          </p:nvSpPr>
          <p:spPr bwMode="auto">
            <a:xfrm>
              <a:off x="6659563" y="890588"/>
              <a:ext cx="280988" cy="168275"/>
            </a:xfrm>
            <a:custGeom>
              <a:avLst/>
              <a:gdLst>
                <a:gd name="T0" fmla="*/ 2147483646 w 670"/>
                <a:gd name="T1" fmla="*/ 2147483646 h 400"/>
                <a:gd name="T2" fmla="*/ 2147483646 w 670"/>
                <a:gd name="T3" fmla="*/ 2147483646 h 400"/>
                <a:gd name="T4" fmla="*/ 2147483646 w 670"/>
                <a:gd name="T5" fmla="*/ 2147483646 h 400"/>
                <a:gd name="T6" fmla="*/ 2147483646 w 670"/>
                <a:gd name="T7" fmla="*/ 2147483646 h 400"/>
                <a:gd name="T8" fmla="*/ 2147483646 w 670"/>
                <a:gd name="T9" fmla="*/ 2147483646 h 400"/>
                <a:gd name="T10" fmla="*/ 2147483646 w 670"/>
                <a:gd name="T11" fmla="*/ 2147483646 h 400"/>
                <a:gd name="T12" fmla="*/ 2147483646 w 670"/>
                <a:gd name="T13" fmla="*/ 2147483646 h 400"/>
                <a:gd name="T14" fmla="*/ 2147483646 w 670"/>
                <a:gd name="T15" fmla="*/ 2147483646 h 400"/>
                <a:gd name="T16" fmla="*/ 2147483646 w 670"/>
                <a:gd name="T17" fmla="*/ 2147483646 h 400"/>
                <a:gd name="T18" fmla="*/ 2147483646 w 670"/>
                <a:gd name="T19" fmla="*/ 2147483646 h 400"/>
                <a:gd name="T20" fmla="*/ 2147483646 w 670"/>
                <a:gd name="T21" fmla="*/ 2147483646 h 400"/>
                <a:gd name="T22" fmla="*/ 2147483646 w 670"/>
                <a:gd name="T23" fmla="*/ 2147483646 h 400"/>
                <a:gd name="T24" fmla="*/ 2147483646 w 670"/>
                <a:gd name="T25" fmla="*/ 2147483646 h 400"/>
                <a:gd name="T26" fmla="*/ 2147483646 w 670"/>
                <a:gd name="T27" fmla="*/ 2147483646 h 400"/>
                <a:gd name="T28" fmla="*/ 2147483646 w 670"/>
                <a:gd name="T29" fmla="*/ 2147483646 h 400"/>
                <a:gd name="T30" fmla="*/ 2147483646 w 670"/>
                <a:gd name="T31" fmla="*/ 2147483646 h 400"/>
                <a:gd name="T32" fmla="*/ 2147483646 w 670"/>
                <a:gd name="T33" fmla="*/ 2147483646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grpFill/>
            <a:ln w="0">
              <a:noFill/>
              <a:round/>
              <a:headEnd/>
              <a:tailEnd/>
            </a:ln>
          </p:spPr>
          <p:txBody>
            <a:bodyPr/>
            <a:lstStyle/>
            <a:p>
              <a:endParaRPr lang="zh-CN" altLang="en-US"/>
            </a:p>
          </p:txBody>
        </p:sp>
        <p:sp>
          <p:nvSpPr>
            <p:cNvPr id="207" name="Freeform 117"/>
            <p:cNvSpPr>
              <a:spLocks/>
            </p:cNvSpPr>
            <p:nvPr/>
          </p:nvSpPr>
          <p:spPr bwMode="auto">
            <a:xfrm>
              <a:off x="6981825" y="1422401"/>
              <a:ext cx="82550" cy="263525"/>
            </a:xfrm>
            <a:custGeom>
              <a:avLst/>
              <a:gdLst>
                <a:gd name="T0" fmla="*/ 2147483646 w 197"/>
                <a:gd name="T1" fmla="*/ 2147483646 h 629"/>
                <a:gd name="T2" fmla="*/ 2147483646 w 197"/>
                <a:gd name="T3" fmla="*/ 2147483646 h 629"/>
                <a:gd name="T4" fmla="*/ 0 w 197"/>
                <a:gd name="T5" fmla="*/ 2147483646 h 629"/>
                <a:gd name="T6" fmla="*/ 0 w 197"/>
                <a:gd name="T7" fmla="*/ 2147483646 h 629"/>
                <a:gd name="T8" fmla="*/ 2147483646 w 197"/>
                <a:gd name="T9" fmla="*/ 0 h 629"/>
                <a:gd name="T10" fmla="*/ 2147483646 w 197"/>
                <a:gd name="T11" fmla="*/ 2147483646 h 629"/>
                <a:gd name="T12" fmla="*/ 2147483646 w 197"/>
                <a:gd name="T13" fmla="*/ 2147483646 h 629"/>
                <a:gd name="T14" fmla="*/ 2147483646 w 197"/>
                <a:gd name="T15" fmla="*/ 2147483646 h 629"/>
                <a:gd name="T16" fmla="*/ 2147483646 w 197"/>
                <a:gd name="T17" fmla="*/ 2147483646 h 629"/>
                <a:gd name="T18" fmla="*/ 2147483646 w 197"/>
                <a:gd name="T19" fmla="*/ 2147483646 h 629"/>
                <a:gd name="T20" fmla="*/ 2147483646 w 197"/>
                <a:gd name="T21" fmla="*/ 2147483646 h 629"/>
                <a:gd name="T22" fmla="*/ 2147483646 w 197"/>
                <a:gd name="T23" fmla="*/ 2147483646 h 629"/>
                <a:gd name="T24" fmla="*/ 2147483646 w 197"/>
                <a:gd name="T25" fmla="*/ 2147483646 h 629"/>
                <a:gd name="T26" fmla="*/ 2147483646 w 197"/>
                <a:gd name="T27" fmla="*/ 2147483646 h 629"/>
                <a:gd name="T28" fmla="*/ 2147483646 w 197"/>
                <a:gd name="T29" fmla="*/ 2147483646 h 629"/>
                <a:gd name="T30" fmla="*/ 2147483646 w 197"/>
                <a:gd name="T31" fmla="*/ 2147483646 h 629"/>
                <a:gd name="T32" fmla="*/ 2147483646 w 197"/>
                <a:gd name="T33" fmla="*/ 2147483646 h 629"/>
                <a:gd name="T34" fmla="*/ 2147483646 w 197"/>
                <a:gd name="T35" fmla="*/ 2147483646 h 629"/>
                <a:gd name="T36" fmla="*/ 2147483646 w 197"/>
                <a:gd name="T37" fmla="*/ 2147483646 h 629"/>
                <a:gd name="T38" fmla="*/ 2147483646 w 197"/>
                <a:gd name="T39" fmla="*/ 2147483646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grpFill/>
            <a:ln w="0">
              <a:noFill/>
              <a:round/>
              <a:headEnd/>
              <a:tailEnd/>
            </a:ln>
          </p:spPr>
          <p:txBody>
            <a:bodyPr/>
            <a:lstStyle/>
            <a:p>
              <a:endParaRPr lang="zh-CN" altLang="en-US"/>
            </a:p>
          </p:txBody>
        </p:sp>
        <p:sp>
          <p:nvSpPr>
            <p:cNvPr id="208" name="Freeform 118"/>
            <p:cNvSpPr>
              <a:spLocks/>
            </p:cNvSpPr>
            <p:nvPr/>
          </p:nvSpPr>
          <p:spPr bwMode="auto">
            <a:xfrm>
              <a:off x="6904038" y="1604963"/>
              <a:ext cx="227013" cy="138113"/>
            </a:xfrm>
            <a:custGeom>
              <a:avLst/>
              <a:gdLst>
                <a:gd name="T0" fmla="*/ 2147483646 w 540"/>
                <a:gd name="T1" fmla="*/ 2147483646 h 330"/>
                <a:gd name="T2" fmla="*/ 2147483646 w 540"/>
                <a:gd name="T3" fmla="*/ 2147483646 h 330"/>
                <a:gd name="T4" fmla="*/ 2147483646 w 540"/>
                <a:gd name="T5" fmla="*/ 2147483646 h 330"/>
                <a:gd name="T6" fmla="*/ 2147483646 w 540"/>
                <a:gd name="T7" fmla="*/ 2147483646 h 330"/>
                <a:gd name="T8" fmla="*/ 0 w 540"/>
                <a:gd name="T9" fmla="*/ 2147483646 h 330"/>
                <a:gd name="T10" fmla="*/ 2147483646 w 540"/>
                <a:gd name="T11" fmla="*/ 2147483646 h 330"/>
                <a:gd name="T12" fmla="*/ 2147483646 w 540"/>
                <a:gd name="T13" fmla="*/ 2147483646 h 330"/>
                <a:gd name="T14" fmla="*/ 2147483646 w 540"/>
                <a:gd name="T15" fmla="*/ 2147483646 h 330"/>
                <a:gd name="T16" fmla="*/ 2147483646 w 540"/>
                <a:gd name="T17" fmla="*/ 2147483646 h 330"/>
                <a:gd name="T18" fmla="*/ 2147483646 w 540"/>
                <a:gd name="T19" fmla="*/ 2147483646 h 330"/>
                <a:gd name="T20" fmla="*/ 2147483646 w 540"/>
                <a:gd name="T21" fmla="*/ 2147483646 h 330"/>
                <a:gd name="T22" fmla="*/ 2147483646 w 540"/>
                <a:gd name="T23" fmla="*/ 2147483646 h 330"/>
                <a:gd name="T24" fmla="*/ 2147483646 w 540"/>
                <a:gd name="T25" fmla="*/ 2147483646 h 330"/>
                <a:gd name="T26" fmla="*/ 2147483646 w 540"/>
                <a:gd name="T27" fmla="*/ 2147483646 h 330"/>
                <a:gd name="T28" fmla="*/ 2147483646 w 540"/>
                <a:gd name="T29" fmla="*/ 2147483646 h 330"/>
                <a:gd name="T30" fmla="*/ 2147483646 w 540"/>
                <a:gd name="T31" fmla="*/ 2147483646 h 330"/>
                <a:gd name="T32" fmla="*/ 2147483646 w 540"/>
                <a:gd name="T33" fmla="*/ 2147483646 h 330"/>
                <a:gd name="T34" fmla="*/ 2147483646 w 540"/>
                <a:gd name="T35" fmla="*/ 2147483646 h 330"/>
                <a:gd name="T36" fmla="*/ 2147483646 w 540"/>
                <a:gd name="T37" fmla="*/ 2147483646 h 330"/>
                <a:gd name="T38" fmla="*/ 2147483646 w 540"/>
                <a:gd name="T39" fmla="*/ 2147483646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grpFill/>
            <a:ln w="0">
              <a:noFill/>
              <a:round/>
              <a:headEnd/>
              <a:tailEnd/>
            </a:ln>
          </p:spPr>
          <p:txBody>
            <a:bodyPr/>
            <a:lstStyle/>
            <a:p>
              <a:endParaRPr lang="zh-CN" altLang="en-US"/>
            </a:p>
          </p:txBody>
        </p:sp>
        <p:sp>
          <p:nvSpPr>
            <p:cNvPr id="209" name="Freeform 119"/>
            <p:cNvSpPr>
              <a:spLocks/>
            </p:cNvSpPr>
            <p:nvPr/>
          </p:nvSpPr>
          <p:spPr bwMode="auto">
            <a:xfrm>
              <a:off x="7021513" y="1479551"/>
              <a:ext cx="57150" cy="58738"/>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10" name="Freeform 120"/>
            <p:cNvSpPr>
              <a:spLocks/>
            </p:cNvSpPr>
            <p:nvPr/>
          </p:nvSpPr>
          <p:spPr bwMode="auto">
            <a:xfrm>
              <a:off x="7021513" y="1570038"/>
              <a:ext cx="57150" cy="57150"/>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11" name="Freeform 121"/>
            <p:cNvSpPr>
              <a:spLocks/>
            </p:cNvSpPr>
            <p:nvPr/>
          </p:nvSpPr>
          <p:spPr bwMode="auto">
            <a:xfrm>
              <a:off x="6762750" y="788988"/>
              <a:ext cx="193675" cy="114300"/>
            </a:xfrm>
            <a:custGeom>
              <a:avLst/>
              <a:gdLst>
                <a:gd name="T0" fmla="*/ 2147483646 w 462"/>
                <a:gd name="T1" fmla="*/ 2147483646 h 272"/>
                <a:gd name="T2" fmla="*/ 2147483646 w 462"/>
                <a:gd name="T3" fmla="*/ 2147483646 h 272"/>
                <a:gd name="T4" fmla="*/ 2147483646 w 462"/>
                <a:gd name="T5" fmla="*/ 2147483646 h 272"/>
                <a:gd name="T6" fmla="*/ 2147483646 w 462"/>
                <a:gd name="T7" fmla="*/ 2147483646 h 272"/>
                <a:gd name="T8" fmla="*/ 2147483646 w 462"/>
                <a:gd name="T9" fmla="*/ 2147483646 h 272"/>
                <a:gd name="T10" fmla="*/ 2147483646 w 462"/>
                <a:gd name="T11" fmla="*/ 2147483646 h 272"/>
                <a:gd name="T12" fmla="*/ 2147483646 w 462"/>
                <a:gd name="T13" fmla="*/ 2147483646 h 272"/>
                <a:gd name="T14" fmla="*/ 2147483646 w 462"/>
                <a:gd name="T15" fmla="*/ 2147483646 h 272"/>
                <a:gd name="T16" fmla="*/ 2147483646 w 462"/>
                <a:gd name="T17" fmla="*/ 2147483646 h 272"/>
                <a:gd name="T18" fmla="*/ 2147483646 w 462"/>
                <a:gd name="T19" fmla="*/ 2147483646 h 272"/>
                <a:gd name="T20" fmla="*/ 2147483646 w 462"/>
                <a:gd name="T21" fmla="*/ 2147483646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grpFill/>
            <a:ln w="0">
              <a:noFill/>
              <a:round/>
              <a:headEnd/>
              <a:tailEnd/>
            </a:ln>
          </p:spPr>
          <p:txBody>
            <a:bodyPr/>
            <a:lstStyle/>
            <a:p>
              <a:endParaRPr lang="zh-CN" altLang="en-US"/>
            </a:p>
          </p:txBody>
        </p:sp>
        <p:sp>
          <p:nvSpPr>
            <p:cNvPr id="212" name="Freeform 122"/>
            <p:cNvSpPr>
              <a:spLocks/>
            </p:cNvSpPr>
            <p:nvPr/>
          </p:nvSpPr>
          <p:spPr bwMode="auto">
            <a:xfrm>
              <a:off x="6797675" y="847726"/>
              <a:ext cx="96838" cy="63500"/>
            </a:xfrm>
            <a:custGeom>
              <a:avLst/>
              <a:gdLst>
                <a:gd name="T0" fmla="*/ 2147483646 w 228"/>
                <a:gd name="T1" fmla="*/ 2147483646 h 148"/>
                <a:gd name="T2" fmla="*/ 2147483646 w 228"/>
                <a:gd name="T3" fmla="*/ 2147483646 h 148"/>
                <a:gd name="T4" fmla="*/ 2147483646 w 228"/>
                <a:gd name="T5" fmla="*/ 2147483646 h 148"/>
                <a:gd name="T6" fmla="*/ 2147483646 w 228"/>
                <a:gd name="T7" fmla="*/ 2147483646 h 148"/>
                <a:gd name="T8" fmla="*/ 2147483646 w 228"/>
                <a:gd name="T9" fmla="*/ 2147483646 h 148"/>
                <a:gd name="T10" fmla="*/ 2147483646 w 228"/>
                <a:gd name="T11" fmla="*/ 2147483646 h 148"/>
                <a:gd name="T12" fmla="*/ 2147483646 w 228"/>
                <a:gd name="T13" fmla="*/ 2147483646 h 148"/>
                <a:gd name="T14" fmla="*/ 2147483646 w 228"/>
                <a:gd name="T15" fmla="*/ 2147483646 h 148"/>
                <a:gd name="T16" fmla="*/ 2147483646 w 228"/>
                <a:gd name="T17" fmla="*/ 2147483646 h 148"/>
                <a:gd name="T18" fmla="*/ 2147483646 w 228"/>
                <a:gd name="T19" fmla="*/ 2147483646 h 148"/>
                <a:gd name="T20" fmla="*/ 2147483646 w 228"/>
                <a:gd name="T21" fmla="*/ 2147483646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grpFill/>
            <a:ln w="0">
              <a:noFill/>
              <a:round/>
              <a:headEnd/>
              <a:tailEnd/>
            </a:ln>
          </p:spPr>
          <p:txBody>
            <a:bodyPr/>
            <a:lstStyle/>
            <a:p>
              <a:endParaRPr lang="zh-CN" altLang="en-US"/>
            </a:p>
          </p:txBody>
        </p:sp>
      </p:grpSp>
      <p:grpSp>
        <p:nvGrpSpPr>
          <p:cNvPr id="20" name="组合 199"/>
          <p:cNvGrpSpPr>
            <a:grpSpLocks/>
          </p:cNvGrpSpPr>
          <p:nvPr/>
        </p:nvGrpSpPr>
        <p:grpSpPr bwMode="auto">
          <a:xfrm>
            <a:off x="2966289" y="5505326"/>
            <a:ext cx="468849" cy="216804"/>
            <a:chOff x="6613525" y="2281238"/>
            <a:chExt cx="865188" cy="401638"/>
          </a:xfrm>
          <a:solidFill>
            <a:schemeClr val="bg1"/>
          </a:solidFill>
        </p:grpSpPr>
        <p:sp>
          <p:nvSpPr>
            <p:cNvPr id="160" name="Freeform 145"/>
            <p:cNvSpPr>
              <a:spLocks noEditPoints="1"/>
            </p:cNvSpPr>
            <p:nvPr/>
          </p:nvSpPr>
          <p:spPr bwMode="auto">
            <a:xfrm>
              <a:off x="6613525" y="2281238"/>
              <a:ext cx="865188" cy="401638"/>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grpFill/>
            <a:ln w="0">
              <a:noFill/>
              <a:round/>
              <a:headEnd/>
              <a:tailEnd/>
            </a:ln>
          </p:spPr>
          <p:txBody>
            <a:bodyPr/>
            <a:lstStyle/>
            <a:p>
              <a:endParaRPr lang="zh-CN" altLang="en-US"/>
            </a:p>
          </p:txBody>
        </p:sp>
        <p:sp>
          <p:nvSpPr>
            <p:cNvPr id="161" name="Freeform 146"/>
            <p:cNvSpPr>
              <a:spLocks/>
            </p:cNvSpPr>
            <p:nvPr/>
          </p:nvSpPr>
          <p:spPr bwMode="auto">
            <a:xfrm>
              <a:off x="6831013" y="2533650"/>
              <a:ext cx="34925" cy="42863"/>
            </a:xfrm>
            <a:custGeom>
              <a:avLst/>
              <a:gdLst>
                <a:gd name="T0" fmla="*/ 2147483646 w 80"/>
                <a:gd name="T1" fmla="*/ 2147483646 h 103"/>
                <a:gd name="T2" fmla="*/ 2147483646 w 80"/>
                <a:gd name="T3" fmla="*/ 2147483646 h 103"/>
                <a:gd name="T4" fmla="*/ 0 w 80"/>
                <a:gd name="T5" fmla="*/ 0 h 103"/>
                <a:gd name="T6" fmla="*/ 0 w 80"/>
                <a:gd name="T7" fmla="*/ 2147483646 h 103"/>
                <a:gd name="T8" fmla="*/ 2147483646 w 80"/>
                <a:gd name="T9" fmla="*/ 2147483646 h 103"/>
                <a:gd name="T10" fmla="*/ 2147483646 w 80"/>
                <a:gd name="T11" fmla="*/ 2147483646 h 103"/>
                <a:gd name="T12" fmla="*/ 0 60000 65536"/>
                <a:gd name="T13" fmla="*/ 0 60000 65536"/>
                <a:gd name="T14" fmla="*/ 0 60000 65536"/>
                <a:gd name="T15" fmla="*/ 0 60000 65536"/>
                <a:gd name="T16" fmla="*/ 0 60000 65536"/>
                <a:gd name="T17" fmla="*/ 0 60000 65536"/>
                <a:gd name="T18" fmla="*/ 0 w 80"/>
                <a:gd name="T19" fmla="*/ 0 h 103"/>
                <a:gd name="T20" fmla="*/ 80 w 80"/>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80" h="103">
                  <a:moveTo>
                    <a:pt x="80" y="27"/>
                  </a:moveTo>
                  <a:lnTo>
                    <a:pt x="80" y="27"/>
                  </a:lnTo>
                  <a:lnTo>
                    <a:pt x="0" y="0"/>
                  </a:lnTo>
                  <a:lnTo>
                    <a:pt x="0" y="76"/>
                  </a:lnTo>
                  <a:lnTo>
                    <a:pt x="80" y="103"/>
                  </a:lnTo>
                  <a:lnTo>
                    <a:pt x="80" y="27"/>
                  </a:lnTo>
                  <a:close/>
                </a:path>
              </a:pathLst>
            </a:custGeom>
            <a:grpFill/>
            <a:ln w="0">
              <a:noFill/>
              <a:round/>
              <a:headEnd/>
              <a:tailEnd/>
            </a:ln>
          </p:spPr>
          <p:txBody>
            <a:bodyPr/>
            <a:lstStyle/>
            <a:p>
              <a:endParaRPr lang="zh-CN" altLang="en-US"/>
            </a:p>
          </p:txBody>
        </p:sp>
        <p:sp>
          <p:nvSpPr>
            <p:cNvPr id="162" name="Freeform 147"/>
            <p:cNvSpPr>
              <a:spLocks/>
            </p:cNvSpPr>
            <p:nvPr/>
          </p:nvSpPr>
          <p:spPr bwMode="auto">
            <a:xfrm>
              <a:off x="6791325" y="2524125"/>
              <a:ext cx="23813" cy="30163"/>
            </a:xfrm>
            <a:custGeom>
              <a:avLst/>
              <a:gdLst>
                <a:gd name="T0" fmla="*/ 2147483646 w 57"/>
                <a:gd name="T1" fmla="*/ 2147483646 h 73"/>
                <a:gd name="T2" fmla="*/ 2147483646 w 57"/>
                <a:gd name="T3" fmla="*/ 2147483646 h 73"/>
                <a:gd name="T4" fmla="*/ 0 w 57"/>
                <a:gd name="T5" fmla="*/ 0 h 73"/>
                <a:gd name="T6" fmla="*/ 0 w 57"/>
                <a:gd name="T7" fmla="*/ 2147483646 h 73"/>
                <a:gd name="T8" fmla="*/ 2147483646 w 57"/>
                <a:gd name="T9" fmla="*/ 2147483646 h 73"/>
                <a:gd name="T10" fmla="*/ 2147483646 w 57"/>
                <a:gd name="T11" fmla="*/ 2147483646 h 73"/>
                <a:gd name="T12" fmla="*/ 0 60000 65536"/>
                <a:gd name="T13" fmla="*/ 0 60000 65536"/>
                <a:gd name="T14" fmla="*/ 0 60000 65536"/>
                <a:gd name="T15" fmla="*/ 0 60000 65536"/>
                <a:gd name="T16" fmla="*/ 0 60000 65536"/>
                <a:gd name="T17" fmla="*/ 0 60000 65536"/>
                <a:gd name="T18" fmla="*/ 0 w 57"/>
                <a:gd name="T19" fmla="*/ 0 h 73"/>
                <a:gd name="T20" fmla="*/ 57 w 57"/>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57" h="73">
                  <a:moveTo>
                    <a:pt x="57" y="19"/>
                  </a:moveTo>
                  <a:lnTo>
                    <a:pt x="57" y="19"/>
                  </a:lnTo>
                  <a:lnTo>
                    <a:pt x="0" y="0"/>
                  </a:lnTo>
                  <a:lnTo>
                    <a:pt x="0" y="54"/>
                  </a:lnTo>
                  <a:lnTo>
                    <a:pt x="57" y="73"/>
                  </a:lnTo>
                  <a:lnTo>
                    <a:pt x="57" y="19"/>
                  </a:lnTo>
                  <a:close/>
                </a:path>
              </a:pathLst>
            </a:custGeom>
            <a:grpFill/>
            <a:ln w="0">
              <a:noFill/>
              <a:round/>
              <a:headEnd/>
              <a:tailEnd/>
            </a:ln>
          </p:spPr>
          <p:txBody>
            <a:bodyPr/>
            <a:lstStyle/>
            <a:p>
              <a:endParaRPr lang="zh-CN" altLang="en-US"/>
            </a:p>
          </p:txBody>
        </p:sp>
      </p:grpSp>
      <p:sp>
        <p:nvSpPr>
          <p:cNvPr id="39" name="新月形 38"/>
          <p:cNvSpPr/>
          <p:nvPr/>
        </p:nvSpPr>
        <p:spPr>
          <a:xfrm rot="1320000">
            <a:off x="1476187" y="5108318"/>
            <a:ext cx="208366" cy="356139"/>
          </a:xfrm>
          <a:prstGeom prst="mo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3505299" y="5313035"/>
            <a:ext cx="576000" cy="276999"/>
          </a:xfrm>
          <a:prstGeom prst="rect">
            <a:avLst/>
          </a:prstGeom>
          <a:noFill/>
        </p:spPr>
        <p:txBody>
          <a:bodyPr wrap="square" rtlCol="0">
            <a:spAutoFit/>
          </a:bodyPr>
          <a:lstStyle/>
          <a:p>
            <a:pPr algn="ctr"/>
            <a:r>
              <a:rPr lang="en-US" altLang="zh-CN" sz="1200" b="1" i="1" dirty="0" smtClean="0">
                <a:solidFill>
                  <a:srgbClr val="FFC000"/>
                </a:solidFill>
              </a:rPr>
              <a:t>PON</a:t>
            </a:r>
            <a:endParaRPr lang="zh-CN" altLang="en-US" sz="1200" b="1" i="1" dirty="0">
              <a:solidFill>
                <a:srgbClr val="FFC000"/>
              </a:solidFill>
            </a:endParaRPr>
          </a:p>
        </p:txBody>
      </p:sp>
      <p:sp>
        <p:nvSpPr>
          <p:cNvPr id="41" name="TextBox 40"/>
          <p:cNvSpPr txBox="1"/>
          <p:nvPr/>
        </p:nvSpPr>
        <p:spPr>
          <a:xfrm>
            <a:off x="5521523" y="3149945"/>
            <a:ext cx="1044000" cy="307777"/>
          </a:xfrm>
          <a:prstGeom prst="rect">
            <a:avLst/>
          </a:prstGeom>
          <a:noFill/>
        </p:spPr>
        <p:txBody>
          <a:bodyPr wrap="square" rtlCol="0">
            <a:spAutoFit/>
          </a:bodyPr>
          <a:lstStyle/>
          <a:p>
            <a:pPr algn="ctr"/>
            <a:r>
              <a:rPr lang="en-US" altLang="zh-CN" sz="1400" b="1" i="1" dirty="0" smtClean="0">
                <a:solidFill>
                  <a:srgbClr val="FFC000"/>
                </a:solidFill>
              </a:rPr>
              <a:t>Fiber</a:t>
            </a:r>
            <a:endParaRPr lang="zh-CN" altLang="en-US" sz="1400" b="1" i="1" dirty="0">
              <a:solidFill>
                <a:srgbClr val="FFC000"/>
              </a:solidFill>
            </a:endParaRPr>
          </a:p>
        </p:txBody>
      </p:sp>
      <p:grpSp>
        <p:nvGrpSpPr>
          <p:cNvPr id="21" name="组合 286"/>
          <p:cNvGrpSpPr/>
          <p:nvPr/>
        </p:nvGrpSpPr>
        <p:grpSpPr>
          <a:xfrm>
            <a:off x="6844963" y="1856090"/>
            <a:ext cx="785533" cy="631063"/>
            <a:chOff x="2970213" y="1130300"/>
            <a:chExt cx="796925" cy="641351"/>
          </a:xfrm>
          <a:solidFill>
            <a:schemeClr val="bg1"/>
          </a:solidFill>
        </p:grpSpPr>
        <p:sp>
          <p:nvSpPr>
            <p:cNvPr id="80" name="Freeform 267"/>
            <p:cNvSpPr>
              <a:spLocks noEditPoints="1"/>
            </p:cNvSpPr>
            <p:nvPr/>
          </p:nvSpPr>
          <p:spPr bwMode="auto">
            <a:xfrm>
              <a:off x="3067050" y="1457325"/>
              <a:ext cx="198438" cy="149225"/>
            </a:xfrm>
            <a:custGeom>
              <a:avLst/>
              <a:gdLst/>
              <a:ahLst/>
              <a:cxnLst>
                <a:cxn ang="0">
                  <a:pos x="108" y="74"/>
                </a:cxn>
                <a:cxn ang="0">
                  <a:pos x="166" y="91"/>
                </a:cxn>
                <a:cxn ang="0">
                  <a:pos x="70" y="219"/>
                </a:cxn>
                <a:cxn ang="0">
                  <a:pos x="31" y="209"/>
                </a:cxn>
                <a:cxn ang="0">
                  <a:pos x="237" y="29"/>
                </a:cxn>
                <a:cxn ang="0">
                  <a:pos x="293" y="37"/>
                </a:cxn>
                <a:cxn ang="0">
                  <a:pos x="189" y="67"/>
                </a:cxn>
                <a:cxn ang="0">
                  <a:pos x="128" y="60"/>
                </a:cxn>
                <a:cxn ang="0">
                  <a:pos x="381" y="88"/>
                </a:cxn>
                <a:cxn ang="0">
                  <a:pos x="331" y="131"/>
                </a:cxn>
                <a:cxn ang="0">
                  <a:pos x="278" y="137"/>
                </a:cxn>
                <a:cxn ang="0">
                  <a:pos x="213" y="91"/>
                </a:cxn>
                <a:cxn ang="0">
                  <a:pos x="323" y="48"/>
                </a:cxn>
                <a:cxn ang="0">
                  <a:pos x="431" y="165"/>
                </a:cxn>
                <a:cxn ang="0">
                  <a:pos x="361" y="165"/>
                </a:cxn>
                <a:cxn ang="0">
                  <a:pos x="393" y="101"/>
                </a:cxn>
                <a:cxn ang="0">
                  <a:pos x="255" y="181"/>
                </a:cxn>
                <a:cxn ang="0">
                  <a:pos x="256" y="188"/>
                </a:cxn>
                <a:cxn ang="0">
                  <a:pos x="94" y="246"/>
                </a:cxn>
                <a:cxn ang="0">
                  <a:pos x="86" y="225"/>
                </a:cxn>
                <a:cxn ang="0">
                  <a:pos x="189" y="115"/>
                </a:cxn>
                <a:cxn ang="0">
                  <a:pos x="266" y="149"/>
                </a:cxn>
                <a:cxn ang="0">
                  <a:pos x="34" y="327"/>
                </a:cxn>
                <a:cxn ang="0">
                  <a:pos x="42" y="307"/>
                </a:cxn>
                <a:cxn ang="0">
                  <a:pos x="30" y="228"/>
                </a:cxn>
                <a:cxn ang="0">
                  <a:pos x="83" y="261"/>
                </a:cxn>
                <a:cxn ang="0">
                  <a:pos x="138" y="284"/>
                </a:cxn>
                <a:cxn ang="0">
                  <a:pos x="273" y="221"/>
                </a:cxn>
                <a:cxn ang="0">
                  <a:pos x="309" y="235"/>
                </a:cxn>
                <a:cxn ang="0">
                  <a:pos x="356" y="297"/>
                </a:cxn>
                <a:cxn ang="0">
                  <a:pos x="346" y="221"/>
                </a:cxn>
                <a:cxn ang="0">
                  <a:pos x="437" y="183"/>
                </a:cxn>
                <a:cxn ang="0">
                  <a:pos x="431" y="307"/>
                </a:cxn>
                <a:cxn ang="0">
                  <a:pos x="439" y="358"/>
                </a:cxn>
                <a:cxn ang="0">
                  <a:pos x="237" y="0"/>
                </a:cxn>
                <a:cxn ang="0">
                  <a:pos x="34" y="358"/>
                </a:cxn>
              </a:cxnLst>
              <a:rect l="0" t="0" r="r" b="b"/>
              <a:pathLst>
                <a:path w="473" h="358">
                  <a:moveTo>
                    <a:pt x="108" y="74"/>
                  </a:moveTo>
                  <a:lnTo>
                    <a:pt x="108" y="74"/>
                  </a:lnTo>
                  <a:cubicBezTo>
                    <a:pt x="120" y="77"/>
                    <a:pt x="141" y="82"/>
                    <a:pt x="166" y="91"/>
                  </a:cubicBezTo>
                  <a:lnTo>
                    <a:pt x="166" y="91"/>
                  </a:lnTo>
                  <a:cubicBezTo>
                    <a:pt x="166" y="93"/>
                    <a:pt x="166" y="95"/>
                    <a:pt x="166" y="96"/>
                  </a:cubicBezTo>
                  <a:cubicBezTo>
                    <a:pt x="130" y="123"/>
                    <a:pt x="92" y="163"/>
                    <a:pt x="70" y="219"/>
                  </a:cubicBezTo>
                  <a:cubicBezTo>
                    <a:pt x="68" y="225"/>
                    <a:pt x="66" y="229"/>
                    <a:pt x="66" y="229"/>
                  </a:cubicBezTo>
                  <a:cubicBezTo>
                    <a:pt x="56" y="221"/>
                    <a:pt x="38" y="213"/>
                    <a:pt x="31" y="209"/>
                  </a:cubicBezTo>
                  <a:cubicBezTo>
                    <a:pt x="38" y="155"/>
                    <a:pt x="67" y="107"/>
                    <a:pt x="108" y="74"/>
                  </a:cubicBezTo>
                  <a:close/>
                  <a:moveTo>
                    <a:pt x="237" y="29"/>
                  </a:moveTo>
                  <a:lnTo>
                    <a:pt x="237" y="29"/>
                  </a:lnTo>
                  <a:cubicBezTo>
                    <a:pt x="256" y="29"/>
                    <a:pt x="275" y="32"/>
                    <a:pt x="293" y="37"/>
                  </a:cubicBezTo>
                  <a:cubicBezTo>
                    <a:pt x="269" y="44"/>
                    <a:pt x="237" y="54"/>
                    <a:pt x="204" y="73"/>
                  </a:cubicBezTo>
                  <a:cubicBezTo>
                    <a:pt x="200" y="69"/>
                    <a:pt x="195" y="67"/>
                    <a:pt x="189" y="67"/>
                  </a:cubicBezTo>
                  <a:cubicBezTo>
                    <a:pt x="183" y="67"/>
                    <a:pt x="177" y="70"/>
                    <a:pt x="173" y="75"/>
                  </a:cubicBezTo>
                  <a:cubicBezTo>
                    <a:pt x="155" y="68"/>
                    <a:pt x="140" y="63"/>
                    <a:pt x="128" y="60"/>
                  </a:cubicBezTo>
                  <a:cubicBezTo>
                    <a:pt x="159" y="41"/>
                    <a:pt x="197" y="29"/>
                    <a:pt x="237" y="29"/>
                  </a:cubicBezTo>
                  <a:close/>
                  <a:moveTo>
                    <a:pt x="381" y="88"/>
                  </a:moveTo>
                  <a:lnTo>
                    <a:pt x="381" y="88"/>
                  </a:lnTo>
                  <a:cubicBezTo>
                    <a:pt x="363" y="100"/>
                    <a:pt x="346" y="115"/>
                    <a:pt x="331" y="131"/>
                  </a:cubicBezTo>
                  <a:cubicBezTo>
                    <a:pt x="324" y="129"/>
                    <a:pt x="317" y="127"/>
                    <a:pt x="309" y="127"/>
                  </a:cubicBezTo>
                  <a:cubicBezTo>
                    <a:pt x="298" y="127"/>
                    <a:pt x="287" y="130"/>
                    <a:pt x="278" y="137"/>
                  </a:cubicBezTo>
                  <a:cubicBezTo>
                    <a:pt x="257" y="118"/>
                    <a:pt x="235" y="104"/>
                    <a:pt x="213" y="93"/>
                  </a:cubicBezTo>
                  <a:cubicBezTo>
                    <a:pt x="213" y="92"/>
                    <a:pt x="213" y="92"/>
                    <a:pt x="213" y="91"/>
                  </a:cubicBezTo>
                  <a:cubicBezTo>
                    <a:pt x="213" y="90"/>
                    <a:pt x="213" y="89"/>
                    <a:pt x="213" y="88"/>
                  </a:cubicBezTo>
                  <a:cubicBezTo>
                    <a:pt x="258" y="63"/>
                    <a:pt x="303" y="52"/>
                    <a:pt x="323" y="48"/>
                  </a:cubicBezTo>
                  <a:cubicBezTo>
                    <a:pt x="345" y="58"/>
                    <a:pt x="364" y="72"/>
                    <a:pt x="381" y="88"/>
                  </a:cubicBezTo>
                  <a:close/>
                  <a:moveTo>
                    <a:pt x="431" y="165"/>
                  </a:moveTo>
                  <a:lnTo>
                    <a:pt x="431" y="165"/>
                  </a:lnTo>
                  <a:cubicBezTo>
                    <a:pt x="407" y="163"/>
                    <a:pt x="384" y="163"/>
                    <a:pt x="361" y="165"/>
                  </a:cubicBezTo>
                  <a:cubicBezTo>
                    <a:pt x="358" y="155"/>
                    <a:pt x="353" y="148"/>
                    <a:pt x="346" y="141"/>
                  </a:cubicBezTo>
                  <a:cubicBezTo>
                    <a:pt x="360" y="126"/>
                    <a:pt x="376" y="112"/>
                    <a:pt x="393" y="101"/>
                  </a:cubicBezTo>
                  <a:cubicBezTo>
                    <a:pt x="410" y="120"/>
                    <a:pt x="422" y="142"/>
                    <a:pt x="431" y="165"/>
                  </a:cubicBezTo>
                  <a:close/>
                  <a:moveTo>
                    <a:pt x="255" y="181"/>
                  </a:moveTo>
                  <a:lnTo>
                    <a:pt x="255" y="181"/>
                  </a:lnTo>
                  <a:cubicBezTo>
                    <a:pt x="255" y="183"/>
                    <a:pt x="255" y="186"/>
                    <a:pt x="256" y="188"/>
                  </a:cubicBezTo>
                  <a:cubicBezTo>
                    <a:pt x="200" y="209"/>
                    <a:pt x="157" y="241"/>
                    <a:pt x="125" y="272"/>
                  </a:cubicBezTo>
                  <a:cubicBezTo>
                    <a:pt x="114" y="262"/>
                    <a:pt x="104" y="254"/>
                    <a:pt x="94" y="246"/>
                  </a:cubicBezTo>
                  <a:cubicBezTo>
                    <a:pt x="88" y="242"/>
                    <a:pt x="82" y="237"/>
                    <a:pt x="82" y="237"/>
                  </a:cubicBezTo>
                  <a:cubicBezTo>
                    <a:pt x="82" y="237"/>
                    <a:pt x="83" y="232"/>
                    <a:pt x="86" y="225"/>
                  </a:cubicBezTo>
                  <a:cubicBezTo>
                    <a:pt x="104" y="180"/>
                    <a:pt x="134" y="142"/>
                    <a:pt x="176" y="111"/>
                  </a:cubicBezTo>
                  <a:cubicBezTo>
                    <a:pt x="180" y="113"/>
                    <a:pt x="185" y="115"/>
                    <a:pt x="189" y="115"/>
                  </a:cubicBezTo>
                  <a:cubicBezTo>
                    <a:pt x="196" y="115"/>
                    <a:pt x="201" y="113"/>
                    <a:pt x="205" y="109"/>
                  </a:cubicBezTo>
                  <a:cubicBezTo>
                    <a:pt x="225" y="119"/>
                    <a:pt x="246" y="132"/>
                    <a:pt x="266" y="149"/>
                  </a:cubicBezTo>
                  <a:cubicBezTo>
                    <a:pt x="259" y="158"/>
                    <a:pt x="255" y="169"/>
                    <a:pt x="255" y="181"/>
                  </a:cubicBezTo>
                  <a:close/>
                  <a:moveTo>
                    <a:pt x="34" y="327"/>
                  </a:moveTo>
                  <a:lnTo>
                    <a:pt x="34" y="327"/>
                  </a:lnTo>
                  <a:cubicBezTo>
                    <a:pt x="34" y="319"/>
                    <a:pt x="37" y="313"/>
                    <a:pt x="42" y="307"/>
                  </a:cubicBezTo>
                  <a:cubicBezTo>
                    <a:pt x="34" y="285"/>
                    <a:pt x="30" y="261"/>
                    <a:pt x="30" y="236"/>
                  </a:cubicBezTo>
                  <a:cubicBezTo>
                    <a:pt x="30" y="234"/>
                    <a:pt x="30" y="231"/>
                    <a:pt x="30" y="228"/>
                  </a:cubicBezTo>
                  <a:cubicBezTo>
                    <a:pt x="35" y="231"/>
                    <a:pt x="42" y="234"/>
                    <a:pt x="49" y="239"/>
                  </a:cubicBezTo>
                  <a:cubicBezTo>
                    <a:pt x="59" y="244"/>
                    <a:pt x="74" y="254"/>
                    <a:pt x="83" y="261"/>
                  </a:cubicBezTo>
                  <a:cubicBezTo>
                    <a:pt x="93" y="268"/>
                    <a:pt x="103" y="276"/>
                    <a:pt x="113" y="285"/>
                  </a:cubicBezTo>
                  <a:lnTo>
                    <a:pt x="138" y="284"/>
                  </a:lnTo>
                  <a:cubicBezTo>
                    <a:pt x="169" y="255"/>
                    <a:pt x="209" y="225"/>
                    <a:pt x="261" y="205"/>
                  </a:cubicBezTo>
                  <a:cubicBezTo>
                    <a:pt x="264" y="211"/>
                    <a:pt x="268" y="216"/>
                    <a:pt x="273" y="221"/>
                  </a:cubicBezTo>
                  <a:cubicBezTo>
                    <a:pt x="273" y="221"/>
                    <a:pt x="281" y="228"/>
                    <a:pt x="287" y="230"/>
                  </a:cubicBezTo>
                  <a:cubicBezTo>
                    <a:pt x="294" y="233"/>
                    <a:pt x="302" y="235"/>
                    <a:pt x="309" y="235"/>
                  </a:cubicBezTo>
                  <a:cubicBezTo>
                    <a:pt x="317" y="235"/>
                    <a:pt x="325" y="233"/>
                    <a:pt x="331" y="230"/>
                  </a:cubicBezTo>
                  <a:cubicBezTo>
                    <a:pt x="342" y="251"/>
                    <a:pt x="350" y="273"/>
                    <a:pt x="356" y="297"/>
                  </a:cubicBezTo>
                  <a:lnTo>
                    <a:pt x="374" y="297"/>
                  </a:lnTo>
                  <a:cubicBezTo>
                    <a:pt x="368" y="270"/>
                    <a:pt x="358" y="244"/>
                    <a:pt x="346" y="221"/>
                  </a:cubicBezTo>
                  <a:cubicBezTo>
                    <a:pt x="356" y="211"/>
                    <a:pt x="363" y="197"/>
                    <a:pt x="363" y="182"/>
                  </a:cubicBezTo>
                  <a:cubicBezTo>
                    <a:pt x="387" y="180"/>
                    <a:pt x="412" y="181"/>
                    <a:pt x="437" y="183"/>
                  </a:cubicBezTo>
                  <a:cubicBezTo>
                    <a:pt x="441" y="200"/>
                    <a:pt x="444" y="218"/>
                    <a:pt x="444" y="236"/>
                  </a:cubicBezTo>
                  <a:cubicBezTo>
                    <a:pt x="444" y="261"/>
                    <a:pt x="439" y="285"/>
                    <a:pt x="431" y="307"/>
                  </a:cubicBezTo>
                  <a:cubicBezTo>
                    <a:pt x="436" y="313"/>
                    <a:pt x="439" y="320"/>
                    <a:pt x="439" y="327"/>
                  </a:cubicBezTo>
                  <a:lnTo>
                    <a:pt x="439" y="358"/>
                  </a:lnTo>
                  <a:cubicBezTo>
                    <a:pt x="461" y="323"/>
                    <a:pt x="473" y="281"/>
                    <a:pt x="473" y="236"/>
                  </a:cubicBezTo>
                  <a:cubicBezTo>
                    <a:pt x="473" y="106"/>
                    <a:pt x="367" y="0"/>
                    <a:pt x="237" y="0"/>
                  </a:cubicBezTo>
                  <a:cubicBezTo>
                    <a:pt x="106" y="0"/>
                    <a:pt x="0" y="106"/>
                    <a:pt x="0" y="236"/>
                  </a:cubicBezTo>
                  <a:cubicBezTo>
                    <a:pt x="0" y="281"/>
                    <a:pt x="13" y="323"/>
                    <a:pt x="34" y="358"/>
                  </a:cubicBezTo>
                  <a:lnTo>
                    <a:pt x="34" y="327"/>
                  </a:lnTo>
                  <a:close/>
                </a:path>
              </a:pathLst>
            </a:custGeom>
            <a:grpFill/>
            <a:ln w="0">
              <a:noFill/>
              <a:prstDash val="solid"/>
              <a:round/>
              <a:headEnd/>
              <a:tailEnd/>
            </a:ln>
          </p:spPr>
          <p:txBody>
            <a:bodyPr/>
            <a:lstStyle/>
            <a:p>
              <a:pPr defTabSz="456512" eaLnBrk="1" hangingPunct="1">
                <a:defRPr/>
              </a:pPr>
              <a:endParaRPr lang="zh-CN" altLang="en-US"/>
            </a:p>
          </p:txBody>
        </p:sp>
        <p:sp>
          <p:nvSpPr>
            <p:cNvPr id="81" name="Freeform 268"/>
            <p:cNvSpPr>
              <a:spLocks/>
            </p:cNvSpPr>
            <p:nvPr/>
          </p:nvSpPr>
          <p:spPr bwMode="auto">
            <a:xfrm>
              <a:off x="3144838" y="1573213"/>
              <a:ext cx="42863" cy="101600"/>
            </a:xfrm>
            <a:custGeom>
              <a:avLst/>
              <a:gdLst/>
              <a:ahLst/>
              <a:cxnLst>
                <a:cxn ang="0">
                  <a:pos x="91" y="242"/>
                </a:cxn>
                <a:cxn ang="0">
                  <a:pos x="91" y="242"/>
                </a:cxn>
                <a:cxn ang="0">
                  <a:pos x="103" y="231"/>
                </a:cxn>
                <a:cxn ang="0">
                  <a:pos x="103" y="11"/>
                </a:cxn>
                <a:cxn ang="0">
                  <a:pos x="91" y="0"/>
                </a:cxn>
                <a:cxn ang="0">
                  <a:pos x="12" y="0"/>
                </a:cxn>
                <a:cxn ang="0">
                  <a:pos x="0" y="11"/>
                </a:cxn>
                <a:cxn ang="0">
                  <a:pos x="0" y="231"/>
                </a:cxn>
                <a:cxn ang="0">
                  <a:pos x="12" y="242"/>
                </a:cxn>
                <a:cxn ang="0">
                  <a:pos x="91" y="242"/>
                </a:cxn>
              </a:cxnLst>
              <a:rect l="0" t="0" r="r" b="b"/>
              <a:pathLst>
                <a:path w="103" h="242">
                  <a:moveTo>
                    <a:pt x="91" y="242"/>
                  </a:moveTo>
                  <a:lnTo>
                    <a:pt x="91" y="242"/>
                  </a:lnTo>
                  <a:cubicBezTo>
                    <a:pt x="98" y="242"/>
                    <a:pt x="103" y="237"/>
                    <a:pt x="103" y="231"/>
                  </a:cubicBezTo>
                  <a:lnTo>
                    <a:pt x="103" y="11"/>
                  </a:lnTo>
                  <a:cubicBezTo>
                    <a:pt x="103" y="5"/>
                    <a:pt x="98" y="0"/>
                    <a:pt x="91" y="0"/>
                  </a:cubicBezTo>
                  <a:lnTo>
                    <a:pt x="12" y="0"/>
                  </a:lnTo>
                  <a:cubicBezTo>
                    <a:pt x="6" y="0"/>
                    <a:pt x="0" y="5"/>
                    <a:pt x="0" y="11"/>
                  </a:cubicBezTo>
                  <a:lnTo>
                    <a:pt x="0" y="231"/>
                  </a:lnTo>
                  <a:cubicBezTo>
                    <a:pt x="0" y="237"/>
                    <a:pt x="6" y="242"/>
                    <a:pt x="12" y="242"/>
                  </a:cubicBezTo>
                  <a:lnTo>
                    <a:pt x="91" y="242"/>
                  </a:lnTo>
                  <a:close/>
                </a:path>
              </a:pathLst>
            </a:custGeom>
            <a:grpFill/>
            <a:ln w="0">
              <a:noFill/>
              <a:prstDash val="solid"/>
              <a:round/>
              <a:headEnd/>
              <a:tailEnd/>
            </a:ln>
          </p:spPr>
          <p:txBody>
            <a:bodyPr/>
            <a:lstStyle/>
            <a:p>
              <a:pPr defTabSz="456512" eaLnBrk="1" hangingPunct="1">
                <a:defRPr/>
              </a:pPr>
              <a:endParaRPr lang="zh-CN" altLang="en-US"/>
            </a:p>
          </p:txBody>
        </p:sp>
        <p:sp>
          <p:nvSpPr>
            <p:cNvPr id="82" name="Freeform 269"/>
            <p:cNvSpPr>
              <a:spLocks/>
            </p:cNvSpPr>
            <p:nvPr/>
          </p:nvSpPr>
          <p:spPr bwMode="auto">
            <a:xfrm>
              <a:off x="3094038" y="1592263"/>
              <a:ext cx="39688" cy="82550"/>
            </a:xfrm>
            <a:custGeom>
              <a:avLst/>
              <a:gdLst/>
              <a:ahLst/>
              <a:cxnLst>
                <a:cxn ang="0">
                  <a:pos x="83" y="199"/>
                </a:cxn>
                <a:cxn ang="0">
                  <a:pos x="83" y="199"/>
                </a:cxn>
                <a:cxn ang="0">
                  <a:pos x="93" y="190"/>
                </a:cxn>
                <a:cxn ang="0">
                  <a:pos x="93" y="10"/>
                </a:cxn>
                <a:cxn ang="0">
                  <a:pos x="83" y="0"/>
                </a:cxn>
                <a:cxn ang="0">
                  <a:pos x="10" y="0"/>
                </a:cxn>
                <a:cxn ang="0">
                  <a:pos x="0" y="10"/>
                </a:cxn>
                <a:cxn ang="0">
                  <a:pos x="0" y="190"/>
                </a:cxn>
                <a:cxn ang="0">
                  <a:pos x="10" y="199"/>
                </a:cxn>
                <a:cxn ang="0">
                  <a:pos x="83" y="199"/>
                </a:cxn>
              </a:cxnLst>
              <a:rect l="0" t="0" r="r" b="b"/>
              <a:pathLst>
                <a:path w="93" h="199">
                  <a:moveTo>
                    <a:pt x="83" y="199"/>
                  </a:moveTo>
                  <a:lnTo>
                    <a:pt x="83" y="199"/>
                  </a:lnTo>
                  <a:cubicBezTo>
                    <a:pt x="89" y="199"/>
                    <a:pt x="93" y="195"/>
                    <a:pt x="93" y="190"/>
                  </a:cubicBezTo>
                  <a:lnTo>
                    <a:pt x="93" y="10"/>
                  </a:lnTo>
                  <a:cubicBezTo>
                    <a:pt x="93" y="5"/>
                    <a:pt x="89" y="0"/>
                    <a:pt x="83" y="0"/>
                  </a:cubicBezTo>
                  <a:lnTo>
                    <a:pt x="10" y="0"/>
                  </a:lnTo>
                  <a:cubicBezTo>
                    <a:pt x="5" y="0"/>
                    <a:pt x="0" y="5"/>
                    <a:pt x="0" y="10"/>
                  </a:cubicBezTo>
                  <a:lnTo>
                    <a:pt x="0" y="190"/>
                  </a:lnTo>
                  <a:cubicBezTo>
                    <a:pt x="0" y="195"/>
                    <a:pt x="5" y="199"/>
                    <a:pt x="10" y="199"/>
                  </a:cubicBezTo>
                  <a:lnTo>
                    <a:pt x="83" y="199"/>
                  </a:lnTo>
                  <a:close/>
                </a:path>
              </a:pathLst>
            </a:custGeom>
            <a:grpFill/>
            <a:ln w="0">
              <a:noFill/>
              <a:prstDash val="solid"/>
              <a:round/>
              <a:headEnd/>
              <a:tailEnd/>
            </a:ln>
          </p:spPr>
          <p:txBody>
            <a:bodyPr/>
            <a:lstStyle/>
            <a:p>
              <a:pPr defTabSz="456512" eaLnBrk="1" hangingPunct="1">
                <a:defRPr/>
              </a:pPr>
              <a:endParaRPr lang="zh-CN" altLang="en-US"/>
            </a:p>
          </p:txBody>
        </p:sp>
        <p:sp>
          <p:nvSpPr>
            <p:cNvPr id="83" name="Freeform 270"/>
            <p:cNvSpPr>
              <a:spLocks/>
            </p:cNvSpPr>
            <p:nvPr/>
          </p:nvSpPr>
          <p:spPr bwMode="auto">
            <a:xfrm>
              <a:off x="3198813" y="1592263"/>
              <a:ext cx="38100" cy="82550"/>
            </a:xfrm>
            <a:custGeom>
              <a:avLst/>
              <a:gdLst/>
              <a:ahLst/>
              <a:cxnLst>
                <a:cxn ang="0">
                  <a:pos x="83" y="199"/>
                </a:cxn>
                <a:cxn ang="0">
                  <a:pos x="83" y="199"/>
                </a:cxn>
                <a:cxn ang="0">
                  <a:pos x="92" y="190"/>
                </a:cxn>
                <a:cxn ang="0">
                  <a:pos x="92" y="10"/>
                </a:cxn>
                <a:cxn ang="0">
                  <a:pos x="83" y="0"/>
                </a:cxn>
                <a:cxn ang="0">
                  <a:pos x="9" y="0"/>
                </a:cxn>
                <a:cxn ang="0">
                  <a:pos x="0" y="10"/>
                </a:cxn>
                <a:cxn ang="0">
                  <a:pos x="0" y="190"/>
                </a:cxn>
                <a:cxn ang="0">
                  <a:pos x="9" y="199"/>
                </a:cxn>
                <a:cxn ang="0">
                  <a:pos x="83" y="199"/>
                </a:cxn>
              </a:cxnLst>
              <a:rect l="0" t="0" r="r" b="b"/>
              <a:pathLst>
                <a:path w="92" h="199">
                  <a:moveTo>
                    <a:pt x="83" y="199"/>
                  </a:moveTo>
                  <a:lnTo>
                    <a:pt x="83" y="199"/>
                  </a:lnTo>
                  <a:cubicBezTo>
                    <a:pt x="88" y="199"/>
                    <a:pt x="92" y="195"/>
                    <a:pt x="92" y="190"/>
                  </a:cubicBezTo>
                  <a:lnTo>
                    <a:pt x="92" y="10"/>
                  </a:lnTo>
                  <a:cubicBezTo>
                    <a:pt x="92" y="5"/>
                    <a:pt x="88" y="0"/>
                    <a:pt x="83" y="0"/>
                  </a:cubicBezTo>
                  <a:lnTo>
                    <a:pt x="9" y="0"/>
                  </a:lnTo>
                  <a:cubicBezTo>
                    <a:pt x="4" y="0"/>
                    <a:pt x="0" y="5"/>
                    <a:pt x="0" y="10"/>
                  </a:cubicBezTo>
                  <a:lnTo>
                    <a:pt x="0" y="190"/>
                  </a:lnTo>
                  <a:cubicBezTo>
                    <a:pt x="0" y="195"/>
                    <a:pt x="4" y="199"/>
                    <a:pt x="9" y="199"/>
                  </a:cubicBezTo>
                  <a:lnTo>
                    <a:pt x="83" y="199"/>
                  </a:lnTo>
                  <a:close/>
                </a:path>
              </a:pathLst>
            </a:custGeom>
            <a:grpFill/>
            <a:ln w="0">
              <a:noFill/>
              <a:prstDash val="solid"/>
              <a:round/>
              <a:headEnd/>
              <a:tailEnd/>
            </a:ln>
          </p:spPr>
          <p:txBody>
            <a:bodyPr/>
            <a:lstStyle/>
            <a:p>
              <a:pPr defTabSz="456512" eaLnBrk="1" hangingPunct="1">
                <a:defRPr/>
              </a:pPr>
              <a:endParaRPr lang="zh-CN" altLang="en-US"/>
            </a:p>
          </p:txBody>
        </p:sp>
        <p:sp>
          <p:nvSpPr>
            <p:cNvPr id="84" name="Freeform 271"/>
            <p:cNvSpPr>
              <a:spLocks/>
            </p:cNvSpPr>
            <p:nvPr/>
          </p:nvSpPr>
          <p:spPr bwMode="auto">
            <a:xfrm>
              <a:off x="3395663" y="1270000"/>
              <a:ext cx="33338" cy="33338"/>
            </a:xfrm>
            <a:custGeom>
              <a:avLst/>
              <a:gdLst/>
              <a:ahLst/>
              <a:cxnLst>
                <a:cxn ang="0">
                  <a:pos x="39" y="0"/>
                </a:cxn>
                <a:cxn ang="0">
                  <a:pos x="39" y="0"/>
                </a:cxn>
                <a:cxn ang="0">
                  <a:pos x="0" y="39"/>
                </a:cxn>
                <a:cxn ang="0">
                  <a:pos x="39" y="78"/>
                </a:cxn>
                <a:cxn ang="0">
                  <a:pos x="78" y="39"/>
                </a:cxn>
                <a:cxn ang="0">
                  <a:pos x="39" y="0"/>
                </a:cxn>
              </a:cxnLst>
              <a:rect l="0" t="0" r="r" b="b"/>
              <a:pathLst>
                <a:path w="78" h="78">
                  <a:moveTo>
                    <a:pt x="39" y="0"/>
                  </a:moveTo>
                  <a:lnTo>
                    <a:pt x="39" y="0"/>
                  </a:lnTo>
                  <a:cubicBezTo>
                    <a:pt x="18" y="0"/>
                    <a:pt x="0" y="18"/>
                    <a:pt x="0" y="39"/>
                  </a:cubicBezTo>
                  <a:cubicBezTo>
                    <a:pt x="0" y="61"/>
                    <a:pt x="18" y="78"/>
                    <a:pt x="39" y="78"/>
                  </a:cubicBezTo>
                  <a:cubicBezTo>
                    <a:pt x="61" y="78"/>
                    <a:pt x="78" y="61"/>
                    <a:pt x="78" y="39"/>
                  </a:cubicBezTo>
                  <a:cubicBezTo>
                    <a:pt x="78" y="18"/>
                    <a:pt x="61" y="0"/>
                    <a:pt x="39" y="0"/>
                  </a:cubicBezTo>
                  <a:close/>
                </a:path>
              </a:pathLst>
            </a:custGeom>
            <a:grpFill/>
            <a:ln w="0">
              <a:noFill/>
              <a:prstDash val="solid"/>
              <a:round/>
              <a:headEnd/>
              <a:tailEnd/>
            </a:ln>
          </p:spPr>
          <p:txBody>
            <a:bodyPr/>
            <a:lstStyle/>
            <a:p>
              <a:pPr defTabSz="456512" eaLnBrk="1" hangingPunct="1">
                <a:defRPr/>
              </a:pPr>
              <a:endParaRPr lang="zh-CN" altLang="en-US"/>
            </a:p>
          </p:txBody>
        </p:sp>
        <p:sp>
          <p:nvSpPr>
            <p:cNvPr id="85" name="Freeform 272"/>
            <p:cNvSpPr>
              <a:spLocks noEditPoints="1"/>
            </p:cNvSpPr>
            <p:nvPr/>
          </p:nvSpPr>
          <p:spPr bwMode="auto">
            <a:xfrm>
              <a:off x="3225800" y="1176338"/>
              <a:ext cx="285750" cy="269875"/>
            </a:xfrm>
            <a:custGeom>
              <a:avLst/>
              <a:gdLst/>
              <a:ahLst/>
              <a:cxnLst>
                <a:cxn ang="0">
                  <a:pos x="552" y="553"/>
                </a:cxn>
                <a:cxn ang="0">
                  <a:pos x="524" y="262"/>
                </a:cxn>
                <a:cxn ang="0">
                  <a:pos x="640" y="341"/>
                </a:cxn>
                <a:cxn ang="0">
                  <a:pos x="499" y="204"/>
                </a:cxn>
                <a:cxn ang="0">
                  <a:pos x="567" y="146"/>
                </a:cxn>
                <a:cxn ang="0">
                  <a:pos x="521" y="237"/>
                </a:cxn>
                <a:cxn ang="0">
                  <a:pos x="477" y="190"/>
                </a:cxn>
                <a:cxn ang="0">
                  <a:pos x="446" y="183"/>
                </a:cxn>
                <a:cxn ang="0">
                  <a:pos x="307" y="134"/>
                </a:cxn>
                <a:cxn ang="0">
                  <a:pos x="307" y="126"/>
                </a:cxn>
                <a:cxn ang="0">
                  <a:pos x="550" y="127"/>
                </a:cxn>
                <a:cxn ang="0">
                  <a:pos x="294" y="104"/>
                </a:cxn>
                <a:cxn ang="0">
                  <a:pos x="273" y="97"/>
                </a:cxn>
                <a:cxn ang="0">
                  <a:pos x="184" y="87"/>
                </a:cxn>
                <a:cxn ang="0">
                  <a:pos x="423" y="53"/>
                </a:cxn>
                <a:cxn ang="0">
                  <a:pos x="101" y="316"/>
                </a:cxn>
                <a:cxn ang="0">
                  <a:pos x="84" y="322"/>
                </a:cxn>
                <a:cxn ang="0">
                  <a:pos x="156" y="107"/>
                </a:cxn>
                <a:cxn ang="0">
                  <a:pos x="239" y="131"/>
                </a:cxn>
                <a:cxn ang="0">
                  <a:pos x="101" y="316"/>
                </a:cxn>
                <a:cxn ang="0">
                  <a:pos x="162" y="411"/>
                </a:cxn>
                <a:cxn ang="0">
                  <a:pos x="107" y="381"/>
                </a:cxn>
                <a:cxn ang="0">
                  <a:pos x="162" y="411"/>
                </a:cxn>
                <a:cxn ang="0">
                  <a:pos x="72" y="470"/>
                </a:cxn>
                <a:cxn ang="0">
                  <a:pos x="43" y="329"/>
                </a:cxn>
                <a:cxn ang="0">
                  <a:pos x="70" y="349"/>
                </a:cxn>
                <a:cxn ang="0">
                  <a:pos x="72" y="470"/>
                </a:cxn>
                <a:cxn ang="0">
                  <a:pos x="341" y="0"/>
                </a:cxn>
                <a:cxn ang="0">
                  <a:pos x="182" y="642"/>
                </a:cxn>
                <a:cxn ang="0">
                  <a:pos x="107" y="526"/>
                </a:cxn>
                <a:cxn ang="0">
                  <a:pos x="182" y="430"/>
                </a:cxn>
                <a:cxn ang="0">
                  <a:pos x="181" y="393"/>
                </a:cxn>
                <a:cxn ang="0">
                  <a:pos x="135" y="349"/>
                </a:cxn>
                <a:cxn ang="0">
                  <a:pos x="254" y="160"/>
                </a:cxn>
                <a:cxn ang="0">
                  <a:pos x="296" y="157"/>
                </a:cxn>
                <a:cxn ang="0">
                  <a:pos x="368" y="261"/>
                </a:cxn>
                <a:cxn ang="0">
                  <a:pos x="305" y="301"/>
                </a:cxn>
                <a:cxn ang="0">
                  <a:pos x="393" y="261"/>
                </a:cxn>
                <a:cxn ang="0">
                  <a:pos x="499" y="261"/>
                </a:cxn>
                <a:cxn ang="0">
                  <a:pos x="501" y="357"/>
                </a:cxn>
                <a:cxn ang="0">
                  <a:pos x="526" y="576"/>
                </a:cxn>
                <a:cxn ang="0">
                  <a:pos x="501" y="642"/>
                </a:cxn>
                <a:cxn ang="0">
                  <a:pos x="341" y="0"/>
                </a:cxn>
              </a:cxnLst>
              <a:rect l="0" t="0" r="r" b="b"/>
              <a:pathLst>
                <a:path w="682" h="642">
                  <a:moveTo>
                    <a:pt x="552" y="553"/>
                  </a:moveTo>
                  <a:lnTo>
                    <a:pt x="552" y="553"/>
                  </a:lnTo>
                  <a:cubicBezTo>
                    <a:pt x="553" y="465"/>
                    <a:pt x="535" y="386"/>
                    <a:pt x="499" y="318"/>
                  </a:cubicBezTo>
                  <a:cubicBezTo>
                    <a:pt x="514" y="304"/>
                    <a:pt x="524" y="285"/>
                    <a:pt x="524" y="262"/>
                  </a:cubicBezTo>
                  <a:cubicBezTo>
                    <a:pt x="559" y="260"/>
                    <a:pt x="594" y="261"/>
                    <a:pt x="630" y="265"/>
                  </a:cubicBezTo>
                  <a:cubicBezTo>
                    <a:pt x="637" y="289"/>
                    <a:pt x="640" y="315"/>
                    <a:pt x="640" y="341"/>
                  </a:cubicBezTo>
                  <a:cubicBezTo>
                    <a:pt x="640" y="424"/>
                    <a:pt x="606" y="499"/>
                    <a:pt x="552" y="553"/>
                  </a:cubicBezTo>
                  <a:close/>
                  <a:moveTo>
                    <a:pt x="499" y="204"/>
                  </a:moveTo>
                  <a:lnTo>
                    <a:pt x="499" y="204"/>
                  </a:lnTo>
                  <a:cubicBezTo>
                    <a:pt x="520" y="182"/>
                    <a:pt x="543" y="162"/>
                    <a:pt x="567" y="146"/>
                  </a:cubicBezTo>
                  <a:cubicBezTo>
                    <a:pt x="591" y="173"/>
                    <a:pt x="610" y="204"/>
                    <a:pt x="622" y="238"/>
                  </a:cubicBezTo>
                  <a:cubicBezTo>
                    <a:pt x="588" y="235"/>
                    <a:pt x="554" y="235"/>
                    <a:pt x="521" y="237"/>
                  </a:cubicBezTo>
                  <a:cubicBezTo>
                    <a:pt x="516" y="224"/>
                    <a:pt x="509" y="213"/>
                    <a:pt x="499" y="204"/>
                  </a:cubicBezTo>
                  <a:close/>
                  <a:moveTo>
                    <a:pt x="477" y="190"/>
                  </a:moveTo>
                  <a:lnTo>
                    <a:pt x="477" y="190"/>
                  </a:lnTo>
                  <a:cubicBezTo>
                    <a:pt x="468" y="185"/>
                    <a:pt x="457" y="183"/>
                    <a:pt x="446" y="183"/>
                  </a:cubicBezTo>
                  <a:cubicBezTo>
                    <a:pt x="430" y="183"/>
                    <a:pt x="414" y="188"/>
                    <a:pt x="401" y="197"/>
                  </a:cubicBezTo>
                  <a:cubicBezTo>
                    <a:pt x="371" y="171"/>
                    <a:pt x="338" y="150"/>
                    <a:pt x="307" y="134"/>
                  </a:cubicBezTo>
                  <a:cubicBezTo>
                    <a:pt x="307" y="133"/>
                    <a:pt x="307" y="132"/>
                    <a:pt x="307" y="131"/>
                  </a:cubicBezTo>
                  <a:cubicBezTo>
                    <a:pt x="307" y="130"/>
                    <a:pt x="307" y="128"/>
                    <a:pt x="307" y="126"/>
                  </a:cubicBezTo>
                  <a:cubicBezTo>
                    <a:pt x="373" y="91"/>
                    <a:pt x="436" y="75"/>
                    <a:pt x="467" y="70"/>
                  </a:cubicBezTo>
                  <a:cubicBezTo>
                    <a:pt x="498" y="84"/>
                    <a:pt x="526" y="103"/>
                    <a:pt x="550" y="127"/>
                  </a:cubicBezTo>
                  <a:cubicBezTo>
                    <a:pt x="524" y="145"/>
                    <a:pt x="499" y="166"/>
                    <a:pt x="477" y="190"/>
                  </a:cubicBezTo>
                  <a:close/>
                  <a:moveTo>
                    <a:pt x="294" y="104"/>
                  </a:moveTo>
                  <a:lnTo>
                    <a:pt x="294" y="104"/>
                  </a:lnTo>
                  <a:cubicBezTo>
                    <a:pt x="288" y="100"/>
                    <a:pt x="281" y="97"/>
                    <a:pt x="273" y="97"/>
                  </a:cubicBezTo>
                  <a:cubicBezTo>
                    <a:pt x="264" y="97"/>
                    <a:pt x="255" y="101"/>
                    <a:pt x="249" y="107"/>
                  </a:cubicBezTo>
                  <a:cubicBezTo>
                    <a:pt x="224" y="98"/>
                    <a:pt x="202" y="91"/>
                    <a:pt x="184" y="87"/>
                  </a:cubicBezTo>
                  <a:cubicBezTo>
                    <a:pt x="230" y="59"/>
                    <a:pt x="284" y="42"/>
                    <a:pt x="341" y="42"/>
                  </a:cubicBezTo>
                  <a:cubicBezTo>
                    <a:pt x="370" y="42"/>
                    <a:pt x="397" y="46"/>
                    <a:pt x="423" y="53"/>
                  </a:cubicBezTo>
                  <a:cubicBezTo>
                    <a:pt x="388" y="63"/>
                    <a:pt x="342" y="78"/>
                    <a:pt x="294" y="104"/>
                  </a:cubicBezTo>
                  <a:close/>
                  <a:moveTo>
                    <a:pt x="101" y="316"/>
                  </a:moveTo>
                  <a:lnTo>
                    <a:pt x="101" y="316"/>
                  </a:lnTo>
                  <a:cubicBezTo>
                    <a:pt x="95" y="317"/>
                    <a:pt x="89" y="319"/>
                    <a:pt x="84" y="322"/>
                  </a:cubicBezTo>
                  <a:cubicBezTo>
                    <a:pt x="68" y="313"/>
                    <a:pt x="55" y="307"/>
                    <a:pt x="45" y="302"/>
                  </a:cubicBezTo>
                  <a:cubicBezTo>
                    <a:pt x="55" y="223"/>
                    <a:pt x="96" y="154"/>
                    <a:pt x="156" y="107"/>
                  </a:cubicBezTo>
                  <a:cubicBezTo>
                    <a:pt x="173" y="110"/>
                    <a:pt x="203" y="118"/>
                    <a:pt x="239" y="131"/>
                  </a:cubicBezTo>
                  <a:cubicBezTo>
                    <a:pt x="239" y="131"/>
                    <a:pt x="239" y="131"/>
                    <a:pt x="239" y="131"/>
                  </a:cubicBezTo>
                  <a:cubicBezTo>
                    <a:pt x="239" y="134"/>
                    <a:pt x="239" y="136"/>
                    <a:pt x="240" y="139"/>
                  </a:cubicBezTo>
                  <a:cubicBezTo>
                    <a:pt x="187" y="177"/>
                    <a:pt x="133" y="234"/>
                    <a:pt x="101" y="316"/>
                  </a:cubicBezTo>
                  <a:close/>
                  <a:moveTo>
                    <a:pt x="162" y="411"/>
                  </a:moveTo>
                  <a:lnTo>
                    <a:pt x="162" y="411"/>
                  </a:lnTo>
                  <a:cubicBezTo>
                    <a:pt x="133" y="442"/>
                    <a:pt x="112" y="472"/>
                    <a:pt x="97" y="493"/>
                  </a:cubicBezTo>
                  <a:cubicBezTo>
                    <a:pt x="96" y="453"/>
                    <a:pt x="100" y="416"/>
                    <a:pt x="107" y="381"/>
                  </a:cubicBezTo>
                  <a:cubicBezTo>
                    <a:pt x="112" y="380"/>
                    <a:pt x="116" y="379"/>
                    <a:pt x="120" y="376"/>
                  </a:cubicBezTo>
                  <a:cubicBezTo>
                    <a:pt x="133" y="386"/>
                    <a:pt x="148" y="398"/>
                    <a:pt x="162" y="411"/>
                  </a:cubicBezTo>
                  <a:close/>
                  <a:moveTo>
                    <a:pt x="72" y="470"/>
                  </a:moveTo>
                  <a:lnTo>
                    <a:pt x="72" y="470"/>
                  </a:lnTo>
                  <a:cubicBezTo>
                    <a:pt x="53" y="431"/>
                    <a:pt x="42" y="387"/>
                    <a:pt x="42" y="341"/>
                  </a:cubicBezTo>
                  <a:cubicBezTo>
                    <a:pt x="42" y="337"/>
                    <a:pt x="43" y="333"/>
                    <a:pt x="43" y="329"/>
                  </a:cubicBezTo>
                  <a:cubicBezTo>
                    <a:pt x="50" y="333"/>
                    <a:pt x="60" y="338"/>
                    <a:pt x="71" y="344"/>
                  </a:cubicBezTo>
                  <a:cubicBezTo>
                    <a:pt x="70" y="346"/>
                    <a:pt x="70" y="347"/>
                    <a:pt x="70" y="349"/>
                  </a:cubicBezTo>
                  <a:cubicBezTo>
                    <a:pt x="70" y="359"/>
                    <a:pt x="75" y="369"/>
                    <a:pt x="83" y="375"/>
                  </a:cubicBezTo>
                  <a:cubicBezTo>
                    <a:pt x="76" y="404"/>
                    <a:pt x="72" y="436"/>
                    <a:pt x="72" y="470"/>
                  </a:cubicBezTo>
                  <a:close/>
                  <a:moveTo>
                    <a:pt x="341" y="0"/>
                  </a:moveTo>
                  <a:lnTo>
                    <a:pt x="341" y="0"/>
                  </a:lnTo>
                  <a:cubicBezTo>
                    <a:pt x="153" y="0"/>
                    <a:pt x="0" y="153"/>
                    <a:pt x="0" y="341"/>
                  </a:cubicBezTo>
                  <a:cubicBezTo>
                    <a:pt x="0" y="471"/>
                    <a:pt x="74" y="585"/>
                    <a:pt x="182" y="642"/>
                  </a:cubicBezTo>
                  <a:lnTo>
                    <a:pt x="182" y="594"/>
                  </a:lnTo>
                  <a:cubicBezTo>
                    <a:pt x="153" y="575"/>
                    <a:pt x="128" y="552"/>
                    <a:pt x="107" y="526"/>
                  </a:cubicBezTo>
                  <a:cubicBezTo>
                    <a:pt x="119" y="506"/>
                    <a:pt x="143" y="469"/>
                    <a:pt x="181" y="429"/>
                  </a:cubicBezTo>
                  <a:cubicBezTo>
                    <a:pt x="181" y="429"/>
                    <a:pt x="182" y="429"/>
                    <a:pt x="182" y="430"/>
                  </a:cubicBezTo>
                  <a:lnTo>
                    <a:pt x="182" y="392"/>
                  </a:lnTo>
                  <a:cubicBezTo>
                    <a:pt x="182" y="392"/>
                    <a:pt x="181" y="392"/>
                    <a:pt x="181" y="393"/>
                  </a:cubicBezTo>
                  <a:cubicBezTo>
                    <a:pt x="165" y="378"/>
                    <a:pt x="149" y="366"/>
                    <a:pt x="135" y="355"/>
                  </a:cubicBezTo>
                  <a:cubicBezTo>
                    <a:pt x="135" y="353"/>
                    <a:pt x="135" y="351"/>
                    <a:pt x="135" y="349"/>
                  </a:cubicBezTo>
                  <a:cubicBezTo>
                    <a:pt x="135" y="339"/>
                    <a:pt x="131" y="330"/>
                    <a:pt x="124" y="325"/>
                  </a:cubicBezTo>
                  <a:cubicBezTo>
                    <a:pt x="150" y="259"/>
                    <a:pt x="193" y="204"/>
                    <a:pt x="254" y="160"/>
                  </a:cubicBezTo>
                  <a:cubicBezTo>
                    <a:pt x="259" y="164"/>
                    <a:pt x="266" y="166"/>
                    <a:pt x="273" y="166"/>
                  </a:cubicBezTo>
                  <a:cubicBezTo>
                    <a:pt x="282" y="166"/>
                    <a:pt x="290" y="162"/>
                    <a:pt x="296" y="157"/>
                  </a:cubicBezTo>
                  <a:cubicBezTo>
                    <a:pt x="325" y="172"/>
                    <a:pt x="355" y="191"/>
                    <a:pt x="383" y="215"/>
                  </a:cubicBezTo>
                  <a:cubicBezTo>
                    <a:pt x="374" y="228"/>
                    <a:pt x="368" y="244"/>
                    <a:pt x="368" y="261"/>
                  </a:cubicBezTo>
                  <a:cubicBezTo>
                    <a:pt x="368" y="265"/>
                    <a:pt x="368" y="268"/>
                    <a:pt x="369" y="271"/>
                  </a:cubicBezTo>
                  <a:cubicBezTo>
                    <a:pt x="346" y="280"/>
                    <a:pt x="325" y="290"/>
                    <a:pt x="305" y="301"/>
                  </a:cubicBezTo>
                  <a:lnTo>
                    <a:pt x="411" y="301"/>
                  </a:lnTo>
                  <a:cubicBezTo>
                    <a:pt x="400" y="291"/>
                    <a:pt x="393" y="277"/>
                    <a:pt x="393" y="261"/>
                  </a:cubicBezTo>
                  <a:cubicBezTo>
                    <a:pt x="393" y="232"/>
                    <a:pt x="417" y="208"/>
                    <a:pt x="446" y="208"/>
                  </a:cubicBezTo>
                  <a:cubicBezTo>
                    <a:pt x="475" y="208"/>
                    <a:pt x="499" y="232"/>
                    <a:pt x="499" y="261"/>
                  </a:cubicBezTo>
                  <a:cubicBezTo>
                    <a:pt x="499" y="281"/>
                    <a:pt x="488" y="299"/>
                    <a:pt x="471" y="308"/>
                  </a:cubicBezTo>
                  <a:cubicBezTo>
                    <a:pt x="489" y="317"/>
                    <a:pt x="501" y="336"/>
                    <a:pt x="501" y="357"/>
                  </a:cubicBezTo>
                  <a:lnTo>
                    <a:pt x="501" y="386"/>
                  </a:lnTo>
                  <a:cubicBezTo>
                    <a:pt x="521" y="442"/>
                    <a:pt x="529" y="506"/>
                    <a:pt x="526" y="576"/>
                  </a:cubicBezTo>
                  <a:cubicBezTo>
                    <a:pt x="518" y="582"/>
                    <a:pt x="509" y="588"/>
                    <a:pt x="501" y="594"/>
                  </a:cubicBezTo>
                  <a:lnTo>
                    <a:pt x="501" y="642"/>
                  </a:lnTo>
                  <a:cubicBezTo>
                    <a:pt x="609" y="585"/>
                    <a:pt x="682" y="471"/>
                    <a:pt x="682" y="341"/>
                  </a:cubicBezTo>
                  <a:cubicBezTo>
                    <a:pt x="682" y="153"/>
                    <a:pt x="529" y="0"/>
                    <a:pt x="341" y="0"/>
                  </a:cubicBezTo>
                  <a:close/>
                </a:path>
              </a:pathLst>
            </a:custGeom>
            <a:grpFill/>
            <a:ln w="0">
              <a:noFill/>
              <a:prstDash val="solid"/>
              <a:round/>
              <a:headEnd/>
              <a:tailEnd/>
            </a:ln>
          </p:spPr>
          <p:txBody>
            <a:bodyPr/>
            <a:lstStyle/>
            <a:p>
              <a:pPr defTabSz="456512" eaLnBrk="1" hangingPunct="1">
                <a:defRPr/>
              </a:pPr>
              <a:endParaRPr lang="zh-CN" altLang="en-US"/>
            </a:p>
          </p:txBody>
        </p:sp>
        <p:sp>
          <p:nvSpPr>
            <p:cNvPr id="86" name="Freeform 273"/>
            <p:cNvSpPr>
              <a:spLocks noEditPoints="1"/>
            </p:cNvSpPr>
            <p:nvPr/>
          </p:nvSpPr>
          <p:spPr bwMode="auto">
            <a:xfrm>
              <a:off x="3309938" y="1312863"/>
              <a:ext cx="115888" cy="204788"/>
            </a:xfrm>
            <a:custGeom>
              <a:avLst/>
              <a:gdLst/>
              <a:ahLst/>
              <a:cxnLst>
                <a:cxn ang="0">
                  <a:pos x="38" y="34"/>
                </a:cxn>
                <a:cxn ang="0">
                  <a:pos x="38" y="34"/>
                </a:cxn>
                <a:cxn ang="0">
                  <a:pos x="34" y="38"/>
                </a:cxn>
                <a:cxn ang="0">
                  <a:pos x="34" y="448"/>
                </a:cxn>
                <a:cxn ang="0">
                  <a:pos x="38" y="453"/>
                </a:cxn>
                <a:cxn ang="0">
                  <a:pos x="236" y="453"/>
                </a:cxn>
                <a:cxn ang="0">
                  <a:pos x="241" y="448"/>
                </a:cxn>
                <a:cxn ang="0">
                  <a:pos x="241" y="38"/>
                </a:cxn>
                <a:cxn ang="0">
                  <a:pos x="236" y="34"/>
                </a:cxn>
                <a:cxn ang="0">
                  <a:pos x="38" y="34"/>
                </a:cxn>
                <a:cxn ang="0">
                  <a:pos x="236" y="486"/>
                </a:cxn>
                <a:cxn ang="0">
                  <a:pos x="236" y="486"/>
                </a:cxn>
                <a:cxn ang="0">
                  <a:pos x="38" y="486"/>
                </a:cxn>
                <a:cxn ang="0">
                  <a:pos x="0" y="448"/>
                </a:cxn>
                <a:cxn ang="0">
                  <a:pos x="0" y="38"/>
                </a:cxn>
                <a:cxn ang="0">
                  <a:pos x="38" y="0"/>
                </a:cxn>
                <a:cxn ang="0">
                  <a:pos x="236" y="0"/>
                </a:cxn>
                <a:cxn ang="0">
                  <a:pos x="274" y="38"/>
                </a:cxn>
                <a:cxn ang="0">
                  <a:pos x="274" y="448"/>
                </a:cxn>
                <a:cxn ang="0">
                  <a:pos x="236" y="486"/>
                </a:cxn>
              </a:cxnLst>
              <a:rect l="0" t="0" r="r" b="b"/>
              <a:pathLst>
                <a:path w="274" h="486">
                  <a:moveTo>
                    <a:pt x="38" y="34"/>
                  </a:moveTo>
                  <a:lnTo>
                    <a:pt x="38" y="34"/>
                  </a:lnTo>
                  <a:cubicBezTo>
                    <a:pt x="36" y="34"/>
                    <a:pt x="34" y="36"/>
                    <a:pt x="34" y="38"/>
                  </a:cubicBezTo>
                  <a:lnTo>
                    <a:pt x="34" y="448"/>
                  </a:lnTo>
                  <a:cubicBezTo>
                    <a:pt x="34" y="451"/>
                    <a:pt x="36" y="453"/>
                    <a:pt x="38" y="453"/>
                  </a:cubicBezTo>
                  <a:lnTo>
                    <a:pt x="236" y="453"/>
                  </a:lnTo>
                  <a:cubicBezTo>
                    <a:pt x="239" y="453"/>
                    <a:pt x="241" y="451"/>
                    <a:pt x="241" y="448"/>
                  </a:cubicBezTo>
                  <a:lnTo>
                    <a:pt x="241" y="38"/>
                  </a:lnTo>
                  <a:cubicBezTo>
                    <a:pt x="241" y="36"/>
                    <a:pt x="239" y="34"/>
                    <a:pt x="236" y="34"/>
                  </a:cubicBezTo>
                  <a:lnTo>
                    <a:pt x="38" y="34"/>
                  </a:lnTo>
                  <a:close/>
                  <a:moveTo>
                    <a:pt x="236" y="486"/>
                  </a:moveTo>
                  <a:lnTo>
                    <a:pt x="236" y="486"/>
                  </a:lnTo>
                  <a:lnTo>
                    <a:pt x="38" y="486"/>
                  </a:lnTo>
                  <a:cubicBezTo>
                    <a:pt x="17" y="486"/>
                    <a:pt x="0" y="469"/>
                    <a:pt x="0" y="448"/>
                  </a:cubicBezTo>
                  <a:lnTo>
                    <a:pt x="0" y="38"/>
                  </a:lnTo>
                  <a:cubicBezTo>
                    <a:pt x="0" y="17"/>
                    <a:pt x="17" y="0"/>
                    <a:pt x="38" y="0"/>
                  </a:cubicBezTo>
                  <a:lnTo>
                    <a:pt x="236" y="0"/>
                  </a:lnTo>
                  <a:cubicBezTo>
                    <a:pt x="257" y="0"/>
                    <a:pt x="274" y="17"/>
                    <a:pt x="274" y="38"/>
                  </a:cubicBezTo>
                  <a:lnTo>
                    <a:pt x="274" y="448"/>
                  </a:lnTo>
                  <a:cubicBezTo>
                    <a:pt x="274" y="469"/>
                    <a:pt x="257" y="486"/>
                    <a:pt x="236" y="486"/>
                  </a:cubicBezTo>
                  <a:close/>
                </a:path>
              </a:pathLst>
            </a:custGeom>
            <a:grpFill/>
            <a:ln w="0">
              <a:noFill/>
              <a:prstDash val="solid"/>
              <a:round/>
              <a:headEnd/>
              <a:tailEnd/>
            </a:ln>
          </p:spPr>
          <p:txBody>
            <a:bodyPr/>
            <a:lstStyle/>
            <a:p>
              <a:pPr defTabSz="456512" eaLnBrk="1" hangingPunct="1">
                <a:defRPr/>
              </a:pPr>
              <a:endParaRPr lang="zh-CN" altLang="en-US"/>
            </a:p>
          </p:txBody>
        </p:sp>
        <p:sp>
          <p:nvSpPr>
            <p:cNvPr id="87" name="Freeform 274"/>
            <p:cNvSpPr>
              <a:spLocks/>
            </p:cNvSpPr>
            <p:nvPr/>
          </p:nvSpPr>
          <p:spPr bwMode="auto">
            <a:xfrm>
              <a:off x="3343275" y="1347788"/>
              <a:ext cx="50800" cy="28575"/>
            </a:xfrm>
            <a:custGeom>
              <a:avLst/>
              <a:gdLst/>
              <a:ahLst/>
              <a:cxnLst>
                <a:cxn ang="0">
                  <a:pos x="123" y="67"/>
                </a:cxn>
                <a:cxn ang="0">
                  <a:pos x="123" y="67"/>
                </a:cxn>
                <a:cxn ang="0">
                  <a:pos x="0" y="67"/>
                </a:cxn>
                <a:cxn ang="0">
                  <a:pos x="0" y="0"/>
                </a:cxn>
                <a:cxn ang="0">
                  <a:pos x="123" y="0"/>
                </a:cxn>
                <a:cxn ang="0">
                  <a:pos x="123" y="67"/>
                </a:cxn>
              </a:cxnLst>
              <a:rect l="0" t="0" r="r" b="b"/>
              <a:pathLst>
                <a:path w="123" h="67">
                  <a:moveTo>
                    <a:pt x="123" y="67"/>
                  </a:moveTo>
                  <a:lnTo>
                    <a:pt x="123" y="67"/>
                  </a:lnTo>
                  <a:lnTo>
                    <a:pt x="0" y="67"/>
                  </a:lnTo>
                  <a:lnTo>
                    <a:pt x="0" y="0"/>
                  </a:lnTo>
                  <a:lnTo>
                    <a:pt x="123" y="0"/>
                  </a:lnTo>
                  <a:lnTo>
                    <a:pt x="123" y="67"/>
                  </a:lnTo>
                  <a:close/>
                </a:path>
              </a:pathLst>
            </a:custGeom>
            <a:grpFill/>
            <a:ln w="0">
              <a:noFill/>
              <a:prstDash val="solid"/>
              <a:round/>
              <a:headEnd/>
              <a:tailEnd/>
            </a:ln>
          </p:spPr>
          <p:txBody>
            <a:bodyPr/>
            <a:lstStyle/>
            <a:p>
              <a:pPr defTabSz="456512" eaLnBrk="1" hangingPunct="1">
                <a:defRPr/>
              </a:pPr>
              <a:endParaRPr lang="zh-CN" altLang="en-US"/>
            </a:p>
          </p:txBody>
        </p:sp>
        <p:sp>
          <p:nvSpPr>
            <p:cNvPr id="88" name="Freeform 275"/>
            <p:cNvSpPr>
              <a:spLocks/>
            </p:cNvSpPr>
            <p:nvPr/>
          </p:nvSpPr>
          <p:spPr bwMode="auto">
            <a:xfrm>
              <a:off x="3343275" y="1390650"/>
              <a:ext cx="50800" cy="26988"/>
            </a:xfrm>
            <a:custGeom>
              <a:avLst/>
              <a:gdLst/>
              <a:ahLst/>
              <a:cxnLst>
                <a:cxn ang="0">
                  <a:pos x="123" y="66"/>
                </a:cxn>
                <a:cxn ang="0">
                  <a:pos x="123" y="66"/>
                </a:cxn>
                <a:cxn ang="0">
                  <a:pos x="0" y="66"/>
                </a:cxn>
                <a:cxn ang="0">
                  <a:pos x="0" y="0"/>
                </a:cxn>
                <a:cxn ang="0">
                  <a:pos x="123" y="0"/>
                </a:cxn>
                <a:cxn ang="0">
                  <a:pos x="123" y="66"/>
                </a:cxn>
              </a:cxnLst>
              <a:rect l="0" t="0" r="r" b="b"/>
              <a:pathLst>
                <a:path w="123" h="66">
                  <a:moveTo>
                    <a:pt x="123" y="66"/>
                  </a:moveTo>
                  <a:lnTo>
                    <a:pt x="123" y="66"/>
                  </a:lnTo>
                  <a:lnTo>
                    <a:pt x="0" y="66"/>
                  </a:lnTo>
                  <a:lnTo>
                    <a:pt x="0" y="0"/>
                  </a:lnTo>
                  <a:lnTo>
                    <a:pt x="123" y="0"/>
                  </a:lnTo>
                  <a:lnTo>
                    <a:pt x="123" y="66"/>
                  </a:lnTo>
                  <a:close/>
                </a:path>
              </a:pathLst>
            </a:custGeom>
            <a:grpFill/>
            <a:ln w="0">
              <a:noFill/>
              <a:prstDash val="solid"/>
              <a:round/>
              <a:headEnd/>
              <a:tailEnd/>
            </a:ln>
          </p:spPr>
          <p:txBody>
            <a:bodyPr/>
            <a:lstStyle/>
            <a:p>
              <a:pPr defTabSz="456512" eaLnBrk="1" hangingPunct="1">
                <a:defRPr/>
              </a:pPr>
              <a:endParaRPr lang="zh-CN" altLang="en-US"/>
            </a:p>
          </p:txBody>
        </p:sp>
        <p:sp>
          <p:nvSpPr>
            <p:cNvPr id="89" name="Freeform 276"/>
            <p:cNvSpPr>
              <a:spLocks/>
            </p:cNvSpPr>
            <p:nvPr/>
          </p:nvSpPr>
          <p:spPr bwMode="auto">
            <a:xfrm>
              <a:off x="3217863" y="1417638"/>
              <a:ext cx="63500" cy="65088"/>
            </a:xfrm>
            <a:custGeom>
              <a:avLst/>
              <a:gdLst/>
              <a:ahLst/>
              <a:cxnLst>
                <a:cxn ang="0">
                  <a:pos x="19" y="152"/>
                </a:cxn>
                <a:cxn ang="0">
                  <a:pos x="19" y="152"/>
                </a:cxn>
                <a:cxn ang="0">
                  <a:pos x="0" y="133"/>
                </a:cxn>
                <a:cxn ang="0">
                  <a:pos x="133" y="0"/>
                </a:cxn>
                <a:cxn ang="0">
                  <a:pos x="152" y="19"/>
                </a:cxn>
                <a:cxn ang="0">
                  <a:pos x="19" y="152"/>
                </a:cxn>
              </a:cxnLst>
              <a:rect l="0" t="0" r="r" b="b"/>
              <a:pathLst>
                <a:path w="152" h="152">
                  <a:moveTo>
                    <a:pt x="19" y="152"/>
                  </a:moveTo>
                  <a:lnTo>
                    <a:pt x="19" y="152"/>
                  </a:lnTo>
                  <a:lnTo>
                    <a:pt x="0" y="133"/>
                  </a:lnTo>
                  <a:lnTo>
                    <a:pt x="133" y="0"/>
                  </a:lnTo>
                  <a:lnTo>
                    <a:pt x="152" y="19"/>
                  </a:lnTo>
                  <a:lnTo>
                    <a:pt x="19" y="152"/>
                  </a:lnTo>
                  <a:close/>
                </a:path>
              </a:pathLst>
            </a:custGeom>
            <a:grpFill/>
            <a:ln w="0">
              <a:noFill/>
              <a:prstDash val="solid"/>
              <a:round/>
              <a:headEnd/>
              <a:tailEnd/>
            </a:ln>
          </p:spPr>
          <p:txBody>
            <a:bodyPr/>
            <a:lstStyle/>
            <a:p>
              <a:pPr defTabSz="456512" eaLnBrk="1" hangingPunct="1">
                <a:defRPr/>
              </a:pPr>
              <a:endParaRPr lang="zh-CN" altLang="en-US"/>
            </a:p>
          </p:txBody>
        </p:sp>
        <p:sp>
          <p:nvSpPr>
            <p:cNvPr id="90" name="Freeform 277"/>
            <p:cNvSpPr>
              <a:spLocks/>
            </p:cNvSpPr>
            <p:nvPr/>
          </p:nvSpPr>
          <p:spPr bwMode="auto">
            <a:xfrm>
              <a:off x="3454400" y="1417638"/>
              <a:ext cx="63500" cy="65088"/>
            </a:xfrm>
            <a:custGeom>
              <a:avLst/>
              <a:gdLst/>
              <a:ahLst/>
              <a:cxnLst>
                <a:cxn ang="0">
                  <a:pos x="134" y="152"/>
                </a:cxn>
                <a:cxn ang="0">
                  <a:pos x="134" y="152"/>
                </a:cxn>
                <a:cxn ang="0">
                  <a:pos x="0" y="19"/>
                </a:cxn>
                <a:cxn ang="0">
                  <a:pos x="19" y="0"/>
                </a:cxn>
                <a:cxn ang="0">
                  <a:pos x="152" y="133"/>
                </a:cxn>
                <a:cxn ang="0">
                  <a:pos x="134" y="152"/>
                </a:cxn>
              </a:cxnLst>
              <a:rect l="0" t="0" r="r" b="b"/>
              <a:pathLst>
                <a:path w="152" h="152">
                  <a:moveTo>
                    <a:pt x="134" y="152"/>
                  </a:moveTo>
                  <a:lnTo>
                    <a:pt x="134" y="152"/>
                  </a:lnTo>
                  <a:lnTo>
                    <a:pt x="0" y="19"/>
                  </a:lnTo>
                  <a:lnTo>
                    <a:pt x="19" y="0"/>
                  </a:lnTo>
                  <a:lnTo>
                    <a:pt x="152" y="133"/>
                  </a:lnTo>
                  <a:lnTo>
                    <a:pt x="134" y="152"/>
                  </a:lnTo>
                  <a:close/>
                </a:path>
              </a:pathLst>
            </a:custGeom>
            <a:grpFill/>
            <a:ln w="0">
              <a:noFill/>
              <a:prstDash val="solid"/>
              <a:round/>
              <a:headEnd/>
              <a:tailEnd/>
            </a:ln>
          </p:spPr>
          <p:txBody>
            <a:bodyPr/>
            <a:lstStyle/>
            <a:p>
              <a:pPr defTabSz="456512" eaLnBrk="1" hangingPunct="1">
                <a:defRPr/>
              </a:pPr>
              <a:endParaRPr lang="zh-CN" altLang="en-US"/>
            </a:p>
          </p:txBody>
        </p:sp>
        <p:sp>
          <p:nvSpPr>
            <p:cNvPr id="91" name="Freeform 278"/>
            <p:cNvSpPr>
              <a:spLocks/>
            </p:cNvSpPr>
            <p:nvPr/>
          </p:nvSpPr>
          <p:spPr bwMode="auto">
            <a:xfrm>
              <a:off x="3541713" y="1712913"/>
              <a:ext cx="58738" cy="58738"/>
            </a:xfrm>
            <a:custGeom>
              <a:avLst/>
              <a:gdLst/>
              <a:ahLst/>
              <a:cxnLst>
                <a:cxn ang="0">
                  <a:pos x="70" y="139"/>
                </a:cxn>
                <a:cxn ang="0">
                  <a:pos x="70" y="139"/>
                </a:cxn>
                <a:cxn ang="0">
                  <a:pos x="0" y="69"/>
                </a:cxn>
                <a:cxn ang="0">
                  <a:pos x="70" y="0"/>
                </a:cxn>
                <a:cxn ang="0">
                  <a:pos x="139" y="69"/>
                </a:cxn>
                <a:cxn ang="0">
                  <a:pos x="70" y="139"/>
                </a:cxn>
              </a:cxnLst>
              <a:rect l="0" t="0" r="r" b="b"/>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92" name="Freeform 279"/>
            <p:cNvSpPr>
              <a:spLocks/>
            </p:cNvSpPr>
            <p:nvPr/>
          </p:nvSpPr>
          <p:spPr bwMode="auto">
            <a:xfrm>
              <a:off x="3630613" y="1712913"/>
              <a:ext cx="58738" cy="58738"/>
            </a:xfrm>
            <a:custGeom>
              <a:avLst/>
              <a:gdLst/>
              <a:ahLst/>
              <a:cxnLst>
                <a:cxn ang="0">
                  <a:pos x="70" y="139"/>
                </a:cxn>
                <a:cxn ang="0">
                  <a:pos x="70" y="139"/>
                </a:cxn>
                <a:cxn ang="0">
                  <a:pos x="0" y="69"/>
                </a:cxn>
                <a:cxn ang="0">
                  <a:pos x="70" y="0"/>
                </a:cxn>
                <a:cxn ang="0">
                  <a:pos x="139" y="69"/>
                </a:cxn>
                <a:cxn ang="0">
                  <a:pos x="70" y="139"/>
                </a:cxn>
              </a:cxnLst>
              <a:rect l="0" t="0" r="r" b="b"/>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93" name="Freeform 280"/>
            <p:cNvSpPr>
              <a:spLocks/>
            </p:cNvSpPr>
            <p:nvPr/>
          </p:nvSpPr>
          <p:spPr bwMode="auto">
            <a:xfrm>
              <a:off x="2970213" y="1130300"/>
              <a:ext cx="796925" cy="625475"/>
            </a:xfrm>
            <a:custGeom>
              <a:avLst/>
              <a:gdLst/>
              <a:ahLst/>
              <a:cxnLst>
                <a:cxn ang="0">
                  <a:pos x="1785" y="1492"/>
                </a:cxn>
                <a:cxn ang="0">
                  <a:pos x="1785" y="1492"/>
                </a:cxn>
                <a:cxn ang="0">
                  <a:pos x="1643" y="1492"/>
                </a:cxn>
                <a:cxn ang="0">
                  <a:pos x="1609" y="1459"/>
                </a:cxn>
                <a:cxn ang="0">
                  <a:pos x="1643" y="1426"/>
                </a:cxn>
                <a:cxn ang="0">
                  <a:pos x="1785" y="1426"/>
                </a:cxn>
                <a:cxn ang="0">
                  <a:pos x="1832" y="1379"/>
                </a:cxn>
                <a:cxn ang="0">
                  <a:pos x="1832" y="113"/>
                </a:cxn>
                <a:cxn ang="0">
                  <a:pos x="1785" y="66"/>
                </a:cxn>
                <a:cxn ang="0">
                  <a:pos x="113" y="66"/>
                </a:cxn>
                <a:cxn ang="0">
                  <a:pos x="67" y="113"/>
                </a:cxn>
                <a:cxn ang="0">
                  <a:pos x="67" y="1379"/>
                </a:cxn>
                <a:cxn ang="0">
                  <a:pos x="113" y="1426"/>
                </a:cxn>
                <a:cxn ang="0">
                  <a:pos x="1434" y="1426"/>
                </a:cxn>
                <a:cxn ang="0">
                  <a:pos x="1467" y="1459"/>
                </a:cxn>
                <a:cxn ang="0">
                  <a:pos x="1434" y="1492"/>
                </a:cxn>
                <a:cxn ang="0">
                  <a:pos x="113" y="1492"/>
                </a:cxn>
                <a:cxn ang="0">
                  <a:pos x="0" y="1379"/>
                </a:cxn>
                <a:cxn ang="0">
                  <a:pos x="0" y="113"/>
                </a:cxn>
                <a:cxn ang="0">
                  <a:pos x="113" y="0"/>
                </a:cxn>
                <a:cxn ang="0">
                  <a:pos x="1785" y="0"/>
                </a:cxn>
                <a:cxn ang="0">
                  <a:pos x="1899" y="113"/>
                </a:cxn>
                <a:cxn ang="0">
                  <a:pos x="1899" y="1379"/>
                </a:cxn>
                <a:cxn ang="0">
                  <a:pos x="1785" y="1492"/>
                </a:cxn>
              </a:cxnLst>
              <a:rect l="0" t="0" r="r" b="b"/>
              <a:pathLst>
                <a:path w="1899" h="1492">
                  <a:moveTo>
                    <a:pt x="1785" y="1492"/>
                  </a:moveTo>
                  <a:lnTo>
                    <a:pt x="1785" y="1492"/>
                  </a:lnTo>
                  <a:lnTo>
                    <a:pt x="1643" y="1492"/>
                  </a:lnTo>
                  <a:cubicBezTo>
                    <a:pt x="1624" y="1492"/>
                    <a:pt x="1609" y="1478"/>
                    <a:pt x="1609" y="1459"/>
                  </a:cubicBezTo>
                  <a:cubicBezTo>
                    <a:pt x="1609" y="1441"/>
                    <a:pt x="1624" y="1426"/>
                    <a:pt x="1643" y="1426"/>
                  </a:cubicBezTo>
                  <a:lnTo>
                    <a:pt x="1785" y="1426"/>
                  </a:lnTo>
                  <a:cubicBezTo>
                    <a:pt x="1811" y="1426"/>
                    <a:pt x="1832" y="1405"/>
                    <a:pt x="1832" y="1379"/>
                  </a:cubicBezTo>
                  <a:lnTo>
                    <a:pt x="1832" y="113"/>
                  </a:lnTo>
                  <a:cubicBezTo>
                    <a:pt x="1832" y="87"/>
                    <a:pt x="1811" y="66"/>
                    <a:pt x="1785" y="66"/>
                  </a:cubicBezTo>
                  <a:lnTo>
                    <a:pt x="113" y="66"/>
                  </a:lnTo>
                  <a:cubicBezTo>
                    <a:pt x="88" y="66"/>
                    <a:pt x="67" y="87"/>
                    <a:pt x="67" y="113"/>
                  </a:cubicBezTo>
                  <a:lnTo>
                    <a:pt x="67" y="1379"/>
                  </a:lnTo>
                  <a:cubicBezTo>
                    <a:pt x="67" y="1405"/>
                    <a:pt x="88" y="1426"/>
                    <a:pt x="113" y="1426"/>
                  </a:cubicBezTo>
                  <a:lnTo>
                    <a:pt x="1434" y="1426"/>
                  </a:lnTo>
                  <a:cubicBezTo>
                    <a:pt x="1452" y="1426"/>
                    <a:pt x="1467" y="1441"/>
                    <a:pt x="1467" y="1459"/>
                  </a:cubicBezTo>
                  <a:cubicBezTo>
                    <a:pt x="1467" y="1478"/>
                    <a:pt x="1452" y="1492"/>
                    <a:pt x="1434" y="1492"/>
                  </a:cubicBezTo>
                  <a:lnTo>
                    <a:pt x="113" y="1492"/>
                  </a:lnTo>
                  <a:cubicBezTo>
                    <a:pt x="51" y="1492"/>
                    <a:pt x="0" y="1442"/>
                    <a:pt x="0" y="1379"/>
                  </a:cubicBezTo>
                  <a:lnTo>
                    <a:pt x="0" y="113"/>
                  </a:lnTo>
                  <a:cubicBezTo>
                    <a:pt x="0" y="51"/>
                    <a:pt x="51" y="0"/>
                    <a:pt x="113" y="0"/>
                  </a:cubicBezTo>
                  <a:lnTo>
                    <a:pt x="1785" y="0"/>
                  </a:lnTo>
                  <a:cubicBezTo>
                    <a:pt x="1848" y="0"/>
                    <a:pt x="1899" y="51"/>
                    <a:pt x="1899" y="113"/>
                  </a:cubicBezTo>
                  <a:lnTo>
                    <a:pt x="1899" y="1379"/>
                  </a:lnTo>
                  <a:cubicBezTo>
                    <a:pt x="1899" y="1442"/>
                    <a:pt x="1848" y="1492"/>
                    <a:pt x="1785" y="1492"/>
                  </a:cubicBezTo>
                  <a:close/>
                </a:path>
              </a:pathLst>
            </a:custGeom>
            <a:grpFill/>
            <a:ln w="0">
              <a:noFill/>
              <a:prstDash val="solid"/>
              <a:round/>
              <a:headEnd/>
              <a:tailEnd/>
            </a:ln>
          </p:spPr>
          <p:txBody>
            <a:bodyPr/>
            <a:lstStyle/>
            <a:p>
              <a:pPr defTabSz="456512" eaLnBrk="1" hangingPunct="1">
                <a:defRPr/>
              </a:pPr>
              <a:endParaRPr lang="zh-CN" altLang="en-US"/>
            </a:p>
          </p:txBody>
        </p:sp>
        <p:sp>
          <p:nvSpPr>
            <p:cNvPr id="94" name="Freeform 281"/>
            <p:cNvSpPr>
              <a:spLocks noEditPoints="1"/>
            </p:cNvSpPr>
            <p:nvPr/>
          </p:nvSpPr>
          <p:spPr bwMode="auto">
            <a:xfrm>
              <a:off x="3471863" y="1457325"/>
              <a:ext cx="198438" cy="149225"/>
            </a:xfrm>
            <a:custGeom>
              <a:avLst/>
              <a:gdLst/>
              <a:ahLst/>
              <a:cxnLst>
                <a:cxn ang="0">
                  <a:pos x="108" y="74"/>
                </a:cxn>
                <a:cxn ang="0">
                  <a:pos x="166" y="91"/>
                </a:cxn>
                <a:cxn ang="0">
                  <a:pos x="70" y="219"/>
                </a:cxn>
                <a:cxn ang="0">
                  <a:pos x="31" y="209"/>
                </a:cxn>
                <a:cxn ang="0">
                  <a:pos x="237" y="29"/>
                </a:cxn>
                <a:cxn ang="0">
                  <a:pos x="293" y="37"/>
                </a:cxn>
                <a:cxn ang="0">
                  <a:pos x="189" y="67"/>
                </a:cxn>
                <a:cxn ang="0">
                  <a:pos x="128" y="60"/>
                </a:cxn>
                <a:cxn ang="0">
                  <a:pos x="381" y="88"/>
                </a:cxn>
                <a:cxn ang="0">
                  <a:pos x="331" y="131"/>
                </a:cxn>
                <a:cxn ang="0">
                  <a:pos x="278" y="137"/>
                </a:cxn>
                <a:cxn ang="0">
                  <a:pos x="213" y="91"/>
                </a:cxn>
                <a:cxn ang="0">
                  <a:pos x="323" y="48"/>
                </a:cxn>
                <a:cxn ang="0">
                  <a:pos x="431" y="165"/>
                </a:cxn>
                <a:cxn ang="0">
                  <a:pos x="361" y="165"/>
                </a:cxn>
                <a:cxn ang="0">
                  <a:pos x="393" y="101"/>
                </a:cxn>
                <a:cxn ang="0">
                  <a:pos x="255" y="181"/>
                </a:cxn>
                <a:cxn ang="0">
                  <a:pos x="256" y="188"/>
                </a:cxn>
                <a:cxn ang="0">
                  <a:pos x="93" y="246"/>
                </a:cxn>
                <a:cxn ang="0">
                  <a:pos x="86" y="225"/>
                </a:cxn>
                <a:cxn ang="0">
                  <a:pos x="189" y="115"/>
                </a:cxn>
                <a:cxn ang="0">
                  <a:pos x="266" y="149"/>
                </a:cxn>
                <a:cxn ang="0">
                  <a:pos x="34" y="327"/>
                </a:cxn>
                <a:cxn ang="0">
                  <a:pos x="42" y="307"/>
                </a:cxn>
                <a:cxn ang="0">
                  <a:pos x="30" y="228"/>
                </a:cxn>
                <a:cxn ang="0">
                  <a:pos x="83" y="261"/>
                </a:cxn>
                <a:cxn ang="0">
                  <a:pos x="138" y="284"/>
                </a:cxn>
                <a:cxn ang="0">
                  <a:pos x="273" y="221"/>
                </a:cxn>
                <a:cxn ang="0">
                  <a:pos x="309" y="235"/>
                </a:cxn>
                <a:cxn ang="0">
                  <a:pos x="355" y="297"/>
                </a:cxn>
                <a:cxn ang="0">
                  <a:pos x="346" y="221"/>
                </a:cxn>
                <a:cxn ang="0">
                  <a:pos x="437" y="183"/>
                </a:cxn>
                <a:cxn ang="0">
                  <a:pos x="431" y="307"/>
                </a:cxn>
                <a:cxn ang="0">
                  <a:pos x="439" y="358"/>
                </a:cxn>
                <a:cxn ang="0">
                  <a:pos x="237" y="0"/>
                </a:cxn>
                <a:cxn ang="0">
                  <a:pos x="34" y="358"/>
                </a:cxn>
              </a:cxnLst>
              <a:rect l="0" t="0" r="r" b="b"/>
              <a:pathLst>
                <a:path w="473" h="358">
                  <a:moveTo>
                    <a:pt x="108" y="74"/>
                  </a:moveTo>
                  <a:lnTo>
                    <a:pt x="108" y="74"/>
                  </a:lnTo>
                  <a:cubicBezTo>
                    <a:pt x="120" y="77"/>
                    <a:pt x="141" y="82"/>
                    <a:pt x="166" y="91"/>
                  </a:cubicBezTo>
                  <a:lnTo>
                    <a:pt x="166" y="91"/>
                  </a:lnTo>
                  <a:cubicBezTo>
                    <a:pt x="166" y="93"/>
                    <a:pt x="166" y="95"/>
                    <a:pt x="166" y="96"/>
                  </a:cubicBezTo>
                  <a:cubicBezTo>
                    <a:pt x="129" y="123"/>
                    <a:pt x="92" y="163"/>
                    <a:pt x="70" y="219"/>
                  </a:cubicBezTo>
                  <a:cubicBezTo>
                    <a:pt x="68" y="225"/>
                    <a:pt x="66" y="229"/>
                    <a:pt x="66" y="229"/>
                  </a:cubicBezTo>
                  <a:cubicBezTo>
                    <a:pt x="56" y="221"/>
                    <a:pt x="38" y="213"/>
                    <a:pt x="31" y="209"/>
                  </a:cubicBezTo>
                  <a:cubicBezTo>
                    <a:pt x="38" y="155"/>
                    <a:pt x="67" y="107"/>
                    <a:pt x="108" y="74"/>
                  </a:cubicBezTo>
                  <a:close/>
                  <a:moveTo>
                    <a:pt x="237" y="29"/>
                  </a:moveTo>
                  <a:lnTo>
                    <a:pt x="237" y="29"/>
                  </a:lnTo>
                  <a:cubicBezTo>
                    <a:pt x="256" y="29"/>
                    <a:pt x="275" y="32"/>
                    <a:pt x="293" y="37"/>
                  </a:cubicBezTo>
                  <a:cubicBezTo>
                    <a:pt x="269" y="44"/>
                    <a:pt x="237" y="54"/>
                    <a:pt x="204" y="73"/>
                  </a:cubicBezTo>
                  <a:cubicBezTo>
                    <a:pt x="200" y="69"/>
                    <a:pt x="195" y="67"/>
                    <a:pt x="189" y="67"/>
                  </a:cubicBezTo>
                  <a:cubicBezTo>
                    <a:pt x="183" y="67"/>
                    <a:pt x="177" y="70"/>
                    <a:pt x="172" y="75"/>
                  </a:cubicBezTo>
                  <a:cubicBezTo>
                    <a:pt x="155" y="68"/>
                    <a:pt x="140" y="63"/>
                    <a:pt x="128" y="60"/>
                  </a:cubicBezTo>
                  <a:cubicBezTo>
                    <a:pt x="159" y="41"/>
                    <a:pt x="197" y="29"/>
                    <a:pt x="237" y="29"/>
                  </a:cubicBezTo>
                  <a:close/>
                  <a:moveTo>
                    <a:pt x="381" y="88"/>
                  </a:moveTo>
                  <a:lnTo>
                    <a:pt x="381" y="88"/>
                  </a:lnTo>
                  <a:cubicBezTo>
                    <a:pt x="363" y="100"/>
                    <a:pt x="346" y="115"/>
                    <a:pt x="331" y="131"/>
                  </a:cubicBezTo>
                  <a:cubicBezTo>
                    <a:pt x="324" y="129"/>
                    <a:pt x="317" y="127"/>
                    <a:pt x="309" y="127"/>
                  </a:cubicBezTo>
                  <a:cubicBezTo>
                    <a:pt x="298" y="127"/>
                    <a:pt x="287" y="130"/>
                    <a:pt x="278" y="137"/>
                  </a:cubicBezTo>
                  <a:cubicBezTo>
                    <a:pt x="257" y="118"/>
                    <a:pt x="235" y="104"/>
                    <a:pt x="213" y="93"/>
                  </a:cubicBezTo>
                  <a:cubicBezTo>
                    <a:pt x="213" y="92"/>
                    <a:pt x="213" y="92"/>
                    <a:pt x="213" y="91"/>
                  </a:cubicBezTo>
                  <a:cubicBezTo>
                    <a:pt x="213" y="90"/>
                    <a:pt x="213" y="89"/>
                    <a:pt x="213" y="88"/>
                  </a:cubicBezTo>
                  <a:cubicBezTo>
                    <a:pt x="258" y="63"/>
                    <a:pt x="302" y="52"/>
                    <a:pt x="323" y="48"/>
                  </a:cubicBezTo>
                  <a:cubicBezTo>
                    <a:pt x="345" y="58"/>
                    <a:pt x="364" y="72"/>
                    <a:pt x="381" y="88"/>
                  </a:cubicBezTo>
                  <a:close/>
                  <a:moveTo>
                    <a:pt x="431" y="165"/>
                  </a:moveTo>
                  <a:lnTo>
                    <a:pt x="431" y="165"/>
                  </a:lnTo>
                  <a:cubicBezTo>
                    <a:pt x="407" y="163"/>
                    <a:pt x="384" y="163"/>
                    <a:pt x="361" y="165"/>
                  </a:cubicBezTo>
                  <a:cubicBezTo>
                    <a:pt x="358" y="155"/>
                    <a:pt x="353" y="148"/>
                    <a:pt x="346" y="141"/>
                  </a:cubicBezTo>
                  <a:cubicBezTo>
                    <a:pt x="360" y="126"/>
                    <a:pt x="376" y="112"/>
                    <a:pt x="393" y="101"/>
                  </a:cubicBezTo>
                  <a:cubicBezTo>
                    <a:pt x="409" y="120"/>
                    <a:pt x="422" y="142"/>
                    <a:pt x="431" y="165"/>
                  </a:cubicBezTo>
                  <a:close/>
                  <a:moveTo>
                    <a:pt x="255" y="181"/>
                  </a:moveTo>
                  <a:lnTo>
                    <a:pt x="255" y="181"/>
                  </a:lnTo>
                  <a:cubicBezTo>
                    <a:pt x="255" y="183"/>
                    <a:pt x="255" y="186"/>
                    <a:pt x="256" y="188"/>
                  </a:cubicBezTo>
                  <a:cubicBezTo>
                    <a:pt x="200" y="209"/>
                    <a:pt x="157" y="241"/>
                    <a:pt x="125" y="272"/>
                  </a:cubicBezTo>
                  <a:cubicBezTo>
                    <a:pt x="114" y="262"/>
                    <a:pt x="104" y="254"/>
                    <a:pt x="93" y="246"/>
                  </a:cubicBezTo>
                  <a:cubicBezTo>
                    <a:pt x="88" y="242"/>
                    <a:pt x="82" y="237"/>
                    <a:pt x="82" y="237"/>
                  </a:cubicBezTo>
                  <a:cubicBezTo>
                    <a:pt x="82" y="237"/>
                    <a:pt x="83" y="232"/>
                    <a:pt x="86" y="225"/>
                  </a:cubicBezTo>
                  <a:cubicBezTo>
                    <a:pt x="104" y="180"/>
                    <a:pt x="134" y="142"/>
                    <a:pt x="176" y="111"/>
                  </a:cubicBezTo>
                  <a:cubicBezTo>
                    <a:pt x="180" y="113"/>
                    <a:pt x="184" y="115"/>
                    <a:pt x="189" y="115"/>
                  </a:cubicBezTo>
                  <a:cubicBezTo>
                    <a:pt x="196" y="115"/>
                    <a:pt x="201" y="113"/>
                    <a:pt x="205" y="109"/>
                  </a:cubicBezTo>
                  <a:cubicBezTo>
                    <a:pt x="225" y="119"/>
                    <a:pt x="246" y="132"/>
                    <a:pt x="266" y="149"/>
                  </a:cubicBezTo>
                  <a:cubicBezTo>
                    <a:pt x="259" y="158"/>
                    <a:pt x="255" y="169"/>
                    <a:pt x="255" y="181"/>
                  </a:cubicBezTo>
                  <a:close/>
                  <a:moveTo>
                    <a:pt x="34" y="327"/>
                  </a:moveTo>
                  <a:lnTo>
                    <a:pt x="34" y="327"/>
                  </a:lnTo>
                  <a:cubicBezTo>
                    <a:pt x="34" y="319"/>
                    <a:pt x="37" y="313"/>
                    <a:pt x="42" y="307"/>
                  </a:cubicBezTo>
                  <a:cubicBezTo>
                    <a:pt x="34" y="285"/>
                    <a:pt x="29" y="261"/>
                    <a:pt x="29" y="236"/>
                  </a:cubicBezTo>
                  <a:cubicBezTo>
                    <a:pt x="29" y="234"/>
                    <a:pt x="30" y="231"/>
                    <a:pt x="30" y="228"/>
                  </a:cubicBezTo>
                  <a:cubicBezTo>
                    <a:pt x="35" y="231"/>
                    <a:pt x="42" y="234"/>
                    <a:pt x="49" y="239"/>
                  </a:cubicBezTo>
                  <a:cubicBezTo>
                    <a:pt x="59" y="244"/>
                    <a:pt x="74" y="254"/>
                    <a:pt x="83" y="261"/>
                  </a:cubicBezTo>
                  <a:cubicBezTo>
                    <a:pt x="93" y="268"/>
                    <a:pt x="102" y="276"/>
                    <a:pt x="113" y="285"/>
                  </a:cubicBezTo>
                  <a:lnTo>
                    <a:pt x="138" y="284"/>
                  </a:lnTo>
                  <a:cubicBezTo>
                    <a:pt x="169" y="255"/>
                    <a:pt x="209" y="225"/>
                    <a:pt x="261" y="205"/>
                  </a:cubicBezTo>
                  <a:cubicBezTo>
                    <a:pt x="264" y="211"/>
                    <a:pt x="268" y="216"/>
                    <a:pt x="273" y="221"/>
                  </a:cubicBezTo>
                  <a:cubicBezTo>
                    <a:pt x="273" y="221"/>
                    <a:pt x="281" y="228"/>
                    <a:pt x="287" y="230"/>
                  </a:cubicBezTo>
                  <a:cubicBezTo>
                    <a:pt x="294" y="233"/>
                    <a:pt x="301" y="235"/>
                    <a:pt x="309" y="235"/>
                  </a:cubicBezTo>
                  <a:cubicBezTo>
                    <a:pt x="317" y="235"/>
                    <a:pt x="324" y="233"/>
                    <a:pt x="331" y="230"/>
                  </a:cubicBezTo>
                  <a:cubicBezTo>
                    <a:pt x="342" y="251"/>
                    <a:pt x="350" y="273"/>
                    <a:pt x="355" y="297"/>
                  </a:cubicBezTo>
                  <a:lnTo>
                    <a:pt x="374" y="297"/>
                  </a:lnTo>
                  <a:cubicBezTo>
                    <a:pt x="368" y="270"/>
                    <a:pt x="358" y="244"/>
                    <a:pt x="346" y="221"/>
                  </a:cubicBezTo>
                  <a:cubicBezTo>
                    <a:pt x="356" y="211"/>
                    <a:pt x="363" y="197"/>
                    <a:pt x="363" y="182"/>
                  </a:cubicBezTo>
                  <a:cubicBezTo>
                    <a:pt x="387" y="180"/>
                    <a:pt x="412" y="181"/>
                    <a:pt x="437" y="183"/>
                  </a:cubicBezTo>
                  <a:cubicBezTo>
                    <a:pt x="441" y="200"/>
                    <a:pt x="444" y="218"/>
                    <a:pt x="444" y="236"/>
                  </a:cubicBezTo>
                  <a:cubicBezTo>
                    <a:pt x="444" y="261"/>
                    <a:pt x="439" y="285"/>
                    <a:pt x="431" y="307"/>
                  </a:cubicBezTo>
                  <a:cubicBezTo>
                    <a:pt x="436" y="313"/>
                    <a:pt x="439" y="320"/>
                    <a:pt x="439" y="327"/>
                  </a:cubicBezTo>
                  <a:lnTo>
                    <a:pt x="439" y="358"/>
                  </a:lnTo>
                  <a:cubicBezTo>
                    <a:pt x="460" y="323"/>
                    <a:pt x="473" y="281"/>
                    <a:pt x="473" y="236"/>
                  </a:cubicBezTo>
                  <a:cubicBezTo>
                    <a:pt x="473" y="106"/>
                    <a:pt x="367" y="0"/>
                    <a:pt x="237" y="0"/>
                  </a:cubicBezTo>
                  <a:cubicBezTo>
                    <a:pt x="106" y="0"/>
                    <a:pt x="0" y="106"/>
                    <a:pt x="0" y="236"/>
                  </a:cubicBezTo>
                  <a:cubicBezTo>
                    <a:pt x="0" y="281"/>
                    <a:pt x="13" y="323"/>
                    <a:pt x="34" y="358"/>
                  </a:cubicBezTo>
                  <a:lnTo>
                    <a:pt x="34" y="327"/>
                  </a:lnTo>
                  <a:close/>
                </a:path>
              </a:pathLst>
            </a:custGeom>
            <a:grpFill/>
            <a:ln w="0">
              <a:noFill/>
              <a:prstDash val="solid"/>
              <a:round/>
              <a:headEnd/>
              <a:tailEnd/>
            </a:ln>
          </p:spPr>
          <p:txBody>
            <a:bodyPr/>
            <a:lstStyle/>
            <a:p>
              <a:pPr defTabSz="456512" eaLnBrk="1" hangingPunct="1">
                <a:defRPr/>
              </a:pPr>
              <a:endParaRPr lang="zh-CN" altLang="en-US"/>
            </a:p>
          </p:txBody>
        </p:sp>
        <p:sp>
          <p:nvSpPr>
            <p:cNvPr id="95" name="Freeform 282"/>
            <p:cNvSpPr>
              <a:spLocks/>
            </p:cNvSpPr>
            <p:nvPr/>
          </p:nvSpPr>
          <p:spPr bwMode="auto">
            <a:xfrm>
              <a:off x="3549650" y="1573213"/>
              <a:ext cx="42863" cy="101600"/>
            </a:xfrm>
            <a:custGeom>
              <a:avLst/>
              <a:gdLst/>
              <a:ahLst/>
              <a:cxnLst>
                <a:cxn ang="0">
                  <a:pos x="91" y="242"/>
                </a:cxn>
                <a:cxn ang="0">
                  <a:pos x="91" y="242"/>
                </a:cxn>
                <a:cxn ang="0">
                  <a:pos x="103" y="231"/>
                </a:cxn>
                <a:cxn ang="0">
                  <a:pos x="103" y="11"/>
                </a:cxn>
                <a:cxn ang="0">
                  <a:pos x="91" y="0"/>
                </a:cxn>
                <a:cxn ang="0">
                  <a:pos x="12" y="0"/>
                </a:cxn>
                <a:cxn ang="0">
                  <a:pos x="0" y="11"/>
                </a:cxn>
                <a:cxn ang="0">
                  <a:pos x="0" y="231"/>
                </a:cxn>
                <a:cxn ang="0">
                  <a:pos x="12" y="242"/>
                </a:cxn>
                <a:cxn ang="0">
                  <a:pos x="91" y="242"/>
                </a:cxn>
              </a:cxnLst>
              <a:rect l="0" t="0" r="r" b="b"/>
              <a:pathLst>
                <a:path w="103" h="242">
                  <a:moveTo>
                    <a:pt x="91" y="242"/>
                  </a:moveTo>
                  <a:lnTo>
                    <a:pt x="91" y="242"/>
                  </a:lnTo>
                  <a:cubicBezTo>
                    <a:pt x="98" y="242"/>
                    <a:pt x="103" y="237"/>
                    <a:pt x="103" y="231"/>
                  </a:cubicBezTo>
                  <a:lnTo>
                    <a:pt x="103" y="11"/>
                  </a:lnTo>
                  <a:cubicBezTo>
                    <a:pt x="103" y="5"/>
                    <a:pt x="98" y="0"/>
                    <a:pt x="91" y="0"/>
                  </a:cubicBezTo>
                  <a:lnTo>
                    <a:pt x="12" y="0"/>
                  </a:lnTo>
                  <a:cubicBezTo>
                    <a:pt x="6" y="0"/>
                    <a:pt x="0" y="5"/>
                    <a:pt x="0" y="11"/>
                  </a:cubicBezTo>
                  <a:lnTo>
                    <a:pt x="0" y="231"/>
                  </a:lnTo>
                  <a:cubicBezTo>
                    <a:pt x="0" y="237"/>
                    <a:pt x="6" y="242"/>
                    <a:pt x="12" y="242"/>
                  </a:cubicBezTo>
                  <a:lnTo>
                    <a:pt x="91" y="242"/>
                  </a:lnTo>
                  <a:close/>
                </a:path>
              </a:pathLst>
            </a:custGeom>
            <a:grpFill/>
            <a:ln w="0">
              <a:noFill/>
              <a:prstDash val="solid"/>
              <a:round/>
              <a:headEnd/>
              <a:tailEnd/>
            </a:ln>
          </p:spPr>
          <p:txBody>
            <a:bodyPr/>
            <a:lstStyle/>
            <a:p>
              <a:pPr defTabSz="456512" eaLnBrk="1" hangingPunct="1">
                <a:defRPr/>
              </a:pPr>
              <a:endParaRPr lang="zh-CN" altLang="en-US"/>
            </a:p>
          </p:txBody>
        </p:sp>
        <p:sp>
          <p:nvSpPr>
            <p:cNvPr id="96" name="Freeform 283"/>
            <p:cNvSpPr>
              <a:spLocks/>
            </p:cNvSpPr>
            <p:nvPr/>
          </p:nvSpPr>
          <p:spPr bwMode="auto">
            <a:xfrm>
              <a:off x="3498850" y="1592263"/>
              <a:ext cx="39688" cy="82550"/>
            </a:xfrm>
            <a:custGeom>
              <a:avLst/>
              <a:gdLst/>
              <a:ahLst/>
              <a:cxnLst>
                <a:cxn ang="0">
                  <a:pos x="83" y="199"/>
                </a:cxn>
                <a:cxn ang="0">
                  <a:pos x="83" y="199"/>
                </a:cxn>
                <a:cxn ang="0">
                  <a:pos x="93" y="190"/>
                </a:cxn>
                <a:cxn ang="0">
                  <a:pos x="93" y="10"/>
                </a:cxn>
                <a:cxn ang="0">
                  <a:pos x="83" y="0"/>
                </a:cxn>
                <a:cxn ang="0">
                  <a:pos x="10" y="0"/>
                </a:cxn>
                <a:cxn ang="0">
                  <a:pos x="0" y="10"/>
                </a:cxn>
                <a:cxn ang="0">
                  <a:pos x="0" y="190"/>
                </a:cxn>
                <a:cxn ang="0">
                  <a:pos x="10" y="199"/>
                </a:cxn>
                <a:cxn ang="0">
                  <a:pos x="83" y="199"/>
                </a:cxn>
              </a:cxnLst>
              <a:rect l="0" t="0" r="r" b="b"/>
              <a:pathLst>
                <a:path w="93" h="199">
                  <a:moveTo>
                    <a:pt x="83" y="199"/>
                  </a:moveTo>
                  <a:lnTo>
                    <a:pt x="83" y="199"/>
                  </a:lnTo>
                  <a:cubicBezTo>
                    <a:pt x="89" y="199"/>
                    <a:pt x="93" y="195"/>
                    <a:pt x="93" y="190"/>
                  </a:cubicBezTo>
                  <a:lnTo>
                    <a:pt x="93" y="10"/>
                  </a:lnTo>
                  <a:cubicBezTo>
                    <a:pt x="93" y="5"/>
                    <a:pt x="89" y="0"/>
                    <a:pt x="83" y="0"/>
                  </a:cubicBezTo>
                  <a:lnTo>
                    <a:pt x="10" y="0"/>
                  </a:lnTo>
                  <a:cubicBezTo>
                    <a:pt x="4" y="0"/>
                    <a:pt x="0" y="5"/>
                    <a:pt x="0" y="10"/>
                  </a:cubicBezTo>
                  <a:lnTo>
                    <a:pt x="0" y="190"/>
                  </a:lnTo>
                  <a:cubicBezTo>
                    <a:pt x="0" y="195"/>
                    <a:pt x="4" y="199"/>
                    <a:pt x="10" y="199"/>
                  </a:cubicBezTo>
                  <a:lnTo>
                    <a:pt x="83" y="199"/>
                  </a:lnTo>
                  <a:close/>
                </a:path>
              </a:pathLst>
            </a:custGeom>
            <a:grpFill/>
            <a:ln w="0">
              <a:noFill/>
              <a:prstDash val="solid"/>
              <a:round/>
              <a:headEnd/>
              <a:tailEnd/>
            </a:ln>
          </p:spPr>
          <p:txBody>
            <a:bodyPr/>
            <a:lstStyle/>
            <a:p>
              <a:pPr defTabSz="456512" eaLnBrk="1" hangingPunct="1">
                <a:defRPr/>
              </a:pPr>
              <a:endParaRPr lang="zh-CN" altLang="en-US"/>
            </a:p>
          </p:txBody>
        </p:sp>
        <p:sp>
          <p:nvSpPr>
            <p:cNvPr id="97" name="Freeform 284"/>
            <p:cNvSpPr>
              <a:spLocks/>
            </p:cNvSpPr>
            <p:nvPr/>
          </p:nvSpPr>
          <p:spPr bwMode="auto">
            <a:xfrm>
              <a:off x="3603625" y="1592263"/>
              <a:ext cx="38100" cy="82550"/>
            </a:xfrm>
            <a:custGeom>
              <a:avLst/>
              <a:gdLst/>
              <a:ahLst/>
              <a:cxnLst>
                <a:cxn ang="0">
                  <a:pos x="84" y="199"/>
                </a:cxn>
                <a:cxn ang="0">
                  <a:pos x="84" y="199"/>
                </a:cxn>
                <a:cxn ang="0">
                  <a:pos x="93" y="190"/>
                </a:cxn>
                <a:cxn ang="0">
                  <a:pos x="93" y="10"/>
                </a:cxn>
                <a:cxn ang="0">
                  <a:pos x="84" y="0"/>
                </a:cxn>
                <a:cxn ang="0">
                  <a:pos x="10" y="0"/>
                </a:cxn>
                <a:cxn ang="0">
                  <a:pos x="0" y="10"/>
                </a:cxn>
                <a:cxn ang="0">
                  <a:pos x="0" y="190"/>
                </a:cxn>
                <a:cxn ang="0">
                  <a:pos x="10" y="199"/>
                </a:cxn>
                <a:cxn ang="0">
                  <a:pos x="84" y="199"/>
                </a:cxn>
              </a:cxnLst>
              <a:rect l="0" t="0" r="r" b="b"/>
              <a:pathLst>
                <a:path w="93" h="199">
                  <a:moveTo>
                    <a:pt x="84" y="199"/>
                  </a:moveTo>
                  <a:lnTo>
                    <a:pt x="84" y="199"/>
                  </a:lnTo>
                  <a:cubicBezTo>
                    <a:pt x="89" y="199"/>
                    <a:pt x="93" y="195"/>
                    <a:pt x="93" y="190"/>
                  </a:cubicBezTo>
                  <a:lnTo>
                    <a:pt x="93" y="10"/>
                  </a:lnTo>
                  <a:cubicBezTo>
                    <a:pt x="93" y="5"/>
                    <a:pt x="89" y="0"/>
                    <a:pt x="84" y="0"/>
                  </a:cubicBezTo>
                  <a:lnTo>
                    <a:pt x="10" y="0"/>
                  </a:lnTo>
                  <a:cubicBezTo>
                    <a:pt x="5" y="0"/>
                    <a:pt x="0" y="5"/>
                    <a:pt x="0" y="10"/>
                  </a:cubicBezTo>
                  <a:lnTo>
                    <a:pt x="0" y="190"/>
                  </a:lnTo>
                  <a:cubicBezTo>
                    <a:pt x="0" y="195"/>
                    <a:pt x="5" y="199"/>
                    <a:pt x="10" y="199"/>
                  </a:cubicBezTo>
                  <a:lnTo>
                    <a:pt x="84" y="199"/>
                  </a:lnTo>
                  <a:close/>
                </a:path>
              </a:pathLst>
            </a:custGeom>
            <a:grpFill/>
            <a:ln w="0">
              <a:noFill/>
              <a:prstDash val="solid"/>
              <a:round/>
              <a:headEnd/>
              <a:tailEnd/>
            </a:ln>
          </p:spPr>
          <p:txBody>
            <a:bodyPr/>
            <a:lstStyle/>
            <a:p>
              <a:pPr defTabSz="456512" eaLnBrk="1" hangingPunct="1">
                <a:defRPr/>
              </a:pPr>
              <a:endParaRPr lang="zh-CN" altLang="en-US"/>
            </a:p>
          </p:txBody>
        </p:sp>
      </p:grpSp>
      <p:sp>
        <p:nvSpPr>
          <p:cNvPr id="43" name="TextBox 42"/>
          <p:cNvSpPr txBox="1"/>
          <p:nvPr/>
        </p:nvSpPr>
        <p:spPr>
          <a:xfrm>
            <a:off x="6385619" y="2506898"/>
            <a:ext cx="1728192" cy="307777"/>
          </a:xfrm>
          <a:prstGeom prst="rect">
            <a:avLst/>
          </a:prstGeom>
          <a:noFill/>
        </p:spPr>
        <p:txBody>
          <a:bodyPr wrap="square" rtlCol="0">
            <a:spAutoFit/>
          </a:bodyPr>
          <a:lstStyle/>
          <a:p>
            <a:pPr algn="ctr"/>
            <a:r>
              <a:rPr lang="zh-CN" altLang="en-US" sz="1400" dirty="0" smtClean="0">
                <a:solidFill>
                  <a:schemeClr val="bg1"/>
                </a:solidFill>
              </a:rPr>
              <a:t>Operation Platform</a:t>
            </a:r>
            <a:endParaRPr lang="zh-CN" altLang="en-US" sz="1400" dirty="0">
              <a:solidFill>
                <a:schemeClr val="bg1"/>
              </a:solidFill>
            </a:endParaRPr>
          </a:p>
        </p:txBody>
      </p:sp>
      <p:grpSp>
        <p:nvGrpSpPr>
          <p:cNvPr id="23" name="组合 290"/>
          <p:cNvGrpSpPr/>
          <p:nvPr/>
        </p:nvGrpSpPr>
        <p:grpSpPr>
          <a:xfrm>
            <a:off x="6922908" y="4091074"/>
            <a:ext cx="682845" cy="652563"/>
            <a:chOff x="7834313" y="1130300"/>
            <a:chExt cx="669925" cy="641351"/>
          </a:xfrm>
          <a:solidFill>
            <a:schemeClr val="bg1"/>
          </a:solidFill>
        </p:grpSpPr>
        <p:sp>
          <p:nvSpPr>
            <p:cNvPr id="61" name="Freeform 219"/>
            <p:cNvSpPr>
              <a:spLocks noEditPoints="1"/>
            </p:cNvSpPr>
            <p:nvPr/>
          </p:nvSpPr>
          <p:spPr bwMode="auto">
            <a:xfrm>
              <a:off x="7896225" y="1317626"/>
              <a:ext cx="255588" cy="211138"/>
            </a:xfrm>
            <a:custGeom>
              <a:avLst/>
              <a:gdLst/>
              <a:ahLst/>
              <a:cxnLst>
                <a:cxn ang="0">
                  <a:pos x="99" y="40"/>
                </a:cxn>
                <a:cxn ang="0">
                  <a:pos x="99" y="40"/>
                </a:cxn>
                <a:cxn ang="0">
                  <a:pos x="40" y="99"/>
                </a:cxn>
                <a:cxn ang="0">
                  <a:pos x="40" y="404"/>
                </a:cxn>
                <a:cxn ang="0">
                  <a:pos x="99" y="463"/>
                </a:cxn>
                <a:cxn ang="0">
                  <a:pos x="512" y="463"/>
                </a:cxn>
                <a:cxn ang="0">
                  <a:pos x="571" y="404"/>
                </a:cxn>
                <a:cxn ang="0">
                  <a:pos x="571" y="99"/>
                </a:cxn>
                <a:cxn ang="0">
                  <a:pos x="512" y="40"/>
                </a:cxn>
                <a:cxn ang="0">
                  <a:pos x="99" y="40"/>
                </a:cxn>
                <a:cxn ang="0">
                  <a:pos x="512" y="503"/>
                </a:cxn>
                <a:cxn ang="0">
                  <a:pos x="512" y="503"/>
                </a:cxn>
                <a:cxn ang="0">
                  <a:pos x="99" y="503"/>
                </a:cxn>
                <a:cxn ang="0">
                  <a:pos x="0" y="404"/>
                </a:cxn>
                <a:cxn ang="0">
                  <a:pos x="0" y="99"/>
                </a:cxn>
                <a:cxn ang="0">
                  <a:pos x="99" y="0"/>
                </a:cxn>
                <a:cxn ang="0">
                  <a:pos x="512" y="0"/>
                </a:cxn>
                <a:cxn ang="0">
                  <a:pos x="611" y="99"/>
                </a:cxn>
                <a:cxn ang="0">
                  <a:pos x="611" y="404"/>
                </a:cxn>
                <a:cxn ang="0">
                  <a:pos x="512" y="503"/>
                </a:cxn>
              </a:cxnLst>
              <a:rect l="0" t="0" r="r" b="b"/>
              <a:pathLst>
                <a:path w="611" h="503">
                  <a:moveTo>
                    <a:pt x="99" y="40"/>
                  </a:moveTo>
                  <a:lnTo>
                    <a:pt x="99" y="40"/>
                  </a:lnTo>
                  <a:cubicBezTo>
                    <a:pt x="67" y="40"/>
                    <a:pt x="40" y="66"/>
                    <a:pt x="40" y="99"/>
                  </a:cubicBezTo>
                  <a:lnTo>
                    <a:pt x="40" y="404"/>
                  </a:lnTo>
                  <a:cubicBezTo>
                    <a:pt x="40" y="436"/>
                    <a:pt x="67" y="463"/>
                    <a:pt x="99" y="463"/>
                  </a:cubicBezTo>
                  <a:lnTo>
                    <a:pt x="512" y="463"/>
                  </a:lnTo>
                  <a:cubicBezTo>
                    <a:pt x="545" y="463"/>
                    <a:pt x="571" y="436"/>
                    <a:pt x="571" y="404"/>
                  </a:cubicBezTo>
                  <a:lnTo>
                    <a:pt x="571" y="99"/>
                  </a:lnTo>
                  <a:cubicBezTo>
                    <a:pt x="571" y="66"/>
                    <a:pt x="545" y="40"/>
                    <a:pt x="512" y="40"/>
                  </a:cubicBezTo>
                  <a:lnTo>
                    <a:pt x="99" y="40"/>
                  </a:lnTo>
                  <a:close/>
                  <a:moveTo>
                    <a:pt x="512" y="503"/>
                  </a:moveTo>
                  <a:lnTo>
                    <a:pt x="512" y="503"/>
                  </a:lnTo>
                  <a:lnTo>
                    <a:pt x="99" y="503"/>
                  </a:lnTo>
                  <a:cubicBezTo>
                    <a:pt x="45" y="503"/>
                    <a:pt x="0" y="458"/>
                    <a:pt x="0" y="404"/>
                  </a:cubicBezTo>
                  <a:lnTo>
                    <a:pt x="0" y="99"/>
                  </a:lnTo>
                  <a:cubicBezTo>
                    <a:pt x="0" y="44"/>
                    <a:pt x="45" y="0"/>
                    <a:pt x="99" y="0"/>
                  </a:cubicBezTo>
                  <a:lnTo>
                    <a:pt x="512" y="0"/>
                  </a:lnTo>
                  <a:cubicBezTo>
                    <a:pt x="567" y="0"/>
                    <a:pt x="611" y="44"/>
                    <a:pt x="611" y="99"/>
                  </a:cubicBezTo>
                  <a:lnTo>
                    <a:pt x="611" y="404"/>
                  </a:lnTo>
                  <a:cubicBezTo>
                    <a:pt x="611" y="458"/>
                    <a:pt x="567" y="503"/>
                    <a:pt x="512" y="503"/>
                  </a:cubicBezTo>
                  <a:close/>
                </a:path>
              </a:pathLst>
            </a:custGeom>
            <a:grpFill/>
            <a:ln w="0">
              <a:noFill/>
              <a:prstDash val="solid"/>
              <a:round/>
              <a:headEnd/>
              <a:tailEnd/>
            </a:ln>
          </p:spPr>
          <p:txBody>
            <a:bodyPr/>
            <a:lstStyle/>
            <a:p>
              <a:pPr defTabSz="456512" eaLnBrk="1" hangingPunct="1">
                <a:defRPr/>
              </a:pPr>
              <a:endParaRPr lang="zh-CN" altLang="en-US"/>
            </a:p>
          </p:txBody>
        </p:sp>
        <p:sp>
          <p:nvSpPr>
            <p:cNvPr id="62" name="Freeform 220"/>
            <p:cNvSpPr>
              <a:spLocks/>
            </p:cNvSpPr>
            <p:nvPr/>
          </p:nvSpPr>
          <p:spPr bwMode="auto">
            <a:xfrm>
              <a:off x="7896225" y="1482726"/>
              <a:ext cx="255588" cy="17463"/>
            </a:xfrm>
            <a:custGeom>
              <a:avLst/>
              <a:gdLst/>
              <a:ahLst/>
              <a:cxnLst>
                <a:cxn ang="0">
                  <a:pos x="589" y="40"/>
                </a:cxn>
                <a:cxn ang="0">
                  <a:pos x="589" y="40"/>
                </a:cxn>
                <a:cxn ang="0">
                  <a:pos x="20" y="40"/>
                </a:cxn>
                <a:cxn ang="0">
                  <a:pos x="0" y="20"/>
                </a:cxn>
                <a:cxn ang="0">
                  <a:pos x="20" y="0"/>
                </a:cxn>
                <a:cxn ang="0">
                  <a:pos x="589" y="0"/>
                </a:cxn>
                <a:cxn ang="0">
                  <a:pos x="609" y="20"/>
                </a:cxn>
                <a:cxn ang="0">
                  <a:pos x="589" y="40"/>
                </a:cxn>
              </a:cxnLst>
              <a:rect l="0" t="0" r="r" b="b"/>
              <a:pathLst>
                <a:path w="609" h="40">
                  <a:moveTo>
                    <a:pt x="589" y="40"/>
                  </a:moveTo>
                  <a:lnTo>
                    <a:pt x="589" y="40"/>
                  </a:lnTo>
                  <a:lnTo>
                    <a:pt x="20" y="40"/>
                  </a:lnTo>
                  <a:cubicBezTo>
                    <a:pt x="9" y="40"/>
                    <a:pt x="0" y="31"/>
                    <a:pt x="0" y="20"/>
                  </a:cubicBezTo>
                  <a:cubicBezTo>
                    <a:pt x="0" y="9"/>
                    <a:pt x="9" y="0"/>
                    <a:pt x="20" y="0"/>
                  </a:cubicBezTo>
                  <a:lnTo>
                    <a:pt x="589" y="0"/>
                  </a:lnTo>
                  <a:cubicBezTo>
                    <a:pt x="600" y="0"/>
                    <a:pt x="609" y="9"/>
                    <a:pt x="609" y="20"/>
                  </a:cubicBezTo>
                  <a:cubicBezTo>
                    <a:pt x="609" y="31"/>
                    <a:pt x="600" y="40"/>
                    <a:pt x="589" y="40"/>
                  </a:cubicBezTo>
                  <a:close/>
                </a:path>
              </a:pathLst>
            </a:custGeom>
            <a:grpFill/>
            <a:ln w="0">
              <a:noFill/>
              <a:prstDash val="solid"/>
              <a:round/>
              <a:headEnd/>
              <a:tailEnd/>
            </a:ln>
          </p:spPr>
          <p:txBody>
            <a:bodyPr/>
            <a:lstStyle/>
            <a:p>
              <a:pPr defTabSz="456512" eaLnBrk="1" hangingPunct="1">
                <a:defRPr/>
              </a:pPr>
              <a:endParaRPr lang="zh-CN" altLang="en-US"/>
            </a:p>
          </p:txBody>
        </p:sp>
        <p:sp>
          <p:nvSpPr>
            <p:cNvPr id="63" name="Freeform 222"/>
            <p:cNvSpPr>
              <a:spLocks/>
            </p:cNvSpPr>
            <p:nvPr/>
          </p:nvSpPr>
          <p:spPr bwMode="auto">
            <a:xfrm>
              <a:off x="7981950" y="1509713"/>
              <a:ext cx="28575" cy="52388"/>
            </a:xfrm>
            <a:custGeom>
              <a:avLst/>
              <a:gdLst/>
              <a:ahLst/>
              <a:cxnLst>
                <a:cxn ang="0">
                  <a:pos x="23" y="124"/>
                </a:cxn>
                <a:cxn ang="0">
                  <a:pos x="23" y="124"/>
                </a:cxn>
                <a:cxn ang="0">
                  <a:pos x="17" y="123"/>
                </a:cxn>
                <a:cxn ang="0">
                  <a:pos x="3" y="98"/>
                </a:cxn>
                <a:cxn ang="0">
                  <a:pos x="29" y="17"/>
                </a:cxn>
                <a:cxn ang="0">
                  <a:pos x="54" y="4"/>
                </a:cxn>
                <a:cxn ang="0">
                  <a:pos x="67" y="29"/>
                </a:cxn>
                <a:cxn ang="0">
                  <a:pos x="42" y="110"/>
                </a:cxn>
                <a:cxn ang="0">
                  <a:pos x="23" y="124"/>
                </a:cxn>
              </a:cxnLst>
              <a:rect l="0" t="0" r="r" b="b"/>
              <a:pathLst>
                <a:path w="70" h="124">
                  <a:moveTo>
                    <a:pt x="23" y="124"/>
                  </a:moveTo>
                  <a:lnTo>
                    <a:pt x="23" y="124"/>
                  </a:lnTo>
                  <a:cubicBezTo>
                    <a:pt x="21" y="124"/>
                    <a:pt x="19" y="124"/>
                    <a:pt x="17" y="123"/>
                  </a:cubicBezTo>
                  <a:cubicBezTo>
                    <a:pt x="6" y="120"/>
                    <a:pt x="0" y="109"/>
                    <a:pt x="3" y="98"/>
                  </a:cubicBezTo>
                  <a:lnTo>
                    <a:pt x="29" y="17"/>
                  </a:lnTo>
                  <a:cubicBezTo>
                    <a:pt x="32" y="6"/>
                    <a:pt x="43" y="0"/>
                    <a:pt x="54" y="4"/>
                  </a:cubicBezTo>
                  <a:cubicBezTo>
                    <a:pt x="64" y="7"/>
                    <a:pt x="70" y="18"/>
                    <a:pt x="67" y="29"/>
                  </a:cubicBezTo>
                  <a:lnTo>
                    <a:pt x="42" y="110"/>
                  </a:lnTo>
                  <a:cubicBezTo>
                    <a:pt x="39" y="118"/>
                    <a:pt x="31" y="124"/>
                    <a:pt x="23" y="124"/>
                  </a:cubicBezTo>
                  <a:close/>
                </a:path>
              </a:pathLst>
            </a:custGeom>
            <a:grpFill/>
            <a:ln w="0">
              <a:noFill/>
              <a:prstDash val="solid"/>
              <a:round/>
              <a:headEnd/>
              <a:tailEnd/>
            </a:ln>
          </p:spPr>
          <p:txBody>
            <a:bodyPr/>
            <a:lstStyle/>
            <a:p>
              <a:pPr defTabSz="456512" eaLnBrk="1" hangingPunct="1">
                <a:defRPr/>
              </a:pPr>
              <a:endParaRPr lang="zh-CN" altLang="en-US"/>
            </a:p>
          </p:txBody>
        </p:sp>
        <p:sp>
          <p:nvSpPr>
            <p:cNvPr id="64" name="Freeform 223"/>
            <p:cNvSpPr>
              <a:spLocks/>
            </p:cNvSpPr>
            <p:nvPr/>
          </p:nvSpPr>
          <p:spPr bwMode="auto">
            <a:xfrm>
              <a:off x="8035925" y="1509713"/>
              <a:ext cx="30163" cy="52388"/>
            </a:xfrm>
            <a:custGeom>
              <a:avLst/>
              <a:gdLst/>
              <a:ahLst/>
              <a:cxnLst>
                <a:cxn ang="0">
                  <a:pos x="51" y="124"/>
                </a:cxn>
                <a:cxn ang="0">
                  <a:pos x="51" y="124"/>
                </a:cxn>
                <a:cxn ang="0">
                  <a:pos x="32" y="110"/>
                </a:cxn>
                <a:cxn ang="0">
                  <a:pos x="4" y="29"/>
                </a:cxn>
                <a:cxn ang="0">
                  <a:pos x="16" y="4"/>
                </a:cxn>
                <a:cxn ang="0">
                  <a:pos x="42" y="16"/>
                </a:cxn>
                <a:cxn ang="0">
                  <a:pos x="70" y="97"/>
                </a:cxn>
                <a:cxn ang="0">
                  <a:pos x="57" y="123"/>
                </a:cxn>
                <a:cxn ang="0">
                  <a:pos x="51" y="124"/>
                </a:cxn>
              </a:cxnLst>
              <a:rect l="0" t="0" r="r" b="b"/>
              <a:pathLst>
                <a:path w="73" h="124">
                  <a:moveTo>
                    <a:pt x="51" y="124"/>
                  </a:moveTo>
                  <a:lnTo>
                    <a:pt x="51" y="124"/>
                  </a:lnTo>
                  <a:cubicBezTo>
                    <a:pt x="43" y="124"/>
                    <a:pt x="35" y="119"/>
                    <a:pt x="32" y="110"/>
                  </a:cubicBezTo>
                  <a:lnTo>
                    <a:pt x="4" y="29"/>
                  </a:lnTo>
                  <a:cubicBezTo>
                    <a:pt x="0" y="19"/>
                    <a:pt x="6" y="8"/>
                    <a:pt x="16" y="4"/>
                  </a:cubicBezTo>
                  <a:cubicBezTo>
                    <a:pt x="26" y="0"/>
                    <a:pt x="38" y="6"/>
                    <a:pt x="42" y="16"/>
                  </a:cubicBezTo>
                  <a:lnTo>
                    <a:pt x="70" y="97"/>
                  </a:lnTo>
                  <a:cubicBezTo>
                    <a:pt x="73" y="108"/>
                    <a:pt x="68" y="119"/>
                    <a:pt x="57" y="123"/>
                  </a:cubicBezTo>
                  <a:cubicBezTo>
                    <a:pt x="55" y="124"/>
                    <a:pt x="53" y="124"/>
                    <a:pt x="51" y="124"/>
                  </a:cubicBezTo>
                  <a:close/>
                </a:path>
              </a:pathLst>
            </a:custGeom>
            <a:grpFill/>
            <a:ln w="0">
              <a:noFill/>
              <a:prstDash val="solid"/>
              <a:round/>
              <a:headEnd/>
              <a:tailEnd/>
            </a:ln>
          </p:spPr>
          <p:txBody>
            <a:bodyPr/>
            <a:lstStyle/>
            <a:p>
              <a:pPr defTabSz="456512" eaLnBrk="1" hangingPunct="1">
                <a:defRPr/>
              </a:pPr>
              <a:endParaRPr lang="zh-CN" altLang="en-US"/>
            </a:p>
          </p:txBody>
        </p:sp>
        <p:sp>
          <p:nvSpPr>
            <p:cNvPr id="65" name="Freeform 224"/>
            <p:cNvSpPr>
              <a:spLocks/>
            </p:cNvSpPr>
            <p:nvPr/>
          </p:nvSpPr>
          <p:spPr bwMode="auto">
            <a:xfrm>
              <a:off x="7962900" y="1549400"/>
              <a:ext cx="122238" cy="15875"/>
            </a:xfrm>
            <a:custGeom>
              <a:avLst/>
              <a:gdLst/>
              <a:ahLst/>
              <a:cxnLst>
                <a:cxn ang="0">
                  <a:pos x="273" y="40"/>
                </a:cxn>
                <a:cxn ang="0">
                  <a:pos x="273" y="40"/>
                </a:cxn>
                <a:cxn ang="0">
                  <a:pos x="20" y="40"/>
                </a:cxn>
                <a:cxn ang="0">
                  <a:pos x="0" y="20"/>
                </a:cxn>
                <a:cxn ang="0">
                  <a:pos x="20" y="0"/>
                </a:cxn>
                <a:cxn ang="0">
                  <a:pos x="273" y="0"/>
                </a:cxn>
                <a:cxn ang="0">
                  <a:pos x="293" y="20"/>
                </a:cxn>
                <a:cxn ang="0">
                  <a:pos x="273" y="40"/>
                </a:cxn>
              </a:cxnLst>
              <a:rect l="0" t="0" r="r" b="b"/>
              <a:pathLst>
                <a:path w="293" h="40">
                  <a:moveTo>
                    <a:pt x="273" y="40"/>
                  </a:moveTo>
                  <a:lnTo>
                    <a:pt x="273" y="40"/>
                  </a:lnTo>
                  <a:lnTo>
                    <a:pt x="20" y="40"/>
                  </a:lnTo>
                  <a:cubicBezTo>
                    <a:pt x="9" y="40"/>
                    <a:pt x="0" y="31"/>
                    <a:pt x="0" y="20"/>
                  </a:cubicBezTo>
                  <a:cubicBezTo>
                    <a:pt x="0" y="8"/>
                    <a:pt x="9" y="0"/>
                    <a:pt x="20" y="0"/>
                  </a:cubicBezTo>
                  <a:lnTo>
                    <a:pt x="273" y="0"/>
                  </a:lnTo>
                  <a:cubicBezTo>
                    <a:pt x="284" y="0"/>
                    <a:pt x="293" y="8"/>
                    <a:pt x="293" y="20"/>
                  </a:cubicBezTo>
                  <a:cubicBezTo>
                    <a:pt x="293" y="31"/>
                    <a:pt x="284" y="40"/>
                    <a:pt x="273" y="40"/>
                  </a:cubicBezTo>
                  <a:close/>
                </a:path>
              </a:pathLst>
            </a:custGeom>
            <a:grpFill/>
            <a:ln w="0">
              <a:noFill/>
              <a:prstDash val="solid"/>
              <a:round/>
              <a:headEnd/>
              <a:tailEnd/>
            </a:ln>
          </p:spPr>
          <p:txBody>
            <a:bodyPr/>
            <a:lstStyle/>
            <a:p>
              <a:pPr defTabSz="456512" eaLnBrk="1" hangingPunct="1">
                <a:defRPr/>
              </a:pPr>
              <a:endParaRPr lang="zh-CN" altLang="en-US"/>
            </a:p>
          </p:txBody>
        </p:sp>
        <p:sp>
          <p:nvSpPr>
            <p:cNvPr id="66" name="Freeform 225"/>
            <p:cNvSpPr>
              <a:spLocks/>
            </p:cNvSpPr>
            <p:nvPr/>
          </p:nvSpPr>
          <p:spPr bwMode="auto">
            <a:xfrm>
              <a:off x="8021638" y="1252538"/>
              <a:ext cx="255588" cy="211138"/>
            </a:xfrm>
            <a:custGeom>
              <a:avLst/>
              <a:gdLst/>
              <a:ahLst/>
              <a:cxnLst>
                <a:cxn ang="0">
                  <a:pos x="512" y="504"/>
                </a:cxn>
                <a:cxn ang="0">
                  <a:pos x="512" y="504"/>
                </a:cxn>
                <a:cxn ang="0">
                  <a:pos x="291" y="504"/>
                </a:cxn>
                <a:cxn ang="0">
                  <a:pos x="271" y="484"/>
                </a:cxn>
                <a:cxn ang="0">
                  <a:pos x="291" y="464"/>
                </a:cxn>
                <a:cxn ang="0">
                  <a:pos x="512" y="464"/>
                </a:cxn>
                <a:cxn ang="0">
                  <a:pos x="571" y="405"/>
                </a:cxn>
                <a:cxn ang="0">
                  <a:pos x="571" y="99"/>
                </a:cxn>
                <a:cxn ang="0">
                  <a:pos x="512" y="40"/>
                </a:cxn>
                <a:cxn ang="0">
                  <a:pos x="99" y="40"/>
                </a:cxn>
                <a:cxn ang="0">
                  <a:pos x="40" y="99"/>
                </a:cxn>
                <a:cxn ang="0">
                  <a:pos x="40" y="176"/>
                </a:cxn>
                <a:cxn ang="0">
                  <a:pos x="20" y="196"/>
                </a:cxn>
                <a:cxn ang="0">
                  <a:pos x="0" y="176"/>
                </a:cxn>
                <a:cxn ang="0">
                  <a:pos x="0" y="99"/>
                </a:cxn>
                <a:cxn ang="0">
                  <a:pos x="99" y="0"/>
                </a:cxn>
                <a:cxn ang="0">
                  <a:pos x="512" y="0"/>
                </a:cxn>
                <a:cxn ang="0">
                  <a:pos x="611" y="99"/>
                </a:cxn>
                <a:cxn ang="0">
                  <a:pos x="611" y="405"/>
                </a:cxn>
                <a:cxn ang="0">
                  <a:pos x="512" y="504"/>
                </a:cxn>
              </a:cxnLst>
              <a:rect l="0" t="0" r="r" b="b"/>
              <a:pathLst>
                <a:path w="611" h="504">
                  <a:moveTo>
                    <a:pt x="512" y="504"/>
                  </a:moveTo>
                  <a:lnTo>
                    <a:pt x="512" y="504"/>
                  </a:lnTo>
                  <a:lnTo>
                    <a:pt x="291" y="504"/>
                  </a:lnTo>
                  <a:cubicBezTo>
                    <a:pt x="280" y="504"/>
                    <a:pt x="271" y="495"/>
                    <a:pt x="271" y="484"/>
                  </a:cubicBezTo>
                  <a:cubicBezTo>
                    <a:pt x="271" y="472"/>
                    <a:pt x="280" y="464"/>
                    <a:pt x="291" y="464"/>
                  </a:cubicBezTo>
                  <a:lnTo>
                    <a:pt x="512" y="464"/>
                  </a:lnTo>
                  <a:cubicBezTo>
                    <a:pt x="544" y="464"/>
                    <a:pt x="571" y="437"/>
                    <a:pt x="571" y="405"/>
                  </a:cubicBezTo>
                  <a:lnTo>
                    <a:pt x="571" y="99"/>
                  </a:lnTo>
                  <a:cubicBezTo>
                    <a:pt x="571" y="67"/>
                    <a:pt x="544" y="40"/>
                    <a:pt x="512" y="40"/>
                  </a:cubicBezTo>
                  <a:lnTo>
                    <a:pt x="99" y="40"/>
                  </a:lnTo>
                  <a:cubicBezTo>
                    <a:pt x="66" y="40"/>
                    <a:pt x="40" y="67"/>
                    <a:pt x="40" y="99"/>
                  </a:cubicBezTo>
                  <a:lnTo>
                    <a:pt x="40" y="176"/>
                  </a:lnTo>
                  <a:cubicBezTo>
                    <a:pt x="40" y="187"/>
                    <a:pt x="31" y="196"/>
                    <a:pt x="20" y="196"/>
                  </a:cubicBezTo>
                  <a:cubicBezTo>
                    <a:pt x="9" y="196"/>
                    <a:pt x="0" y="187"/>
                    <a:pt x="0" y="176"/>
                  </a:cubicBezTo>
                  <a:lnTo>
                    <a:pt x="0" y="99"/>
                  </a:lnTo>
                  <a:cubicBezTo>
                    <a:pt x="0" y="45"/>
                    <a:pt x="44" y="0"/>
                    <a:pt x="99" y="0"/>
                  </a:cubicBezTo>
                  <a:lnTo>
                    <a:pt x="512" y="0"/>
                  </a:lnTo>
                  <a:cubicBezTo>
                    <a:pt x="566" y="0"/>
                    <a:pt x="611" y="45"/>
                    <a:pt x="611" y="99"/>
                  </a:cubicBezTo>
                  <a:lnTo>
                    <a:pt x="611" y="405"/>
                  </a:lnTo>
                  <a:cubicBezTo>
                    <a:pt x="611" y="459"/>
                    <a:pt x="566" y="504"/>
                    <a:pt x="512" y="504"/>
                  </a:cubicBezTo>
                  <a:close/>
                </a:path>
              </a:pathLst>
            </a:custGeom>
            <a:grpFill/>
            <a:ln w="0">
              <a:noFill/>
              <a:prstDash val="solid"/>
              <a:round/>
              <a:headEnd/>
              <a:tailEnd/>
            </a:ln>
          </p:spPr>
          <p:txBody>
            <a:bodyPr/>
            <a:lstStyle/>
            <a:p>
              <a:pPr defTabSz="456512" eaLnBrk="1" hangingPunct="1">
                <a:defRPr/>
              </a:pPr>
              <a:endParaRPr lang="zh-CN" altLang="en-US"/>
            </a:p>
          </p:txBody>
        </p:sp>
        <p:sp>
          <p:nvSpPr>
            <p:cNvPr id="67" name="Freeform 226"/>
            <p:cNvSpPr>
              <a:spLocks/>
            </p:cNvSpPr>
            <p:nvPr/>
          </p:nvSpPr>
          <p:spPr bwMode="auto">
            <a:xfrm>
              <a:off x="8135938" y="1417638"/>
              <a:ext cx="141288" cy="17463"/>
            </a:xfrm>
            <a:custGeom>
              <a:avLst/>
              <a:gdLst/>
              <a:ahLst/>
              <a:cxnLst>
                <a:cxn ang="0">
                  <a:pos x="319" y="40"/>
                </a:cxn>
                <a:cxn ang="0">
                  <a:pos x="319" y="40"/>
                </a:cxn>
                <a:cxn ang="0">
                  <a:pos x="20" y="40"/>
                </a:cxn>
                <a:cxn ang="0">
                  <a:pos x="0" y="20"/>
                </a:cxn>
                <a:cxn ang="0">
                  <a:pos x="20" y="0"/>
                </a:cxn>
                <a:cxn ang="0">
                  <a:pos x="319" y="0"/>
                </a:cxn>
                <a:cxn ang="0">
                  <a:pos x="339" y="20"/>
                </a:cxn>
                <a:cxn ang="0">
                  <a:pos x="319" y="40"/>
                </a:cxn>
              </a:cxnLst>
              <a:rect l="0" t="0" r="r" b="b"/>
              <a:pathLst>
                <a:path w="339" h="40">
                  <a:moveTo>
                    <a:pt x="319" y="40"/>
                  </a:moveTo>
                  <a:lnTo>
                    <a:pt x="319" y="40"/>
                  </a:lnTo>
                  <a:lnTo>
                    <a:pt x="20" y="40"/>
                  </a:lnTo>
                  <a:cubicBezTo>
                    <a:pt x="9" y="40"/>
                    <a:pt x="0" y="31"/>
                    <a:pt x="0" y="20"/>
                  </a:cubicBezTo>
                  <a:cubicBezTo>
                    <a:pt x="0" y="9"/>
                    <a:pt x="9" y="0"/>
                    <a:pt x="20" y="0"/>
                  </a:cubicBezTo>
                  <a:lnTo>
                    <a:pt x="319" y="0"/>
                  </a:lnTo>
                  <a:cubicBezTo>
                    <a:pt x="330" y="0"/>
                    <a:pt x="339" y="9"/>
                    <a:pt x="339" y="20"/>
                  </a:cubicBezTo>
                  <a:cubicBezTo>
                    <a:pt x="339" y="31"/>
                    <a:pt x="330" y="40"/>
                    <a:pt x="319" y="40"/>
                  </a:cubicBezTo>
                  <a:close/>
                </a:path>
              </a:pathLst>
            </a:custGeom>
            <a:grpFill/>
            <a:ln w="0">
              <a:noFill/>
              <a:prstDash val="solid"/>
              <a:round/>
              <a:headEnd/>
              <a:tailEnd/>
            </a:ln>
          </p:spPr>
          <p:txBody>
            <a:bodyPr/>
            <a:lstStyle/>
            <a:p>
              <a:pPr defTabSz="456512" eaLnBrk="1" hangingPunct="1">
                <a:defRPr/>
              </a:pPr>
              <a:endParaRPr lang="zh-CN" altLang="en-US"/>
            </a:p>
          </p:txBody>
        </p:sp>
        <p:sp>
          <p:nvSpPr>
            <p:cNvPr id="68" name="Freeform 227"/>
            <p:cNvSpPr>
              <a:spLocks/>
            </p:cNvSpPr>
            <p:nvPr/>
          </p:nvSpPr>
          <p:spPr bwMode="auto">
            <a:xfrm>
              <a:off x="8161338" y="1444625"/>
              <a:ext cx="30163" cy="52388"/>
            </a:xfrm>
            <a:custGeom>
              <a:avLst/>
              <a:gdLst/>
              <a:ahLst/>
              <a:cxnLst>
                <a:cxn ang="0">
                  <a:pos x="51" y="124"/>
                </a:cxn>
                <a:cxn ang="0">
                  <a:pos x="51" y="124"/>
                </a:cxn>
                <a:cxn ang="0">
                  <a:pos x="32" y="110"/>
                </a:cxn>
                <a:cxn ang="0">
                  <a:pos x="3" y="29"/>
                </a:cxn>
                <a:cxn ang="0">
                  <a:pos x="16" y="4"/>
                </a:cxn>
                <a:cxn ang="0">
                  <a:pos x="41" y="16"/>
                </a:cxn>
                <a:cxn ang="0">
                  <a:pos x="69" y="97"/>
                </a:cxn>
                <a:cxn ang="0">
                  <a:pos x="57" y="122"/>
                </a:cxn>
                <a:cxn ang="0">
                  <a:pos x="51" y="124"/>
                </a:cxn>
              </a:cxnLst>
              <a:rect l="0" t="0" r="r" b="b"/>
              <a:pathLst>
                <a:path w="73" h="124">
                  <a:moveTo>
                    <a:pt x="51" y="124"/>
                  </a:moveTo>
                  <a:lnTo>
                    <a:pt x="51" y="124"/>
                  </a:lnTo>
                  <a:cubicBezTo>
                    <a:pt x="42" y="124"/>
                    <a:pt x="34" y="118"/>
                    <a:pt x="32" y="110"/>
                  </a:cubicBezTo>
                  <a:lnTo>
                    <a:pt x="3" y="29"/>
                  </a:lnTo>
                  <a:cubicBezTo>
                    <a:pt x="0" y="19"/>
                    <a:pt x="5" y="7"/>
                    <a:pt x="16" y="4"/>
                  </a:cubicBezTo>
                  <a:cubicBezTo>
                    <a:pt x="26" y="0"/>
                    <a:pt x="38" y="6"/>
                    <a:pt x="41" y="16"/>
                  </a:cubicBezTo>
                  <a:lnTo>
                    <a:pt x="69" y="97"/>
                  </a:lnTo>
                  <a:cubicBezTo>
                    <a:pt x="73" y="107"/>
                    <a:pt x="68" y="119"/>
                    <a:pt x="57" y="122"/>
                  </a:cubicBezTo>
                  <a:cubicBezTo>
                    <a:pt x="55" y="123"/>
                    <a:pt x="53" y="124"/>
                    <a:pt x="51" y="124"/>
                  </a:cubicBezTo>
                  <a:close/>
                </a:path>
              </a:pathLst>
            </a:custGeom>
            <a:grpFill/>
            <a:ln w="0">
              <a:noFill/>
              <a:prstDash val="solid"/>
              <a:round/>
              <a:headEnd/>
              <a:tailEnd/>
            </a:ln>
          </p:spPr>
          <p:txBody>
            <a:bodyPr/>
            <a:lstStyle/>
            <a:p>
              <a:pPr defTabSz="456512" eaLnBrk="1" hangingPunct="1">
                <a:defRPr/>
              </a:pPr>
              <a:endParaRPr lang="zh-CN" altLang="en-US"/>
            </a:p>
          </p:txBody>
        </p:sp>
        <p:sp>
          <p:nvSpPr>
            <p:cNvPr id="69" name="Freeform 228"/>
            <p:cNvSpPr>
              <a:spLocks/>
            </p:cNvSpPr>
            <p:nvPr/>
          </p:nvSpPr>
          <p:spPr bwMode="auto">
            <a:xfrm>
              <a:off x="8134350" y="1482725"/>
              <a:ext cx="76200" cy="17463"/>
            </a:xfrm>
            <a:custGeom>
              <a:avLst/>
              <a:gdLst/>
              <a:ahLst/>
              <a:cxnLst>
                <a:cxn ang="0">
                  <a:pos x="162" y="40"/>
                </a:cxn>
                <a:cxn ang="0">
                  <a:pos x="162" y="40"/>
                </a:cxn>
                <a:cxn ang="0">
                  <a:pos x="20" y="40"/>
                </a:cxn>
                <a:cxn ang="0">
                  <a:pos x="0" y="20"/>
                </a:cxn>
                <a:cxn ang="0">
                  <a:pos x="20" y="0"/>
                </a:cxn>
                <a:cxn ang="0">
                  <a:pos x="162" y="0"/>
                </a:cxn>
                <a:cxn ang="0">
                  <a:pos x="182" y="20"/>
                </a:cxn>
                <a:cxn ang="0">
                  <a:pos x="162" y="40"/>
                </a:cxn>
              </a:cxnLst>
              <a:rect l="0" t="0" r="r" b="b"/>
              <a:pathLst>
                <a:path w="182" h="40">
                  <a:moveTo>
                    <a:pt x="162" y="40"/>
                  </a:moveTo>
                  <a:lnTo>
                    <a:pt x="162" y="40"/>
                  </a:lnTo>
                  <a:lnTo>
                    <a:pt x="20" y="40"/>
                  </a:lnTo>
                  <a:cubicBezTo>
                    <a:pt x="9" y="40"/>
                    <a:pt x="0" y="31"/>
                    <a:pt x="0" y="20"/>
                  </a:cubicBezTo>
                  <a:cubicBezTo>
                    <a:pt x="0" y="9"/>
                    <a:pt x="9" y="0"/>
                    <a:pt x="20" y="0"/>
                  </a:cubicBezTo>
                  <a:lnTo>
                    <a:pt x="162" y="0"/>
                  </a:lnTo>
                  <a:cubicBezTo>
                    <a:pt x="173" y="0"/>
                    <a:pt x="182" y="9"/>
                    <a:pt x="182" y="20"/>
                  </a:cubicBezTo>
                  <a:cubicBezTo>
                    <a:pt x="182" y="31"/>
                    <a:pt x="173" y="40"/>
                    <a:pt x="162" y="40"/>
                  </a:cubicBezTo>
                  <a:close/>
                </a:path>
              </a:pathLst>
            </a:custGeom>
            <a:grpFill/>
            <a:ln w="0">
              <a:noFill/>
              <a:prstDash val="solid"/>
              <a:round/>
              <a:headEnd/>
              <a:tailEnd/>
            </a:ln>
          </p:spPr>
          <p:txBody>
            <a:bodyPr/>
            <a:lstStyle/>
            <a:p>
              <a:pPr defTabSz="456512" eaLnBrk="1" hangingPunct="1">
                <a:defRPr/>
              </a:pPr>
              <a:endParaRPr lang="zh-CN" altLang="en-US"/>
            </a:p>
          </p:txBody>
        </p:sp>
        <p:sp>
          <p:nvSpPr>
            <p:cNvPr id="70" name="Freeform 229"/>
            <p:cNvSpPr>
              <a:spLocks/>
            </p:cNvSpPr>
            <p:nvPr/>
          </p:nvSpPr>
          <p:spPr bwMode="auto">
            <a:xfrm>
              <a:off x="8015288" y="1349375"/>
              <a:ext cx="322263" cy="284163"/>
            </a:xfrm>
            <a:custGeom>
              <a:avLst/>
              <a:gdLst/>
              <a:ahLst/>
              <a:cxnLst>
                <a:cxn ang="0">
                  <a:pos x="766" y="676"/>
                </a:cxn>
                <a:cxn ang="0">
                  <a:pos x="766" y="676"/>
                </a:cxn>
                <a:cxn ang="0">
                  <a:pos x="0" y="676"/>
                </a:cxn>
                <a:cxn ang="0">
                  <a:pos x="0" y="501"/>
                </a:cxn>
                <a:cxn ang="0">
                  <a:pos x="20" y="481"/>
                </a:cxn>
                <a:cxn ang="0">
                  <a:pos x="40" y="501"/>
                </a:cxn>
                <a:cxn ang="0">
                  <a:pos x="40" y="636"/>
                </a:cxn>
                <a:cxn ang="0">
                  <a:pos x="726" y="636"/>
                </a:cxn>
                <a:cxn ang="0">
                  <a:pos x="726" y="40"/>
                </a:cxn>
                <a:cxn ang="0">
                  <a:pos x="605" y="40"/>
                </a:cxn>
                <a:cxn ang="0">
                  <a:pos x="585" y="20"/>
                </a:cxn>
                <a:cxn ang="0">
                  <a:pos x="605" y="0"/>
                </a:cxn>
                <a:cxn ang="0">
                  <a:pos x="766" y="0"/>
                </a:cxn>
                <a:cxn ang="0">
                  <a:pos x="766" y="676"/>
                </a:cxn>
              </a:cxnLst>
              <a:rect l="0" t="0" r="r" b="b"/>
              <a:pathLst>
                <a:path w="766" h="676">
                  <a:moveTo>
                    <a:pt x="766" y="676"/>
                  </a:moveTo>
                  <a:lnTo>
                    <a:pt x="766" y="676"/>
                  </a:lnTo>
                  <a:lnTo>
                    <a:pt x="0" y="676"/>
                  </a:lnTo>
                  <a:lnTo>
                    <a:pt x="0" y="501"/>
                  </a:lnTo>
                  <a:cubicBezTo>
                    <a:pt x="0" y="490"/>
                    <a:pt x="9" y="481"/>
                    <a:pt x="20" y="481"/>
                  </a:cubicBezTo>
                  <a:cubicBezTo>
                    <a:pt x="31" y="481"/>
                    <a:pt x="40" y="490"/>
                    <a:pt x="40" y="501"/>
                  </a:cubicBezTo>
                  <a:lnTo>
                    <a:pt x="40" y="636"/>
                  </a:lnTo>
                  <a:lnTo>
                    <a:pt x="726" y="636"/>
                  </a:lnTo>
                  <a:lnTo>
                    <a:pt x="726" y="40"/>
                  </a:lnTo>
                  <a:lnTo>
                    <a:pt x="605" y="40"/>
                  </a:lnTo>
                  <a:cubicBezTo>
                    <a:pt x="594" y="40"/>
                    <a:pt x="585" y="31"/>
                    <a:pt x="585" y="20"/>
                  </a:cubicBezTo>
                  <a:cubicBezTo>
                    <a:pt x="585" y="9"/>
                    <a:pt x="594" y="0"/>
                    <a:pt x="605" y="0"/>
                  </a:cubicBezTo>
                  <a:lnTo>
                    <a:pt x="766" y="0"/>
                  </a:lnTo>
                  <a:lnTo>
                    <a:pt x="766" y="676"/>
                  </a:lnTo>
                  <a:close/>
                </a:path>
              </a:pathLst>
            </a:custGeom>
            <a:grpFill/>
            <a:ln w="0">
              <a:noFill/>
              <a:prstDash val="solid"/>
              <a:round/>
              <a:headEnd/>
              <a:tailEnd/>
            </a:ln>
          </p:spPr>
          <p:txBody>
            <a:bodyPr/>
            <a:lstStyle/>
            <a:p>
              <a:pPr defTabSz="456512" eaLnBrk="1" hangingPunct="1">
                <a:defRPr/>
              </a:pPr>
              <a:endParaRPr lang="zh-CN" altLang="en-US"/>
            </a:p>
          </p:txBody>
        </p:sp>
        <p:sp>
          <p:nvSpPr>
            <p:cNvPr id="71" name="Freeform 230"/>
            <p:cNvSpPr>
              <a:spLocks/>
            </p:cNvSpPr>
            <p:nvPr/>
          </p:nvSpPr>
          <p:spPr bwMode="auto">
            <a:xfrm>
              <a:off x="8280400" y="1597025"/>
              <a:ext cx="96838" cy="53975"/>
            </a:xfrm>
            <a:custGeom>
              <a:avLst/>
              <a:gdLst/>
              <a:ahLst/>
              <a:cxnLst>
                <a:cxn ang="0">
                  <a:pos x="232" y="127"/>
                </a:cxn>
                <a:cxn ang="0">
                  <a:pos x="232" y="127"/>
                </a:cxn>
                <a:cxn ang="0">
                  <a:pos x="0" y="127"/>
                </a:cxn>
                <a:cxn ang="0">
                  <a:pos x="0" y="0"/>
                </a:cxn>
                <a:cxn ang="0">
                  <a:pos x="232" y="0"/>
                </a:cxn>
                <a:cxn ang="0">
                  <a:pos x="232" y="127"/>
                </a:cxn>
              </a:cxnLst>
              <a:rect l="0" t="0" r="r" b="b"/>
              <a:pathLst>
                <a:path w="232" h="127">
                  <a:moveTo>
                    <a:pt x="232" y="127"/>
                  </a:moveTo>
                  <a:lnTo>
                    <a:pt x="232" y="127"/>
                  </a:lnTo>
                  <a:lnTo>
                    <a:pt x="0" y="127"/>
                  </a:lnTo>
                  <a:lnTo>
                    <a:pt x="0" y="0"/>
                  </a:lnTo>
                  <a:lnTo>
                    <a:pt x="232" y="0"/>
                  </a:lnTo>
                  <a:lnTo>
                    <a:pt x="232" y="127"/>
                  </a:lnTo>
                  <a:close/>
                </a:path>
              </a:pathLst>
            </a:custGeom>
            <a:grpFill/>
            <a:ln w="0">
              <a:noFill/>
              <a:prstDash val="solid"/>
              <a:round/>
              <a:headEnd/>
              <a:tailEnd/>
            </a:ln>
          </p:spPr>
          <p:txBody>
            <a:bodyPr/>
            <a:lstStyle/>
            <a:p>
              <a:pPr defTabSz="456512" eaLnBrk="1" hangingPunct="1">
                <a:defRPr/>
              </a:pPr>
              <a:endParaRPr lang="zh-CN" altLang="en-US"/>
            </a:p>
          </p:txBody>
        </p:sp>
        <p:sp>
          <p:nvSpPr>
            <p:cNvPr id="72" name="Freeform 231"/>
            <p:cNvSpPr>
              <a:spLocks/>
            </p:cNvSpPr>
            <p:nvPr/>
          </p:nvSpPr>
          <p:spPr bwMode="auto">
            <a:xfrm>
              <a:off x="8313738" y="1566863"/>
              <a:ext cx="28575" cy="61913"/>
            </a:xfrm>
            <a:custGeom>
              <a:avLst/>
              <a:gdLst/>
              <a:ahLst/>
              <a:cxnLst>
                <a:cxn ang="0">
                  <a:pos x="67" y="147"/>
                </a:cxn>
                <a:cxn ang="0">
                  <a:pos x="67" y="147"/>
                </a:cxn>
                <a:cxn ang="0">
                  <a:pos x="0" y="147"/>
                </a:cxn>
                <a:cxn ang="0">
                  <a:pos x="0" y="0"/>
                </a:cxn>
                <a:cxn ang="0">
                  <a:pos x="67" y="0"/>
                </a:cxn>
                <a:cxn ang="0">
                  <a:pos x="67" y="147"/>
                </a:cxn>
              </a:cxnLst>
              <a:rect l="0" t="0" r="r" b="b"/>
              <a:pathLst>
                <a:path w="67" h="147">
                  <a:moveTo>
                    <a:pt x="67" y="147"/>
                  </a:moveTo>
                  <a:lnTo>
                    <a:pt x="67" y="147"/>
                  </a:lnTo>
                  <a:lnTo>
                    <a:pt x="0" y="147"/>
                  </a:lnTo>
                  <a:lnTo>
                    <a:pt x="0" y="0"/>
                  </a:lnTo>
                  <a:lnTo>
                    <a:pt x="67" y="0"/>
                  </a:lnTo>
                  <a:lnTo>
                    <a:pt x="67" y="147"/>
                  </a:lnTo>
                  <a:close/>
                </a:path>
              </a:pathLst>
            </a:custGeom>
            <a:grpFill/>
            <a:ln w="0">
              <a:noFill/>
              <a:prstDash val="solid"/>
              <a:round/>
              <a:headEnd/>
              <a:tailEnd/>
            </a:ln>
          </p:spPr>
          <p:txBody>
            <a:bodyPr/>
            <a:lstStyle/>
            <a:p>
              <a:pPr defTabSz="456512" eaLnBrk="1" hangingPunct="1">
                <a:defRPr/>
              </a:pPr>
              <a:endParaRPr lang="zh-CN" altLang="en-US"/>
            </a:p>
          </p:txBody>
        </p:sp>
        <p:sp>
          <p:nvSpPr>
            <p:cNvPr id="73" name="Freeform 232"/>
            <p:cNvSpPr>
              <a:spLocks/>
            </p:cNvSpPr>
            <p:nvPr/>
          </p:nvSpPr>
          <p:spPr bwMode="auto">
            <a:xfrm>
              <a:off x="8248650" y="1609725"/>
              <a:ext cx="61913" cy="28575"/>
            </a:xfrm>
            <a:custGeom>
              <a:avLst/>
              <a:gdLst/>
              <a:ahLst/>
              <a:cxnLst>
                <a:cxn ang="0">
                  <a:pos x="147" y="67"/>
                </a:cxn>
                <a:cxn ang="0">
                  <a:pos x="147" y="67"/>
                </a:cxn>
                <a:cxn ang="0">
                  <a:pos x="0" y="67"/>
                </a:cxn>
                <a:cxn ang="0">
                  <a:pos x="0" y="0"/>
                </a:cxn>
                <a:cxn ang="0">
                  <a:pos x="147" y="0"/>
                </a:cxn>
                <a:cxn ang="0">
                  <a:pos x="147" y="67"/>
                </a:cxn>
              </a:cxnLst>
              <a:rect l="0" t="0" r="r" b="b"/>
              <a:pathLst>
                <a:path w="147" h="67">
                  <a:moveTo>
                    <a:pt x="147" y="67"/>
                  </a:moveTo>
                  <a:lnTo>
                    <a:pt x="147" y="67"/>
                  </a:lnTo>
                  <a:lnTo>
                    <a:pt x="0" y="67"/>
                  </a:lnTo>
                  <a:lnTo>
                    <a:pt x="0" y="0"/>
                  </a:lnTo>
                  <a:lnTo>
                    <a:pt x="147" y="0"/>
                  </a:lnTo>
                  <a:lnTo>
                    <a:pt x="147" y="67"/>
                  </a:lnTo>
                  <a:close/>
                </a:path>
              </a:pathLst>
            </a:custGeom>
            <a:grpFill/>
            <a:ln w="0">
              <a:noFill/>
              <a:prstDash val="solid"/>
              <a:round/>
              <a:headEnd/>
              <a:tailEnd/>
            </a:ln>
          </p:spPr>
          <p:txBody>
            <a:bodyPr/>
            <a:lstStyle/>
            <a:p>
              <a:pPr defTabSz="456512" eaLnBrk="1" hangingPunct="1">
                <a:defRPr/>
              </a:pPr>
              <a:endParaRPr lang="zh-CN" altLang="en-US"/>
            </a:p>
          </p:txBody>
        </p:sp>
        <p:sp>
          <p:nvSpPr>
            <p:cNvPr id="74" name="Freeform 233"/>
            <p:cNvSpPr>
              <a:spLocks/>
            </p:cNvSpPr>
            <p:nvPr/>
          </p:nvSpPr>
          <p:spPr bwMode="auto">
            <a:xfrm>
              <a:off x="8385175" y="1609725"/>
              <a:ext cx="30163" cy="28575"/>
            </a:xfrm>
            <a:custGeom>
              <a:avLst/>
              <a:gdLst/>
              <a:ahLst/>
              <a:cxnLst>
                <a:cxn ang="0">
                  <a:pos x="73" y="67"/>
                </a:cxn>
                <a:cxn ang="0">
                  <a:pos x="73" y="67"/>
                </a:cxn>
                <a:cxn ang="0">
                  <a:pos x="0" y="67"/>
                </a:cxn>
                <a:cxn ang="0">
                  <a:pos x="0" y="0"/>
                </a:cxn>
                <a:cxn ang="0">
                  <a:pos x="73" y="0"/>
                </a:cxn>
                <a:cxn ang="0">
                  <a:pos x="73" y="67"/>
                </a:cxn>
              </a:cxnLst>
              <a:rect l="0" t="0" r="r" b="b"/>
              <a:pathLst>
                <a:path w="73" h="67">
                  <a:moveTo>
                    <a:pt x="73" y="67"/>
                  </a:moveTo>
                  <a:lnTo>
                    <a:pt x="73" y="67"/>
                  </a:lnTo>
                  <a:lnTo>
                    <a:pt x="0" y="67"/>
                  </a:lnTo>
                  <a:lnTo>
                    <a:pt x="0" y="0"/>
                  </a:lnTo>
                  <a:lnTo>
                    <a:pt x="73" y="0"/>
                  </a:lnTo>
                  <a:lnTo>
                    <a:pt x="73" y="67"/>
                  </a:lnTo>
                  <a:close/>
                </a:path>
              </a:pathLst>
            </a:custGeom>
            <a:grpFill/>
            <a:ln w="0">
              <a:noFill/>
              <a:prstDash val="solid"/>
              <a:round/>
              <a:headEnd/>
              <a:tailEnd/>
            </a:ln>
          </p:spPr>
          <p:txBody>
            <a:bodyPr/>
            <a:lstStyle/>
            <a:p>
              <a:pPr defTabSz="456512" eaLnBrk="1" hangingPunct="1">
                <a:defRPr/>
              </a:pPr>
              <a:endParaRPr lang="zh-CN" altLang="en-US"/>
            </a:p>
          </p:txBody>
        </p:sp>
        <p:sp>
          <p:nvSpPr>
            <p:cNvPr id="75" name="Freeform 234"/>
            <p:cNvSpPr>
              <a:spLocks/>
            </p:cNvSpPr>
            <p:nvPr/>
          </p:nvSpPr>
          <p:spPr bwMode="auto">
            <a:xfrm>
              <a:off x="8355013" y="1336675"/>
              <a:ext cx="84138" cy="57150"/>
            </a:xfrm>
            <a:custGeom>
              <a:avLst/>
              <a:gdLst/>
              <a:ahLst/>
              <a:cxnLst>
                <a:cxn ang="0">
                  <a:pos x="200" y="112"/>
                </a:cxn>
                <a:cxn ang="0">
                  <a:pos x="200" y="112"/>
                </a:cxn>
                <a:cxn ang="0">
                  <a:pos x="176" y="136"/>
                </a:cxn>
                <a:cxn ang="0">
                  <a:pos x="23" y="136"/>
                </a:cxn>
                <a:cxn ang="0">
                  <a:pos x="0" y="112"/>
                </a:cxn>
                <a:cxn ang="0">
                  <a:pos x="0" y="24"/>
                </a:cxn>
                <a:cxn ang="0">
                  <a:pos x="23" y="0"/>
                </a:cxn>
                <a:cxn ang="0">
                  <a:pos x="176" y="0"/>
                </a:cxn>
                <a:cxn ang="0">
                  <a:pos x="200" y="24"/>
                </a:cxn>
                <a:cxn ang="0">
                  <a:pos x="200" y="112"/>
                </a:cxn>
              </a:cxnLst>
              <a:rect l="0" t="0" r="r" b="b"/>
              <a:pathLst>
                <a:path w="200" h="136">
                  <a:moveTo>
                    <a:pt x="200" y="112"/>
                  </a:moveTo>
                  <a:lnTo>
                    <a:pt x="200" y="112"/>
                  </a:lnTo>
                  <a:cubicBezTo>
                    <a:pt x="200" y="125"/>
                    <a:pt x="189" y="136"/>
                    <a:pt x="176" y="136"/>
                  </a:cubicBezTo>
                  <a:lnTo>
                    <a:pt x="23" y="136"/>
                  </a:lnTo>
                  <a:cubicBezTo>
                    <a:pt x="10" y="136"/>
                    <a:pt x="0" y="125"/>
                    <a:pt x="0" y="112"/>
                  </a:cubicBezTo>
                  <a:lnTo>
                    <a:pt x="0" y="24"/>
                  </a:lnTo>
                  <a:cubicBezTo>
                    <a:pt x="0" y="11"/>
                    <a:pt x="10" y="0"/>
                    <a:pt x="23" y="0"/>
                  </a:cubicBezTo>
                  <a:lnTo>
                    <a:pt x="176" y="0"/>
                  </a:lnTo>
                  <a:cubicBezTo>
                    <a:pt x="189" y="0"/>
                    <a:pt x="200" y="11"/>
                    <a:pt x="200" y="24"/>
                  </a:cubicBezTo>
                  <a:lnTo>
                    <a:pt x="200" y="112"/>
                  </a:lnTo>
                  <a:close/>
                </a:path>
              </a:pathLst>
            </a:custGeom>
            <a:grpFill/>
            <a:ln w="0">
              <a:noFill/>
              <a:prstDash val="solid"/>
              <a:round/>
              <a:headEnd/>
              <a:tailEnd/>
            </a:ln>
          </p:spPr>
          <p:txBody>
            <a:bodyPr/>
            <a:lstStyle/>
            <a:p>
              <a:pPr defTabSz="456512" eaLnBrk="1" hangingPunct="1">
                <a:defRPr/>
              </a:pPr>
              <a:endParaRPr lang="zh-CN" altLang="en-US"/>
            </a:p>
          </p:txBody>
        </p:sp>
        <p:sp>
          <p:nvSpPr>
            <p:cNvPr id="76" name="Freeform 235"/>
            <p:cNvSpPr>
              <a:spLocks/>
            </p:cNvSpPr>
            <p:nvPr/>
          </p:nvSpPr>
          <p:spPr bwMode="auto">
            <a:xfrm>
              <a:off x="8361363" y="1293813"/>
              <a:ext cx="69850" cy="34925"/>
            </a:xfrm>
            <a:custGeom>
              <a:avLst/>
              <a:gdLst/>
              <a:ahLst/>
              <a:cxnLst>
                <a:cxn ang="0">
                  <a:pos x="165" y="83"/>
                </a:cxn>
                <a:cxn ang="0">
                  <a:pos x="165" y="83"/>
                </a:cxn>
                <a:cxn ang="0">
                  <a:pos x="125" y="83"/>
                </a:cxn>
                <a:cxn ang="0">
                  <a:pos x="83" y="40"/>
                </a:cxn>
                <a:cxn ang="0">
                  <a:pos x="40" y="83"/>
                </a:cxn>
                <a:cxn ang="0">
                  <a:pos x="0" y="83"/>
                </a:cxn>
                <a:cxn ang="0">
                  <a:pos x="83" y="0"/>
                </a:cxn>
                <a:cxn ang="0">
                  <a:pos x="165" y="83"/>
                </a:cxn>
              </a:cxnLst>
              <a:rect l="0" t="0" r="r" b="b"/>
              <a:pathLst>
                <a:path w="165" h="83">
                  <a:moveTo>
                    <a:pt x="165" y="83"/>
                  </a:moveTo>
                  <a:lnTo>
                    <a:pt x="165" y="83"/>
                  </a:lnTo>
                  <a:lnTo>
                    <a:pt x="125" y="83"/>
                  </a:lnTo>
                  <a:cubicBezTo>
                    <a:pt x="125" y="59"/>
                    <a:pt x="106" y="40"/>
                    <a:pt x="83" y="40"/>
                  </a:cubicBezTo>
                  <a:cubicBezTo>
                    <a:pt x="59" y="40"/>
                    <a:pt x="40" y="59"/>
                    <a:pt x="40" y="83"/>
                  </a:cubicBezTo>
                  <a:lnTo>
                    <a:pt x="0" y="83"/>
                  </a:lnTo>
                  <a:cubicBezTo>
                    <a:pt x="0" y="37"/>
                    <a:pt x="37" y="0"/>
                    <a:pt x="83" y="0"/>
                  </a:cubicBezTo>
                  <a:cubicBezTo>
                    <a:pt x="128" y="0"/>
                    <a:pt x="165" y="37"/>
                    <a:pt x="165" y="83"/>
                  </a:cubicBezTo>
                  <a:close/>
                </a:path>
              </a:pathLst>
            </a:custGeom>
            <a:grpFill/>
            <a:ln w="0">
              <a:noFill/>
              <a:prstDash val="solid"/>
              <a:round/>
              <a:headEnd/>
              <a:tailEnd/>
            </a:ln>
          </p:spPr>
          <p:txBody>
            <a:bodyPr/>
            <a:lstStyle/>
            <a:p>
              <a:pPr defTabSz="456512" eaLnBrk="1" hangingPunct="1">
                <a:defRPr/>
              </a:pPr>
              <a:endParaRPr lang="zh-CN" altLang="en-US"/>
            </a:p>
          </p:txBody>
        </p:sp>
        <p:sp>
          <p:nvSpPr>
            <p:cNvPr id="77" name="Freeform 236"/>
            <p:cNvSpPr>
              <a:spLocks/>
            </p:cNvSpPr>
            <p:nvPr/>
          </p:nvSpPr>
          <p:spPr bwMode="auto">
            <a:xfrm>
              <a:off x="8280400" y="1712913"/>
              <a:ext cx="57150" cy="58738"/>
            </a:xfrm>
            <a:custGeom>
              <a:avLst/>
              <a:gdLst/>
              <a:ahLst/>
              <a:cxnLst>
                <a:cxn ang="0">
                  <a:pos x="70" y="139"/>
                </a:cxn>
                <a:cxn ang="0">
                  <a:pos x="70" y="139"/>
                </a:cxn>
                <a:cxn ang="0">
                  <a:pos x="0" y="69"/>
                </a:cxn>
                <a:cxn ang="0">
                  <a:pos x="70" y="0"/>
                </a:cxn>
                <a:cxn ang="0">
                  <a:pos x="139" y="69"/>
                </a:cxn>
                <a:cxn ang="0">
                  <a:pos x="70" y="139"/>
                </a:cxn>
              </a:cxnLst>
              <a:rect l="0" t="0" r="r" b="b"/>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78" name="Freeform 237"/>
            <p:cNvSpPr>
              <a:spLocks/>
            </p:cNvSpPr>
            <p:nvPr/>
          </p:nvSpPr>
          <p:spPr bwMode="auto">
            <a:xfrm>
              <a:off x="8369300" y="1712913"/>
              <a:ext cx="58738" cy="58738"/>
            </a:xfrm>
            <a:custGeom>
              <a:avLst/>
              <a:gdLst/>
              <a:ahLst/>
              <a:cxnLst>
                <a:cxn ang="0">
                  <a:pos x="70" y="139"/>
                </a:cxn>
                <a:cxn ang="0">
                  <a:pos x="70" y="139"/>
                </a:cxn>
                <a:cxn ang="0">
                  <a:pos x="0" y="69"/>
                </a:cxn>
                <a:cxn ang="0">
                  <a:pos x="70" y="0"/>
                </a:cxn>
                <a:cxn ang="0">
                  <a:pos x="139" y="69"/>
                </a:cxn>
                <a:cxn ang="0">
                  <a:pos x="70" y="139"/>
                </a:cxn>
              </a:cxnLst>
              <a:rect l="0" t="0" r="r" b="b"/>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79" name="Freeform 238"/>
            <p:cNvSpPr>
              <a:spLocks/>
            </p:cNvSpPr>
            <p:nvPr/>
          </p:nvSpPr>
          <p:spPr bwMode="auto">
            <a:xfrm>
              <a:off x="7834313" y="1130300"/>
              <a:ext cx="669925" cy="625475"/>
            </a:xfrm>
            <a:custGeom>
              <a:avLst/>
              <a:gdLst/>
              <a:ahLst/>
              <a:cxnLst>
                <a:cxn ang="0">
                  <a:pos x="1484" y="1492"/>
                </a:cxn>
                <a:cxn ang="0">
                  <a:pos x="1484" y="1492"/>
                </a:cxn>
                <a:cxn ang="0">
                  <a:pos x="1341" y="1492"/>
                </a:cxn>
                <a:cxn ang="0">
                  <a:pos x="1308" y="1459"/>
                </a:cxn>
                <a:cxn ang="0">
                  <a:pos x="1341" y="1426"/>
                </a:cxn>
                <a:cxn ang="0">
                  <a:pos x="1484" y="1426"/>
                </a:cxn>
                <a:cxn ang="0">
                  <a:pos x="1530" y="1379"/>
                </a:cxn>
                <a:cxn ang="0">
                  <a:pos x="1530" y="113"/>
                </a:cxn>
                <a:cxn ang="0">
                  <a:pos x="1484" y="66"/>
                </a:cxn>
                <a:cxn ang="0">
                  <a:pos x="113" y="66"/>
                </a:cxn>
                <a:cxn ang="0">
                  <a:pos x="67" y="113"/>
                </a:cxn>
                <a:cxn ang="0">
                  <a:pos x="67" y="1379"/>
                </a:cxn>
                <a:cxn ang="0">
                  <a:pos x="113" y="1426"/>
                </a:cxn>
                <a:cxn ang="0">
                  <a:pos x="1132" y="1426"/>
                </a:cxn>
                <a:cxn ang="0">
                  <a:pos x="1166" y="1459"/>
                </a:cxn>
                <a:cxn ang="0">
                  <a:pos x="1132" y="1492"/>
                </a:cxn>
                <a:cxn ang="0">
                  <a:pos x="113" y="1492"/>
                </a:cxn>
                <a:cxn ang="0">
                  <a:pos x="0" y="1379"/>
                </a:cxn>
                <a:cxn ang="0">
                  <a:pos x="0" y="113"/>
                </a:cxn>
                <a:cxn ang="0">
                  <a:pos x="113" y="0"/>
                </a:cxn>
                <a:cxn ang="0">
                  <a:pos x="1484" y="0"/>
                </a:cxn>
                <a:cxn ang="0">
                  <a:pos x="1597" y="113"/>
                </a:cxn>
                <a:cxn ang="0">
                  <a:pos x="1597" y="1379"/>
                </a:cxn>
                <a:cxn ang="0">
                  <a:pos x="1484" y="1492"/>
                </a:cxn>
              </a:cxnLst>
              <a:rect l="0" t="0" r="r" b="b"/>
              <a:pathLst>
                <a:path w="1597" h="1492">
                  <a:moveTo>
                    <a:pt x="1484" y="1492"/>
                  </a:moveTo>
                  <a:lnTo>
                    <a:pt x="1484" y="1492"/>
                  </a:lnTo>
                  <a:lnTo>
                    <a:pt x="1341" y="1492"/>
                  </a:lnTo>
                  <a:cubicBezTo>
                    <a:pt x="1323" y="1492"/>
                    <a:pt x="1308" y="1478"/>
                    <a:pt x="1308" y="1459"/>
                  </a:cubicBezTo>
                  <a:cubicBezTo>
                    <a:pt x="1308" y="1441"/>
                    <a:pt x="1323" y="1426"/>
                    <a:pt x="1341" y="1426"/>
                  </a:cubicBezTo>
                  <a:lnTo>
                    <a:pt x="1484" y="1426"/>
                  </a:lnTo>
                  <a:cubicBezTo>
                    <a:pt x="1509" y="1426"/>
                    <a:pt x="1530" y="1405"/>
                    <a:pt x="1530" y="1379"/>
                  </a:cubicBezTo>
                  <a:lnTo>
                    <a:pt x="1530" y="113"/>
                  </a:lnTo>
                  <a:cubicBezTo>
                    <a:pt x="1530" y="87"/>
                    <a:pt x="1509" y="66"/>
                    <a:pt x="1484" y="66"/>
                  </a:cubicBezTo>
                  <a:lnTo>
                    <a:pt x="113" y="66"/>
                  </a:lnTo>
                  <a:cubicBezTo>
                    <a:pt x="88" y="66"/>
                    <a:pt x="67" y="87"/>
                    <a:pt x="67" y="113"/>
                  </a:cubicBezTo>
                  <a:lnTo>
                    <a:pt x="67" y="1379"/>
                  </a:lnTo>
                  <a:cubicBezTo>
                    <a:pt x="67" y="1405"/>
                    <a:pt x="88" y="1426"/>
                    <a:pt x="113" y="1426"/>
                  </a:cubicBezTo>
                  <a:lnTo>
                    <a:pt x="1132" y="1426"/>
                  </a:lnTo>
                  <a:cubicBezTo>
                    <a:pt x="1151" y="1426"/>
                    <a:pt x="1166" y="1441"/>
                    <a:pt x="1166" y="1459"/>
                  </a:cubicBezTo>
                  <a:cubicBezTo>
                    <a:pt x="1166" y="1478"/>
                    <a:pt x="1151" y="1492"/>
                    <a:pt x="1132" y="1492"/>
                  </a:cubicBezTo>
                  <a:lnTo>
                    <a:pt x="113" y="1492"/>
                  </a:lnTo>
                  <a:cubicBezTo>
                    <a:pt x="51" y="1492"/>
                    <a:pt x="0" y="1442"/>
                    <a:pt x="0" y="1379"/>
                  </a:cubicBezTo>
                  <a:lnTo>
                    <a:pt x="0" y="113"/>
                  </a:lnTo>
                  <a:cubicBezTo>
                    <a:pt x="0" y="51"/>
                    <a:pt x="51" y="0"/>
                    <a:pt x="113" y="0"/>
                  </a:cubicBezTo>
                  <a:lnTo>
                    <a:pt x="1484" y="0"/>
                  </a:lnTo>
                  <a:cubicBezTo>
                    <a:pt x="1546" y="0"/>
                    <a:pt x="1597" y="51"/>
                    <a:pt x="1597" y="113"/>
                  </a:cubicBezTo>
                  <a:lnTo>
                    <a:pt x="1597" y="1379"/>
                  </a:lnTo>
                  <a:cubicBezTo>
                    <a:pt x="1597" y="1442"/>
                    <a:pt x="1546" y="1492"/>
                    <a:pt x="1484" y="1492"/>
                  </a:cubicBezTo>
                  <a:close/>
                </a:path>
              </a:pathLst>
            </a:custGeom>
            <a:grpFill/>
            <a:ln w="0">
              <a:noFill/>
              <a:prstDash val="solid"/>
              <a:round/>
              <a:headEnd/>
              <a:tailEnd/>
            </a:ln>
          </p:spPr>
          <p:txBody>
            <a:bodyPr/>
            <a:lstStyle/>
            <a:p>
              <a:pPr defTabSz="456512" eaLnBrk="1" hangingPunct="1">
                <a:defRPr/>
              </a:pPr>
              <a:endParaRPr lang="zh-CN" altLang="en-US"/>
            </a:p>
          </p:txBody>
        </p:sp>
      </p:grpSp>
      <p:sp>
        <p:nvSpPr>
          <p:cNvPr id="45" name="TextBox 44"/>
          <p:cNvSpPr txBox="1"/>
          <p:nvPr/>
        </p:nvSpPr>
        <p:spPr>
          <a:xfrm>
            <a:off x="6506704" y="4790354"/>
            <a:ext cx="1538867" cy="307777"/>
          </a:xfrm>
          <a:prstGeom prst="rect">
            <a:avLst/>
          </a:prstGeom>
          <a:noFill/>
        </p:spPr>
        <p:txBody>
          <a:bodyPr wrap="square" rtlCol="0">
            <a:spAutoFit/>
          </a:bodyPr>
          <a:lstStyle/>
          <a:p>
            <a:pPr algn="ctr"/>
            <a:r>
              <a:rPr lang="zh-CN" altLang="en-US" sz="1400" dirty="0" smtClean="0">
                <a:solidFill>
                  <a:schemeClr val="bg1"/>
                </a:solidFill>
              </a:rPr>
              <a:t>Mgmt. Platform</a:t>
            </a:r>
            <a:endParaRPr lang="zh-CN" altLang="en-US" sz="1400" dirty="0">
              <a:solidFill>
                <a:schemeClr val="bg1"/>
              </a:solidFill>
            </a:endParaRPr>
          </a:p>
        </p:txBody>
      </p:sp>
      <p:grpSp>
        <p:nvGrpSpPr>
          <p:cNvPr id="25" name="组合 289"/>
          <p:cNvGrpSpPr/>
          <p:nvPr/>
        </p:nvGrpSpPr>
        <p:grpSpPr>
          <a:xfrm>
            <a:off x="6958343" y="5229554"/>
            <a:ext cx="657283" cy="637548"/>
            <a:chOff x="6632575" y="1123950"/>
            <a:chExt cx="673101" cy="654050"/>
          </a:xfrm>
          <a:solidFill>
            <a:schemeClr val="bg1"/>
          </a:solidFill>
        </p:grpSpPr>
        <p:sp>
          <p:nvSpPr>
            <p:cNvPr id="48" name="Freeform 239"/>
            <p:cNvSpPr>
              <a:spLocks/>
            </p:cNvSpPr>
            <p:nvPr/>
          </p:nvSpPr>
          <p:spPr bwMode="auto">
            <a:xfrm>
              <a:off x="6632575" y="1123950"/>
              <a:ext cx="673100" cy="552450"/>
            </a:xfrm>
            <a:custGeom>
              <a:avLst/>
              <a:gdLst/>
              <a:ahLst/>
              <a:cxnLst>
                <a:cxn ang="0">
                  <a:pos x="1360" y="1316"/>
                </a:cxn>
                <a:cxn ang="0">
                  <a:pos x="1360" y="1316"/>
                </a:cxn>
                <a:cxn ang="0">
                  <a:pos x="1336" y="1316"/>
                </a:cxn>
                <a:cxn ang="0">
                  <a:pos x="1302" y="1282"/>
                </a:cxn>
                <a:cxn ang="0">
                  <a:pos x="1336" y="1249"/>
                </a:cxn>
                <a:cxn ang="0">
                  <a:pos x="1360" y="1249"/>
                </a:cxn>
                <a:cxn ang="0">
                  <a:pos x="1539" y="1069"/>
                </a:cxn>
                <a:cxn ang="0">
                  <a:pos x="1539" y="246"/>
                </a:cxn>
                <a:cxn ang="0">
                  <a:pos x="1360" y="66"/>
                </a:cxn>
                <a:cxn ang="0">
                  <a:pos x="246" y="66"/>
                </a:cxn>
                <a:cxn ang="0">
                  <a:pos x="66" y="246"/>
                </a:cxn>
                <a:cxn ang="0">
                  <a:pos x="66" y="1069"/>
                </a:cxn>
                <a:cxn ang="0">
                  <a:pos x="246" y="1249"/>
                </a:cxn>
                <a:cxn ang="0">
                  <a:pos x="1127" y="1249"/>
                </a:cxn>
                <a:cxn ang="0">
                  <a:pos x="1161" y="1282"/>
                </a:cxn>
                <a:cxn ang="0">
                  <a:pos x="1127" y="1316"/>
                </a:cxn>
                <a:cxn ang="0">
                  <a:pos x="246" y="1316"/>
                </a:cxn>
                <a:cxn ang="0">
                  <a:pos x="0" y="1069"/>
                </a:cxn>
                <a:cxn ang="0">
                  <a:pos x="0" y="246"/>
                </a:cxn>
                <a:cxn ang="0">
                  <a:pos x="246" y="0"/>
                </a:cxn>
                <a:cxn ang="0">
                  <a:pos x="1360" y="0"/>
                </a:cxn>
                <a:cxn ang="0">
                  <a:pos x="1606" y="246"/>
                </a:cxn>
                <a:cxn ang="0">
                  <a:pos x="1606" y="1069"/>
                </a:cxn>
                <a:cxn ang="0">
                  <a:pos x="1360" y="1316"/>
                </a:cxn>
              </a:cxnLst>
              <a:rect l="0" t="0" r="r" b="b"/>
              <a:pathLst>
                <a:path w="1606" h="1316">
                  <a:moveTo>
                    <a:pt x="1360" y="1316"/>
                  </a:moveTo>
                  <a:lnTo>
                    <a:pt x="1360" y="1316"/>
                  </a:lnTo>
                  <a:lnTo>
                    <a:pt x="1336" y="1316"/>
                  </a:lnTo>
                  <a:cubicBezTo>
                    <a:pt x="1317" y="1316"/>
                    <a:pt x="1302" y="1301"/>
                    <a:pt x="1302" y="1282"/>
                  </a:cubicBezTo>
                  <a:cubicBezTo>
                    <a:pt x="1302" y="1264"/>
                    <a:pt x="1317" y="1249"/>
                    <a:pt x="1336" y="1249"/>
                  </a:cubicBezTo>
                  <a:lnTo>
                    <a:pt x="1360" y="1249"/>
                  </a:lnTo>
                  <a:cubicBezTo>
                    <a:pt x="1459" y="1249"/>
                    <a:pt x="1539" y="1168"/>
                    <a:pt x="1539" y="1069"/>
                  </a:cubicBezTo>
                  <a:lnTo>
                    <a:pt x="1539" y="246"/>
                  </a:lnTo>
                  <a:cubicBezTo>
                    <a:pt x="1539" y="147"/>
                    <a:pt x="1459" y="66"/>
                    <a:pt x="1360" y="66"/>
                  </a:cubicBezTo>
                  <a:lnTo>
                    <a:pt x="246" y="66"/>
                  </a:lnTo>
                  <a:cubicBezTo>
                    <a:pt x="147" y="66"/>
                    <a:pt x="66" y="147"/>
                    <a:pt x="66" y="246"/>
                  </a:cubicBezTo>
                  <a:lnTo>
                    <a:pt x="66" y="1069"/>
                  </a:lnTo>
                  <a:cubicBezTo>
                    <a:pt x="66" y="1168"/>
                    <a:pt x="147" y="1249"/>
                    <a:pt x="246" y="1249"/>
                  </a:cubicBezTo>
                  <a:lnTo>
                    <a:pt x="1127" y="1249"/>
                  </a:lnTo>
                  <a:cubicBezTo>
                    <a:pt x="1146" y="1249"/>
                    <a:pt x="1161" y="1264"/>
                    <a:pt x="1161" y="1282"/>
                  </a:cubicBezTo>
                  <a:cubicBezTo>
                    <a:pt x="1161" y="1301"/>
                    <a:pt x="1146" y="1316"/>
                    <a:pt x="1127" y="1316"/>
                  </a:cubicBezTo>
                  <a:lnTo>
                    <a:pt x="246" y="1316"/>
                  </a:lnTo>
                  <a:cubicBezTo>
                    <a:pt x="110" y="1316"/>
                    <a:pt x="0" y="1205"/>
                    <a:pt x="0" y="1069"/>
                  </a:cubicBezTo>
                  <a:lnTo>
                    <a:pt x="0" y="246"/>
                  </a:lnTo>
                  <a:cubicBezTo>
                    <a:pt x="0" y="110"/>
                    <a:pt x="110" y="0"/>
                    <a:pt x="246" y="0"/>
                  </a:cubicBezTo>
                  <a:lnTo>
                    <a:pt x="1360" y="0"/>
                  </a:lnTo>
                  <a:cubicBezTo>
                    <a:pt x="1496" y="0"/>
                    <a:pt x="1606" y="110"/>
                    <a:pt x="1606" y="246"/>
                  </a:cubicBezTo>
                  <a:lnTo>
                    <a:pt x="1606" y="1069"/>
                  </a:lnTo>
                  <a:cubicBezTo>
                    <a:pt x="1606" y="1205"/>
                    <a:pt x="1496" y="1316"/>
                    <a:pt x="1360" y="1316"/>
                  </a:cubicBezTo>
                  <a:close/>
                </a:path>
              </a:pathLst>
            </a:custGeom>
            <a:grpFill/>
            <a:ln w="0">
              <a:noFill/>
              <a:prstDash val="solid"/>
              <a:round/>
              <a:headEnd/>
              <a:tailEnd/>
            </a:ln>
          </p:spPr>
          <p:txBody>
            <a:bodyPr/>
            <a:lstStyle/>
            <a:p>
              <a:pPr defTabSz="456512" eaLnBrk="1" hangingPunct="1">
                <a:defRPr/>
              </a:pPr>
              <a:endParaRPr lang="zh-CN" altLang="en-US"/>
            </a:p>
          </p:txBody>
        </p:sp>
        <p:sp>
          <p:nvSpPr>
            <p:cNvPr id="49" name="Freeform 240"/>
            <p:cNvSpPr>
              <a:spLocks/>
            </p:cNvSpPr>
            <p:nvPr/>
          </p:nvSpPr>
          <p:spPr bwMode="auto">
            <a:xfrm>
              <a:off x="6634163" y="1573213"/>
              <a:ext cx="671513" cy="28575"/>
            </a:xfrm>
            <a:custGeom>
              <a:avLst/>
              <a:gdLst/>
              <a:ahLst/>
              <a:cxnLst>
                <a:cxn ang="0">
                  <a:pos x="1568" y="67"/>
                </a:cxn>
                <a:cxn ang="0">
                  <a:pos x="1568" y="67"/>
                </a:cxn>
                <a:cxn ang="0">
                  <a:pos x="34" y="67"/>
                </a:cxn>
                <a:cxn ang="0">
                  <a:pos x="0" y="34"/>
                </a:cxn>
                <a:cxn ang="0">
                  <a:pos x="34" y="0"/>
                </a:cxn>
                <a:cxn ang="0">
                  <a:pos x="1568" y="0"/>
                </a:cxn>
                <a:cxn ang="0">
                  <a:pos x="1601" y="34"/>
                </a:cxn>
                <a:cxn ang="0">
                  <a:pos x="1568" y="67"/>
                </a:cxn>
              </a:cxnLst>
              <a:rect l="0" t="0" r="r" b="b"/>
              <a:pathLst>
                <a:path w="1601" h="67">
                  <a:moveTo>
                    <a:pt x="1568" y="67"/>
                  </a:moveTo>
                  <a:lnTo>
                    <a:pt x="1568" y="67"/>
                  </a:lnTo>
                  <a:lnTo>
                    <a:pt x="34" y="67"/>
                  </a:lnTo>
                  <a:cubicBezTo>
                    <a:pt x="15" y="67"/>
                    <a:pt x="0" y="52"/>
                    <a:pt x="0" y="34"/>
                  </a:cubicBezTo>
                  <a:cubicBezTo>
                    <a:pt x="0" y="15"/>
                    <a:pt x="15" y="0"/>
                    <a:pt x="34" y="0"/>
                  </a:cubicBezTo>
                  <a:lnTo>
                    <a:pt x="1568" y="0"/>
                  </a:lnTo>
                  <a:cubicBezTo>
                    <a:pt x="1587" y="0"/>
                    <a:pt x="1601" y="15"/>
                    <a:pt x="1601" y="34"/>
                  </a:cubicBezTo>
                  <a:cubicBezTo>
                    <a:pt x="1601" y="52"/>
                    <a:pt x="1587" y="67"/>
                    <a:pt x="1568" y="67"/>
                  </a:cubicBezTo>
                  <a:close/>
                </a:path>
              </a:pathLst>
            </a:custGeom>
            <a:grpFill/>
            <a:ln w="0">
              <a:noFill/>
              <a:prstDash val="solid"/>
              <a:round/>
              <a:headEnd/>
              <a:tailEnd/>
            </a:ln>
          </p:spPr>
          <p:txBody>
            <a:bodyPr/>
            <a:lstStyle/>
            <a:p>
              <a:pPr defTabSz="456512" eaLnBrk="1" hangingPunct="1">
                <a:defRPr/>
              </a:pPr>
              <a:endParaRPr lang="zh-CN" altLang="en-US"/>
            </a:p>
          </p:txBody>
        </p:sp>
        <p:sp>
          <p:nvSpPr>
            <p:cNvPr id="50" name="Freeform 241"/>
            <p:cNvSpPr>
              <a:spLocks/>
            </p:cNvSpPr>
            <p:nvPr/>
          </p:nvSpPr>
          <p:spPr bwMode="auto">
            <a:xfrm>
              <a:off x="6864350" y="1647825"/>
              <a:ext cx="60325" cy="120650"/>
            </a:xfrm>
            <a:custGeom>
              <a:avLst/>
              <a:gdLst/>
              <a:ahLst/>
              <a:cxnLst>
                <a:cxn ang="0">
                  <a:pos x="37" y="289"/>
                </a:cxn>
                <a:cxn ang="0">
                  <a:pos x="37" y="289"/>
                </a:cxn>
                <a:cxn ang="0">
                  <a:pos x="28" y="288"/>
                </a:cxn>
                <a:cxn ang="0">
                  <a:pos x="6" y="246"/>
                </a:cxn>
                <a:cxn ang="0">
                  <a:pos x="74" y="27"/>
                </a:cxn>
                <a:cxn ang="0">
                  <a:pos x="115" y="5"/>
                </a:cxn>
                <a:cxn ang="0">
                  <a:pos x="137" y="47"/>
                </a:cxn>
                <a:cxn ang="0">
                  <a:pos x="69" y="266"/>
                </a:cxn>
                <a:cxn ang="0">
                  <a:pos x="37" y="289"/>
                </a:cxn>
              </a:cxnLst>
              <a:rect l="0" t="0" r="r" b="b"/>
              <a:pathLst>
                <a:path w="143" h="289">
                  <a:moveTo>
                    <a:pt x="37" y="289"/>
                  </a:moveTo>
                  <a:lnTo>
                    <a:pt x="37" y="289"/>
                  </a:lnTo>
                  <a:cubicBezTo>
                    <a:pt x="34" y="289"/>
                    <a:pt x="31" y="289"/>
                    <a:pt x="28" y="288"/>
                  </a:cubicBezTo>
                  <a:cubicBezTo>
                    <a:pt x="10" y="282"/>
                    <a:pt x="0" y="264"/>
                    <a:pt x="6" y="246"/>
                  </a:cubicBezTo>
                  <a:lnTo>
                    <a:pt x="74" y="27"/>
                  </a:lnTo>
                  <a:cubicBezTo>
                    <a:pt x="79" y="10"/>
                    <a:pt x="98" y="0"/>
                    <a:pt x="115" y="5"/>
                  </a:cubicBezTo>
                  <a:cubicBezTo>
                    <a:pt x="133" y="11"/>
                    <a:pt x="143" y="30"/>
                    <a:pt x="137" y="47"/>
                  </a:cubicBezTo>
                  <a:lnTo>
                    <a:pt x="69" y="266"/>
                  </a:lnTo>
                  <a:cubicBezTo>
                    <a:pt x="65" y="280"/>
                    <a:pt x="52" y="289"/>
                    <a:pt x="37" y="289"/>
                  </a:cubicBezTo>
                  <a:close/>
                </a:path>
              </a:pathLst>
            </a:custGeom>
            <a:grpFill/>
            <a:ln w="0">
              <a:noFill/>
              <a:prstDash val="solid"/>
              <a:round/>
              <a:headEnd/>
              <a:tailEnd/>
            </a:ln>
          </p:spPr>
          <p:txBody>
            <a:bodyPr/>
            <a:lstStyle/>
            <a:p>
              <a:pPr defTabSz="456512" eaLnBrk="1" hangingPunct="1">
                <a:defRPr/>
              </a:pPr>
              <a:endParaRPr lang="zh-CN" altLang="en-US"/>
            </a:p>
          </p:txBody>
        </p:sp>
        <p:sp>
          <p:nvSpPr>
            <p:cNvPr id="51" name="Freeform 242"/>
            <p:cNvSpPr>
              <a:spLocks/>
            </p:cNvSpPr>
            <p:nvPr/>
          </p:nvSpPr>
          <p:spPr bwMode="auto">
            <a:xfrm>
              <a:off x="7011988" y="1647825"/>
              <a:ext cx="61913" cy="120650"/>
            </a:xfrm>
            <a:custGeom>
              <a:avLst/>
              <a:gdLst/>
              <a:ahLst/>
              <a:cxnLst>
                <a:cxn ang="0">
                  <a:pos x="113" y="289"/>
                </a:cxn>
                <a:cxn ang="0">
                  <a:pos x="113" y="289"/>
                </a:cxn>
                <a:cxn ang="0">
                  <a:pos x="82" y="267"/>
                </a:cxn>
                <a:cxn ang="0">
                  <a:pos x="6" y="48"/>
                </a:cxn>
                <a:cxn ang="0">
                  <a:pos x="26" y="6"/>
                </a:cxn>
                <a:cxn ang="0">
                  <a:pos x="69" y="26"/>
                </a:cxn>
                <a:cxn ang="0">
                  <a:pos x="145" y="245"/>
                </a:cxn>
                <a:cxn ang="0">
                  <a:pos x="124" y="287"/>
                </a:cxn>
                <a:cxn ang="0">
                  <a:pos x="113" y="289"/>
                </a:cxn>
              </a:cxnLst>
              <a:rect l="0" t="0" r="r" b="b"/>
              <a:pathLst>
                <a:path w="151" h="289">
                  <a:moveTo>
                    <a:pt x="113" y="289"/>
                  </a:moveTo>
                  <a:lnTo>
                    <a:pt x="113" y="289"/>
                  </a:lnTo>
                  <a:cubicBezTo>
                    <a:pt x="100" y="289"/>
                    <a:pt x="87" y="281"/>
                    <a:pt x="82" y="267"/>
                  </a:cubicBezTo>
                  <a:lnTo>
                    <a:pt x="6" y="48"/>
                  </a:lnTo>
                  <a:cubicBezTo>
                    <a:pt x="0" y="31"/>
                    <a:pt x="9" y="12"/>
                    <a:pt x="26" y="6"/>
                  </a:cubicBezTo>
                  <a:cubicBezTo>
                    <a:pt x="44" y="0"/>
                    <a:pt x="63" y="9"/>
                    <a:pt x="69" y="26"/>
                  </a:cubicBezTo>
                  <a:lnTo>
                    <a:pt x="145" y="245"/>
                  </a:lnTo>
                  <a:cubicBezTo>
                    <a:pt x="151" y="262"/>
                    <a:pt x="142" y="281"/>
                    <a:pt x="124" y="287"/>
                  </a:cubicBezTo>
                  <a:cubicBezTo>
                    <a:pt x="121" y="289"/>
                    <a:pt x="117" y="289"/>
                    <a:pt x="113" y="289"/>
                  </a:cubicBezTo>
                  <a:close/>
                </a:path>
              </a:pathLst>
            </a:custGeom>
            <a:grpFill/>
            <a:ln w="0">
              <a:noFill/>
              <a:prstDash val="solid"/>
              <a:round/>
              <a:headEnd/>
              <a:tailEnd/>
            </a:ln>
          </p:spPr>
          <p:txBody>
            <a:bodyPr/>
            <a:lstStyle/>
            <a:p>
              <a:pPr defTabSz="456512" eaLnBrk="1" hangingPunct="1">
                <a:defRPr/>
              </a:pPr>
              <a:endParaRPr lang="zh-CN" altLang="en-US"/>
            </a:p>
          </p:txBody>
        </p:sp>
        <p:sp>
          <p:nvSpPr>
            <p:cNvPr id="52" name="Freeform 243"/>
            <p:cNvSpPr>
              <a:spLocks/>
            </p:cNvSpPr>
            <p:nvPr/>
          </p:nvSpPr>
          <p:spPr bwMode="auto">
            <a:xfrm>
              <a:off x="6811963" y="1749425"/>
              <a:ext cx="314325" cy="28575"/>
            </a:xfrm>
            <a:custGeom>
              <a:avLst/>
              <a:gdLst/>
              <a:ahLst/>
              <a:cxnLst>
                <a:cxn ang="0">
                  <a:pos x="715" y="67"/>
                </a:cxn>
                <a:cxn ang="0">
                  <a:pos x="715" y="67"/>
                </a:cxn>
                <a:cxn ang="0">
                  <a:pos x="33" y="67"/>
                </a:cxn>
                <a:cxn ang="0">
                  <a:pos x="0" y="33"/>
                </a:cxn>
                <a:cxn ang="0">
                  <a:pos x="33" y="0"/>
                </a:cxn>
                <a:cxn ang="0">
                  <a:pos x="715" y="0"/>
                </a:cxn>
                <a:cxn ang="0">
                  <a:pos x="748" y="33"/>
                </a:cxn>
                <a:cxn ang="0">
                  <a:pos x="715" y="67"/>
                </a:cxn>
              </a:cxnLst>
              <a:rect l="0" t="0" r="r" b="b"/>
              <a:pathLst>
                <a:path w="748" h="67">
                  <a:moveTo>
                    <a:pt x="715" y="67"/>
                  </a:moveTo>
                  <a:lnTo>
                    <a:pt x="715" y="67"/>
                  </a:lnTo>
                  <a:lnTo>
                    <a:pt x="33" y="67"/>
                  </a:lnTo>
                  <a:cubicBezTo>
                    <a:pt x="15" y="67"/>
                    <a:pt x="0" y="52"/>
                    <a:pt x="0" y="33"/>
                  </a:cubicBezTo>
                  <a:cubicBezTo>
                    <a:pt x="0" y="15"/>
                    <a:pt x="15" y="0"/>
                    <a:pt x="33" y="0"/>
                  </a:cubicBezTo>
                  <a:lnTo>
                    <a:pt x="715" y="0"/>
                  </a:lnTo>
                  <a:cubicBezTo>
                    <a:pt x="733" y="0"/>
                    <a:pt x="748" y="15"/>
                    <a:pt x="748" y="33"/>
                  </a:cubicBezTo>
                  <a:cubicBezTo>
                    <a:pt x="748" y="52"/>
                    <a:pt x="733" y="67"/>
                    <a:pt x="715" y="67"/>
                  </a:cubicBezTo>
                  <a:close/>
                </a:path>
              </a:pathLst>
            </a:custGeom>
            <a:grpFill/>
            <a:ln w="0">
              <a:noFill/>
              <a:prstDash val="solid"/>
              <a:round/>
              <a:headEnd/>
              <a:tailEnd/>
            </a:ln>
          </p:spPr>
          <p:txBody>
            <a:bodyPr/>
            <a:lstStyle/>
            <a:p>
              <a:pPr defTabSz="456512" eaLnBrk="1" hangingPunct="1">
                <a:defRPr/>
              </a:pPr>
              <a:endParaRPr lang="zh-CN" altLang="en-US"/>
            </a:p>
          </p:txBody>
        </p:sp>
        <p:sp>
          <p:nvSpPr>
            <p:cNvPr id="53" name="Freeform 244"/>
            <p:cNvSpPr>
              <a:spLocks/>
            </p:cNvSpPr>
            <p:nvPr/>
          </p:nvSpPr>
          <p:spPr bwMode="auto">
            <a:xfrm>
              <a:off x="6924675" y="1201738"/>
              <a:ext cx="92075" cy="90488"/>
            </a:xfrm>
            <a:custGeom>
              <a:avLst/>
              <a:gdLst/>
              <a:ahLst/>
              <a:cxnLst>
                <a:cxn ang="0">
                  <a:pos x="218" y="109"/>
                </a:cxn>
                <a:cxn ang="0">
                  <a:pos x="218" y="109"/>
                </a:cxn>
                <a:cxn ang="0">
                  <a:pos x="109" y="218"/>
                </a:cxn>
                <a:cxn ang="0">
                  <a:pos x="0" y="109"/>
                </a:cxn>
                <a:cxn ang="0">
                  <a:pos x="109" y="0"/>
                </a:cxn>
                <a:cxn ang="0">
                  <a:pos x="218" y="109"/>
                </a:cxn>
              </a:cxnLst>
              <a:rect l="0" t="0" r="r" b="b"/>
              <a:pathLst>
                <a:path w="218" h="218">
                  <a:moveTo>
                    <a:pt x="218" y="109"/>
                  </a:moveTo>
                  <a:lnTo>
                    <a:pt x="218" y="109"/>
                  </a:lnTo>
                  <a:cubicBezTo>
                    <a:pt x="218" y="169"/>
                    <a:pt x="169" y="218"/>
                    <a:pt x="109" y="218"/>
                  </a:cubicBezTo>
                  <a:cubicBezTo>
                    <a:pt x="49" y="218"/>
                    <a:pt x="0" y="169"/>
                    <a:pt x="0" y="109"/>
                  </a:cubicBezTo>
                  <a:cubicBezTo>
                    <a:pt x="0" y="49"/>
                    <a:pt x="49" y="0"/>
                    <a:pt x="109" y="0"/>
                  </a:cubicBezTo>
                  <a:cubicBezTo>
                    <a:pt x="169" y="0"/>
                    <a:pt x="218" y="49"/>
                    <a:pt x="218" y="109"/>
                  </a:cubicBezTo>
                  <a:close/>
                </a:path>
              </a:pathLst>
            </a:custGeom>
            <a:grpFill/>
            <a:ln w="0">
              <a:noFill/>
              <a:prstDash val="solid"/>
              <a:round/>
              <a:headEnd/>
              <a:tailEnd/>
            </a:ln>
          </p:spPr>
          <p:txBody>
            <a:bodyPr/>
            <a:lstStyle/>
            <a:p>
              <a:pPr defTabSz="456512" eaLnBrk="1" hangingPunct="1">
                <a:defRPr/>
              </a:pPr>
              <a:endParaRPr lang="zh-CN" altLang="en-US"/>
            </a:p>
          </p:txBody>
        </p:sp>
        <p:sp>
          <p:nvSpPr>
            <p:cNvPr id="54" name="Freeform 245"/>
            <p:cNvSpPr>
              <a:spLocks/>
            </p:cNvSpPr>
            <p:nvPr/>
          </p:nvSpPr>
          <p:spPr bwMode="auto">
            <a:xfrm>
              <a:off x="6924675" y="1336675"/>
              <a:ext cx="92075" cy="92075"/>
            </a:xfrm>
            <a:custGeom>
              <a:avLst/>
              <a:gdLst/>
              <a:ahLst/>
              <a:cxnLst>
                <a:cxn ang="0">
                  <a:pos x="218" y="109"/>
                </a:cxn>
                <a:cxn ang="0">
                  <a:pos x="218" y="109"/>
                </a:cxn>
                <a:cxn ang="0">
                  <a:pos x="109" y="218"/>
                </a:cxn>
                <a:cxn ang="0">
                  <a:pos x="0" y="109"/>
                </a:cxn>
                <a:cxn ang="0">
                  <a:pos x="109" y="0"/>
                </a:cxn>
                <a:cxn ang="0">
                  <a:pos x="218" y="109"/>
                </a:cxn>
              </a:cxnLst>
              <a:rect l="0" t="0" r="r" b="b"/>
              <a:pathLst>
                <a:path w="218" h="218">
                  <a:moveTo>
                    <a:pt x="218" y="109"/>
                  </a:moveTo>
                  <a:lnTo>
                    <a:pt x="218" y="109"/>
                  </a:lnTo>
                  <a:cubicBezTo>
                    <a:pt x="218" y="169"/>
                    <a:pt x="169" y="218"/>
                    <a:pt x="109" y="218"/>
                  </a:cubicBezTo>
                  <a:cubicBezTo>
                    <a:pt x="49" y="218"/>
                    <a:pt x="0" y="169"/>
                    <a:pt x="0" y="109"/>
                  </a:cubicBezTo>
                  <a:cubicBezTo>
                    <a:pt x="0" y="49"/>
                    <a:pt x="49" y="0"/>
                    <a:pt x="109" y="0"/>
                  </a:cubicBezTo>
                  <a:cubicBezTo>
                    <a:pt x="169" y="0"/>
                    <a:pt x="218" y="49"/>
                    <a:pt x="218" y="109"/>
                  </a:cubicBezTo>
                  <a:close/>
                </a:path>
              </a:pathLst>
            </a:custGeom>
            <a:grpFill/>
            <a:ln w="0">
              <a:noFill/>
              <a:prstDash val="solid"/>
              <a:round/>
              <a:headEnd/>
              <a:tailEnd/>
            </a:ln>
          </p:spPr>
          <p:txBody>
            <a:bodyPr/>
            <a:lstStyle/>
            <a:p>
              <a:pPr defTabSz="456512" eaLnBrk="1" hangingPunct="1">
                <a:defRPr/>
              </a:pPr>
              <a:endParaRPr lang="zh-CN" altLang="en-US"/>
            </a:p>
          </p:txBody>
        </p:sp>
        <p:sp>
          <p:nvSpPr>
            <p:cNvPr id="55" name="Freeform 246"/>
            <p:cNvSpPr>
              <a:spLocks/>
            </p:cNvSpPr>
            <p:nvPr/>
          </p:nvSpPr>
          <p:spPr bwMode="auto">
            <a:xfrm>
              <a:off x="6808788" y="1435100"/>
              <a:ext cx="90488" cy="90488"/>
            </a:xfrm>
            <a:custGeom>
              <a:avLst/>
              <a:gdLst/>
              <a:ahLst/>
              <a:cxnLst>
                <a:cxn ang="0">
                  <a:pos x="217" y="109"/>
                </a:cxn>
                <a:cxn ang="0">
                  <a:pos x="217" y="109"/>
                </a:cxn>
                <a:cxn ang="0">
                  <a:pos x="108" y="218"/>
                </a:cxn>
                <a:cxn ang="0">
                  <a:pos x="0" y="109"/>
                </a:cxn>
                <a:cxn ang="0">
                  <a:pos x="108" y="0"/>
                </a:cxn>
                <a:cxn ang="0">
                  <a:pos x="217" y="109"/>
                </a:cxn>
              </a:cxnLst>
              <a:rect l="0" t="0" r="r" b="b"/>
              <a:pathLst>
                <a:path w="217" h="218">
                  <a:moveTo>
                    <a:pt x="217" y="109"/>
                  </a:moveTo>
                  <a:lnTo>
                    <a:pt x="217" y="109"/>
                  </a:lnTo>
                  <a:cubicBezTo>
                    <a:pt x="217" y="169"/>
                    <a:pt x="169" y="218"/>
                    <a:pt x="108" y="218"/>
                  </a:cubicBezTo>
                  <a:cubicBezTo>
                    <a:pt x="48" y="218"/>
                    <a:pt x="0" y="169"/>
                    <a:pt x="0" y="109"/>
                  </a:cubicBezTo>
                  <a:cubicBezTo>
                    <a:pt x="0" y="49"/>
                    <a:pt x="48" y="0"/>
                    <a:pt x="108" y="0"/>
                  </a:cubicBezTo>
                  <a:cubicBezTo>
                    <a:pt x="169" y="0"/>
                    <a:pt x="217" y="49"/>
                    <a:pt x="217" y="109"/>
                  </a:cubicBezTo>
                  <a:close/>
                </a:path>
              </a:pathLst>
            </a:custGeom>
            <a:grpFill/>
            <a:ln w="0">
              <a:noFill/>
              <a:prstDash val="solid"/>
              <a:round/>
              <a:headEnd/>
              <a:tailEnd/>
            </a:ln>
          </p:spPr>
          <p:txBody>
            <a:bodyPr/>
            <a:lstStyle/>
            <a:p>
              <a:pPr defTabSz="456512" eaLnBrk="1" hangingPunct="1">
                <a:defRPr/>
              </a:pPr>
              <a:endParaRPr lang="zh-CN" altLang="en-US"/>
            </a:p>
          </p:txBody>
        </p:sp>
        <p:sp>
          <p:nvSpPr>
            <p:cNvPr id="56" name="Freeform 247"/>
            <p:cNvSpPr>
              <a:spLocks/>
            </p:cNvSpPr>
            <p:nvPr/>
          </p:nvSpPr>
          <p:spPr bwMode="auto">
            <a:xfrm>
              <a:off x="7040563" y="1435100"/>
              <a:ext cx="90488" cy="90488"/>
            </a:xfrm>
            <a:custGeom>
              <a:avLst/>
              <a:gdLst/>
              <a:ahLst/>
              <a:cxnLst>
                <a:cxn ang="0">
                  <a:pos x="218" y="109"/>
                </a:cxn>
                <a:cxn ang="0">
                  <a:pos x="218" y="109"/>
                </a:cxn>
                <a:cxn ang="0">
                  <a:pos x="109" y="218"/>
                </a:cxn>
                <a:cxn ang="0">
                  <a:pos x="0" y="109"/>
                </a:cxn>
                <a:cxn ang="0">
                  <a:pos x="109" y="0"/>
                </a:cxn>
                <a:cxn ang="0">
                  <a:pos x="218" y="109"/>
                </a:cxn>
              </a:cxnLst>
              <a:rect l="0" t="0" r="r" b="b"/>
              <a:pathLst>
                <a:path w="218" h="218">
                  <a:moveTo>
                    <a:pt x="218" y="109"/>
                  </a:moveTo>
                  <a:lnTo>
                    <a:pt x="218" y="109"/>
                  </a:lnTo>
                  <a:cubicBezTo>
                    <a:pt x="218" y="169"/>
                    <a:pt x="169" y="218"/>
                    <a:pt x="109" y="218"/>
                  </a:cubicBezTo>
                  <a:cubicBezTo>
                    <a:pt x="49" y="218"/>
                    <a:pt x="0" y="169"/>
                    <a:pt x="0" y="109"/>
                  </a:cubicBezTo>
                  <a:cubicBezTo>
                    <a:pt x="0" y="49"/>
                    <a:pt x="49" y="0"/>
                    <a:pt x="109" y="0"/>
                  </a:cubicBezTo>
                  <a:cubicBezTo>
                    <a:pt x="169" y="0"/>
                    <a:pt x="218" y="49"/>
                    <a:pt x="218" y="109"/>
                  </a:cubicBezTo>
                  <a:close/>
                </a:path>
              </a:pathLst>
            </a:custGeom>
            <a:grpFill/>
            <a:ln w="0">
              <a:noFill/>
              <a:prstDash val="solid"/>
              <a:round/>
              <a:headEnd/>
              <a:tailEnd/>
            </a:ln>
          </p:spPr>
          <p:txBody>
            <a:bodyPr/>
            <a:lstStyle/>
            <a:p>
              <a:pPr defTabSz="456512" eaLnBrk="1" hangingPunct="1">
                <a:defRPr/>
              </a:pPr>
              <a:endParaRPr lang="zh-CN" altLang="en-US"/>
            </a:p>
          </p:txBody>
        </p:sp>
        <p:sp>
          <p:nvSpPr>
            <p:cNvPr id="57" name="Freeform 248"/>
            <p:cNvSpPr>
              <a:spLocks/>
            </p:cNvSpPr>
            <p:nvPr/>
          </p:nvSpPr>
          <p:spPr bwMode="auto">
            <a:xfrm>
              <a:off x="6842125" y="1247775"/>
              <a:ext cx="136525" cy="246063"/>
            </a:xfrm>
            <a:custGeom>
              <a:avLst/>
              <a:gdLst/>
              <a:ahLst/>
              <a:cxnLst>
                <a:cxn ang="0">
                  <a:pos x="26" y="588"/>
                </a:cxn>
                <a:cxn ang="0">
                  <a:pos x="26" y="588"/>
                </a:cxn>
                <a:cxn ang="0">
                  <a:pos x="0" y="557"/>
                </a:cxn>
                <a:cxn ang="0">
                  <a:pos x="287" y="315"/>
                </a:cxn>
                <a:cxn ang="0">
                  <a:pos x="287" y="0"/>
                </a:cxn>
                <a:cxn ang="0">
                  <a:pos x="327" y="0"/>
                </a:cxn>
                <a:cxn ang="0">
                  <a:pos x="327" y="333"/>
                </a:cxn>
                <a:cxn ang="0">
                  <a:pos x="26" y="588"/>
                </a:cxn>
              </a:cxnLst>
              <a:rect l="0" t="0" r="r" b="b"/>
              <a:pathLst>
                <a:path w="327" h="588">
                  <a:moveTo>
                    <a:pt x="26" y="588"/>
                  </a:moveTo>
                  <a:lnTo>
                    <a:pt x="26" y="588"/>
                  </a:lnTo>
                  <a:lnTo>
                    <a:pt x="0" y="557"/>
                  </a:lnTo>
                  <a:lnTo>
                    <a:pt x="287" y="315"/>
                  </a:lnTo>
                  <a:lnTo>
                    <a:pt x="287" y="0"/>
                  </a:lnTo>
                  <a:lnTo>
                    <a:pt x="327" y="0"/>
                  </a:lnTo>
                  <a:lnTo>
                    <a:pt x="327" y="333"/>
                  </a:lnTo>
                  <a:lnTo>
                    <a:pt x="26" y="588"/>
                  </a:lnTo>
                  <a:close/>
                </a:path>
              </a:pathLst>
            </a:custGeom>
            <a:grpFill/>
            <a:ln w="0">
              <a:noFill/>
              <a:prstDash val="solid"/>
              <a:round/>
              <a:headEnd/>
              <a:tailEnd/>
            </a:ln>
          </p:spPr>
          <p:txBody>
            <a:bodyPr/>
            <a:lstStyle/>
            <a:p>
              <a:pPr defTabSz="456512" eaLnBrk="1" hangingPunct="1">
                <a:defRPr/>
              </a:pPr>
              <a:endParaRPr lang="zh-CN" altLang="en-US"/>
            </a:p>
          </p:txBody>
        </p:sp>
        <p:sp>
          <p:nvSpPr>
            <p:cNvPr id="58" name="Freeform 249"/>
            <p:cNvSpPr>
              <a:spLocks/>
            </p:cNvSpPr>
            <p:nvPr/>
          </p:nvSpPr>
          <p:spPr bwMode="auto">
            <a:xfrm>
              <a:off x="6964363" y="1376363"/>
              <a:ext cx="133350" cy="117475"/>
            </a:xfrm>
            <a:custGeom>
              <a:avLst/>
              <a:gdLst/>
              <a:ahLst/>
              <a:cxnLst>
                <a:cxn ang="0">
                  <a:pos x="291" y="279"/>
                </a:cxn>
                <a:cxn ang="0">
                  <a:pos x="291" y="279"/>
                </a:cxn>
                <a:cxn ang="0">
                  <a:pos x="0" y="30"/>
                </a:cxn>
                <a:cxn ang="0">
                  <a:pos x="26" y="0"/>
                </a:cxn>
                <a:cxn ang="0">
                  <a:pos x="317" y="248"/>
                </a:cxn>
                <a:cxn ang="0">
                  <a:pos x="291" y="279"/>
                </a:cxn>
              </a:cxnLst>
              <a:rect l="0" t="0" r="r" b="b"/>
              <a:pathLst>
                <a:path w="317" h="279">
                  <a:moveTo>
                    <a:pt x="291" y="279"/>
                  </a:moveTo>
                  <a:lnTo>
                    <a:pt x="291" y="279"/>
                  </a:lnTo>
                  <a:lnTo>
                    <a:pt x="0" y="30"/>
                  </a:lnTo>
                  <a:lnTo>
                    <a:pt x="26" y="0"/>
                  </a:lnTo>
                  <a:lnTo>
                    <a:pt x="317" y="248"/>
                  </a:lnTo>
                  <a:lnTo>
                    <a:pt x="291" y="279"/>
                  </a:lnTo>
                  <a:close/>
                </a:path>
              </a:pathLst>
            </a:custGeom>
            <a:grpFill/>
            <a:ln w="0">
              <a:noFill/>
              <a:prstDash val="solid"/>
              <a:round/>
              <a:headEnd/>
              <a:tailEnd/>
            </a:ln>
          </p:spPr>
          <p:txBody>
            <a:bodyPr/>
            <a:lstStyle/>
            <a:p>
              <a:pPr defTabSz="456512" eaLnBrk="1" hangingPunct="1">
                <a:defRPr/>
              </a:pPr>
              <a:endParaRPr lang="zh-CN" altLang="en-US"/>
            </a:p>
          </p:txBody>
        </p:sp>
        <p:sp>
          <p:nvSpPr>
            <p:cNvPr id="59" name="Freeform 250"/>
            <p:cNvSpPr>
              <a:spLocks/>
            </p:cNvSpPr>
            <p:nvPr/>
          </p:nvSpPr>
          <p:spPr bwMode="auto">
            <a:xfrm>
              <a:off x="7070725" y="1633538"/>
              <a:ext cx="57150" cy="58738"/>
            </a:xfrm>
            <a:custGeom>
              <a:avLst/>
              <a:gdLst/>
              <a:ahLst/>
              <a:cxnLst>
                <a:cxn ang="0">
                  <a:pos x="69" y="139"/>
                </a:cxn>
                <a:cxn ang="0">
                  <a:pos x="69" y="139"/>
                </a:cxn>
                <a:cxn ang="0">
                  <a:pos x="0" y="69"/>
                </a:cxn>
                <a:cxn ang="0">
                  <a:pos x="69" y="0"/>
                </a:cxn>
                <a:cxn ang="0">
                  <a:pos x="139" y="69"/>
                </a:cxn>
                <a:cxn ang="0">
                  <a:pos x="69" y="139"/>
                </a:cxn>
              </a:cxnLst>
              <a:rect l="0" t="0" r="r" b="b"/>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60" name="Freeform 251"/>
            <p:cNvSpPr>
              <a:spLocks/>
            </p:cNvSpPr>
            <p:nvPr/>
          </p:nvSpPr>
          <p:spPr bwMode="auto">
            <a:xfrm>
              <a:off x="7159625" y="1633538"/>
              <a:ext cx="58738" cy="58738"/>
            </a:xfrm>
            <a:custGeom>
              <a:avLst/>
              <a:gdLst/>
              <a:ahLst/>
              <a:cxnLst>
                <a:cxn ang="0">
                  <a:pos x="69" y="139"/>
                </a:cxn>
                <a:cxn ang="0">
                  <a:pos x="69" y="139"/>
                </a:cxn>
                <a:cxn ang="0">
                  <a:pos x="0" y="69"/>
                </a:cxn>
                <a:cxn ang="0">
                  <a:pos x="69" y="0"/>
                </a:cxn>
                <a:cxn ang="0">
                  <a:pos x="139" y="69"/>
                </a:cxn>
                <a:cxn ang="0">
                  <a:pos x="69" y="139"/>
                </a:cxn>
              </a:cxnLst>
              <a:rect l="0" t="0" r="r" b="b"/>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prstDash val="solid"/>
              <a:round/>
              <a:headEnd/>
              <a:tailEnd/>
            </a:ln>
          </p:spPr>
          <p:txBody>
            <a:bodyPr/>
            <a:lstStyle/>
            <a:p>
              <a:pPr defTabSz="456512" eaLnBrk="1" hangingPunct="1">
                <a:defRPr/>
              </a:pPr>
              <a:endParaRPr lang="zh-CN" altLang="en-US"/>
            </a:p>
          </p:txBody>
        </p:sp>
      </p:grpSp>
      <p:sp>
        <p:nvSpPr>
          <p:cNvPr id="47" name="TextBox 46"/>
          <p:cNvSpPr txBox="1"/>
          <p:nvPr/>
        </p:nvSpPr>
        <p:spPr>
          <a:xfrm>
            <a:off x="6385619" y="5806058"/>
            <a:ext cx="1728192" cy="523220"/>
          </a:xfrm>
          <a:prstGeom prst="rect">
            <a:avLst/>
          </a:prstGeom>
          <a:noFill/>
        </p:spPr>
        <p:txBody>
          <a:bodyPr wrap="square" rtlCol="0">
            <a:spAutoFit/>
          </a:bodyPr>
          <a:lstStyle/>
          <a:p>
            <a:pPr algn="ctr"/>
            <a:r>
              <a:rPr lang="zh-CN" altLang="en-US" sz="1400" dirty="0" smtClean="0">
                <a:solidFill>
                  <a:schemeClr val="bg1"/>
                </a:solidFill>
              </a:rPr>
              <a:t>Authentication Platform</a:t>
            </a:r>
            <a:endParaRPr lang="zh-CN" altLang="en-US" sz="1400" dirty="0">
              <a:solidFill>
                <a:schemeClr val="bg1"/>
              </a:solidFill>
            </a:endParaRPr>
          </a:p>
        </p:txBody>
      </p:sp>
      <p:grpSp>
        <p:nvGrpSpPr>
          <p:cNvPr id="27" name="组合 13"/>
          <p:cNvGrpSpPr>
            <a:grpSpLocks/>
          </p:cNvGrpSpPr>
          <p:nvPr/>
        </p:nvGrpSpPr>
        <p:grpSpPr bwMode="auto">
          <a:xfrm>
            <a:off x="8617867" y="1197546"/>
            <a:ext cx="2736304" cy="1599389"/>
            <a:chOff x="822772" y="4504706"/>
            <a:chExt cx="8224264" cy="12075489"/>
          </a:xfrm>
        </p:grpSpPr>
        <p:sp>
          <p:nvSpPr>
            <p:cNvPr id="232" name="剪去单角的矩形 231"/>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233" name="图片 11"/>
            <p:cNvPicPr>
              <a:picLocks noChangeAspect="1"/>
            </p:cNvPicPr>
            <p:nvPr/>
          </p:nvPicPr>
          <p:blipFill>
            <a:blip r:embed="rId4" cstate="print"/>
            <a:srcRect/>
            <a:stretch>
              <a:fillRect/>
            </a:stretch>
          </p:blipFill>
          <p:spPr bwMode="auto">
            <a:xfrm>
              <a:off x="4868947" y="5127486"/>
              <a:ext cx="4178089" cy="1172269"/>
            </a:xfrm>
            <a:prstGeom prst="rect">
              <a:avLst/>
            </a:prstGeom>
            <a:noFill/>
            <a:ln w="9525">
              <a:noFill/>
              <a:miter lim="800000"/>
              <a:headEnd/>
              <a:tailEnd/>
            </a:ln>
          </p:spPr>
        </p:pic>
        <p:pic>
          <p:nvPicPr>
            <p:cNvPr id="234" name="Picture 5" descr="C:\Users\Administrator\Desktop\4 拷贝 9.png"/>
            <p:cNvPicPr>
              <a:picLocks noChangeAspect="1" noChangeArrowheads="1"/>
            </p:cNvPicPr>
            <p:nvPr/>
          </p:nvPicPr>
          <p:blipFill>
            <a:blip r:embed="rId5" cstate="print"/>
            <a:srcRect/>
            <a:stretch>
              <a:fillRect/>
            </a:stretch>
          </p:blipFill>
          <p:spPr bwMode="auto">
            <a:xfrm>
              <a:off x="1060627" y="4504706"/>
              <a:ext cx="7156427" cy="1294424"/>
            </a:xfrm>
            <a:prstGeom prst="rect">
              <a:avLst/>
            </a:prstGeom>
            <a:noFill/>
            <a:ln w="9525">
              <a:noFill/>
              <a:miter lim="800000"/>
              <a:headEnd/>
              <a:tailEnd/>
            </a:ln>
          </p:spPr>
        </p:pic>
      </p:grpSp>
      <p:grpSp>
        <p:nvGrpSpPr>
          <p:cNvPr id="33" name="组合 13"/>
          <p:cNvGrpSpPr>
            <a:grpSpLocks/>
          </p:cNvGrpSpPr>
          <p:nvPr/>
        </p:nvGrpSpPr>
        <p:grpSpPr bwMode="auto">
          <a:xfrm>
            <a:off x="8616228" y="2956220"/>
            <a:ext cx="2736304" cy="1599389"/>
            <a:chOff x="822772" y="4504706"/>
            <a:chExt cx="8224264" cy="12075489"/>
          </a:xfrm>
        </p:grpSpPr>
        <p:sp>
          <p:nvSpPr>
            <p:cNvPr id="236" name="剪去单角的矩形 235"/>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237" name="图片 11"/>
            <p:cNvPicPr>
              <a:picLocks noChangeAspect="1"/>
            </p:cNvPicPr>
            <p:nvPr/>
          </p:nvPicPr>
          <p:blipFill>
            <a:blip r:embed="rId4" cstate="print"/>
            <a:srcRect/>
            <a:stretch>
              <a:fillRect/>
            </a:stretch>
          </p:blipFill>
          <p:spPr bwMode="auto">
            <a:xfrm>
              <a:off x="4868947" y="5127486"/>
              <a:ext cx="4178089" cy="1172269"/>
            </a:xfrm>
            <a:prstGeom prst="rect">
              <a:avLst/>
            </a:prstGeom>
            <a:noFill/>
            <a:ln w="9525">
              <a:noFill/>
              <a:miter lim="800000"/>
              <a:headEnd/>
              <a:tailEnd/>
            </a:ln>
          </p:spPr>
        </p:pic>
        <p:pic>
          <p:nvPicPr>
            <p:cNvPr id="238" name="Picture 5" descr="C:\Users\Administrator\Desktop\4 拷贝 9.png"/>
            <p:cNvPicPr>
              <a:picLocks noChangeAspect="1" noChangeArrowheads="1"/>
            </p:cNvPicPr>
            <p:nvPr/>
          </p:nvPicPr>
          <p:blipFill>
            <a:blip r:embed="rId5" cstate="print"/>
            <a:srcRect/>
            <a:stretch>
              <a:fillRect/>
            </a:stretch>
          </p:blipFill>
          <p:spPr bwMode="auto">
            <a:xfrm>
              <a:off x="1060627" y="4504706"/>
              <a:ext cx="7156427" cy="1294424"/>
            </a:xfrm>
            <a:prstGeom prst="rect">
              <a:avLst/>
            </a:prstGeom>
            <a:noFill/>
            <a:ln w="9525">
              <a:noFill/>
              <a:miter lim="800000"/>
              <a:headEnd/>
              <a:tailEnd/>
            </a:ln>
          </p:spPr>
        </p:pic>
      </p:grpSp>
      <p:grpSp>
        <p:nvGrpSpPr>
          <p:cNvPr id="34" name="组合 13"/>
          <p:cNvGrpSpPr>
            <a:grpSpLocks/>
          </p:cNvGrpSpPr>
          <p:nvPr/>
        </p:nvGrpSpPr>
        <p:grpSpPr bwMode="auto">
          <a:xfrm>
            <a:off x="8617867" y="4708006"/>
            <a:ext cx="2736304" cy="1599389"/>
            <a:chOff x="822772" y="4504706"/>
            <a:chExt cx="8224264" cy="12075489"/>
          </a:xfrm>
        </p:grpSpPr>
        <p:sp>
          <p:nvSpPr>
            <p:cNvPr id="240" name="剪去单角的矩形 239"/>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241" name="图片 11"/>
            <p:cNvPicPr>
              <a:picLocks noChangeAspect="1"/>
            </p:cNvPicPr>
            <p:nvPr/>
          </p:nvPicPr>
          <p:blipFill>
            <a:blip r:embed="rId4" cstate="print"/>
            <a:srcRect/>
            <a:stretch>
              <a:fillRect/>
            </a:stretch>
          </p:blipFill>
          <p:spPr bwMode="auto">
            <a:xfrm>
              <a:off x="4868947" y="5127486"/>
              <a:ext cx="4178089" cy="1172269"/>
            </a:xfrm>
            <a:prstGeom prst="rect">
              <a:avLst/>
            </a:prstGeom>
            <a:noFill/>
            <a:ln w="9525">
              <a:noFill/>
              <a:miter lim="800000"/>
              <a:headEnd/>
              <a:tailEnd/>
            </a:ln>
          </p:spPr>
        </p:pic>
        <p:pic>
          <p:nvPicPr>
            <p:cNvPr id="242" name="Picture 5" descr="C:\Users\Administrator\Desktop\4 拷贝 9.png"/>
            <p:cNvPicPr>
              <a:picLocks noChangeAspect="1" noChangeArrowheads="1"/>
            </p:cNvPicPr>
            <p:nvPr/>
          </p:nvPicPr>
          <p:blipFill>
            <a:blip r:embed="rId5" cstate="print"/>
            <a:srcRect/>
            <a:stretch>
              <a:fillRect/>
            </a:stretch>
          </p:blipFill>
          <p:spPr bwMode="auto">
            <a:xfrm>
              <a:off x="1060627" y="4504706"/>
              <a:ext cx="7156427" cy="1294424"/>
            </a:xfrm>
            <a:prstGeom prst="rect">
              <a:avLst/>
            </a:prstGeom>
            <a:noFill/>
            <a:ln w="9525">
              <a:noFill/>
              <a:miter lim="800000"/>
              <a:headEnd/>
              <a:tailEnd/>
            </a:ln>
          </p:spPr>
        </p:pic>
      </p:grpSp>
      <p:sp>
        <p:nvSpPr>
          <p:cNvPr id="243" name="TextBox 242"/>
          <p:cNvSpPr txBox="1"/>
          <p:nvPr/>
        </p:nvSpPr>
        <p:spPr>
          <a:xfrm>
            <a:off x="8617867" y="1353411"/>
            <a:ext cx="2736304" cy="1413720"/>
          </a:xfrm>
          <a:prstGeom prst="rect">
            <a:avLst/>
          </a:prstGeom>
          <a:noFill/>
        </p:spPr>
        <p:txBody>
          <a:bodyPr wrap="square" rtlCol="0">
            <a:spAutoFit/>
          </a:bodyPr>
          <a:lstStyle/>
          <a:p>
            <a:pPr>
              <a:lnSpc>
                <a:spcPct val="120000"/>
              </a:lnSpc>
              <a:buFont typeface="Wingdings" pitchFamily="2" charset="2"/>
              <a:buChar char="p"/>
            </a:pPr>
            <a:r>
              <a:rPr lang="zh-CN" altLang="en-US" sz="1400" dirty="0" smtClean="0">
                <a:solidFill>
                  <a:schemeClr val="bg1"/>
                </a:solidFill>
                <a:latin typeface="+mj-lt"/>
              </a:rPr>
              <a:t> Wireless transmission and energy infrastructure technologies are combined for lamp pole access in various </a:t>
            </a:r>
            <a:r>
              <a:rPr lang="zh-CN" altLang="en-US" sz="1400" b="1" dirty="0">
                <a:solidFill>
                  <a:srgbClr val="00B050"/>
                </a:solidFill>
                <a:effectLst>
                  <a:outerShdw blurRad="38100" dist="38100" dir="2700000" algn="tl">
                    <a:srgbClr val="000000">
                      <a:alpha val="43137"/>
                    </a:srgbClr>
                  </a:outerShdw>
                </a:effectLst>
              </a:rPr>
              <a:t>difficult </a:t>
            </a:r>
            <a:r>
              <a:rPr lang="zh-CN" altLang="en-US" sz="1400" b="1" dirty="0" smtClean="0">
                <a:solidFill>
                  <a:srgbClr val="00B050"/>
                </a:solidFill>
                <a:effectLst>
                  <a:outerShdw blurRad="38100" dist="38100" dir="2700000" algn="tl">
                    <a:srgbClr val="000000">
                      <a:alpha val="43137"/>
                    </a:srgbClr>
                  </a:outerShdw>
                </a:effectLst>
              </a:rPr>
              <a:t>cabling</a:t>
            </a:r>
            <a:r>
              <a:rPr lang="en-US" altLang="zh-CN" sz="1400" b="1" dirty="0" smtClean="0">
                <a:solidFill>
                  <a:srgbClr val="00B050"/>
                </a:solidFill>
                <a:effectLst>
                  <a:outerShdw blurRad="38100" dist="38100" dir="2700000" algn="tl">
                    <a:srgbClr val="000000">
                      <a:alpha val="43137"/>
                    </a:srgbClr>
                  </a:outerShdw>
                </a:effectLst>
              </a:rPr>
              <a:t> </a:t>
            </a:r>
            <a:r>
              <a:rPr lang="zh-CN" altLang="en-US" sz="1400" dirty="0" smtClean="0">
                <a:solidFill>
                  <a:srgbClr val="00B050"/>
                </a:solidFill>
                <a:latin typeface="+mj-lt"/>
              </a:rPr>
              <a:t>scenarios</a:t>
            </a:r>
            <a:endParaRPr lang="zh-CN" altLang="en-US" sz="1400" dirty="0">
              <a:solidFill>
                <a:srgbClr val="00B050"/>
              </a:solidFill>
              <a:latin typeface="+mj-lt"/>
            </a:endParaRPr>
          </a:p>
        </p:txBody>
      </p:sp>
      <p:sp>
        <p:nvSpPr>
          <p:cNvPr id="244" name="TextBox 243"/>
          <p:cNvSpPr txBox="1"/>
          <p:nvPr/>
        </p:nvSpPr>
        <p:spPr>
          <a:xfrm>
            <a:off x="8616228" y="3100369"/>
            <a:ext cx="2736304" cy="1458861"/>
          </a:xfrm>
          <a:prstGeom prst="rect">
            <a:avLst/>
          </a:prstGeom>
          <a:noFill/>
        </p:spPr>
        <p:txBody>
          <a:bodyPr wrap="square" rtlCol="0">
            <a:spAutoFit/>
          </a:bodyPr>
          <a:lstStyle/>
          <a:p>
            <a:pPr>
              <a:lnSpc>
                <a:spcPct val="120000"/>
              </a:lnSpc>
              <a:buFont typeface="Wingdings" pitchFamily="2" charset="2"/>
              <a:buChar char="p"/>
            </a:pPr>
            <a:r>
              <a:rPr lang="zh-CN" altLang="en-US" sz="1400" dirty="0" smtClean="0">
                <a:solidFill>
                  <a:schemeClr val="bg1"/>
                </a:solidFill>
              </a:rPr>
              <a:t> All-optical and high-performance backhaul networks meet </a:t>
            </a:r>
            <a:r>
              <a:rPr lang="zh-CN" altLang="en-US" sz="1400" dirty="0">
                <a:solidFill>
                  <a:srgbClr val="00B050"/>
                </a:solidFill>
              </a:rPr>
              <a:t>future</a:t>
            </a:r>
            <a:r>
              <a:rPr lang="zh-CN" altLang="en-US" sz="1400" dirty="0">
                <a:solidFill>
                  <a:schemeClr val="bg1"/>
                </a:solidFill>
              </a:rPr>
              <a:t> </a:t>
            </a:r>
            <a:r>
              <a:rPr lang="zh-CN" altLang="en-US" sz="1400" dirty="0" smtClean="0">
                <a:solidFill>
                  <a:srgbClr val="00B050"/>
                </a:solidFill>
              </a:rPr>
              <a:t>lamp</a:t>
            </a:r>
            <a:r>
              <a:rPr lang="en-US" altLang="zh-CN" sz="1400" dirty="0">
                <a:solidFill>
                  <a:srgbClr val="00B050"/>
                </a:solidFill>
              </a:rPr>
              <a:t> </a:t>
            </a:r>
            <a:r>
              <a:rPr lang="zh-CN" altLang="en-US" sz="1400" dirty="0" smtClean="0">
                <a:solidFill>
                  <a:srgbClr val="00B050"/>
                </a:solidFill>
              </a:rPr>
              <a:t>pole </a:t>
            </a:r>
            <a:r>
              <a:rPr lang="zh-CN" altLang="en-US" sz="1400" dirty="0">
                <a:solidFill>
                  <a:srgbClr val="00B050"/>
                </a:solidFill>
              </a:rPr>
              <a:t>industry </a:t>
            </a:r>
            <a:r>
              <a:rPr lang="zh-CN" altLang="en-US" sz="1400" dirty="0" smtClean="0">
                <a:solidFill>
                  <a:schemeClr val="bg1"/>
                </a:solidFill>
              </a:rPr>
              <a:t>requirements for </a:t>
            </a:r>
            <a:r>
              <a:rPr lang="zh-CN" altLang="en-US" sz="1600" b="1" dirty="0" smtClean="0">
                <a:solidFill>
                  <a:srgbClr val="FFC000"/>
                </a:solidFill>
                <a:effectLst>
                  <a:outerShdw blurRad="38100" dist="38100" dir="2700000" algn="tl">
                    <a:srgbClr val="000000">
                      <a:alpha val="43137"/>
                    </a:srgbClr>
                  </a:outerShdw>
                </a:effectLst>
              </a:rPr>
              <a:t>capacity expansion</a:t>
            </a:r>
            <a:endParaRPr lang="zh-CN" altLang="en-US" sz="1400" dirty="0">
              <a:solidFill>
                <a:schemeClr val="bg1"/>
              </a:solidFill>
            </a:endParaRPr>
          </a:p>
        </p:txBody>
      </p:sp>
      <p:sp>
        <p:nvSpPr>
          <p:cNvPr id="245" name="TextBox 244"/>
          <p:cNvSpPr txBox="1"/>
          <p:nvPr/>
        </p:nvSpPr>
        <p:spPr>
          <a:xfrm>
            <a:off x="8617867" y="4950208"/>
            <a:ext cx="2736304" cy="1259319"/>
          </a:xfrm>
          <a:prstGeom prst="rect">
            <a:avLst/>
          </a:prstGeom>
          <a:noFill/>
        </p:spPr>
        <p:txBody>
          <a:bodyPr wrap="square" rtlCol="0">
            <a:spAutoFit/>
          </a:bodyPr>
          <a:lstStyle/>
          <a:p>
            <a:pPr>
              <a:lnSpc>
                <a:spcPct val="130000"/>
              </a:lnSpc>
              <a:buFont typeface="Wingdings" pitchFamily="2" charset="2"/>
              <a:buChar char="p"/>
            </a:pPr>
            <a:r>
              <a:rPr lang="zh-CN" altLang="en-US" sz="1400" dirty="0" smtClean="0">
                <a:solidFill>
                  <a:schemeClr val="bg1"/>
                </a:solidFill>
                <a:latin typeface="+mj-lt"/>
                <a:ea typeface="微软雅黑" panose="020B0503020204020204" pitchFamily="34" charset="-122"/>
              </a:rPr>
              <a:t> Unified management of electrical and network devices, and massive O&amp;M </a:t>
            </a:r>
            <a:r>
              <a:rPr lang="zh-CN" altLang="en-US" sz="1600" b="1" dirty="0" smtClean="0">
                <a:solidFill>
                  <a:srgbClr val="FFC000"/>
                </a:solidFill>
                <a:effectLst>
                  <a:outerShdw blurRad="38100" dist="38100" dir="2700000" algn="tl">
                    <a:srgbClr val="000000">
                      <a:alpha val="43137"/>
                    </a:srgbClr>
                  </a:outerShdw>
                </a:effectLst>
                <a:latin typeface="+mj-lt"/>
                <a:ea typeface="微软雅黑" panose="020B0503020204020204" pitchFamily="34" charset="-122"/>
              </a:rPr>
              <a:t>reduce O&amp;M costs</a:t>
            </a:r>
            <a:endParaRPr lang="zh-CN" altLang="en-US" sz="1400" b="1" dirty="0">
              <a:solidFill>
                <a:srgbClr val="FFC000"/>
              </a:solidFill>
              <a:effectLst>
                <a:outerShdw blurRad="38100" dist="38100" dir="2700000" algn="tl">
                  <a:srgbClr val="000000">
                    <a:alpha val="43137"/>
                  </a:srgbClr>
                </a:outerShdw>
              </a:effectLst>
              <a:latin typeface="+mj-lt"/>
            </a:endParaRPr>
          </a:p>
        </p:txBody>
      </p:sp>
      <p:sp>
        <p:nvSpPr>
          <p:cNvPr id="259" name="TextBox 258"/>
          <p:cNvSpPr txBox="1"/>
          <p:nvPr/>
        </p:nvSpPr>
        <p:spPr>
          <a:xfrm>
            <a:off x="347568" y="2625006"/>
            <a:ext cx="977167" cy="954107"/>
          </a:xfrm>
          <a:prstGeom prst="rect">
            <a:avLst/>
          </a:prstGeom>
          <a:noFill/>
        </p:spPr>
        <p:txBody>
          <a:bodyPr wrap="square" rtlCol="0">
            <a:spAutoFit/>
          </a:bodyPr>
          <a:lstStyle/>
          <a:p>
            <a:pPr algn="ctr"/>
            <a:r>
              <a:rPr lang="zh-CN" altLang="en-US" sz="1400" b="1" dirty="0" smtClean="0">
                <a:solidFill>
                  <a:schemeClr val="bg1"/>
                </a:solidFill>
              </a:rPr>
              <a:t>Seaside and River Beach</a:t>
            </a:r>
            <a:endParaRPr lang="zh-CN" altLang="en-US" sz="1400" b="1" dirty="0">
              <a:solidFill>
                <a:schemeClr val="bg1"/>
              </a:solidFill>
            </a:endParaRPr>
          </a:p>
        </p:txBody>
      </p:sp>
      <p:sp>
        <p:nvSpPr>
          <p:cNvPr id="260" name="TextBox 259"/>
          <p:cNvSpPr txBox="1"/>
          <p:nvPr/>
        </p:nvSpPr>
        <p:spPr>
          <a:xfrm>
            <a:off x="195851" y="4054255"/>
            <a:ext cx="1110859" cy="523220"/>
          </a:xfrm>
          <a:prstGeom prst="rect">
            <a:avLst/>
          </a:prstGeom>
          <a:noFill/>
        </p:spPr>
        <p:txBody>
          <a:bodyPr wrap="square" rtlCol="0">
            <a:spAutoFit/>
          </a:bodyPr>
          <a:lstStyle/>
          <a:p>
            <a:pPr algn="ctr"/>
            <a:r>
              <a:rPr lang="zh-CN" altLang="en-US" sz="1400" b="1" dirty="0" smtClean="0">
                <a:solidFill>
                  <a:schemeClr val="bg1"/>
                </a:solidFill>
              </a:rPr>
              <a:t>Enterprise Campus</a:t>
            </a:r>
            <a:endParaRPr lang="zh-CN" altLang="en-US" sz="1400" b="1" dirty="0">
              <a:solidFill>
                <a:schemeClr val="bg1"/>
              </a:solidFill>
            </a:endParaRPr>
          </a:p>
        </p:txBody>
      </p:sp>
      <p:sp>
        <p:nvSpPr>
          <p:cNvPr id="261" name="TextBox 260"/>
          <p:cNvSpPr txBox="1"/>
          <p:nvPr/>
        </p:nvSpPr>
        <p:spPr>
          <a:xfrm>
            <a:off x="501344" y="5139983"/>
            <a:ext cx="823391" cy="523220"/>
          </a:xfrm>
          <a:prstGeom prst="rect">
            <a:avLst/>
          </a:prstGeom>
          <a:noFill/>
        </p:spPr>
        <p:txBody>
          <a:bodyPr wrap="square" rtlCol="0">
            <a:spAutoFit/>
          </a:bodyPr>
          <a:lstStyle/>
          <a:p>
            <a:pPr algn="ctr"/>
            <a:r>
              <a:rPr lang="zh-CN" altLang="en-US" sz="1400" b="1" dirty="0" smtClean="0">
                <a:solidFill>
                  <a:schemeClr val="bg1"/>
                </a:solidFill>
              </a:rPr>
              <a:t>City Block</a:t>
            </a:r>
            <a:endParaRPr lang="zh-CN" altLang="en-US" sz="1400" b="1" dirty="0">
              <a:solidFill>
                <a:schemeClr val="bg1"/>
              </a:solidFill>
            </a:endParaRPr>
          </a:p>
        </p:txBody>
      </p:sp>
      <p:cxnSp>
        <p:nvCxnSpPr>
          <p:cNvPr id="262" name="直接连接符 261"/>
          <p:cNvCxnSpPr/>
          <p:nvPr/>
        </p:nvCxnSpPr>
        <p:spPr>
          <a:xfrm>
            <a:off x="3590007" y="3069754"/>
            <a:ext cx="396000" cy="0"/>
          </a:xfrm>
          <a:prstGeom prst="line">
            <a:avLst/>
          </a:prstGeom>
          <a:ln>
            <a:solidFill>
              <a:srgbClr val="FFC00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直接连接符 262"/>
          <p:cNvCxnSpPr/>
          <p:nvPr/>
        </p:nvCxnSpPr>
        <p:spPr>
          <a:xfrm>
            <a:off x="3577307" y="4340498"/>
            <a:ext cx="432000"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64" name="TextBox 263"/>
          <p:cNvSpPr txBox="1"/>
          <p:nvPr/>
        </p:nvSpPr>
        <p:spPr>
          <a:xfrm>
            <a:off x="3505299" y="4052466"/>
            <a:ext cx="576000" cy="276999"/>
          </a:xfrm>
          <a:prstGeom prst="rect">
            <a:avLst/>
          </a:prstGeom>
          <a:noFill/>
        </p:spPr>
        <p:txBody>
          <a:bodyPr wrap="square" rtlCol="0">
            <a:spAutoFit/>
          </a:bodyPr>
          <a:lstStyle/>
          <a:p>
            <a:pPr algn="ctr"/>
            <a:r>
              <a:rPr lang="en-US" altLang="zh-CN" sz="1200" b="1" i="1" dirty="0" smtClean="0">
                <a:solidFill>
                  <a:srgbClr val="FFC000"/>
                </a:solidFill>
              </a:rPr>
              <a:t>Fiber</a:t>
            </a:r>
            <a:endParaRPr lang="zh-CN" altLang="en-US" sz="1200" b="1" i="1" dirty="0">
              <a:solidFill>
                <a:srgbClr val="FFC000"/>
              </a:solidFill>
            </a:endParaRPr>
          </a:p>
        </p:txBody>
      </p:sp>
      <p:pic>
        <p:nvPicPr>
          <p:cNvPr id="2052" name="Picture 4"/>
          <p:cNvPicPr>
            <a:picLocks noChangeAspect="1" noChangeArrowheads="1"/>
          </p:cNvPicPr>
          <p:nvPr/>
        </p:nvPicPr>
        <p:blipFill>
          <a:blip r:embed="rId6" cstate="print">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1849115" y="2773432"/>
            <a:ext cx="510281" cy="584354"/>
          </a:xfrm>
          <a:prstGeom prst="rect">
            <a:avLst/>
          </a:prstGeom>
          <a:noFill/>
          <a:ln w="9525">
            <a:noFill/>
            <a:miter lim="800000"/>
            <a:headEnd/>
            <a:tailEnd/>
          </a:ln>
        </p:spPr>
      </p:pic>
      <p:grpSp>
        <p:nvGrpSpPr>
          <p:cNvPr id="42" name="组合 275"/>
          <p:cNvGrpSpPr>
            <a:grpSpLocks/>
          </p:cNvGrpSpPr>
          <p:nvPr/>
        </p:nvGrpSpPr>
        <p:grpSpPr bwMode="auto">
          <a:xfrm>
            <a:off x="2585977" y="2684314"/>
            <a:ext cx="343258" cy="667667"/>
            <a:chOff x="6640513" y="788988"/>
            <a:chExt cx="490538" cy="954088"/>
          </a:xfrm>
          <a:solidFill>
            <a:schemeClr val="bg1"/>
          </a:solidFill>
        </p:grpSpPr>
        <p:sp>
          <p:nvSpPr>
            <p:cNvPr id="268" name="Freeform 114"/>
            <p:cNvSpPr>
              <a:spLocks noEditPoints="1"/>
            </p:cNvSpPr>
            <p:nvPr/>
          </p:nvSpPr>
          <p:spPr bwMode="auto">
            <a:xfrm>
              <a:off x="6640513" y="860426"/>
              <a:ext cx="312738" cy="207963"/>
            </a:xfrm>
            <a:custGeom>
              <a:avLst/>
              <a:gdLst>
                <a:gd name="T0" fmla="*/ 2147483646 w 747"/>
                <a:gd name="T1" fmla="*/ 2147483646 h 496"/>
                <a:gd name="T2" fmla="*/ 2147483646 w 747"/>
                <a:gd name="T3" fmla="*/ 2147483646 h 496"/>
                <a:gd name="T4" fmla="*/ 2147483646 w 747"/>
                <a:gd name="T5" fmla="*/ 2147483646 h 496"/>
                <a:gd name="T6" fmla="*/ 2147483646 w 747"/>
                <a:gd name="T7" fmla="*/ 2147483646 h 496"/>
                <a:gd name="T8" fmla="*/ 2147483646 w 747"/>
                <a:gd name="T9" fmla="*/ 2147483646 h 496"/>
                <a:gd name="T10" fmla="*/ 2147483646 w 747"/>
                <a:gd name="T11" fmla="*/ 2147483646 h 496"/>
                <a:gd name="T12" fmla="*/ 2147483646 w 747"/>
                <a:gd name="T13" fmla="*/ 2147483646 h 496"/>
                <a:gd name="T14" fmla="*/ 2147483646 w 747"/>
                <a:gd name="T15" fmla="*/ 2147483646 h 496"/>
                <a:gd name="T16" fmla="*/ 2147483646 w 747"/>
                <a:gd name="T17" fmla="*/ 2147483646 h 496"/>
                <a:gd name="T18" fmla="*/ 2147483646 w 747"/>
                <a:gd name="T19" fmla="*/ 2147483646 h 496"/>
                <a:gd name="T20" fmla="*/ 2147483646 w 747"/>
                <a:gd name="T21" fmla="*/ 2147483646 h 496"/>
                <a:gd name="T22" fmla="*/ 2147483646 w 747"/>
                <a:gd name="T23" fmla="*/ 2147483646 h 496"/>
                <a:gd name="T24" fmla="*/ 2147483646 w 747"/>
                <a:gd name="T25" fmla="*/ 2147483646 h 496"/>
                <a:gd name="T26" fmla="*/ 2147483646 w 747"/>
                <a:gd name="T27" fmla="*/ 2147483646 h 496"/>
                <a:gd name="T28" fmla="*/ 2147483646 w 747"/>
                <a:gd name="T29" fmla="*/ 2147483646 h 496"/>
                <a:gd name="T30" fmla="*/ 2147483646 w 747"/>
                <a:gd name="T31" fmla="*/ 2147483646 h 496"/>
                <a:gd name="T32" fmla="*/ 2147483646 w 747"/>
                <a:gd name="T33" fmla="*/ 2147483646 h 496"/>
                <a:gd name="T34" fmla="*/ 2147483646 w 747"/>
                <a:gd name="T35" fmla="*/ 2147483646 h 496"/>
                <a:gd name="T36" fmla="*/ 2147483646 w 747"/>
                <a:gd name="T37" fmla="*/ 2147483646 h 496"/>
                <a:gd name="T38" fmla="*/ 2147483646 w 747"/>
                <a:gd name="T39" fmla="*/ 2147483646 h 496"/>
                <a:gd name="T40" fmla="*/ 2147483646 w 747"/>
                <a:gd name="T41" fmla="*/ 2147483646 h 496"/>
                <a:gd name="T42" fmla="*/ 2147483646 w 747"/>
                <a:gd name="T43" fmla="*/ 2147483646 h 496"/>
                <a:gd name="T44" fmla="*/ 2147483646 w 747"/>
                <a:gd name="T45" fmla="*/ 2147483646 h 496"/>
                <a:gd name="T46" fmla="*/ 2147483646 w 747"/>
                <a:gd name="T47" fmla="*/ 2147483646 h 496"/>
                <a:gd name="T48" fmla="*/ 2147483646 w 747"/>
                <a:gd name="T49" fmla="*/ 2147483646 h 496"/>
                <a:gd name="T50" fmla="*/ 2147483646 w 747"/>
                <a:gd name="T51" fmla="*/ 2147483646 h 496"/>
                <a:gd name="T52" fmla="*/ 2147483646 w 747"/>
                <a:gd name="T53" fmla="*/ 2147483646 h 496"/>
                <a:gd name="T54" fmla="*/ 2147483646 w 747"/>
                <a:gd name="T55" fmla="*/ 2147483646 h 496"/>
                <a:gd name="T56" fmla="*/ 2147483646 w 747"/>
                <a:gd name="T57" fmla="*/ 0 h 496"/>
                <a:gd name="T58" fmla="*/ 2147483646 w 747"/>
                <a:gd name="T59" fmla="*/ 2147483646 h 496"/>
                <a:gd name="T60" fmla="*/ 2147483646 w 747"/>
                <a:gd name="T61" fmla="*/ 2147483646 h 496"/>
                <a:gd name="T62" fmla="*/ 2147483646 w 747"/>
                <a:gd name="T63" fmla="*/ 2147483646 h 496"/>
                <a:gd name="T64" fmla="*/ 2147483646 w 747"/>
                <a:gd name="T65" fmla="*/ 2147483646 h 496"/>
                <a:gd name="T66" fmla="*/ 2147483646 w 747"/>
                <a:gd name="T67" fmla="*/ 2147483646 h 496"/>
                <a:gd name="T68" fmla="*/ 2147483646 w 747"/>
                <a:gd name="T69" fmla="*/ 2147483646 h 496"/>
                <a:gd name="T70" fmla="*/ 2147483646 w 747"/>
                <a:gd name="T71" fmla="*/ 2147483646 h 496"/>
                <a:gd name="T72" fmla="*/ 2147483646 w 747"/>
                <a:gd name="T73" fmla="*/ 2147483646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grpFill/>
            <a:ln w="0">
              <a:noFill/>
              <a:round/>
              <a:headEnd/>
              <a:tailEnd/>
            </a:ln>
          </p:spPr>
          <p:txBody>
            <a:bodyPr/>
            <a:lstStyle/>
            <a:p>
              <a:endParaRPr lang="zh-CN" altLang="en-US"/>
            </a:p>
          </p:txBody>
        </p:sp>
        <p:sp>
          <p:nvSpPr>
            <p:cNvPr id="269" name="Freeform 115"/>
            <p:cNvSpPr>
              <a:spLocks/>
            </p:cNvSpPr>
            <p:nvPr/>
          </p:nvSpPr>
          <p:spPr bwMode="auto">
            <a:xfrm>
              <a:off x="6910388" y="1008063"/>
              <a:ext cx="125413" cy="438150"/>
            </a:xfrm>
            <a:custGeom>
              <a:avLst/>
              <a:gdLst>
                <a:gd name="T0" fmla="*/ 2147483646 w 300"/>
                <a:gd name="T1" fmla="*/ 2147483646 h 1043"/>
                <a:gd name="T2" fmla="*/ 2147483646 w 300"/>
                <a:gd name="T3" fmla="*/ 2147483646 h 1043"/>
                <a:gd name="T4" fmla="*/ 2147483646 w 300"/>
                <a:gd name="T5" fmla="*/ 2147483646 h 1043"/>
                <a:gd name="T6" fmla="*/ 2147483646 w 300"/>
                <a:gd name="T7" fmla="*/ 2147483646 h 1043"/>
                <a:gd name="T8" fmla="*/ 2147483646 w 300"/>
                <a:gd name="T9" fmla="*/ 2147483646 h 1043"/>
                <a:gd name="T10" fmla="*/ 2147483646 w 300"/>
                <a:gd name="T11" fmla="*/ 2147483646 h 1043"/>
                <a:gd name="T12" fmla="*/ 2147483646 w 300"/>
                <a:gd name="T13" fmla="*/ 2147483646 h 1043"/>
                <a:gd name="T14" fmla="*/ 2147483646 w 300"/>
                <a:gd name="T15" fmla="*/ 2147483646 h 1043"/>
                <a:gd name="T16" fmla="*/ 2147483646 w 300"/>
                <a:gd name="T17" fmla="*/ 2147483646 h 1043"/>
                <a:gd name="T18" fmla="*/ 2147483646 w 300"/>
                <a:gd name="T19" fmla="*/ 2147483646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grpFill/>
            <a:ln w="0">
              <a:noFill/>
              <a:round/>
              <a:headEnd/>
              <a:tailEnd/>
            </a:ln>
          </p:spPr>
          <p:txBody>
            <a:bodyPr/>
            <a:lstStyle/>
            <a:p>
              <a:endParaRPr lang="zh-CN" altLang="en-US"/>
            </a:p>
          </p:txBody>
        </p:sp>
        <p:sp>
          <p:nvSpPr>
            <p:cNvPr id="270" name="Freeform 116"/>
            <p:cNvSpPr>
              <a:spLocks/>
            </p:cNvSpPr>
            <p:nvPr/>
          </p:nvSpPr>
          <p:spPr bwMode="auto">
            <a:xfrm>
              <a:off x="6659563" y="890588"/>
              <a:ext cx="280988" cy="168275"/>
            </a:xfrm>
            <a:custGeom>
              <a:avLst/>
              <a:gdLst>
                <a:gd name="T0" fmla="*/ 2147483646 w 670"/>
                <a:gd name="T1" fmla="*/ 2147483646 h 400"/>
                <a:gd name="T2" fmla="*/ 2147483646 w 670"/>
                <a:gd name="T3" fmla="*/ 2147483646 h 400"/>
                <a:gd name="T4" fmla="*/ 2147483646 w 670"/>
                <a:gd name="T5" fmla="*/ 2147483646 h 400"/>
                <a:gd name="T6" fmla="*/ 2147483646 w 670"/>
                <a:gd name="T7" fmla="*/ 2147483646 h 400"/>
                <a:gd name="T8" fmla="*/ 2147483646 w 670"/>
                <a:gd name="T9" fmla="*/ 2147483646 h 400"/>
                <a:gd name="T10" fmla="*/ 2147483646 w 670"/>
                <a:gd name="T11" fmla="*/ 2147483646 h 400"/>
                <a:gd name="T12" fmla="*/ 2147483646 w 670"/>
                <a:gd name="T13" fmla="*/ 2147483646 h 400"/>
                <a:gd name="T14" fmla="*/ 2147483646 w 670"/>
                <a:gd name="T15" fmla="*/ 2147483646 h 400"/>
                <a:gd name="T16" fmla="*/ 2147483646 w 670"/>
                <a:gd name="T17" fmla="*/ 2147483646 h 400"/>
                <a:gd name="T18" fmla="*/ 2147483646 w 670"/>
                <a:gd name="T19" fmla="*/ 2147483646 h 400"/>
                <a:gd name="T20" fmla="*/ 2147483646 w 670"/>
                <a:gd name="T21" fmla="*/ 2147483646 h 400"/>
                <a:gd name="T22" fmla="*/ 2147483646 w 670"/>
                <a:gd name="T23" fmla="*/ 2147483646 h 400"/>
                <a:gd name="T24" fmla="*/ 2147483646 w 670"/>
                <a:gd name="T25" fmla="*/ 2147483646 h 400"/>
                <a:gd name="T26" fmla="*/ 2147483646 w 670"/>
                <a:gd name="T27" fmla="*/ 2147483646 h 400"/>
                <a:gd name="T28" fmla="*/ 2147483646 w 670"/>
                <a:gd name="T29" fmla="*/ 2147483646 h 400"/>
                <a:gd name="T30" fmla="*/ 2147483646 w 670"/>
                <a:gd name="T31" fmla="*/ 2147483646 h 400"/>
                <a:gd name="T32" fmla="*/ 2147483646 w 670"/>
                <a:gd name="T33" fmla="*/ 2147483646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grpFill/>
            <a:ln w="0">
              <a:noFill/>
              <a:round/>
              <a:headEnd/>
              <a:tailEnd/>
            </a:ln>
          </p:spPr>
          <p:txBody>
            <a:bodyPr/>
            <a:lstStyle/>
            <a:p>
              <a:endParaRPr lang="zh-CN" altLang="en-US"/>
            </a:p>
          </p:txBody>
        </p:sp>
        <p:sp>
          <p:nvSpPr>
            <p:cNvPr id="271" name="Freeform 117"/>
            <p:cNvSpPr>
              <a:spLocks/>
            </p:cNvSpPr>
            <p:nvPr/>
          </p:nvSpPr>
          <p:spPr bwMode="auto">
            <a:xfrm>
              <a:off x="6981825" y="1422401"/>
              <a:ext cx="82550" cy="263525"/>
            </a:xfrm>
            <a:custGeom>
              <a:avLst/>
              <a:gdLst>
                <a:gd name="T0" fmla="*/ 2147483646 w 197"/>
                <a:gd name="T1" fmla="*/ 2147483646 h 629"/>
                <a:gd name="T2" fmla="*/ 2147483646 w 197"/>
                <a:gd name="T3" fmla="*/ 2147483646 h 629"/>
                <a:gd name="T4" fmla="*/ 0 w 197"/>
                <a:gd name="T5" fmla="*/ 2147483646 h 629"/>
                <a:gd name="T6" fmla="*/ 0 w 197"/>
                <a:gd name="T7" fmla="*/ 2147483646 h 629"/>
                <a:gd name="T8" fmla="*/ 2147483646 w 197"/>
                <a:gd name="T9" fmla="*/ 0 h 629"/>
                <a:gd name="T10" fmla="*/ 2147483646 w 197"/>
                <a:gd name="T11" fmla="*/ 2147483646 h 629"/>
                <a:gd name="T12" fmla="*/ 2147483646 w 197"/>
                <a:gd name="T13" fmla="*/ 2147483646 h 629"/>
                <a:gd name="T14" fmla="*/ 2147483646 w 197"/>
                <a:gd name="T15" fmla="*/ 2147483646 h 629"/>
                <a:gd name="T16" fmla="*/ 2147483646 w 197"/>
                <a:gd name="T17" fmla="*/ 2147483646 h 629"/>
                <a:gd name="T18" fmla="*/ 2147483646 w 197"/>
                <a:gd name="T19" fmla="*/ 2147483646 h 629"/>
                <a:gd name="T20" fmla="*/ 2147483646 w 197"/>
                <a:gd name="T21" fmla="*/ 2147483646 h 629"/>
                <a:gd name="T22" fmla="*/ 2147483646 w 197"/>
                <a:gd name="T23" fmla="*/ 2147483646 h 629"/>
                <a:gd name="T24" fmla="*/ 2147483646 w 197"/>
                <a:gd name="T25" fmla="*/ 2147483646 h 629"/>
                <a:gd name="T26" fmla="*/ 2147483646 w 197"/>
                <a:gd name="T27" fmla="*/ 2147483646 h 629"/>
                <a:gd name="T28" fmla="*/ 2147483646 w 197"/>
                <a:gd name="T29" fmla="*/ 2147483646 h 629"/>
                <a:gd name="T30" fmla="*/ 2147483646 w 197"/>
                <a:gd name="T31" fmla="*/ 2147483646 h 629"/>
                <a:gd name="T32" fmla="*/ 2147483646 w 197"/>
                <a:gd name="T33" fmla="*/ 2147483646 h 629"/>
                <a:gd name="T34" fmla="*/ 2147483646 w 197"/>
                <a:gd name="T35" fmla="*/ 2147483646 h 629"/>
                <a:gd name="T36" fmla="*/ 2147483646 w 197"/>
                <a:gd name="T37" fmla="*/ 2147483646 h 629"/>
                <a:gd name="T38" fmla="*/ 2147483646 w 197"/>
                <a:gd name="T39" fmla="*/ 2147483646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grpFill/>
            <a:ln w="0">
              <a:noFill/>
              <a:round/>
              <a:headEnd/>
              <a:tailEnd/>
            </a:ln>
          </p:spPr>
          <p:txBody>
            <a:bodyPr/>
            <a:lstStyle/>
            <a:p>
              <a:endParaRPr lang="zh-CN" altLang="en-US"/>
            </a:p>
          </p:txBody>
        </p:sp>
        <p:sp>
          <p:nvSpPr>
            <p:cNvPr id="272" name="Freeform 118"/>
            <p:cNvSpPr>
              <a:spLocks/>
            </p:cNvSpPr>
            <p:nvPr/>
          </p:nvSpPr>
          <p:spPr bwMode="auto">
            <a:xfrm>
              <a:off x="6904038" y="1604963"/>
              <a:ext cx="227013" cy="138113"/>
            </a:xfrm>
            <a:custGeom>
              <a:avLst/>
              <a:gdLst>
                <a:gd name="T0" fmla="*/ 2147483646 w 540"/>
                <a:gd name="T1" fmla="*/ 2147483646 h 330"/>
                <a:gd name="T2" fmla="*/ 2147483646 w 540"/>
                <a:gd name="T3" fmla="*/ 2147483646 h 330"/>
                <a:gd name="T4" fmla="*/ 2147483646 w 540"/>
                <a:gd name="T5" fmla="*/ 2147483646 h 330"/>
                <a:gd name="T6" fmla="*/ 2147483646 w 540"/>
                <a:gd name="T7" fmla="*/ 2147483646 h 330"/>
                <a:gd name="T8" fmla="*/ 0 w 540"/>
                <a:gd name="T9" fmla="*/ 2147483646 h 330"/>
                <a:gd name="T10" fmla="*/ 2147483646 w 540"/>
                <a:gd name="T11" fmla="*/ 2147483646 h 330"/>
                <a:gd name="T12" fmla="*/ 2147483646 w 540"/>
                <a:gd name="T13" fmla="*/ 2147483646 h 330"/>
                <a:gd name="T14" fmla="*/ 2147483646 w 540"/>
                <a:gd name="T15" fmla="*/ 2147483646 h 330"/>
                <a:gd name="T16" fmla="*/ 2147483646 w 540"/>
                <a:gd name="T17" fmla="*/ 2147483646 h 330"/>
                <a:gd name="T18" fmla="*/ 2147483646 w 540"/>
                <a:gd name="T19" fmla="*/ 2147483646 h 330"/>
                <a:gd name="T20" fmla="*/ 2147483646 w 540"/>
                <a:gd name="T21" fmla="*/ 2147483646 h 330"/>
                <a:gd name="T22" fmla="*/ 2147483646 w 540"/>
                <a:gd name="T23" fmla="*/ 2147483646 h 330"/>
                <a:gd name="T24" fmla="*/ 2147483646 w 540"/>
                <a:gd name="T25" fmla="*/ 2147483646 h 330"/>
                <a:gd name="T26" fmla="*/ 2147483646 w 540"/>
                <a:gd name="T27" fmla="*/ 2147483646 h 330"/>
                <a:gd name="T28" fmla="*/ 2147483646 w 540"/>
                <a:gd name="T29" fmla="*/ 2147483646 h 330"/>
                <a:gd name="T30" fmla="*/ 2147483646 w 540"/>
                <a:gd name="T31" fmla="*/ 2147483646 h 330"/>
                <a:gd name="T32" fmla="*/ 2147483646 w 540"/>
                <a:gd name="T33" fmla="*/ 2147483646 h 330"/>
                <a:gd name="T34" fmla="*/ 2147483646 w 540"/>
                <a:gd name="T35" fmla="*/ 2147483646 h 330"/>
                <a:gd name="T36" fmla="*/ 2147483646 w 540"/>
                <a:gd name="T37" fmla="*/ 2147483646 h 330"/>
                <a:gd name="T38" fmla="*/ 2147483646 w 540"/>
                <a:gd name="T39" fmla="*/ 2147483646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grpFill/>
            <a:ln w="0">
              <a:noFill/>
              <a:round/>
              <a:headEnd/>
              <a:tailEnd/>
            </a:ln>
          </p:spPr>
          <p:txBody>
            <a:bodyPr/>
            <a:lstStyle/>
            <a:p>
              <a:endParaRPr lang="zh-CN" altLang="en-US"/>
            </a:p>
          </p:txBody>
        </p:sp>
        <p:sp>
          <p:nvSpPr>
            <p:cNvPr id="273" name="Freeform 119"/>
            <p:cNvSpPr>
              <a:spLocks/>
            </p:cNvSpPr>
            <p:nvPr/>
          </p:nvSpPr>
          <p:spPr bwMode="auto">
            <a:xfrm>
              <a:off x="7021513" y="1479551"/>
              <a:ext cx="57150" cy="58738"/>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74" name="Freeform 120"/>
            <p:cNvSpPr>
              <a:spLocks/>
            </p:cNvSpPr>
            <p:nvPr/>
          </p:nvSpPr>
          <p:spPr bwMode="auto">
            <a:xfrm>
              <a:off x="7021513" y="1570038"/>
              <a:ext cx="57150" cy="57150"/>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75" name="Freeform 121"/>
            <p:cNvSpPr>
              <a:spLocks/>
            </p:cNvSpPr>
            <p:nvPr/>
          </p:nvSpPr>
          <p:spPr bwMode="auto">
            <a:xfrm>
              <a:off x="6762750" y="788988"/>
              <a:ext cx="193675" cy="114300"/>
            </a:xfrm>
            <a:custGeom>
              <a:avLst/>
              <a:gdLst>
                <a:gd name="T0" fmla="*/ 2147483646 w 462"/>
                <a:gd name="T1" fmla="*/ 2147483646 h 272"/>
                <a:gd name="T2" fmla="*/ 2147483646 w 462"/>
                <a:gd name="T3" fmla="*/ 2147483646 h 272"/>
                <a:gd name="T4" fmla="*/ 2147483646 w 462"/>
                <a:gd name="T5" fmla="*/ 2147483646 h 272"/>
                <a:gd name="T6" fmla="*/ 2147483646 w 462"/>
                <a:gd name="T7" fmla="*/ 2147483646 h 272"/>
                <a:gd name="T8" fmla="*/ 2147483646 w 462"/>
                <a:gd name="T9" fmla="*/ 2147483646 h 272"/>
                <a:gd name="T10" fmla="*/ 2147483646 w 462"/>
                <a:gd name="T11" fmla="*/ 2147483646 h 272"/>
                <a:gd name="T12" fmla="*/ 2147483646 w 462"/>
                <a:gd name="T13" fmla="*/ 2147483646 h 272"/>
                <a:gd name="T14" fmla="*/ 2147483646 w 462"/>
                <a:gd name="T15" fmla="*/ 2147483646 h 272"/>
                <a:gd name="T16" fmla="*/ 2147483646 w 462"/>
                <a:gd name="T17" fmla="*/ 2147483646 h 272"/>
                <a:gd name="T18" fmla="*/ 2147483646 w 462"/>
                <a:gd name="T19" fmla="*/ 2147483646 h 272"/>
                <a:gd name="T20" fmla="*/ 2147483646 w 462"/>
                <a:gd name="T21" fmla="*/ 2147483646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grpFill/>
            <a:ln w="0">
              <a:noFill/>
              <a:round/>
              <a:headEnd/>
              <a:tailEnd/>
            </a:ln>
          </p:spPr>
          <p:txBody>
            <a:bodyPr/>
            <a:lstStyle/>
            <a:p>
              <a:endParaRPr lang="zh-CN" altLang="en-US"/>
            </a:p>
          </p:txBody>
        </p:sp>
        <p:sp>
          <p:nvSpPr>
            <p:cNvPr id="276" name="Freeform 122"/>
            <p:cNvSpPr>
              <a:spLocks/>
            </p:cNvSpPr>
            <p:nvPr/>
          </p:nvSpPr>
          <p:spPr bwMode="auto">
            <a:xfrm>
              <a:off x="6797675" y="847726"/>
              <a:ext cx="96838" cy="63500"/>
            </a:xfrm>
            <a:custGeom>
              <a:avLst/>
              <a:gdLst>
                <a:gd name="T0" fmla="*/ 2147483646 w 228"/>
                <a:gd name="T1" fmla="*/ 2147483646 h 148"/>
                <a:gd name="T2" fmla="*/ 2147483646 w 228"/>
                <a:gd name="T3" fmla="*/ 2147483646 h 148"/>
                <a:gd name="T4" fmla="*/ 2147483646 w 228"/>
                <a:gd name="T5" fmla="*/ 2147483646 h 148"/>
                <a:gd name="T6" fmla="*/ 2147483646 w 228"/>
                <a:gd name="T7" fmla="*/ 2147483646 h 148"/>
                <a:gd name="T8" fmla="*/ 2147483646 w 228"/>
                <a:gd name="T9" fmla="*/ 2147483646 h 148"/>
                <a:gd name="T10" fmla="*/ 2147483646 w 228"/>
                <a:gd name="T11" fmla="*/ 2147483646 h 148"/>
                <a:gd name="T12" fmla="*/ 2147483646 w 228"/>
                <a:gd name="T13" fmla="*/ 2147483646 h 148"/>
                <a:gd name="T14" fmla="*/ 2147483646 w 228"/>
                <a:gd name="T15" fmla="*/ 2147483646 h 148"/>
                <a:gd name="T16" fmla="*/ 2147483646 w 228"/>
                <a:gd name="T17" fmla="*/ 2147483646 h 148"/>
                <a:gd name="T18" fmla="*/ 2147483646 w 228"/>
                <a:gd name="T19" fmla="*/ 2147483646 h 148"/>
                <a:gd name="T20" fmla="*/ 2147483646 w 228"/>
                <a:gd name="T21" fmla="*/ 2147483646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grpFill/>
            <a:ln w="0">
              <a:noFill/>
              <a:round/>
              <a:headEnd/>
              <a:tailEnd/>
            </a:ln>
          </p:spPr>
          <p:txBody>
            <a:bodyPr/>
            <a:lstStyle/>
            <a:p>
              <a:endParaRPr lang="zh-CN" altLang="en-US"/>
            </a:p>
          </p:txBody>
        </p:sp>
      </p:grpSp>
      <p:pic>
        <p:nvPicPr>
          <p:cNvPr id="2053" name="Picture 5"/>
          <p:cNvPicPr>
            <a:picLocks noChangeAspect="1" noChangeArrowheads="1"/>
          </p:cNvPicPr>
          <p:nvPr/>
        </p:nvPicPr>
        <p:blipFill>
          <a:blip r:embed="rId7" cstate="print">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1716892" y="3373654"/>
            <a:ext cx="1284351" cy="198899"/>
          </a:xfrm>
          <a:prstGeom prst="rect">
            <a:avLst/>
          </a:prstGeom>
          <a:noFill/>
          <a:ln w="9525">
            <a:noFill/>
            <a:miter lim="800000"/>
            <a:headEnd/>
            <a:tailEnd/>
          </a:ln>
        </p:spPr>
      </p:pic>
      <p:sp>
        <p:nvSpPr>
          <p:cNvPr id="280" name="TextBox 279"/>
          <p:cNvSpPr txBox="1"/>
          <p:nvPr/>
        </p:nvSpPr>
        <p:spPr>
          <a:xfrm>
            <a:off x="3409243" y="2786936"/>
            <a:ext cx="790736" cy="261610"/>
          </a:xfrm>
          <a:prstGeom prst="rect">
            <a:avLst/>
          </a:prstGeom>
          <a:noFill/>
        </p:spPr>
        <p:txBody>
          <a:bodyPr wrap="square" rtlCol="0">
            <a:spAutoFit/>
          </a:bodyPr>
          <a:lstStyle/>
          <a:p>
            <a:pPr algn="ctr"/>
            <a:r>
              <a:rPr lang="en-US" altLang="zh-CN" sz="1100" b="1" i="1" dirty="0" smtClean="0">
                <a:solidFill>
                  <a:srgbClr val="FFC000"/>
                </a:solidFill>
              </a:rPr>
              <a:t>3G</a:t>
            </a:r>
            <a:endParaRPr lang="zh-CN" altLang="en-US" sz="1100" b="1" i="1" dirty="0">
              <a:solidFill>
                <a:srgbClr val="FFC000"/>
              </a:solidFill>
            </a:endParaRPr>
          </a:p>
        </p:txBody>
      </p:sp>
      <p:grpSp>
        <p:nvGrpSpPr>
          <p:cNvPr id="44" name="组合 621"/>
          <p:cNvGrpSpPr/>
          <p:nvPr/>
        </p:nvGrpSpPr>
        <p:grpSpPr>
          <a:xfrm>
            <a:off x="2983952" y="2982755"/>
            <a:ext cx="377331" cy="213274"/>
            <a:chOff x="-983298" y="1666240"/>
            <a:chExt cx="547688" cy="309563"/>
          </a:xfrm>
          <a:solidFill>
            <a:schemeClr val="bg1"/>
          </a:solidFill>
        </p:grpSpPr>
        <p:sp>
          <p:nvSpPr>
            <p:cNvPr id="282"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283"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sp>
        <p:nvSpPr>
          <p:cNvPr id="285" name="TextBox 284"/>
          <p:cNvSpPr txBox="1"/>
          <p:nvPr/>
        </p:nvSpPr>
        <p:spPr>
          <a:xfrm>
            <a:off x="2860257" y="3167163"/>
            <a:ext cx="720000" cy="276999"/>
          </a:xfrm>
          <a:prstGeom prst="rect">
            <a:avLst/>
          </a:prstGeom>
          <a:noFill/>
        </p:spPr>
        <p:txBody>
          <a:bodyPr wrap="square" rtlCol="0">
            <a:spAutoFit/>
          </a:bodyPr>
          <a:lstStyle/>
          <a:p>
            <a:pPr algn="ctr"/>
            <a:r>
              <a:rPr lang="en-US" altLang="zh-CN" sz="1200" b="1" i="1" kern="0" dirty="0" smtClean="0">
                <a:solidFill>
                  <a:srgbClr val="FFC000"/>
                </a:solidFill>
                <a:latin typeface="微软雅黑" pitchFamily="34" charset="-122"/>
                <a:ea typeface="微软雅黑" pitchFamily="34" charset="-122"/>
              </a:rPr>
              <a:t>AR532</a:t>
            </a:r>
            <a:endParaRPr lang="zh-CN" altLang="en-US" sz="1200" b="1" i="1" dirty="0">
              <a:solidFill>
                <a:srgbClr val="FFC000"/>
              </a:solidFill>
            </a:endParaRPr>
          </a:p>
        </p:txBody>
      </p:sp>
      <p:sp>
        <p:nvSpPr>
          <p:cNvPr id="286" name="TextBox 285"/>
          <p:cNvSpPr txBox="1"/>
          <p:nvPr/>
        </p:nvSpPr>
        <p:spPr>
          <a:xfrm>
            <a:off x="2713211" y="5719683"/>
            <a:ext cx="948768" cy="276999"/>
          </a:xfrm>
          <a:prstGeom prst="rect">
            <a:avLst/>
          </a:prstGeom>
          <a:noFill/>
        </p:spPr>
        <p:txBody>
          <a:bodyPr wrap="square" rtlCol="0">
            <a:spAutoFit/>
          </a:bodyPr>
          <a:lstStyle/>
          <a:p>
            <a:pPr algn="ctr"/>
            <a:r>
              <a:rPr lang="en-US" altLang="zh-CN" sz="1200" b="1" i="1" kern="0" dirty="0" smtClean="0">
                <a:solidFill>
                  <a:srgbClr val="FFC000"/>
                </a:solidFill>
                <a:latin typeface="微软雅黑" pitchFamily="34" charset="-122"/>
                <a:ea typeface="微软雅黑" pitchFamily="34" charset="-122"/>
              </a:rPr>
              <a:t>EG8084P</a:t>
            </a:r>
            <a:endParaRPr lang="zh-CN" altLang="en-US" sz="1200" b="1" i="1" dirty="0">
              <a:solidFill>
                <a:srgbClr val="FFC000"/>
              </a:solidFill>
            </a:endParaRPr>
          </a:p>
        </p:txBody>
      </p:sp>
      <p:grpSp>
        <p:nvGrpSpPr>
          <p:cNvPr id="46" name="组合 621"/>
          <p:cNvGrpSpPr/>
          <p:nvPr/>
        </p:nvGrpSpPr>
        <p:grpSpPr>
          <a:xfrm>
            <a:off x="2975503" y="4362624"/>
            <a:ext cx="377331" cy="213274"/>
            <a:chOff x="-983298" y="1666240"/>
            <a:chExt cx="547688" cy="309563"/>
          </a:xfrm>
          <a:solidFill>
            <a:schemeClr val="bg1"/>
          </a:solidFill>
        </p:grpSpPr>
        <p:sp>
          <p:nvSpPr>
            <p:cNvPr id="288"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289"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sp>
        <p:nvSpPr>
          <p:cNvPr id="290" name="TextBox 289"/>
          <p:cNvSpPr txBox="1"/>
          <p:nvPr/>
        </p:nvSpPr>
        <p:spPr>
          <a:xfrm>
            <a:off x="2764106" y="4559731"/>
            <a:ext cx="804752" cy="276999"/>
          </a:xfrm>
          <a:prstGeom prst="rect">
            <a:avLst/>
          </a:prstGeom>
          <a:noFill/>
        </p:spPr>
        <p:txBody>
          <a:bodyPr wrap="square" rtlCol="0">
            <a:spAutoFit/>
          </a:bodyPr>
          <a:lstStyle/>
          <a:p>
            <a:pPr algn="ctr"/>
            <a:r>
              <a:rPr lang="en-US" altLang="zh-CN" sz="1200" b="1" i="1" kern="0" dirty="0" smtClean="0">
                <a:solidFill>
                  <a:srgbClr val="FFC000"/>
                </a:solidFill>
                <a:latin typeface="微软雅黑" pitchFamily="34" charset="-122"/>
                <a:ea typeface="微软雅黑" pitchFamily="34" charset="-122"/>
              </a:rPr>
              <a:t>AR550C</a:t>
            </a:r>
          </a:p>
        </p:txBody>
      </p:sp>
      <p:grpSp>
        <p:nvGrpSpPr>
          <p:cNvPr id="182" name="组合 275"/>
          <p:cNvGrpSpPr>
            <a:grpSpLocks/>
          </p:cNvGrpSpPr>
          <p:nvPr/>
        </p:nvGrpSpPr>
        <p:grpSpPr bwMode="auto">
          <a:xfrm>
            <a:off x="2569195" y="3933850"/>
            <a:ext cx="343258" cy="667667"/>
            <a:chOff x="6640513" y="788988"/>
            <a:chExt cx="490538" cy="954088"/>
          </a:xfrm>
          <a:solidFill>
            <a:schemeClr val="bg1"/>
          </a:solidFill>
        </p:grpSpPr>
        <p:sp>
          <p:nvSpPr>
            <p:cNvPr id="292" name="Freeform 114"/>
            <p:cNvSpPr>
              <a:spLocks noEditPoints="1"/>
            </p:cNvSpPr>
            <p:nvPr/>
          </p:nvSpPr>
          <p:spPr bwMode="auto">
            <a:xfrm>
              <a:off x="6640513" y="860426"/>
              <a:ext cx="312738" cy="207963"/>
            </a:xfrm>
            <a:custGeom>
              <a:avLst/>
              <a:gdLst>
                <a:gd name="T0" fmla="*/ 2147483646 w 747"/>
                <a:gd name="T1" fmla="*/ 2147483646 h 496"/>
                <a:gd name="T2" fmla="*/ 2147483646 w 747"/>
                <a:gd name="T3" fmla="*/ 2147483646 h 496"/>
                <a:gd name="T4" fmla="*/ 2147483646 w 747"/>
                <a:gd name="T5" fmla="*/ 2147483646 h 496"/>
                <a:gd name="T6" fmla="*/ 2147483646 w 747"/>
                <a:gd name="T7" fmla="*/ 2147483646 h 496"/>
                <a:gd name="T8" fmla="*/ 2147483646 w 747"/>
                <a:gd name="T9" fmla="*/ 2147483646 h 496"/>
                <a:gd name="T10" fmla="*/ 2147483646 w 747"/>
                <a:gd name="T11" fmla="*/ 2147483646 h 496"/>
                <a:gd name="T12" fmla="*/ 2147483646 w 747"/>
                <a:gd name="T13" fmla="*/ 2147483646 h 496"/>
                <a:gd name="T14" fmla="*/ 2147483646 w 747"/>
                <a:gd name="T15" fmla="*/ 2147483646 h 496"/>
                <a:gd name="T16" fmla="*/ 2147483646 w 747"/>
                <a:gd name="T17" fmla="*/ 2147483646 h 496"/>
                <a:gd name="T18" fmla="*/ 2147483646 w 747"/>
                <a:gd name="T19" fmla="*/ 2147483646 h 496"/>
                <a:gd name="T20" fmla="*/ 2147483646 w 747"/>
                <a:gd name="T21" fmla="*/ 2147483646 h 496"/>
                <a:gd name="T22" fmla="*/ 2147483646 w 747"/>
                <a:gd name="T23" fmla="*/ 2147483646 h 496"/>
                <a:gd name="T24" fmla="*/ 2147483646 w 747"/>
                <a:gd name="T25" fmla="*/ 2147483646 h 496"/>
                <a:gd name="T26" fmla="*/ 2147483646 w 747"/>
                <a:gd name="T27" fmla="*/ 2147483646 h 496"/>
                <a:gd name="T28" fmla="*/ 2147483646 w 747"/>
                <a:gd name="T29" fmla="*/ 2147483646 h 496"/>
                <a:gd name="T30" fmla="*/ 2147483646 w 747"/>
                <a:gd name="T31" fmla="*/ 2147483646 h 496"/>
                <a:gd name="T32" fmla="*/ 2147483646 w 747"/>
                <a:gd name="T33" fmla="*/ 2147483646 h 496"/>
                <a:gd name="T34" fmla="*/ 2147483646 w 747"/>
                <a:gd name="T35" fmla="*/ 2147483646 h 496"/>
                <a:gd name="T36" fmla="*/ 2147483646 w 747"/>
                <a:gd name="T37" fmla="*/ 2147483646 h 496"/>
                <a:gd name="T38" fmla="*/ 2147483646 w 747"/>
                <a:gd name="T39" fmla="*/ 2147483646 h 496"/>
                <a:gd name="T40" fmla="*/ 2147483646 w 747"/>
                <a:gd name="T41" fmla="*/ 2147483646 h 496"/>
                <a:gd name="T42" fmla="*/ 2147483646 w 747"/>
                <a:gd name="T43" fmla="*/ 2147483646 h 496"/>
                <a:gd name="T44" fmla="*/ 2147483646 w 747"/>
                <a:gd name="T45" fmla="*/ 2147483646 h 496"/>
                <a:gd name="T46" fmla="*/ 2147483646 w 747"/>
                <a:gd name="T47" fmla="*/ 2147483646 h 496"/>
                <a:gd name="T48" fmla="*/ 2147483646 w 747"/>
                <a:gd name="T49" fmla="*/ 2147483646 h 496"/>
                <a:gd name="T50" fmla="*/ 2147483646 w 747"/>
                <a:gd name="T51" fmla="*/ 2147483646 h 496"/>
                <a:gd name="T52" fmla="*/ 2147483646 w 747"/>
                <a:gd name="T53" fmla="*/ 2147483646 h 496"/>
                <a:gd name="T54" fmla="*/ 2147483646 w 747"/>
                <a:gd name="T55" fmla="*/ 2147483646 h 496"/>
                <a:gd name="T56" fmla="*/ 2147483646 w 747"/>
                <a:gd name="T57" fmla="*/ 0 h 496"/>
                <a:gd name="T58" fmla="*/ 2147483646 w 747"/>
                <a:gd name="T59" fmla="*/ 2147483646 h 496"/>
                <a:gd name="T60" fmla="*/ 2147483646 w 747"/>
                <a:gd name="T61" fmla="*/ 2147483646 h 496"/>
                <a:gd name="T62" fmla="*/ 2147483646 w 747"/>
                <a:gd name="T63" fmla="*/ 2147483646 h 496"/>
                <a:gd name="T64" fmla="*/ 2147483646 w 747"/>
                <a:gd name="T65" fmla="*/ 2147483646 h 496"/>
                <a:gd name="T66" fmla="*/ 2147483646 w 747"/>
                <a:gd name="T67" fmla="*/ 2147483646 h 496"/>
                <a:gd name="T68" fmla="*/ 2147483646 w 747"/>
                <a:gd name="T69" fmla="*/ 2147483646 h 496"/>
                <a:gd name="T70" fmla="*/ 2147483646 w 747"/>
                <a:gd name="T71" fmla="*/ 2147483646 h 496"/>
                <a:gd name="T72" fmla="*/ 2147483646 w 747"/>
                <a:gd name="T73" fmla="*/ 2147483646 h 4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7"/>
                <a:gd name="T112" fmla="*/ 0 h 496"/>
                <a:gd name="T113" fmla="*/ 747 w 747"/>
                <a:gd name="T114" fmla="*/ 496 h 4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7" h="496">
                  <a:moveTo>
                    <a:pt x="89" y="171"/>
                  </a:moveTo>
                  <a:lnTo>
                    <a:pt x="89" y="171"/>
                  </a:lnTo>
                  <a:cubicBezTo>
                    <a:pt x="89" y="173"/>
                    <a:pt x="88" y="174"/>
                    <a:pt x="88" y="175"/>
                  </a:cubicBezTo>
                  <a:cubicBezTo>
                    <a:pt x="71" y="217"/>
                    <a:pt x="81" y="222"/>
                    <a:pt x="91" y="227"/>
                  </a:cubicBezTo>
                  <a:cubicBezTo>
                    <a:pt x="131" y="247"/>
                    <a:pt x="493" y="404"/>
                    <a:pt x="529" y="418"/>
                  </a:cubicBezTo>
                  <a:lnTo>
                    <a:pt x="532" y="419"/>
                  </a:lnTo>
                  <a:cubicBezTo>
                    <a:pt x="546" y="425"/>
                    <a:pt x="557" y="429"/>
                    <a:pt x="566" y="429"/>
                  </a:cubicBezTo>
                  <a:cubicBezTo>
                    <a:pt x="570" y="429"/>
                    <a:pt x="580" y="429"/>
                    <a:pt x="600" y="409"/>
                  </a:cubicBezTo>
                  <a:cubicBezTo>
                    <a:pt x="608" y="401"/>
                    <a:pt x="616" y="393"/>
                    <a:pt x="624" y="386"/>
                  </a:cubicBezTo>
                  <a:cubicBezTo>
                    <a:pt x="636" y="375"/>
                    <a:pt x="655" y="357"/>
                    <a:pt x="657" y="350"/>
                  </a:cubicBezTo>
                  <a:cubicBezTo>
                    <a:pt x="658" y="348"/>
                    <a:pt x="658" y="347"/>
                    <a:pt x="658" y="346"/>
                  </a:cubicBezTo>
                  <a:cubicBezTo>
                    <a:pt x="660" y="337"/>
                    <a:pt x="662" y="330"/>
                    <a:pt x="664" y="323"/>
                  </a:cubicBezTo>
                  <a:cubicBezTo>
                    <a:pt x="665" y="318"/>
                    <a:pt x="667" y="312"/>
                    <a:pt x="668" y="308"/>
                  </a:cubicBezTo>
                  <a:cubicBezTo>
                    <a:pt x="666" y="307"/>
                    <a:pt x="664" y="306"/>
                    <a:pt x="661" y="304"/>
                  </a:cubicBezTo>
                  <a:cubicBezTo>
                    <a:pt x="649" y="298"/>
                    <a:pt x="599" y="276"/>
                    <a:pt x="537" y="247"/>
                  </a:cubicBezTo>
                  <a:cubicBezTo>
                    <a:pt x="404" y="185"/>
                    <a:pt x="221" y="101"/>
                    <a:pt x="183" y="81"/>
                  </a:cubicBezTo>
                  <a:cubicBezTo>
                    <a:pt x="160" y="69"/>
                    <a:pt x="148" y="67"/>
                    <a:pt x="142" y="67"/>
                  </a:cubicBezTo>
                  <a:cubicBezTo>
                    <a:pt x="139" y="67"/>
                    <a:pt x="136" y="67"/>
                    <a:pt x="127" y="76"/>
                  </a:cubicBezTo>
                  <a:cubicBezTo>
                    <a:pt x="119" y="84"/>
                    <a:pt x="102" y="129"/>
                    <a:pt x="89" y="171"/>
                  </a:cubicBezTo>
                  <a:close/>
                  <a:moveTo>
                    <a:pt x="566" y="496"/>
                  </a:moveTo>
                  <a:lnTo>
                    <a:pt x="566" y="496"/>
                  </a:lnTo>
                  <a:cubicBezTo>
                    <a:pt x="545" y="496"/>
                    <a:pt x="526" y="488"/>
                    <a:pt x="508" y="481"/>
                  </a:cubicBezTo>
                  <a:lnTo>
                    <a:pt x="505" y="480"/>
                  </a:lnTo>
                  <a:cubicBezTo>
                    <a:pt x="466" y="465"/>
                    <a:pt x="103" y="308"/>
                    <a:pt x="61" y="287"/>
                  </a:cubicBezTo>
                  <a:cubicBezTo>
                    <a:pt x="12" y="262"/>
                    <a:pt x="0" y="217"/>
                    <a:pt x="25" y="152"/>
                  </a:cubicBezTo>
                  <a:cubicBezTo>
                    <a:pt x="36" y="114"/>
                    <a:pt x="59" y="48"/>
                    <a:pt x="81" y="27"/>
                  </a:cubicBezTo>
                  <a:cubicBezTo>
                    <a:pt x="96" y="13"/>
                    <a:pt x="114" y="0"/>
                    <a:pt x="142" y="0"/>
                  </a:cubicBezTo>
                  <a:cubicBezTo>
                    <a:pt x="162" y="0"/>
                    <a:pt x="185" y="7"/>
                    <a:pt x="214" y="22"/>
                  </a:cubicBezTo>
                  <a:cubicBezTo>
                    <a:pt x="251" y="42"/>
                    <a:pt x="440" y="129"/>
                    <a:pt x="565" y="186"/>
                  </a:cubicBezTo>
                  <a:cubicBezTo>
                    <a:pt x="627" y="215"/>
                    <a:pt x="677" y="238"/>
                    <a:pt x="690" y="244"/>
                  </a:cubicBezTo>
                  <a:cubicBezTo>
                    <a:pt x="747" y="272"/>
                    <a:pt x="736" y="313"/>
                    <a:pt x="728" y="341"/>
                  </a:cubicBezTo>
                  <a:cubicBezTo>
                    <a:pt x="727" y="346"/>
                    <a:pt x="725" y="352"/>
                    <a:pt x="724" y="358"/>
                  </a:cubicBezTo>
                  <a:cubicBezTo>
                    <a:pt x="720" y="388"/>
                    <a:pt x="694" y="412"/>
                    <a:pt x="669" y="435"/>
                  </a:cubicBezTo>
                  <a:cubicBezTo>
                    <a:pt x="662" y="442"/>
                    <a:pt x="654" y="449"/>
                    <a:pt x="648" y="455"/>
                  </a:cubicBezTo>
                  <a:cubicBezTo>
                    <a:pt x="621" y="483"/>
                    <a:pt x="595" y="496"/>
                    <a:pt x="566" y="496"/>
                  </a:cubicBezTo>
                  <a:close/>
                </a:path>
              </a:pathLst>
            </a:custGeom>
            <a:grpFill/>
            <a:ln w="0">
              <a:noFill/>
              <a:round/>
              <a:headEnd/>
              <a:tailEnd/>
            </a:ln>
          </p:spPr>
          <p:txBody>
            <a:bodyPr/>
            <a:lstStyle/>
            <a:p>
              <a:endParaRPr lang="zh-CN" altLang="en-US"/>
            </a:p>
          </p:txBody>
        </p:sp>
        <p:sp>
          <p:nvSpPr>
            <p:cNvPr id="293" name="Freeform 115"/>
            <p:cNvSpPr>
              <a:spLocks/>
            </p:cNvSpPr>
            <p:nvPr/>
          </p:nvSpPr>
          <p:spPr bwMode="auto">
            <a:xfrm>
              <a:off x="6910388" y="1008063"/>
              <a:ext cx="125413" cy="438150"/>
            </a:xfrm>
            <a:custGeom>
              <a:avLst/>
              <a:gdLst>
                <a:gd name="T0" fmla="*/ 2147483646 w 300"/>
                <a:gd name="T1" fmla="*/ 2147483646 h 1043"/>
                <a:gd name="T2" fmla="*/ 2147483646 w 300"/>
                <a:gd name="T3" fmla="*/ 2147483646 h 1043"/>
                <a:gd name="T4" fmla="*/ 2147483646 w 300"/>
                <a:gd name="T5" fmla="*/ 2147483646 h 1043"/>
                <a:gd name="T6" fmla="*/ 2147483646 w 300"/>
                <a:gd name="T7" fmla="*/ 2147483646 h 1043"/>
                <a:gd name="T8" fmla="*/ 2147483646 w 300"/>
                <a:gd name="T9" fmla="*/ 2147483646 h 1043"/>
                <a:gd name="T10" fmla="*/ 2147483646 w 300"/>
                <a:gd name="T11" fmla="*/ 2147483646 h 1043"/>
                <a:gd name="T12" fmla="*/ 2147483646 w 300"/>
                <a:gd name="T13" fmla="*/ 2147483646 h 1043"/>
                <a:gd name="T14" fmla="*/ 2147483646 w 300"/>
                <a:gd name="T15" fmla="*/ 2147483646 h 1043"/>
                <a:gd name="T16" fmla="*/ 2147483646 w 300"/>
                <a:gd name="T17" fmla="*/ 2147483646 h 1043"/>
                <a:gd name="T18" fmla="*/ 2147483646 w 300"/>
                <a:gd name="T19" fmla="*/ 2147483646 h 10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1043"/>
                <a:gd name="T32" fmla="*/ 300 w 300"/>
                <a:gd name="T33" fmla="*/ 1043 h 10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1043">
                  <a:moveTo>
                    <a:pt x="267" y="1043"/>
                  </a:moveTo>
                  <a:lnTo>
                    <a:pt x="267" y="1043"/>
                  </a:lnTo>
                  <a:cubicBezTo>
                    <a:pt x="248" y="1043"/>
                    <a:pt x="234" y="1028"/>
                    <a:pt x="234" y="1010"/>
                  </a:cubicBezTo>
                  <a:lnTo>
                    <a:pt x="234" y="205"/>
                  </a:lnTo>
                  <a:cubicBezTo>
                    <a:pt x="221" y="182"/>
                    <a:pt x="126" y="119"/>
                    <a:pt x="24" y="68"/>
                  </a:cubicBezTo>
                  <a:cubicBezTo>
                    <a:pt x="7" y="59"/>
                    <a:pt x="0" y="39"/>
                    <a:pt x="9" y="23"/>
                  </a:cubicBezTo>
                  <a:cubicBezTo>
                    <a:pt x="17" y="6"/>
                    <a:pt x="37" y="0"/>
                    <a:pt x="54" y="8"/>
                  </a:cubicBezTo>
                  <a:cubicBezTo>
                    <a:pt x="217" y="91"/>
                    <a:pt x="300" y="156"/>
                    <a:pt x="300" y="202"/>
                  </a:cubicBezTo>
                  <a:lnTo>
                    <a:pt x="300" y="1010"/>
                  </a:lnTo>
                  <a:cubicBezTo>
                    <a:pt x="300" y="1028"/>
                    <a:pt x="285" y="1043"/>
                    <a:pt x="267" y="1043"/>
                  </a:cubicBezTo>
                  <a:close/>
                </a:path>
              </a:pathLst>
            </a:custGeom>
            <a:grpFill/>
            <a:ln w="0">
              <a:noFill/>
              <a:round/>
              <a:headEnd/>
              <a:tailEnd/>
            </a:ln>
          </p:spPr>
          <p:txBody>
            <a:bodyPr/>
            <a:lstStyle/>
            <a:p>
              <a:endParaRPr lang="zh-CN" altLang="en-US"/>
            </a:p>
          </p:txBody>
        </p:sp>
        <p:sp>
          <p:nvSpPr>
            <p:cNvPr id="294" name="Freeform 116"/>
            <p:cNvSpPr>
              <a:spLocks/>
            </p:cNvSpPr>
            <p:nvPr/>
          </p:nvSpPr>
          <p:spPr bwMode="auto">
            <a:xfrm>
              <a:off x="6659563" y="890588"/>
              <a:ext cx="280988" cy="168275"/>
            </a:xfrm>
            <a:custGeom>
              <a:avLst/>
              <a:gdLst>
                <a:gd name="T0" fmla="*/ 2147483646 w 670"/>
                <a:gd name="T1" fmla="*/ 2147483646 h 400"/>
                <a:gd name="T2" fmla="*/ 2147483646 w 670"/>
                <a:gd name="T3" fmla="*/ 2147483646 h 400"/>
                <a:gd name="T4" fmla="*/ 2147483646 w 670"/>
                <a:gd name="T5" fmla="*/ 2147483646 h 400"/>
                <a:gd name="T6" fmla="*/ 2147483646 w 670"/>
                <a:gd name="T7" fmla="*/ 2147483646 h 400"/>
                <a:gd name="T8" fmla="*/ 2147483646 w 670"/>
                <a:gd name="T9" fmla="*/ 2147483646 h 400"/>
                <a:gd name="T10" fmla="*/ 2147483646 w 670"/>
                <a:gd name="T11" fmla="*/ 2147483646 h 400"/>
                <a:gd name="T12" fmla="*/ 2147483646 w 670"/>
                <a:gd name="T13" fmla="*/ 2147483646 h 400"/>
                <a:gd name="T14" fmla="*/ 2147483646 w 670"/>
                <a:gd name="T15" fmla="*/ 2147483646 h 400"/>
                <a:gd name="T16" fmla="*/ 2147483646 w 670"/>
                <a:gd name="T17" fmla="*/ 2147483646 h 400"/>
                <a:gd name="T18" fmla="*/ 2147483646 w 670"/>
                <a:gd name="T19" fmla="*/ 2147483646 h 400"/>
                <a:gd name="T20" fmla="*/ 2147483646 w 670"/>
                <a:gd name="T21" fmla="*/ 2147483646 h 400"/>
                <a:gd name="T22" fmla="*/ 2147483646 w 670"/>
                <a:gd name="T23" fmla="*/ 2147483646 h 400"/>
                <a:gd name="T24" fmla="*/ 2147483646 w 670"/>
                <a:gd name="T25" fmla="*/ 2147483646 h 400"/>
                <a:gd name="T26" fmla="*/ 2147483646 w 670"/>
                <a:gd name="T27" fmla="*/ 2147483646 h 400"/>
                <a:gd name="T28" fmla="*/ 2147483646 w 670"/>
                <a:gd name="T29" fmla="*/ 2147483646 h 400"/>
                <a:gd name="T30" fmla="*/ 2147483646 w 670"/>
                <a:gd name="T31" fmla="*/ 2147483646 h 400"/>
                <a:gd name="T32" fmla="*/ 2147483646 w 670"/>
                <a:gd name="T33" fmla="*/ 2147483646 h 4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0"/>
                <a:gd name="T52" fmla="*/ 0 h 400"/>
                <a:gd name="T53" fmla="*/ 670 w 670"/>
                <a:gd name="T54" fmla="*/ 400 h 4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0" h="400">
                  <a:moveTo>
                    <a:pt x="579" y="400"/>
                  </a:moveTo>
                  <a:lnTo>
                    <a:pt x="579" y="400"/>
                  </a:lnTo>
                  <a:cubicBezTo>
                    <a:pt x="574" y="400"/>
                    <a:pt x="569" y="398"/>
                    <a:pt x="565" y="394"/>
                  </a:cubicBezTo>
                  <a:cubicBezTo>
                    <a:pt x="557" y="387"/>
                    <a:pt x="557" y="374"/>
                    <a:pt x="564" y="366"/>
                  </a:cubicBezTo>
                  <a:cubicBezTo>
                    <a:pt x="572" y="358"/>
                    <a:pt x="580" y="350"/>
                    <a:pt x="588" y="343"/>
                  </a:cubicBezTo>
                  <a:cubicBezTo>
                    <a:pt x="604" y="329"/>
                    <a:pt x="627" y="307"/>
                    <a:pt x="626" y="298"/>
                  </a:cubicBezTo>
                  <a:cubicBezTo>
                    <a:pt x="626" y="297"/>
                    <a:pt x="624" y="289"/>
                    <a:pt x="600" y="279"/>
                  </a:cubicBezTo>
                  <a:cubicBezTo>
                    <a:pt x="566" y="264"/>
                    <a:pt x="156" y="78"/>
                    <a:pt x="118" y="61"/>
                  </a:cubicBezTo>
                  <a:cubicBezTo>
                    <a:pt x="92" y="49"/>
                    <a:pt x="65" y="46"/>
                    <a:pt x="40" y="95"/>
                  </a:cubicBezTo>
                  <a:cubicBezTo>
                    <a:pt x="36" y="105"/>
                    <a:pt x="24" y="109"/>
                    <a:pt x="14" y="104"/>
                  </a:cubicBezTo>
                  <a:cubicBezTo>
                    <a:pt x="4" y="99"/>
                    <a:pt x="0" y="88"/>
                    <a:pt x="5" y="78"/>
                  </a:cubicBezTo>
                  <a:cubicBezTo>
                    <a:pt x="34" y="18"/>
                    <a:pt x="79" y="0"/>
                    <a:pt x="135" y="25"/>
                  </a:cubicBezTo>
                  <a:cubicBezTo>
                    <a:pt x="173" y="41"/>
                    <a:pt x="583" y="227"/>
                    <a:pt x="616" y="242"/>
                  </a:cubicBezTo>
                  <a:cubicBezTo>
                    <a:pt x="646" y="256"/>
                    <a:pt x="662" y="272"/>
                    <a:pt x="665" y="292"/>
                  </a:cubicBezTo>
                  <a:cubicBezTo>
                    <a:pt x="670" y="322"/>
                    <a:pt x="642" y="348"/>
                    <a:pt x="615" y="372"/>
                  </a:cubicBezTo>
                  <a:cubicBezTo>
                    <a:pt x="608" y="379"/>
                    <a:pt x="600" y="387"/>
                    <a:pt x="593" y="394"/>
                  </a:cubicBezTo>
                  <a:cubicBezTo>
                    <a:pt x="589" y="398"/>
                    <a:pt x="584" y="400"/>
                    <a:pt x="579" y="400"/>
                  </a:cubicBezTo>
                  <a:close/>
                </a:path>
              </a:pathLst>
            </a:custGeom>
            <a:grpFill/>
            <a:ln w="0">
              <a:noFill/>
              <a:round/>
              <a:headEnd/>
              <a:tailEnd/>
            </a:ln>
          </p:spPr>
          <p:txBody>
            <a:bodyPr/>
            <a:lstStyle/>
            <a:p>
              <a:endParaRPr lang="zh-CN" altLang="en-US"/>
            </a:p>
          </p:txBody>
        </p:sp>
        <p:sp>
          <p:nvSpPr>
            <p:cNvPr id="295" name="Freeform 117"/>
            <p:cNvSpPr>
              <a:spLocks/>
            </p:cNvSpPr>
            <p:nvPr/>
          </p:nvSpPr>
          <p:spPr bwMode="auto">
            <a:xfrm>
              <a:off x="6981825" y="1422401"/>
              <a:ext cx="82550" cy="263525"/>
            </a:xfrm>
            <a:custGeom>
              <a:avLst/>
              <a:gdLst>
                <a:gd name="T0" fmla="*/ 2147483646 w 197"/>
                <a:gd name="T1" fmla="*/ 2147483646 h 629"/>
                <a:gd name="T2" fmla="*/ 2147483646 w 197"/>
                <a:gd name="T3" fmla="*/ 2147483646 h 629"/>
                <a:gd name="T4" fmla="*/ 0 w 197"/>
                <a:gd name="T5" fmla="*/ 2147483646 h 629"/>
                <a:gd name="T6" fmla="*/ 0 w 197"/>
                <a:gd name="T7" fmla="*/ 2147483646 h 629"/>
                <a:gd name="T8" fmla="*/ 2147483646 w 197"/>
                <a:gd name="T9" fmla="*/ 0 h 629"/>
                <a:gd name="T10" fmla="*/ 2147483646 w 197"/>
                <a:gd name="T11" fmla="*/ 2147483646 h 629"/>
                <a:gd name="T12" fmla="*/ 2147483646 w 197"/>
                <a:gd name="T13" fmla="*/ 2147483646 h 629"/>
                <a:gd name="T14" fmla="*/ 2147483646 w 197"/>
                <a:gd name="T15" fmla="*/ 2147483646 h 629"/>
                <a:gd name="T16" fmla="*/ 2147483646 w 197"/>
                <a:gd name="T17" fmla="*/ 2147483646 h 629"/>
                <a:gd name="T18" fmla="*/ 2147483646 w 197"/>
                <a:gd name="T19" fmla="*/ 2147483646 h 629"/>
                <a:gd name="T20" fmla="*/ 2147483646 w 197"/>
                <a:gd name="T21" fmla="*/ 2147483646 h 629"/>
                <a:gd name="T22" fmla="*/ 2147483646 w 197"/>
                <a:gd name="T23" fmla="*/ 2147483646 h 629"/>
                <a:gd name="T24" fmla="*/ 2147483646 w 197"/>
                <a:gd name="T25" fmla="*/ 2147483646 h 629"/>
                <a:gd name="T26" fmla="*/ 2147483646 w 197"/>
                <a:gd name="T27" fmla="*/ 2147483646 h 629"/>
                <a:gd name="T28" fmla="*/ 2147483646 w 197"/>
                <a:gd name="T29" fmla="*/ 2147483646 h 629"/>
                <a:gd name="T30" fmla="*/ 2147483646 w 197"/>
                <a:gd name="T31" fmla="*/ 2147483646 h 629"/>
                <a:gd name="T32" fmla="*/ 2147483646 w 197"/>
                <a:gd name="T33" fmla="*/ 2147483646 h 629"/>
                <a:gd name="T34" fmla="*/ 2147483646 w 197"/>
                <a:gd name="T35" fmla="*/ 2147483646 h 629"/>
                <a:gd name="T36" fmla="*/ 2147483646 w 197"/>
                <a:gd name="T37" fmla="*/ 2147483646 h 629"/>
                <a:gd name="T38" fmla="*/ 2147483646 w 197"/>
                <a:gd name="T39" fmla="*/ 2147483646 h 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7"/>
                <a:gd name="T61" fmla="*/ 0 h 629"/>
                <a:gd name="T62" fmla="*/ 197 w 197"/>
                <a:gd name="T63" fmla="*/ 629 h 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7" h="629">
                  <a:moveTo>
                    <a:pt x="99" y="629"/>
                  </a:moveTo>
                  <a:lnTo>
                    <a:pt x="99" y="629"/>
                  </a:lnTo>
                  <a:cubicBezTo>
                    <a:pt x="45" y="629"/>
                    <a:pt x="0" y="585"/>
                    <a:pt x="0" y="530"/>
                  </a:cubicBezTo>
                  <a:lnTo>
                    <a:pt x="0" y="98"/>
                  </a:lnTo>
                  <a:cubicBezTo>
                    <a:pt x="0" y="44"/>
                    <a:pt x="45" y="0"/>
                    <a:pt x="99" y="0"/>
                  </a:cubicBezTo>
                  <a:cubicBezTo>
                    <a:pt x="153" y="0"/>
                    <a:pt x="197" y="44"/>
                    <a:pt x="197" y="98"/>
                  </a:cubicBezTo>
                  <a:lnTo>
                    <a:pt x="197" y="227"/>
                  </a:lnTo>
                  <a:cubicBezTo>
                    <a:pt x="197" y="246"/>
                    <a:pt x="182" y="261"/>
                    <a:pt x="164" y="261"/>
                  </a:cubicBezTo>
                  <a:cubicBezTo>
                    <a:pt x="146" y="261"/>
                    <a:pt x="131" y="246"/>
                    <a:pt x="131" y="227"/>
                  </a:cubicBezTo>
                  <a:lnTo>
                    <a:pt x="131" y="98"/>
                  </a:lnTo>
                  <a:cubicBezTo>
                    <a:pt x="131" y="81"/>
                    <a:pt x="116" y="67"/>
                    <a:pt x="99" y="67"/>
                  </a:cubicBezTo>
                  <a:cubicBezTo>
                    <a:pt x="81" y="67"/>
                    <a:pt x="67" y="81"/>
                    <a:pt x="67" y="98"/>
                  </a:cubicBezTo>
                  <a:lnTo>
                    <a:pt x="67" y="530"/>
                  </a:lnTo>
                  <a:cubicBezTo>
                    <a:pt x="67" y="548"/>
                    <a:pt x="81" y="562"/>
                    <a:pt x="99" y="562"/>
                  </a:cubicBezTo>
                  <a:cubicBezTo>
                    <a:pt x="116" y="562"/>
                    <a:pt x="131" y="548"/>
                    <a:pt x="131" y="530"/>
                  </a:cubicBezTo>
                  <a:lnTo>
                    <a:pt x="131" y="429"/>
                  </a:lnTo>
                  <a:cubicBezTo>
                    <a:pt x="131" y="411"/>
                    <a:pt x="146" y="396"/>
                    <a:pt x="164" y="396"/>
                  </a:cubicBezTo>
                  <a:cubicBezTo>
                    <a:pt x="182" y="396"/>
                    <a:pt x="197" y="411"/>
                    <a:pt x="197" y="429"/>
                  </a:cubicBezTo>
                  <a:lnTo>
                    <a:pt x="197" y="530"/>
                  </a:lnTo>
                  <a:cubicBezTo>
                    <a:pt x="197" y="585"/>
                    <a:pt x="153" y="629"/>
                    <a:pt x="99" y="629"/>
                  </a:cubicBezTo>
                  <a:close/>
                </a:path>
              </a:pathLst>
            </a:custGeom>
            <a:grpFill/>
            <a:ln w="0">
              <a:noFill/>
              <a:round/>
              <a:headEnd/>
              <a:tailEnd/>
            </a:ln>
          </p:spPr>
          <p:txBody>
            <a:bodyPr/>
            <a:lstStyle/>
            <a:p>
              <a:endParaRPr lang="zh-CN" altLang="en-US"/>
            </a:p>
          </p:txBody>
        </p:sp>
        <p:sp>
          <p:nvSpPr>
            <p:cNvPr id="296" name="Freeform 118"/>
            <p:cNvSpPr>
              <a:spLocks/>
            </p:cNvSpPr>
            <p:nvPr/>
          </p:nvSpPr>
          <p:spPr bwMode="auto">
            <a:xfrm>
              <a:off x="6904038" y="1604963"/>
              <a:ext cx="227013" cy="138113"/>
            </a:xfrm>
            <a:custGeom>
              <a:avLst/>
              <a:gdLst>
                <a:gd name="T0" fmla="*/ 2147483646 w 540"/>
                <a:gd name="T1" fmla="*/ 2147483646 h 330"/>
                <a:gd name="T2" fmla="*/ 2147483646 w 540"/>
                <a:gd name="T3" fmla="*/ 2147483646 h 330"/>
                <a:gd name="T4" fmla="*/ 2147483646 w 540"/>
                <a:gd name="T5" fmla="*/ 2147483646 h 330"/>
                <a:gd name="T6" fmla="*/ 2147483646 w 540"/>
                <a:gd name="T7" fmla="*/ 2147483646 h 330"/>
                <a:gd name="T8" fmla="*/ 0 w 540"/>
                <a:gd name="T9" fmla="*/ 2147483646 h 330"/>
                <a:gd name="T10" fmla="*/ 2147483646 w 540"/>
                <a:gd name="T11" fmla="*/ 2147483646 h 330"/>
                <a:gd name="T12" fmla="*/ 2147483646 w 540"/>
                <a:gd name="T13" fmla="*/ 2147483646 h 330"/>
                <a:gd name="T14" fmla="*/ 2147483646 w 540"/>
                <a:gd name="T15" fmla="*/ 2147483646 h 330"/>
                <a:gd name="T16" fmla="*/ 2147483646 w 540"/>
                <a:gd name="T17" fmla="*/ 2147483646 h 330"/>
                <a:gd name="T18" fmla="*/ 2147483646 w 540"/>
                <a:gd name="T19" fmla="*/ 2147483646 h 330"/>
                <a:gd name="T20" fmla="*/ 2147483646 w 540"/>
                <a:gd name="T21" fmla="*/ 2147483646 h 330"/>
                <a:gd name="T22" fmla="*/ 2147483646 w 540"/>
                <a:gd name="T23" fmla="*/ 2147483646 h 330"/>
                <a:gd name="T24" fmla="*/ 2147483646 w 540"/>
                <a:gd name="T25" fmla="*/ 2147483646 h 330"/>
                <a:gd name="T26" fmla="*/ 2147483646 w 540"/>
                <a:gd name="T27" fmla="*/ 2147483646 h 330"/>
                <a:gd name="T28" fmla="*/ 2147483646 w 540"/>
                <a:gd name="T29" fmla="*/ 2147483646 h 330"/>
                <a:gd name="T30" fmla="*/ 2147483646 w 540"/>
                <a:gd name="T31" fmla="*/ 2147483646 h 330"/>
                <a:gd name="T32" fmla="*/ 2147483646 w 540"/>
                <a:gd name="T33" fmla="*/ 2147483646 h 330"/>
                <a:gd name="T34" fmla="*/ 2147483646 w 540"/>
                <a:gd name="T35" fmla="*/ 2147483646 h 330"/>
                <a:gd name="T36" fmla="*/ 2147483646 w 540"/>
                <a:gd name="T37" fmla="*/ 2147483646 h 330"/>
                <a:gd name="T38" fmla="*/ 2147483646 w 540"/>
                <a:gd name="T39" fmla="*/ 2147483646 h 3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0"/>
                <a:gd name="T61" fmla="*/ 0 h 330"/>
                <a:gd name="T62" fmla="*/ 540 w 540"/>
                <a:gd name="T63" fmla="*/ 330 h 3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0" h="330">
                  <a:moveTo>
                    <a:pt x="287" y="330"/>
                  </a:moveTo>
                  <a:lnTo>
                    <a:pt x="287" y="330"/>
                  </a:lnTo>
                  <a:cubicBezTo>
                    <a:pt x="281" y="330"/>
                    <a:pt x="275" y="329"/>
                    <a:pt x="270" y="325"/>
                  </a:cubicBezTo>
                  <a:lnTo>
                    <a:pt x="16" y="168"/>
                  </a:lnTo>
                  <a:cubicBezTo>
                    <a:pt x="6" y="162"/>
                    <a:pt x="0" y="151"/>
                    <a:pt x="0" y="139"/>
                  </a:cubicBezTo>
                  <a:cubicBezTo>
                    <a:pt x="1" y="127"/>
                    <a:pt x="7" y="116"/>
                    <a:pt x="17" y="110"/>
                  </a:cubicBezTo>
                  <a:lnTo>
                    <a:pt x="201" y="9"/>
                  </a:lnTo>
                  <a:cubicBezTo>
                    <a:pt x="217" y="0"/>
                    <a:pt x="237" y="6"/>
                    <a:pt x="246" y="22"/>
                  </a:cubicBezTo>
                  <a:cubicBezTo>
                    <a:pt x="255" y="38"/>
                    <a:pt x="249" y="58"/>
                    <a:pt x="233" y="67"/>
                  </a:cubicBezTo>
                  <a:lnTo>
                    <a:pt x="99" y="141"/>
                  </a:lnTo>
                  <a:lnTo>
                    <a:pt x="288" y="258"/>
                  </a:lnTo>
                  <a:lnTo>
                    <a:pt x="440" y="166"/>
                  </a:lnTo>
                  <a:lnTo>
                    <a:pt x="331" y="104"/>
                  </a:lnTo>
                  <a:cubicBezTo>
                    <a:pt x="315" y="95"/>
                    <a:pt x="309" y="75"/>
                    <a:pt x="318" y="59"/>
                  </a:cubicBezTo>
                  <a:cubicBezTo>
                    <a:pt x="327" y="43"/>
                    <a:pt x="347" y="37"/>
                    <a:pt x="363" y="46"/>
                  </a:cubicBezTo>
                  <a:lnTo>
                    <a:pt x="523" y="136"/>
                  </a:lnTo>
                  <a:cubicBezTo>
                    <a:pt x="533" y="141"/>
                    <a:pt x="540" y="152"/>
                    <a:pt x="540" y="164"/>
                  </a:cubicBezTo>
                  <a:cubicBezTo>
                    <a:pt x="540" y="176"/>
                    <a:pt x="534" y="187"/>
                    <a:pt x="524" y="193"/>
                  </a:cubicBezTo>
                  <a:lnTo>
                    <a:pt x="305" y="326"/>
                  </a:lnTo>
                  <a:cubicBezTo>
                    <a:pt x="299" y="329"/>
                    <a:pt x="293" y="330"/>
                    <a:pt x="287" y="330"/>
                  </a:cubicBezTo>
                  <a:close/>
                </a:path>
              </a:pathLst>
            </a:custGeom>
            <a:grpFill/>
            <a:ln w="0">
              <a:noFill/>
              <a:round/>
              <a:headEnd/>
              <a:tailEnd/>
            </a:ln>
          </p:spPr>
          <p:txBody>
            <a:bodyPr/>
            <a:lstStyle/>
            <a:p>
              <a:endParaRPr lang="zh-CN" altLang="en-US"/>
            </a:p>
          </p:txBody>
        </p:sp>
        <p:sp>
          <p:nvSpPr>
            <p:cNvPr id="297" name="Freeform 119"/>
            <p:cNvSpPr>
              <a:spLocks/>
            </p:cNvSpPr>
            <p:nvPr/>
          </p:nvSpPr>
          <p:spPr bwMode="auto">
            <a:xfrm>
              <a:off x="7021513" y="1479551"/>
              <a:ext cx="57150" cy="58738"/>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98" name="Freeform 120"/>
            <p:cNvSpPr>
              <a:spLocks/>
            </p:cNvSpPr>
            <p:nvPr/>
          </p:nvSpPr>
          <p:spPr bwMode="auto">
            <a:xfrm>
              <a:off x="7021513" y="1570038"/>
              <a:ext cx="57150" cy="57150"/>
            </a:xfrm>
            <a:custGeom>
              <a:avLst/>
              <a:gdLst>
                <a:gd name="T0" fmla="*/ 0 w 138"/>
                <a:gd name="T1" fmla="*/ 2147483646 h 138"/>
                <a:gd name="T2" fmla="*/ 0 w 138"/>
                <a:gd name="T3" fmla="*/ 2147483646 h 138"/>
                <a:gd name="T4" fmla="*/ 2147483646 w 138"/>
                <a:gd name="T5" fmla="*/ 0 h 138"/>
                <a:gd name="T6" fmla="*/ 2147483646 w 138"/>
                <a:gd name="T7" fmla="*/ 2147483646 h 138"/>
                <a:gd name="T8" fmla="*/ 2147483646 w 138"/>
                <a:gd name="T9" fmla="*/ 2147483646 h 138"/>
                <a:gd name="T10" fmla="*/ 0 w 138"/>
                <a:gd name="T11" fmla="*/ 2147483646 h 138"/>
                <a:gd name="T12" fmla="*/ 0 60000 65536"/>
                <a:gd name="T13" fmla="*/ 0 60000 65536"/>
                <a:gd name="T14" fmla="*/ 0 60000 65536"/>
                <a:gd name="T15" fmla="*/ 0 60000 65536"/>
                <a:gd name="T16" fmla="*/ 0 60000 65536"/>
                <a:gd name="T17" fmla="*/ 0 60000 65536"/>
                <a:gd name="T18" fmla="*/ 0 w 138"/>
                <a:gd name="T19" fmla="*/ 0 h 138"/>
                <a:gd name="T20" fmla="*/ 138 w 138"/>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8" h="138">
                  <a:moveTo>
                    <a:pt x="0" y="69"/>
                  </a:moveTo>
                  <a:lnTo>
                    <a:pt x="0" y="69"/>
                  </a:lnTo>
                  <a:cubicBezTo>
                    <a:pt x="0" y="30"/>
                    <a:pt x="31" y="0"/>
                    <a:pt x="69" y="0"/>
                  </a:cubicBezTo>
                  <a:cubicBezTo>
                    <a:pt x="107" y="0"/>
                    <a:pt x="138" y="30"/>
                    <a:pt x="138" y="69"/>
                  </a:cubicBezTo>
                  <a:cubicBezTo>
                    <a:pt x="138" y="107"/>
                    <a:pt x="107" y="138"/>
                    <a:pt x="69" y="138"/>
                  </a:cubicBezTo>
                  <a:cubicBezTo>
                    <a:pt x="31" y="138"/>
                    <a:pt x="0" y="107"/>
                    <a:pt x="0" y="69"/>
                  </a:cubicBezTo>
                  <a:close/>
                </a:path>
              </a:pathLst>
            </a:custGeom>
            <a:grpFill/>
            <a:ln w="0">
              <a:noFill/>
              <a:round/>
              <a:headEnd/>
              <a:tailEnd/>
            </a:ln>
          </p:spPr>
          <p:txBody>
            <a:bodyPr/>
            <a:lstStyle/>
            <a:p>
              <a:endParaRPr lang="zh-CN" altLang="en-US"/>
            </a:p>
          </p:txBody>
        </p:sp>
        <p:sp>
          <p:nvSpPr>
            <p:cNvPr id="299" name="Freeform 121"/>
            <p:cNvSpPr>
              <a:spLocks/>
            </p:cNvSpPr>
            <p:nvPr/>
          </p:nvSpPr>
          <p:spPr bwMode="auto">
            <a:xfrm>
              <a:off x="6762750" y="788988"/>
              <a:ext cx="193675" cy="114300"/>
            </a:xfrm>
            <a:custGeom>
              <a:avLst/>
              <a:gdLst>
                <a:gd name="T0" fmla="*/ 2147483646 w 462"/>
                <a:gd name="T1" fmla="*/ 2147483646 h 272"/>
                <a:gd name="T2" fmla="*/ 2147483646 w 462"/>
                <a:gd name="T3" fmla="*/ 2147483646 h 272"/>
                <a:gd name="T4" fmla="*/ 2147483646 w 462"/>
                <a:gd name="T5" fmla="*/ 2147483646 h 272"/>
                <a:gd name="T6" fmla="*/ 2147483646 w 462"/>
                <a:gd name="T7" fmla="*/ 2147483646 h 272"/>
                <a:gd name="T8" fmla="*/ 2147483646 w 462"/>
                <a:gd name="T9" fmla="*/ 2147483646 h 272"/>
                <a:gd name="T10" fmla="*/ 2147483646 w 462"/>
                <a:gd name="T11" fmla="*/ 2147483646 h 272"/>
                <a:gd name="T12" fmla="*/ 2147483646 w 462"/>
                <a:gd name="T13" fmla="*/ 2147483646 h 272"/>
                <a:gd name="T14" fmla="*/ 2147483646 w 462"/>
                <a:gd name="T15" fmla="*/ 2147483646 h 272"/>
                <a:gd name="T16" fmla="*/ 2147483646 w 462"/>
                <a:gd name="T17" fmla="*/ 2147483646 h 272"/>
                <a:gd name="T18" fmla="*/ 2147483646 w 462"/>
                <a:gd name="T19" fmla="*/ 2147483646 h 272"/>
                <a:gd name="T20" fmla="*/ 2147483646 w 462"/>
                <a:gd name="T21" fmla="*/ 2147483646 h 2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2"/>
                <a:gd name="T34" fmla="*/ 0 h 272"/>
                <a:gd name="T35" fmla="*/ 462 w 462"/>
                <a:gd name="T36" fmla="*/ 272 h 2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2" h="272">
                  <a:moveTo>
                    <a:pt x="424" y="272"/>
                  </a:moveTo>
                  <a:lnTo>
                    <a:pt x="424" y="272"/>
                  </a:lnTo>
                  <a:cubicBezTo>
                    <a:pt x="411" y="272"/>
                    <a:pt x="398" y="263"/>
                    <a:pt x="393" y="250"/>
                  </a:cubicBezTo>
                  <a:cubicBezTo>
                    <a:pt x="368" y="183"/>
                    <a:pt x="318" y="130"/>
                    <a:pt x="254" y="100"/>
                  </a:cubicBezTo>
                  <a:cubicBezTo>
                    <a:pt x="189" y="71"/>
                    <a:pt x="116" y="68"/>
                    <a:pt x="49" y="93"/>
                  </a:cubicBezTo>
                  <a:cubicBezTo>
                    <a:pt x="32" y="100"/>
                    <a:pt x="13" y="91"/>
                    <a:pt x="6" y="74"/>
                  </a:cubicBezTo>
                  <a:cubicBezTo>
                    <a:pt x="0" y="56"/>
                    <a:pt x="9" y="37"/>
                    <a:pt x="26" y="31"/>
                  </a:cubicBezTo>
                  <a:cubicBezTo>
                    <a:pt x="109" y="0"/>
                    <a:pt x="200" y="3"/>
                    <a:pt x="281" y="40"/>
                  </a:cubicBezTo>
                  <a:cubicBezTo>
                    <a:pt x="362" y="77"/>
                    <a:pt x="424" y="143"/>
                    <a:pt x="455" y="227"/>
                  </a:cubicBezTo>
                  <a:cubicBezTo>
                    <a:pt x="462" y="244"/>
                    <a:pt x="453" y="263"/>
                    <a:pt x="436" y="270"/>
                  </a:cubicBezTo>
                  <a:cubicBezTo>
                    <a:pt x="432" y="271"/>
                    <a:pt x="428" y="272"/>
                    <a:pt x="424" y="272"/>
                  </a:cubicBezTo>
                  <a:close/>
                </a:path>
              </a:pathLst>
            </a:custGeom>
            <a:grpFill/>
            <a:ln w="0">
              <a:noFill/>
              <a:round/>
              <a:headEnd/>
              <a:tailEnd/>
            </a:ln>
          </p:spPr>
          <p:txBody>
            <a:bodyPr/>
            <a:lstStyle/>
            <a:p>
              <a:endParaRPr lang="zh-CN" altLang="en-US"/>
            </a:p>
          </p:txBody>
        </p:sp>
        <p:sp>
          <p:nvSpPr>
            <p:cNvPr id="300" name="Freeform 122"/>
            <p:cNvSpPr>
              <a:spLocks/>
            </p:cNvSpPr>
            <p:nvPr/>
          </p:nvSpPr>
          <p:spPr bwMode="auto">
            <a:xfrm>
              <a:off x="6797675" y="847726"/>
              <a:ext cx="96838" cy="63500"/>
            </a:xfrm>
            <a:custGeom>
              <a:avLst/>
              <a:gdLst>
                <a:gd name="T0" fmla="*/ 2147483646 w 228"/>
                <a:gd name="T1" fmla="*/ 2147483646 h 148"/>
                <a:gd name="T2" fmla="*/ 2147483646 w 228"/>
                <a:gd name="T3" fmla="*/ 2147483646 h 148"/>
                <a:gd name="T4" fmla="*/ 2147483646 w 228"/>
                <a:gd name="T5" fmla="*/ 2147483646 h 148"/>
                <a:gd name="T6" fmla="*/ 2147483646 w 228"/>
                <a:gd name="T7" fmla="*/ 2147483646 h 148"/>
                <a:gd name="T8" fmla="*/ 2147483646 w 228"/>
                <a:gd name="T9" fmla="*/ 2147483646 h 148"/>
                <a:gd name="T10" fmla="*/ 2147483646 w 228"/>
                <a:gd name="T11" fmla="*/ 2147483646 h 148"/>
                <a:gd name="T12" fmla="*/ 2147483646 w 228"/>
                <a:gd name="T13" fmla="*/ 2147483646 h 148"/>
                <a:gd name="T14" fmla="*/ 2147483646 w 228"/>
                <a:gd name="T15" fmla="*/ 2147483646 h 148"/>
                <a:gd name="T16" fmla="*/ 2147483646 w 228"/>
                <a:gd name="T17" fmla="*/ 2147483646 h 148"/>
                <a:gd name="T18" fmla="*/ 2147483646 w 228"/>
                <a:gd name="T19" fmla="*/ 2147483646 h 148"/>
                <a:gd name="T20" fmla="*/ 2147483646 w 228"/>
                <a:gd name="T21" fmla="*/ 2147483646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8"/>
                <a:gd name="T34" fmla="*/ 0 h 148"/>
                <a:gd name="T35" fmla="*/ 228 w 22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8" h="148">
                  <a:moveTo>
                    <a:pt x="190" y="148"/>
                  </a:moveTo>
                  <a:lnTo>
                    <a:pt x="190" y="148"/>
                  </a:lnTo>
                  <a:cubicBezTo>
                    <a:pt x="177" y="148"/>
                    <a:pt x="164" y="140"/>
                    <a:pt x="159" y="126"/>
                  </a:cubicBezTo>
                  <a:cubicBezTo>
                    <a:pt x="151" y="105"/>
                    <a:pt x="135" y="88"/>
                    <a:pt x="115" y="79"/>
                  </a:cubicBezTo>
                  <a:cubicBezTo>
                    <a:pt x="94" y="69"/>
                    <a:pt x="71" y="68"/>
                    <a:pt x="49" y="76"/>
                  </a:cubicBezTo>
                  <a:cubicBezTo>
                    <a:pt x="32" y="83"/>
                    <a:pt x="13" y="74"/>
                    <a:pt x="6" y="57"/>
                  </a:cubicBezTo>
                  <a:cubicBezTo>
                    <a:pt x="0" y="39"/>
                    <a:pt x="9" y="20"/>
                    <a:pt x="26" y="14"/>
                  </a:cubicBezTo>
                  <a:cubicBezTo>
                    <a:pt x="64" y="0"/>
                    <a:pt x="105" y="1"/>
                    <a:pt x="142" y="18"/>
                  </a:cubicBezTo>
                  <a:cubicBezTo>
                    <a:pt x="179" y="35"/>
                    <a:pt x="207" y="65"/>
                    <a:pt x="222" y="103"/>
                  </a:cubicBezTo>
                  <a:cubicBezTo>
                    <a:pt x="228" y="120"/>
                    <a:pt x="219" y="139"/>
                    <a:pt x="202" y="146"/>
                  </a:cubicBezTo>
                  <a:cubicBezTo>
                    <a:pt x="198" y="147"/>
                    <a:pt x="194" y="148"/>
                    <a:pt x="190" y="148"/>
                  </a:cubicBezTo>
                  <a:close/>
                </a:path>
              </a:pathLst>
            </a:custGeom>
            <a:grpFill/>
            <a:ln w="0">
              <a:noFill/>
              <a:round/>
              <a:headEnd/>
              <a:tailEnd/>
            </a:ln>
          </p:spPr>
          <p:txBody>
            <a:bodyPr/>
            <a:lstStyle/>
            <a:p>
              <a:endParaRPr lang="zh-CN" altLang="en-US"/>
            </a:p>
          </p:txBody>
        </p:sp>
      </p:grpSp>
      <p:grpSp>
        <p:nvGrpSpPr>
          <p:cNvPr id="231" name="组合 45"/>
          <p:cNvGrpSpPr/>
          <p:nvPr/>
        </p:nvGrpSpPr>
        <p:grpSpPr bwMode="auto">
          <a:xfrm>
            <a:off x="1788649" y="3954517"/>
            <a:ext cx="924562" cy="772966"/>
            <a:chOff x="840284" y="1491630"/>
            <a:chExt cx="1149665" cy="829219"/>
          </a:xfrm>
          <a:solidFill>
            <a:schemeClr val="bg1"/>
          </a:solidFill>
        </p:grpSpPr>
        <p:grpSp>
          <p:nvGrpSpPr>
            <p:cNvPr id="235" name="组合 291"/>
            <p:cNvGrpSpPr/>
            <p:nvPr/>
          </p:nvGrpSpPr>
          <p:grpSpPr>
            <a:xfrm>
              <a:off x="1547664" y="1893404"/>
              <a:ext cx="442285" cy="427445"/>
              <a:chOff x="10677525" y="3533775"/>
              <a:chExt cx="1173163" cy="868363"/>
            </a:xfrm>
            <a:grpFill/>
          </p:grpSpPr>
          <p:sp>
            <p:nvSpPr>
              <p:cNvPr id="314" name="Freeform 72"/>
              <p:cNvSpPr>
                <a:spLocks/>
              </p:cNvSpPr>
              <p:nvPr/>
            </p:nvSpPr>
            <p:spPr bwMode="auto">
              <a:xfrm>
                <a:off x="10677525" y="3533775"/>
                <a:ext cx="293688" cy="222250"/>
              </a:xfrm>
              <a:custGeom>
                <a:avLst/>
                <a:gdLst/>
                <a:ahLst/>
                <a:cxnLst>
                  <a:cxn ang="0">
                    <a:pos x="169" y="113"/>
                  </a:cxn>
                  <a:cxn ang="0">
                    <a:pos x="209" y="91"/>
                  </a:cxn>
                  <a:cxn ang="0">
                    <a:pos x="251" y="78"/>
                  </a:cxn>
                  <a:cxn ang="0">
                    <a:pos x="297" y="73"/>
                  </a:cxn>
                  <a:cxn ang="0">
                    <a:pos x="342" y="76"/>
                  </a:cxn>
                  <a:cxn ang="0">
                    <a:pos x="349" y="76"/>
                  </a:cxn>
                  <a:cxn ang="0">
                    <a:pos x="356" y="73"/>
                  </a:cxn>
                  <a:cxn ang="0">
                    <a:pos x="361" y="64"/>
                  </a:cxn>
                  <a:cxn ang="0">
                    <a:pos x="369" y="24"/>
                  </a:cxn>
                  <a:cxn ang="0">
                    <a:pos x="366" y="12"/>
                  </a:cxn>
                  <a:cxn ang="0">
                    <a:pos x="363" y="7"/>
                  </a:cxn>
                  <a:cxn ang="0">
                    <a:pos x="356" y="5"/>
                  </a:cxn>
                  <a:cxn ang="0">
                    <a:pos x="295" y="0"/>
                  </a:cxn>
                  <a:cxn ang="0">
                    <a:pos x="236" y="7"/>
                  </a:cxn>
                  <a:cxn ang="0">
                    <a:pos x="180" y="25"/>
                  </a:cxn>
                  <a:cxn ang="0">
                    <a:pos x="127" y="54"/>
                  </a:cxn>
                  <a:cxn ang="0">
                    <a:pos x="113" y="64"/>
                  </a:cxn>
                  <a:cxn ang="0">
                    <a:pos x="91" y="83"/>
                  </a:cxn>
                  <a:cxn ang="0">
                    <a:pos x="54" y="125"/>
                  </a:cxn>
                  <a:cxn ang="0">
                    <a:pos x="25" y="174"/>
                  </a:cxn>
                  <a:cxn ang="0">
                    <a:pos x="7" y="226"/>
                  </a:cxn>
                  <a:cxn ang="0">
                    <a:pos x="0" y="255"/>
                  </a:cxn>
                  <a:cxn ang="0">
                    <a:pos x="3" y="267"/>
                  </a:cxn>
                  <a:cxn ang="0">
                    <a:pos x="13" y="273"/>
                  </a:cxn>
                  <a:cxn ang="0">
                    <a:pos x="54" y="280"/>
                  </a:cxn>
                  <a:cxn ang="0">
                    <a:pos x="66" y="277"/>
                  </a:cxn>
                  <a:cxn ang="0">
                    <a:pos x="69" y="272"/>
                  </a:cxn>
                  <a:cxn ang="0">
                    <a:pos x="73" y="267"/>
                  </a:cxn>
                  <a:cxn ang="0">
                    <a:pos x="83" y="224"/>
                  </a:cxn>
                  <a:cxn ang="0">
                    <a:pos x="101" y="186"/>
                  </a:cxn>
                  <a:cxn ang="0">
                    <a:pos x="127" y="152"/>
                  </a:cxn>
                  <a:cxn ang="0">
                    <a:pos x="157" y="122"/>
                  </a:cxn>
                  <a:cxn ang="0">
                    <a:pos x="169" y="113"/>
                  </a:cxn>
                </a:cxnLst>
                <a:rect l="0" t="0" r="r" b="b"/>
                <a:pathLst>
                  <a:path w="369" h="280">
                    <a:moveTo>
                      <a:pt x="169" y="113"/>
                    </a:moveTo>
                    <a:lnTo>
                      <a:pt x="169" y="113"/>
                    </a:lnTo>
                    <a:lnTo>
                      <a:pt x="189" y="101"/>
                    </a:lnTo>
                    <a:lnTo>
                      <a:pt x="209" y="91"/>
                    </a:lnTo>
                    <a:lnTo>
                      <a:pt x="229" y="84"/>
                    </a:lnTo>
                    <a:lnTo>
                      <a:pt x="251" y="78"/>
                    </a:lnTo>
                    <a:lnTo>
                      <a:pt x="273" y="74"/>
                    </a:lnTo>
                    <a:lnTo>
                      <a:pt x="297" y="73"/>
                    </a:lnTo>
                    <a:lnTo>
                      <a:pt x="319" y="73"/>
                    </a:lnTo>
                    <a:lnTo>
                      <a:pt x="342" y="76"/>
                    </a:lnTo>
                    <a:lnTo>
                      <a:pt x="342" y="76"/>
                    </a:lnTo>
                    <a:lnTo>
                      <a:pt x="349" y="76"/>
                    </a:lnTo>
                    <a:lnTo>
                      <a:pt x="356" y="73"/>
                    </a:lnTo>
                    <a:lnTo>
                      <a:pt x="356" y="73"/>
                    </a:lnTo>
                    <a:lnTo>
                      <a:pt x="359" y="69"/>
                    </a:lnTo>
                    <a:lnTo>
                      <a:pt x="361" y="64"/>
                    </a:lnTo>
                    <a:lnTo>
                      <a:pt x="369" y="24"/>
                    </a:lnTo>
                    <a:lnTo>
                      <a:pt x="369" y="24"/>
                    </a:lnTo>
                    <a:lnTo>
                      <a:pt x="369" y="17"/>
                    </a:lnTo>
                    <a:lnTo>
                      <a:pt x="366" y="12"/>
                    </a:lnTo>
                    <a:lnTo>
                      <a:pt x="366" y="12"/>
                    </a:lnTo>
                    <a:lnTo>
                      <a:pt x="363" y="7"/>
                    </a:lnTo>
                    <a:lnTo>
                      <a:pt x="356" y="5"/>
                    </a:lnTo>
                    <a:lnTo>
                      <a:pt x="356" y="5"/>
                    </a:lnTo>
                    <a:lnTo>
                      <a:pt x="326" y="0"/>
                    </a:lnTo>
                    <a:lnTo>
                      <a:pt x="295" y="0"/>
                    </a:lnTo>
                    <a:lnTo>
                      <a:pt x="267" y="2"/>
                    </a:lnTo>
                    <a:lnTo>
                      <a:pt x="236" y="7"/>
                    </a:lnTo>
                    <a:lnTo>
                      <a:pt x="207" y="14"/>
                    </a:lnTo>
                    <a:lnTo>
                      <a:pt x="180" y="25"/>
                    </a:lnTo>
                    <a:lnTo>
                      <a:pt x="153" y="37"/>
                    </a:lnTo>
                    <a:lnTo>
                      <a:pt x="127" y="54"/>
                    </a:lnTo>
                    <a:lnTo>
                      <a:pt x="127" y="54"/>
                    </a:lnTo>
                    <a:lnTo>
                      <a:pt x="113" y="64"/>
                    </a:lnTo>
                    <a:lnTo>
                      <a:pt x="113" y="64"/>
                    </a:lnTo>
                    <a:lnTo>
                      <a:pt x="91" y="83"/>
                    </a:lnTo>
                    <a:lnTo>
                      <a:pt x="71" y="103"/>
                    </a:lnTo>
                    <a:lnTo>
                      <a:pt x="54" y="125"/>
                    </a:lnTo>
                    <a:lnTo>
                      <a:pt x="39" y="149"/>
                    </a:lnTo>
                    <a:lnTo>
                      <a:pt x="25" y="174"/>
                    </a:lnTo>
                    <a:lnTo>
                      <a:pt x="15" y="199"/>
                    </a:lnTo>
                    <a:lnTo>
                      <a:pt x="7" y="226"/>
                    </a:lnTo>
                    <a:lnTo>
                      <a:pt x="0" y="255"/>
                    </a:lnTo>
                    <a:lnTo>
                      <a:pt x="0" y="255"/>
                    </a:lnTo>
                    <a:lnTo>
                      <a:pt x="0" y="262"/>
                    </a:lnTo>
                    <a:lnTo>
                      <a:pt x="3" y="267"/>
                    </a:lnTo>
                    <a:lnTo>
                      <a:pt x="7" y="270"/>
                    </a:lnTo>
                    <a:lnTo>
                      <a:pt x="13" y="273"/>
                    </a:lnTo>
                    <a:lnTo>
                      <a:pt x="54" y="280"/>
                    </a:lnTo>
                    <a:lnTo>
                      <a:pt x="54" y="280"/>
                    </a:lnTo>
                    <a:lnTo>
                      <a:pt x="61" y="280"/>
                    </a:lnTo>
                    <a:lnTo>
                      <a:pt x="66" y="277"/>
                    </a:lnTo>
                    <a:lnTo>
                      <a:pt x="66" y="277"/>
                    </a:lnTo>
                    <a:lnTo>
                      <a:pt x="69" y="272"/>
                    </a:lnTo>
                    <a:lnTo>
                      <a:pt x="73" y="267"/>
                    </a:lnTo>
                    <a:lnTo>
                      <a:pt x="73" y="267"/>
                    </a:lnTo>
                    <a:lnTo>
                      <a:pt x="76" y="246"/>
                    </a:lnTo>
                    <a:lnTo>
                      <a:pt x="83" y="224"/>
                    </a:lnTo>
                    <a:lnTo>
                      <a:pt x="91" y="206"/>
                    </a:lnTo>
                    <a:lnTo>
                      <a:pt x="101" y="186"/>
                    </a:lnTo>
                    <a:lnTo>
                      <a:pt x="113" y="169"/>
                    </a:lnTo>
                    <a:lnTo>
                      <a:pt x="127" y="152"/>
                    </a:lnTo>
                    <a:lnTo>
                      <a:pt x="142" y="137"/>
                    </a:lnTo>
                    <a:lnTo>
                      <a:pt x="157" y="122"/>
                    </a:lnTo>
                    <a:lnTo>
                      <a:pt x="157" y="122"/>
                    </a:lnTo>
                    <a:lnTo>
                      <a:pt x="169" y="113"/>
                    </a:lnTo>
                    <a:lnTo>
                      <a:pt x="169" y="113"/>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5" name="Freeform 73"/>
              <p:cNvSpPr>
                <a:spLocks/>
              </p:cNvSpPr>
              <p:nvPr/>
            </p:nvSpPr>
            <p:spPr bwMode="auto">
              <a:xfrm>
                <a:off x="10777538" y="3632200"/>
                <a:ext cx="165100" cy="131763"/>
              </a:xfrm>
              <a:custGeom>
                <a:avLst/>
                <a:gdLst/>
                <a:ahLst/>
                <a:cxnLst>
                  <a:cxn ang="0">
                    <a:pos x="69" y="31"/>
                  </a:cxn>
                  <a:cxn ang="0">
                    <a:pos x="69" y="31"/>
                  </a:cxn>
                  <a:cxn ang="0">
                    <a:pos x="62" y="37"/>
                  </a:cxn>
                  <a:cxn ang="0">
                    <a:pos x="62" y="37"/>
                  </a:cxn>
                  <a:cxn ang="0">
                    <a:pos x="48" y="47"/>
                  </a:cxn>
                  <a:cxn ang="0">
                    <a:pos x="38" y="58"/>
                  </a:cxn>
                  <a:cxn ang="0">
                    <a:pos x="28" y="71"/>
                  </a:cxn>
                  <a:cxn ang="0">
                    <a:pos x="20" y="83"/>
                  </a:cxn>
                  <a:cxn ang="0">
                    <a:pos x="13" y="96"/>
                  </a:cxn>
                  <a:cxn ang="0">
                    <a:pos x="6" y="112"/>
                  </a:cxn>
                  <a:cxn ang="0">
                    <a:pos x="3" y="127"/>
                  </a:cxn>
                  <a:cxn ang="0">
                    <a:pos x="0" y="142"/>
                  </a:cxn>
                  <a:cxn ang="0">
                    <a:pos x="0" y="142"/>
                  </a:cxn>
                  <a:cxn ang="0">
                    <a:pos x="0" y="149"/>
                  </a:cxn>
                  <a:cxn ang="0">
                    <a:pos x="1" y="154"/>
                  </a:cxn>
                  <a:cxn ang="0">
                    <a:pos x="6" y="157"/>
                  </a:cxn>
                  <a:cxn ang="0">
                    <a:pos x="11" y="160"/>
                  </a:cxn>
                  <a:cxn ang="0">
                    <a:pos x="53" y="167"/>
                  </a:cxn>
                  <a:cxn ang="0">
                    <a:pos x="53" y="167"/>
                  </a:cxn>
                  <a:cxn ang="0">
                    <a:pos x="59" y="167"/>
                  </a:cxn>
                  <a:cxn ang="0">
                    <a:pos x="65" y="164"/>
                  </a:cxn>
                  <a:cxn ang="0">
                    <a:pos x="65" y="164"/>
                  </a:cxn>
                  <a:cxn ang="0">
                    <a:pos x="69" y="159"/>
                  </a:cxn>
                  <a:cxn ang="0">
                    <a:pos x="70" y="154"/>
                  </a:cxn>
                  <a:cxn ang="0">
                    <a:pos x="70" y="154"/>
                  </a:cxn>
                  <a:cxn ang="0">
                    <a:pos x="75" y="137"/>
                  </a:cxn>
                  <a:cxn ang="0">
                    <a:pos x="82" y="120"/>
                  </a:cxn>
                  <a:cxn ang="0">
                    <a:pos x="94" y="107"/>
                  </a:cxn>
                  <a:cxn ang="0">
                    <a:pos x="106" y="93"/>
                  </a:cxn>
                  <a:cxn ang="0">
                    <a:pos x="106" y="93"/>
                  </a:cxn>
                  <a:cxn ang="0">
                    <a:pos x="111" y="90"/>
                  </a:cxn>
                  <a:cxn ang="0">
                    <a:pos x="111" y="90"/>
                  </a:cxn>
                  <a:cxn ang="0">
                    <a:pos x="128" y="81"/>
                  </a:cxn>
                  <a:cxn ang="0">
                    <a:pos x="145" y="76"/>
                  </a:cxn>
                  <a:cxn ang="0">
                    <a:pos x="163" y="73"/>
                  </a:cxn>
                  <a:cxn ang="0">
                    <a:pos x="182" y="74"/>
                  </a:cxn>
                  <a:cxn ang="0">
                    <a:pos x="182" y="74"/>
                  </a:cxn>
                  <a:cxn ang="0">
                    <a:pos x="188" y="74"/>
                  </a:cxn>
                  <a:cxn ang="0">
                    <a:pos x="193" y="71"/>
                  </a:cxn>
                  <a:cxn ang="0">
                    <a:pos x="193" y="71"/>
                  </a:cxn>
                  <a:cxn ang="0">
                    <a:pos x="197" y="68"/>
                  </a:cxn>
                  <a:cxn ang="0">
                    <a:pos x="200" y="63"/>
                  </a:cxn>
                  <a:cxn ang="0">
                    <a:pos x="207" y="22"/>
                  </a:cxn>
                  <a:cxn ang="0">
                    <a:pos x="207" y="22"/>
                  </a:cxn>
                  <a:cxn ang="0">
                    <a:pos x="207" y="15"/>
                  </a:cxn>
                  <a:cxn ang="0">
                    <a:pos x="205" y="9"/>
                  </a:cxn>
                  <a:cxn ang="0">
                    <a:pos x="205" y="9"/>
                  </a:cxn>
                  <a:cxn ang="0">
                    <a:pos x="200" y="5"/>
                  </a:cxn>
                  <a:cxn ang="0">
                    <a:pos x="195" y="4"/>
                  </a:cxn>
                  <a:cxn ang="0">
                    <a:pos x="195" y="4"/>
                  </a:cxn>
                  <a:cxn ang="0">
                    <a:pos x="178" y="0"/>
                  </a:cxn>
                  <a:cxn ang="0">
                    <a:pos x="161" y="0"/>
                  </a:cxn>
                  <a:cxn ang="0">
                    <a:pos x="146" y="2"/>
                  </a:cxn>
                  <a:cxn ang="0">
                    <a:pos x="129" y="4"/>
                  </a:cxn>
                  <a:cxn ang="0">
                    <a:pos x="114" y="9"/>
                  </a:cxn>
                  <a:cxn ang="0">
                    <a:pos x="99" y="14"/>
                  </a:cxn>
                  <a:cxn ang="0">
                    <a:pos x="84" y="22"/>
                  </a:cxn>
                  <a:cxn ang="0">
                    <a:pos x="69" y="31"/>
                  </a:cxn>
                  <a:cxn ang="0">
                    <a:pos x="69" y="31"/>
                  </a:cxn>
                </a:cxnLst>
                <a:rect l="0" t="0" r="r" b="b"/>
                <a:pathLst>
                  <a:path w="207" h="167">
                    <a:moveTo>
                      <a:pt x="69" y="31"/>
                    </a:moveTo>
                    <a:lnTo>
                      <a:pt x="69" y="31"/>
                    </a:lnTo>
                    <a:lnTo>
                      <a:pt x="62" y="37"/>
                    </a:lnTo>
                    <a:lnTo>
                      <a:pt x="62" y="37"/>
                    </a:lnTo>
                    <a:lnTo>
                      <a:pt x="48" y="47"/>
                    </a:lnTo>
                    <a:lnTo>
                      <a:pt x="38" y="58"/>
                    </a:lnTo>
                    <a:lnTo>
                      <a:pt x="28" y="71"/>
                    </a:lnTo>
                    <a:lnTo>
                      <a:pt x="20" y="83"/>
                    </a:lnTo>
                    <a:lnTo>
                      <a:pt x="13" y="96"/>
                    </a:lnTo>
                    <a:lnTo>
                      <a:pt x="6" y="112"/>
                    </a:lnTo>
                    <a:lnTo>
                      <a:pt x="3" y="127"/>
                    </a:lnTo>
                    <a:lnTo>
                      <a:pt x="0" y="142"/>
                    </a:lnTo>
                    <a:lnTo>
                      <a:pt x="0" y="142"/>
                    </a:lnTo>
                    <a:lnTo>
                      <a:pt x="0" y="149"/>
                    </a:lnTo>
                    <a:lnTo>
                      <a:pt x="1" y="154"/>
                    </a:lnTo>
                    <a:lnTo>
                      <a:pt x="6" y="157"/>
                    </a:lnTo>
                    <a:lnTo>
                      <a:pt x="11" y="160"/>
                    </a:lnTo>
                    <a:lnTo>
                      <a:pt x="53" y="167"/>
                    </a:lnTo>
                    <a:lnTo>
                      <a:pt x="53" y="167"/>
                    </a:lnTo>
                    <a:lnTo>
                      <a:pt x="59" y="167"/>
                    </a:lnTo>
                    <a:lnTo>
                      <a:pt x="65" y="164"/>
                    </a:lnTo>
                    <a:lnTo>
                      <a:pt x="65" y="164"/>
                    </a:lnTo>
                    <a:lnTo>
                      <a:pt x="69" y="159"/>
                    </a:lnTo>
                    <a:lnTo>
                      <a:pt x="70" y="154"/>
                    </a:lnTo>
                    <a:lnTo>
                      <a:pt x="70" y="154"/>
                    </a:lnTo>
                    <a:lnTo>
                      <a:pt x="75" y="137"/>
                    </a:lnTo>
                    <a:lnTo>
                      <a:pt x="82" y="120"/>
                    </a:lnTo>
                    <a:lnTo>
                      <a:pt x="94" y="107"/>
                    </a:lnTo>
                    <a:lnTo>
                      <a:pt x="106" y="93"/>
                    </a:lnTo>
                    <a:lnTo>
                      <a:pt x="106" y="93"/>
                    </a:lnTo>
                    <a:lnTo>
                      <a:pt x="111" y="90"/>
                    </a:lnTo>
                    <a:lnTo>
                      <a:pt x="111" y="90"/>
                    </a:lnTo>
                    <a:lnTo>
                      <a:pt x="128" y="81"/>
                    </a:lnTo>
                    <a:lnTo>
                      <a:pt x="145" y="76"/>
                    </a:lnTo>
                    <a:lnTo>
                      <a:pt x="163" y="73"/>
                    </a:lnTo>
                    <a:lnTo>
                      <a:pt x="182" y="74"/>
                    </a:lnTo>
                    <a:lnTo>
                      <a:pt x="182" y="74"/>
                    </a:lnTo>
                    <a:lnTo>
                      <a:pt x="188" y="74"/>
                    </a:lnTo>
                    <a:lnTo>
                      <a:pt x="193" y="71"/>
                    </a:lnTo>
                    <a:lnTo>
                      <a:pt x="193" y="71"/>
                    </a:lnTo>
                    <a:lnTo>
                      <a:pt x="197" y="68"/>
                    </a:lnTo>
                    <a:lnTo>
                      <a:pt x="200" y="63"/>
                    </a:lnTo>
                    <a:lnTo>
                      <a:pt x="207" y="22"/>
                    </a:lnTo>
                    <a:lnTo>
                      <a:pt x="207" y="22"/>
                    </a:lnTo>
                    <a:lnTo>
                      <a:pt x="207" y="15"/>
                    </a:lnTo>
                    <a:lnTo>
                      <a:pt x="205" y="9"/>
                    </a:lnTo>
                    <a:lnTo>
                      <a:pt x="205" y="9"/>
                    </a:lnTo>
                    <a:lnTo>
                      <a:pt x="200" y="5"/>
                    </a:lnTo>
                    <a:lnTo>
                      <a:pt x="195" y="4"/>
                    </a:lnTo>
                    <a:lnTo>
                      <a:pt x="195" y="4"/>
                    </a:lnTo>
                    <a:lnTo>
                      <a:pt x="178" y="0"/>
                    </a:lnTo>
                    <a:lnTo>
                      <a:pt x="161" y="0"/>
                    </a:lnTo>
                    <a:lnTo>
                      <a:pt x="146" y="2"/>
                    </a:lnTo>
                    <a:lnTo>
                      <a:pt x="129" y="4"/>
                    </a:lnTo>
                    <a:lnTo>
                      <a:pt x="114" y="9"/>
                    </a:lnTo>
                    <a:lnTo>
                      <a:pt x="99" y="14"/>
                    </a:lnTo>
                    <a:lnTo>
                      <a:pt x="84" y="22"/>
                    </a:lnTo>
                    <a:lnTo>
                      <a:pt x="69" y="31"/>
                    </a:lnTo>
                    <a:lnTo>
                      <a:pt x="69" y="31"/>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6" name="Freeform 74"/>
              <p:cNvSpPr>
                <a:spLocks/>
              </p:cNvSpPr>
              <p:nvPr/>
            </p:nvSpPr>
            <p:spPr bwMode="auto">
              <a:xfrm>
                <a:off x="11487150" y="3613150"/>
                <a:ext cx="177800" cy="174625"/>
              </a:xfrm>
              <a:custGeom>
                <a:avLst/>
                <a:gdLst/>
                <a:ahLst/>
                <a:cxnLst>
                  <a:cxn ang="0">
                    <a:pos x="18" y="0"/>
                  </a:cxn>
                  <a:cxn ang="0">
                    <a:pos x="18" y="0"/>
                  </a:cxn>
                  <a:cxn ang="0">
                    <a:pos x="11" y="1"/>
                  </a:cxn>
                  <a:cxn ang="0">
                    <a:pos x="5" y="5"/>
                  </a:cxn>
                  <a:cxn ang="0">
                    <a:pos x="1" y="11"/>
                  </a:cxn>
                  <a:cxn ang="0">
                    <a:pos x="0" y="18"/>
                  </a:cxn>
                  <a:cxn ang="0">
                    <a:pos x="0" y="65"/>
                  </a:cxn>
                  <a:cxn ang="0">
                    <a:pos x="222" y="221"/>
                  </a:cxn>
                  <a:cxn ang="0">
                    <a:pos x="222" y="18"/>
                  </a:cxn>
                  <a:cxn ang="0">
                    <a:pos x="222" y="18"/>
                  </a:cxn>
                  <a:cxn ang="0">
                    <a:pos x="220" y="11"/>
                  </a:cxn>
                  <a:cxn ang="0">
                    <a:pos x="217" y="5"/>
                  </a:cxn>
                  <a:cxn ang="0">
                    <a:pos x="210" y="1"/>
                  </a:cxn>
                  <a:cxn ang="0">
                    <a:pos x="204" y="0"/>
                  </a:cxn>
                  <a:cxn ang="0">
                    <a:pos x="18" y="0"/>
                  </a:cxn>
                </a:cxnLst>
                <a:rect l="0" t="0" r="r" b="b"/>
                <a:pathLst>
                  <a:path w="222" h="221">
                    <a:moveTo>
                      <a:pt x="18" y="0"/>
                    </a:moveTo>
                    <a:lnTo>
                      <a:pt x="18" y="0"/>
                    </a:lnTo>
                    <a:lnTo>
                      <a:pt x="11" y="1"/>
                    </a:lnTo>
                    <a:lnTo>
                      <a:pt x="5" y="5"/>
                    </a:lnTo>
                    <a:lnTo>
                      <a:pt x="1" y="11"/>
                    </a:lnTo>
                    <a:lnTo>
                      <a:pt x="0" y="18"/>
                    </a:lnTo>
                    <a:lnTo>
                      <a:pt x="0" y="65"/>
                    </a:lnTo>
                    <a:lnTo>
                      <a:pt x="222" y="221"/>
                    </a:lnTo>
                    <a:lnTo>
                      <a:pt x="222" y="18"/>
                    </a:lnTo>
                    <a:lnTo>
                      <a:pt x="222" y="18"/>
                    </a:lnTo>
                    <a:lnTo>
                      <a:pt x="220" y="11"/>
                    </a:lnTo>
                    <a:lnTo>
                      <a:pt x="217" y="5"/>
                    </a:lnTo>
                    <a:lnTo>
                      <a:pt x="210" y="1"/>
                    </a:lnTo>
                    <a:lnTo>
                      <a:pt x="204" y="0"/>
                    </a:lnTo>
                    <a:lnTo>
                      <a:pt x="18" y="0"/>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7" name="Freeform 75"/>
              <p:cNvSpPr>
                <a:spLocks/>
              </p:cNvSpPr>
              <p:nvPr/>
            </p:nvSpPr>
            <p:spPr bwMode="auto">
              <a:xfrm>
                <a:off x="10706100" y="3603625"/>
                <a:ext cx="1144588" cy="798513"/>
              </a:xfrm>
              <a:custGeom>
                <a:avLst/>
                <a:gdLst/>
                <a:ahLst/>
                <a:cxnLst>
                  <a:cxn ang="0">
                    <a:pos x="1208" y="315"/>
                  </a:cxn>
                  <a:cxn ang="0">
                    <a:pos x="778" y="17"/>
                  </a:cxn>
                  <a:cxn ang="0">
                    <a:pos x="765" y="8"/>
                  </a:cxn>
                  <a:cxn ang="0">
                    <a:pos x="736" y="0"/>
                  </a:cxn>
                  <a:cxn ang="0">
                    <a:pos x="707" y="0"/>
                  </a:cxn>
                  <a:cxn ang="0">
                    <a:pos x="679" y="8"/>
                  </a:cxn>
                  <a:cxn ang="0">
                    <a:pos x="43" y="449"/>
                  </a:cxn>
                  <a:cxn ang="0">
                    <a:pos x="39" y="452"/>
                  </a:cxn>
                  <a:cxn ang="0">
                    <a:pos x="26" y="465"/>
                  </a:cxn>
                  <a:cxn ang="0">
                    <a:pos x="5" y="497"/>
                  </a:cxn>
                  <a:cxn ang="0">
                    <a:pos x="0" y="533"/>
                  </a:cxn>
                  <a:cxn ang="0">
                    <a:pos x="9" y="570"/>
                  </a:cxn>
                  <a:cxn ang="0">
                    <a:pos x="17" y="587"/>
                  </a:cxn>
                  <a:cxn ang="0">
                    <a:pos x="31" y="602"/>
                  </a:cxn>
                  <a:cxn ang="0">
                    <a:pos x="63" y="622"/>
                  </a:cxn>
                  <a:cxn ang="0">
                    <a:pos x="100" y="629"/>
                  </a:cxn>
                  <a:cxn ang="0">
                    <a:pos x="137" y="621"/>
                  </a:cxn>
                  <a:cxn ang="0">
                    <a:pos x="156" y="610"/>
                  </a:cxn>
                  <a:cxn ang="0">
                    <a:pos x="157" y="963"/>
                  </a:cxn>
                  <a:cxn ang="0">
                    <a:pos x="159" y="972"/>
                  </a:cxn>
                  <a:cxn ang="0">
                    <a:pos x="164" y="987"/>
                  </a:cxn>
                  <a:cxn ang="0">
                    <a:pos x="176" y="999"/>
                  </a:cxn>
                  <a:cxn ang="0">
                    <a:pos x="191" y="1005"/>
                  </a:cxn>
                  <a:cxn ang="0">
                    <a:pos x="560" y="1005"/>
                  </a:cxn>
                  <a:cxn ang="0">
                    <a:pos x="562" y="744"/>
                  </a:cxn>
                  <a:cxn ang="0">
                    <a:pos x="566" y="722"/>
                  </a:cxn>
                  <a:cxn ang="0">
                    <a:pos x="574" y="700"/>
                  </a:cxn>
                  <a:cxn ang="0">
                    <a:pos x="589" y="681"/>
                  </a:cxn>
                  <a:cxn ang="0">
                    <a:pos x="608" y="664"/>
                  </a:cxn>
                  <a:cxn ang="0">
                    <a:pos x="631" y="651"/>
                  </a:cxn>
                  <a:cxn ang="0">
                    <a:pos x="658" y="641"/>
                  </a:cxn>
                  <a:cxn ang="0">
                    <a:pos x="689" y="636"/>
                  </a:cxn>
                  <a:cxn ang="0">
                    <a:pos x="721" y="632"/>
                  </a:cxn>
                  <a:cxn ang="0">
                    <a:pos x="736" y="634"/>
                  </a:cxn>
                  <a:cxn ang="0">
                    <a:pos x="768" y="639"/>
                  </a:cxn>
                  <a:cxn ang="0">
                    <a:pos x="795" y="648"/>
                  </a:cxn>
                  <a:cxn ang="0">
                    <a:pos x="820" y="659"/>
                  </a:cxn>
                  <a:cxn ang="0">
                    <a:pos x="842" y="675"/>
                  </a:cxn>
                  <a:cxn ang="0">
                    <a:pos x="859" y="693"/>
                  </a:cxn>
                  <a:cxn ang="0">
                    <a:pos x="871" y="713"/>
                  </a:cxn>
                  <a:cxn ang="0">
                    <a:pos x="876" y="735"/>
                  </a:cxn>
                  <a:cxn ang="0">
                    <a:pos x="876" y="1005"/>
                  </a:cxn>
                  <a:cxn ang="0">
                    <a:pos x="1222" y="1005"/>
                  </a:cxn>
                  <a:cxn ang="0">
                    <a:pos x="1239" y="1002"/>
                  </a:cxn>
                  <a:cxn ang="0">
                    <a:pos x="1252" y="993"/>
                  </a:cxn>
                  <a:cxn ang="0">
                    <a:pos x="1260" y="980"/>
                  </a:cxn>
                  <a:cxn ang="0">
                    <a:pos x="1264" y="963"/>
                  </a:cxn>
                  <a:cxn ang="0">
                    <a:pos x="1287" y="610"/>
                  </a:cxn>
                  <a:cxn ang="0">
                    <a:pos x="1301" y="619"/>
                  </a:cxn>
                  <a:cxn ang="0">
                    <a:pos x="1330" y="627"/>
                  </a:cxn>
                  <a:cxn ang="0">
                    <a:pos x="1343" y="629"/>
                  </a:cxn>
                  <a:cxn ang="0">
                    <a:pos x="1367" y="626"/>
                  </a:cxn>
                  <a:cxn ang="0">
                    <a:pos x="1389" y="617"/>
                  </a:cxn>
                  <a:cxn ang="0">
                    <a:pos x="1409" y="605"/>
                  </a:cxn>
                  <a:cxn ang="0">
                    <a:pos x="1424" y="587"/>
                  </a:cxn>
                  <a:cxn ang="0">
                    <a:pos x="1431" y="578"/>
                  </a:cxn>
                  <a:cxn ang="0">
                    <a:pos x="1441" y="551"/>
                  </a:cxn>
                  <a:cxn ang="0">
                    <a:pos x="1443" y="536"/>
                  </a:cxn>
                  <a:cxn ang="0">
                    <a:pos x="1439" y="508"/>
                  </a:cxn>
                  <a:cxn ang="0">
                    <a:pos x="1429" y="482"/>
                  </a:cxn>
                  <a:cxn ang="0">
                    <a:pos x="1412" y="459"/>
                  </a:cxn>
                  <a:cxn ang="0">
                    <a:pos x="1400" y="449"/>
                  </a:cxn>
                </a:cxnLst>
                <a:rect l="0" t="0" r="r" b="b"/>
                <a:pathLst>
                  <a:path w="1443" h="1005">
                    <a:moveTo>
                      <a:pt x="1400" y="449"/>
                    </a:moveTo>
                    <a:lnTo>
                      <a:pt x="1208" y="315"/>
                    </a:lnTo>
                    <a:lnTo>
                      <a:pt x="986" y="162"/>
                    </a:lnTo>
                    <a:lnTo>
                      <a:pt x="778" y="17"/>
                    </a:lnTo>
                    <a:lnTo>
                      <a:pt x="778" y="17"/>
                    </a:lnTo>
                    <a:lnTo>
                      <a:pt x="765" y="8"/>
                    </a:lnTo>
                    <a:lnTo>
                      <a:pt x="751" y="3"/>
                    </a:lnTo>
                    <a:lnTo>
                      <a:pt x="736" y="0"/>
                    </a:lnTo>
                    <a:lnTo>
                      <a:pt x="721" y="0"/>
                    </a:lnTo>
                    <a:lnTo>
                      <a:pt x="707" y="0"/>
                    </a:lnTo>
                    <a:lnTo>
                      <a:pt x="692" y="3"/>
                    </a:lnTo>
                    <a:lnTo>
                      <a:pt x="679" y="8"/>
                    </a:lnTo>
                    <a:lnTo>
                      <a:pt x="665" y="17"/>
                    </a:lnTo>
                    <a:lnTo>
                      <a:pt x="43" y="449"/>
                    </a:lnTo>
                    <a:lnTo>
                      <a:pt x="43" y="449"/>
                    </a:lnTo>
                    <a:lnTo>
                      <a:pt x="39" y="452"/>
                    </a:lnTo>
                    <a:lnTo>
                      <a:pt x="39" y="452"/>
                    </a:lnTo>
                    <a:lnTo>
                      <a:pt x="26" y="465"/>
                    </a:lnTo>
                    <a:lnTo>
                      <a:pt x="14" y="481"/>
                    </a:lnTo>
                    <a:lnTo>
                      <a:pt x="5" y="497"/>
                    </a:lnTo>
                    <a:lnTo>
                      <a:pt x="0" y="514"/>
                    </a:lnTo>
                    <a:lnTo>
                      <a:pt x="0" y="533"/>
                    </a:lnTo>
                    <a:lnTo>
                      <a:pt x="2" y="551"/>
                    </a:lnTo>
                    <a:lnTo>
                      <a:pt x="9" y="570"/>
                    </a:lnTo>
                    <a:lnTo>
                      <a:pt x="17" y="587"/>
                    </a:lnTo>
                    <a:lnTo>
                      <a:pt x="17" y="587"/>
                    </a:lnTo>
                    <a:lnTo>
                      <a:pt x="24" y="595"/>
                    </a:lnTo>
                    <a:lnTo>
                      <a:pt x="31" y="602"/>
                    </a:lnTo>
                    <a:lnTo>
                      <a:pt x="46" y="614"/>
                    </a:lnTo>
                    <a:lnTo>
                      <a:pt x="63" y="622"/>
                    </a:lnTo>
                    <a:lnTo>
                      <a:pt x="81" y="627"/>
                    </a:lnTo>
                    <a:lnTo>
                      <a:pt x="100" y="629"/>
                    </a:lnTo>
                    <a:lnTo>
                      <a:pt x="118" y="627"/>
                    </a:lnTo>
                    <a:lnTo>
                      <a:pt x="137" y="621"/>
                    </a:lnTo>
                    <a:lnTo>
                      <a:pt x="147" y="617"/>
                    </a:lnTo>
                    <a:lnTo>
                      <a:pt x="156" y="610"/>
                    </a:lnTo>
                    <a:lnTo>
                      <a:pt x="161" y="607"/>
                    </a:lnTo>
                    <a:lnTo>
                      <a:pt x="157" y="963"/>
                    </a:lnTo>
                    <a:lnTo>
                      <a:pt x="157" y="963"/>
                    </a:lnTo>
                    <a:lnTo>
                      <a:pt x="159" y="972"/>
                    </a:lnTo>
                    <a:lnTo>
                      <a:pt x="161" y="980"/>
                    </a:lnTo>
                    <a:lnTo>
                      <a:pt x="164" y="987"/>
                    </a:lnTo>
                    <a:lnTo>
                      <a:pt x="169" y="993"/>
                    </a:lnTo>
                    <a:lnTo>
                      <a:pt x="176" y="999"/>
                    </a:lnTo>
                    <a:lnTo>
                      <a:pt x="183" y="1002"/>
                    </a:lnTo>
                    <a:lnTo>
                      <a:pt x="191" y="1005"/>
                    </a:lnTo>
                    <a:lnTo>
                      <a:pt x="199" y="1005"/>
                    </a:lnTo>
                    <a:lnTo>
                      <a:pt x="560" y="1005"/>
                    </a:lnTo>
                    <a:lnTo>
                      <a:pt x="562" y="744"/>
                    </a:lnTo>
                    <a:lnTo>
                      <a:pt x="562" y="744"/>
                    </a:lnTo>
                    <a:lnTo>
                      <a:pt x="562" y="734"/>
                    </a:lnTo>
                    <a:lnTo>
                      <a:pt x="566" y="722"/>
                    </a:lnTo>
                    <a:lnTo>
                      <a:pt x="569" y="712"/>
                    </a:lnTo>
                    <a:lnTo>
                      <a:pt x="574" y="700"/>
                    </a:lnTo>
                    <a:lnTo>
                      <a:pt x="581" y="691"/>
                    </a:lnTo>
                    <a:lnTo>
                      <a:pt x="589" y="681"/>
                    </a:lnTo>
                    <a:lnTo>
                      <a:pt x="598" y="673"/>
                    </a:lnTo>
                    <a:lnTo>
                      <a:pt x="608" y="664"/>
                    </a:lnTo>
                    <a:lnTo>
                      <a:pt x="619" y="658"/>
                    </a:lnTo>
                    <a:lnTo>
                      <a:pt x="631" y="651"/>
                    </a:lnTo>
                    <a:lnTo>
                      <a:pt x="645" y="646"/>
                    </a:lnTo>
                    <a:lnTo>
                      <a:pt x="658" y="641"/>
                    </a:lnTo>
                    <a:lnTo>
                      <a:pt x="673" y="637"/>
                    </a:lnTo>
                    <a:lnTo>
                      <a:pt x="689" y="636"/>
                    </a:lnTo>
                    <a:lnTo>
                      <a:pt x="704" y="634"/>
                    </a:lnTo>
                    <a:lnTo>
                      <a:pt x="721" y="632"/>
                    </a:lnTo>
                    <a:lnTo>
                      <a:pt x="721" y="632"/>
                    </a:lnTo>
                    <a:lnTo>
                      <a:pt x="736" y="634"/>
                    </a:lnTo>
                    <a:lnTo>
                      <a:pt x="753" y="636"/>
                    </a:lnTo>
                    <a:lnTo>
                      <a:pt x="768" y="639"/>
                    </a:lnTo>
                    <a:lnTo>
                      <a:pt x="781" y="643"/>
                    </a:lnTo>
                    <a:lnTo>
                      <a:pt x="795" y="648"/>
                    </a:lnTo>
                    <a:lnTo>
                      <a:pt x="808" y="653"/>
                    </a:lnTo>
                    <a:lnTo>
                      <a:pt x="820" y="659"/>
                    </a:lnTo>
                    <a:lnTo>
                      <a:pt x="832" y="666"/>
                    </a:lnTo>
                    <a:lnTo>
                      <a:pt x="842" y="675"/>
                    </a:lnTo>
                    <a:lnTo>
                      <a:pt x="851" y="683"/>
                    </a:lnTo>
                    <a:lnTo>
                      <a:pt x="859" y="693"/>
                    </a:lnTo>
                    <a:lnTo>
                      <a:pt x="866" y="703"/>
                    </a:lnTo>
                    <a:lnTo>
                      <a:pt x="871" y="713"/>
                    </a:lnTo>
                    <a:lnTo>
                      <a:pt x="874" y="724"/>
                    </a:lnTo>
                    <a:lnTo>
                      <a:pt x="876" y="735"/>
                    </a:lnTo>
                    <a:lnTo>
                      <a:pt x="878" y="747"/>
                    </a:lnTo>
                    <a:lnTo>
                      <a:pt x="876" y="1005"/>
                    </a:lnTo>
                    <a:lnTo>
                      <a:pt x="1222" y="1005"/>
                    </a:lnTo>
                    <a:lnTo>
                      <a:pt x="1222" y="1005"/>
                    </a:lnTo>
                    <a:lnTo>
                      <a:pt x="1230" y="1005"/>
                    </a:lnTo>
                    <a:lnTo>
                      <a:pt x="1239" y="1002"/>
                    </a:lnTo>
                    <a:lnTo>
                      <a:pt x="1245" y="999"/>
                    </a:lnTo>
                    <a:lnTo>
                      <a:pt x="1252" y="993"/>
                    </a:lnTo>
                    <a:lnTo>
                      <a:pt x="1257" y="987"/>
                    </a:lnTo>
                    <a:lnTo>
                      <a:pt x="1260" y="980"/>
                    </a:lnTo>
                    <a:lnTo>
                      <a:pt x="1264" y="972"/>
                    </a:lnTo>
                    <a:lnTo>
                      <a:pt x="1264" y="963"/>
                    </a:lnTo>
                    <a:lnTo>
                      <a:pt x="1267" y="597"/>
                    </a:lnTo>
                    <a:lnTo>
                      <a:pt x="1287" y="610"/>
                    </a:lnTo>
                    <a:lnTo>
                      <a:pt x="1287" y="610"/>
                    </a:lnTo>
                    <a:lnTo>
                      <a:pt x="1301" y="619"/>
                    </a:lnTo>
                    <a:lnTo>
                      <a:pt x="1314" y="624"/>
                    </a:lnTo>
                    <a:lnTo>
                      <a:pt x="1330" y="627"/>
                    </a:lnTo>
                    <a:lnTo>
                      <a:pt x="1343" y="629"/>
                    </a:lnTo>
                    <a:lnTo>
                      <a:pt x="1343" y="629"/>
                    </a:lnTo>
                    <a:lnTo>
                      <a:pt x="1355" y="627"/>
                    </a:lnTo>
                    <a:lnTo>
                      <a:pt x="1367" y="626"/>
                    </a:lnTo>
                    <a:lnTo>
                      <a:pt x="1379" y="622"/>
                    </a:lnTo>
                    <a:lnTo>
                      <a:pt x="1389" y="617"/>
                    </a:lnTo>
                    <a:lnTo>
                      <a:pt x="1399" y="612"/>
                    </a:lnTo>
                    <a:lnTo>
                      <a:pt x="1409" y="605"/>
                    </a:lnTo>
                    <a:lnTo>
                      <a:pt x="1417" y="597"/>
                    </a:lnTo>
                    <a:lnTo>
                      <a:pt x="1424" y="587"/>
                    </a:lnTo>
                    <a:lnTo>
                      <a:pt x="1424" y="587"/>
                    </a:lnTo>
                    <a:lnTo>
                      <a:pt x="1431" y="578"/>
                    </a:lnTo>
                    <a:lnTo>
                      <a:pt x="1434" y="568"/>
                    </a:lnTo>
                    <a:lnTo>
                      <a:pt x="1441" y="551"/>
                    </a:lnTo>
                    <a:lnTo>
                      <a:pt x="1441" y="551"/>
                    </a:lnTo>
                    <a:lnTo>
                      <a:pt x="1443" y="536"/>
                    </a:lnTo>
                    <a:lnTo>
                      <a:pt x="1443" y="523"/>
                    </a:lnTo>
                    <a:lnTo>
                      <a:pt x="1439" y="508"/>
                    </a:lnTo>
                    <a:lnTo>
                      <a:pt x="1436" y="494"/>
                    </a:lnTo>
                    <a:lnTo>
                      <a:pt x="1429" y="482"/>
                    </a:lnTo>
                    <a:lnTo>
                      <a:pt x="1422" y="469"/>
                    </a:lnTo>
                    <a:lnTo>
                      <a:pt x="1412" y="459"/>
                    </a:lnTo>
                    <a:lnTo>
                      <a:pt x="1400" y="449"/>
                    </a:lnTo>
                    <a:lnTo>
                      <a:pt x="1400" y="449"/>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dirty="0"/>
              </a:p>
            </p:txBody>
          </p:sp>
        </p:grpSp>
        <p:grpSp>
          <p:nvGrpSpPr>
            <p:cNvPr id="239" name="组合 262"/>
            <p:cNvGrpSpPr/>
            <p:nvPr/>
          </p:nvGrpSpPr>
          <p:grpSpPr>
            <a:xfrm>
              <a:off x="840284" y="1491630"/>
              <a:ext cx="715457" cy="685800"/>
              <a:chOff x="5921375" y="2882900"/>
              <a:chExt cx="884238" cy="865188"/>
            </a:xfrm>
            <a:grpFill/>
          </p:grpSpPr>
          <p:sp>
            <p:nvSpPr>
              <p:cNvPr id="310" name="Freeform 11"/>
              <p:cNvSpPr>
                <a:spLocks/>
              </p:cNvSpPr>
              <p:nvPr/>
            </p:nvSpPr>
            <p:spPr bwMode="auto">
              <a:xfrm>
                <a:off x="6378575" y="2882900"/>
                <a:ext cx="425450" cy="179388"/>
              </a:xfrm>
              <a:custGeom>
                <a:avLst/>
                <a:gdLst/>
                <a:ahLst/>
                <a:cxnLst>
                  <a:cxn ang="0">
                    <a:pos x="3889" y="0"/>
                  </a:cxn>
                  <a:cxn ang="0">
                    <a:pos x="5834" y="1637"/>
                  </a:cxn>
                  <a:cxn ang="0">
                    <a:pos x="7779" y="3274"/>
                  </a:cxn>
                  <a:cxn ang="0">
                    <a:pos x="3889" y="3274"/>
                  </a:cxn>
                  <a:cxn ang="0">
                    <a:pos x="0" y="3274"/>
                  </a:cxn>
                  <a:cxn ang="0">
                    <a:pos x="1944" y="1637"/>
                  </a:cxn>
                  <a:cxn ang="0">
                    <a:pos x="3889" y="0"/>
                  </a:cxn>
                </a:cxnLst>
                <a:rect l="0" t="0" r="r" b="b"/>
                <a:pathLst>
                  <a:path w="7779" h="3274">
                    <a:moveTo>
                      <a:pt x="3889" y="0"/>
                    </a:moveTo>
                    <a:lnTo>
                      <a:pt x="5834" y="1637"/>
                    </a:lnTo>
                    <a:lnTo>
                      <a:pt x="7779" y="3274"/>
                    </a:lnTo>
                    <a:lnTo>
                      <a:pt x="3889" y="3274"/>
                    </a:lnTo>
                    <a:lnTo>
                      <a:pt x="0" y="3274"/>
                    </a:lnTo>
                    <a:lnTo>
                      <a:pt x="1944" y="1637"/>
                    </a:lnTo>
                    <a:lnTo>
                      <a:pt x="3889" y="0"/>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1" name="Freeform 12"/>
              <p:cNvSpPr>
                <a:spLocks/>
              </p:cNvSpPr>
              <p:nvPr/>
            </p:nvSpPr>
            <p:spPr bwMode="auto">
              <a:xfrm>
                <a:off x="5921375" y="3300413"/>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2" name="Freeform 13"/>
              <p:cNvSpPr>
                <a:spLocks noEditPoints="1"/>
              </p:cNvSpPr>
              <p:nvPr/>
            </p:nvSpPr>
            <p:spPr bwMode="auto">
              <a:xfrm>
                <a:off x="5921375" y="3502025"/>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a:p>
            </p:txBody>
          </p:sp>
          <p:sp>
            <p:nvSpPr>
              <p:cNvPr id="313" name="Freeform 14"/>
              <p:cNvSpPr>
                <a:spLocks noEditPoints="1"/>
              </p:cNvSpPr>
              <p:nvPr/>
            </p:nvSpPr>
            <p:spPr bwMode="auto">
              <a:xfrm>
                <a:off x="6378575" y="3081338"/>
                <a:ext cx="427038" cy="666750"/>
              </a:xfrm>
              <a:custGeom>
                <a:avLst/>
                <a:gdLst/>
                <a:ahLst/>
                <a:cxnLst>
                  <a:cxn ang="0">
                    <a:pos x="7792" y="0"/>
                  </a:cxn>
                  <a:cxn ang="0">
                    <a:pos x="0" y="12190"/>
                  </a:cxn>
                  <a:cxn ang="0">
                    <a:pos x="687" y="690"/>
                  </a:cxn>
                  <a:cxn ang="0">
                    <a:pos x="2079" y="2084"/>
                  </a:cxn>
                  <a:cxn ang="0">
                    <a:pos x="687" y="690"/>
                  </a:cxn>
                  <a:cxn ang="0">
                    <a:pos x="2079" y="10165"/>
                  </a:cxn>
                  <a:cxn ang="0">
                    <a:pos x="687" y="11558"/>
                  </a:cxn>
                  <a:cxn ang="0">
                    <a:pos x="2363" y="10165"/>
                  </a:cxn>
                  <a:cxn ang="0">
                    <a:pos x="3755" y="11558"/>
                  </a:cxn>
                  <a:cxn ang="0">
                    <a:pos x="2363" y="10165"/>
                  </a:cxn>
                  <a:cxn ang="0">
                    <a:pos x="5431" y="10165"/>
                  </a:cxn>
                  <a:cxn ang="0">
                    <a:pos x="4037" y="11558"/>
                  </a:cxn>
                  <a:cxn ang="0">
                    <a:pos x="5713" y="10165"/>
                  </a:cxn>
                  <a:cxn ang="0">
                    <a:pos x="7105" y="11558"/>
                  </a:cxn>
                  <a:cxn ang="0">
                    <a:pos x="5713" y="10165"/>
                  </a:cxn>
                  <a:cxn ang="0">
                    <a:pos x="2079" y="8270"/>
                  </a:cxn>
                  <a:cxn ang="0">
                    <a:pos x="687" y="9663"/>
                  </a:cxn>
                  <a:cxn ang="0">
                    <a:pos x="2363" y="8270"/>
                  </a:cxn>
                  <a:cxn ang="0">
                    <a:pos x="3755" y="9663"/>
                  </a:cxn>
                  <a:cxn ang="0">
                    <a:pos x="2363" y="8270"/>
                  </a:cxn>
                  <a:cxn ang="0">
                    <a:pos x="5431" y="8270"/>
                  </a:cxn>
                  <a:cxn ang="0">
                    <a:pos x="4037" y="9663"/>
                  </a:cxn>
                  <a:cxn ang="0">
                    <a:pos x="5713" y="8270"/>
                  </a:cxn>
                  <a:cxn ang="0">
                    <a:pos x="7105" y="9663"/>
                  </a:cxn>
                  <a:cxn ang="0">
                    <a:pos x="5713" y="8270"/>
                  </a:cxn>
                  <a:cxn ang="0">
                    <a:pos x="2079" y="6376"/>
                  </a:cxn>
                  <a:cxn ang="0">
                    <a:pos x="687" y="7768"/>
                  </a:cxn>
                  <a:cxn ang="0">
                    <a:pos x="2363" y="6376"/>
                  </a:cxn>
                  <a:cxn ang="0">
                    <a:pos x="3755" y="7768"/>
                  </a:cxn>
                  <a:cxn ang="0">
                    <a:pos x="2363" y="6376"/>
                  </a:cxn>
                  <a:cxn ang="0">
                    <a:pos x="5431" y="6376"/>
                  </a:cxn>
                  <a:cxn ang="0">
                    <a:pos x="4037" y="7768"/>
                  </a:cxn>
                  <a:cxn ang="0">
                    <a:pos x="5713" y="6376"/>
                  </a:cxn>
                  <a:cxn ang="0">
                    <a:pos x="7105" y="7768"/>
                  </a:cxn>
                  <a:cxn ang="0">
                    <a:pos x="5713" y="6376"/>
                  </a:cxn>
                  <a:cxn ang="0">
                    <a:pos x="2079" y="4481"/>
                  </a:cxn>
                  <a:cxn ang="0">
                    <a:pos x="687" y="5874"/>
                  </a:cxn>
                  <a:cxn ang="0">
                    <a:pos x="2363" y="4481"/>
                  </a:cxn>
                  <a:cxn ang="0">
                    <a:pos x="3755" y="5874"/>
                  </a:cxn>
                  <a:cxn ang="0">
                    <a:pos x="2363" y="4481"/>
                  </a:cxn>
                  <a:cxn ang="0">
                    <a:pos x="5431" y="4481"/>
                  </a:cxn>
                  <a:cxn ang="0">
                    <a:pos x="4037" y="5874"/>
                  </a:cxn>
                  <a:cxn ang="0">
                    <a:pos x="5713" y="4481"/>
                  </a:cxn>
                  <a:cxn ang="0">
                    <a:pos x="7105" y="5874"/>
                  </a:cxn>
                  <a:cxn ang="0">
                    <a:pos x="5713" y="4481"/>
                  </a:cxn>
                  <a:cxn ang="0">
                    <a:pos x="2079" y="2585"/>
                  </a:cxn>
                  <a:cxn ang="0">
                    <a:pos x="687" y="3979"/>
                  </a:cxn>
                  <a:cxn ang="0">
                    <a:pos x="2363" y="2585"/>
                  </a:cxn>
                  <a:cxn ang="0">
                    <a:pos x="3755" y="3979"/>
                  </a:cxn>
                  <a:cxn ang="0">
                    <a:pos x="2363" y="2585"/>
                  </a:cxn>
                  <a:cxn ang="0">
                    <a:pos x="5431" y="2585"/>
                  </a:cxn>
                  <a:cxn ang="0">
                    <a:pos x="4037" y="3979"/>
                  </a:cxn>
                  <a:cxn ang="0">
                    <a:pos x="2363" y="690"/>
                  </a:cxn>
                  <a:cxn ang="0">
                    <a:pos x="3755" y="2084"/>
                  </a:cxn>
                  <a:cxn ang="0">
                    <a:pos x="2363" y="690"/>
                  </a:cxn>
                  <a:cxn ang="0">
                    <a:pos x="5431" y="690"/>
                  </a:cxn>
                  <a:cxn ang="0">
                    <a:pos x="4037" y="2084"/>
                  </a:cxn>
                  <a:cxn ang="0">
                    <a:pos x="5713" y="690"/>
                  </a:cxn>
                  <a:cxn ang="0">
                    <a:pos x="7105" y="2084"/>
                  </a:cxn>
                  <a:cxn ang="0">
                    <a:pos x="5713" y="690"/>
                  </a:cxn>
                  <a:cxn ang="0">
                    <a:pos x="7105" y="2585"/>
                  </a:cxn>
                  <a:cxn ang="0">
                    <a:pos x="5713" y="3979"/>
                  </a:cxn>
                </a:cxnLst>
                <a:rect l="0" t="0" r="r" b="b"/>
                <a:pathLst>
                  <a:path w="7792" h="12190">
                    <a:moveTo>
                      <a:pt x="0" y="0"/>
                    </a:moveTo>
                    <a:lnTo>
                      <a:pt x="7792" y="0"/>
                    </a:lnTo>
                    <a:lnTo>
                      <a:pt x="7792" y="12190"/>
                    </a:lnTo>
                    <a:lnTo>
                      <a:pt x="0" y="12190"/>
                    </a:lnTo>
                    <a:lnTo>
                      <a:pt x="0" y="0"/>
                    </a:lnTo>
                    <a:close/>
                    <a:moveTo>
                      <a:pt x="687" y="690"/>
                    </a:moveTo>
                    <a:lnTo>
                      <a:pt x="2079" y="690"/>
                    </a:lnTo>
                    <a:lnTo>
                      <a:pt x="2079" y="2084"/>
                    </a:lnTo>
                    <a:lnTo>
                      <a:pt x="687" y="2084"/>
                    </a:lnTo>
                    <a:lnTo>
                      <a:pt x="687" y="690"/>
                    </a:lnTo>
                    <a:close/>
                    <a:moveTo>
                      <a:pt x="687" y="10165"/>
                    </a:moveTo>
                    <a:lnTo>
                      <a:pt x="2079" y="10165"/>
                    </a:lnTo>
                    <a:lnTo>
                      <a:pt x="2079" y="11558"/>
                    </a:lnTo>
                    <a:lnTo>
                      <a:pt x="687" y="11558"/>
                    </a:lnTo>
                    <a:lnTo>
                      <a:pt x="687" y="10165"/>
                    </a:lnTo>
                    <a:close/>
                    <a:moveTo>
                      <a:pt x="2363" y="10165"/>
                    </a:moveTo>
                    <a:lnTo>
                      <a:pt x="3755" y="10165"/>
                    </a:lnTo>
                    <a:lnTo>
                      <a:pt x="3755" y="11558"/>
                    </a:lnTo>
                    <a:lnTo>
                      <a:pt x="2363" y="11558"/>
                    </a:lnTo>
                    <a:lnTo>
                      <a:pt x="2363" y="10165"/>
                    </a:lnTo>
                    <a:close/>
                    <a:moveTo>
                      <a:pt x="4037" y="10165"/>
                    </a:moveTo>
                    <a:lnTo>
                      <a:pt x="5431" y="10165"/>
                    </a:lnTo>
                    <a:lnTo>
                      <a:pt x="5431" y="11558"/>
                    </a:lnTo>
                    <a:lnTo>
                      <a:pt x="4037" y="11558"/>
                    </a:lnTo>
                    <a:lnTo>
                      <a:pt x="4037" y="10165"/>
                    </a:lnTo>
                    <a:close/>
                    <a:moveTo>
                      <a:pt x="5713" y="10165"/>
                    </a:moveTo>
                    <a:lnTo>
                      <a:pt x="7105" y="10165"/>
                    </a:lnTo>
                    <a:lnTo>
                      <a:pt x="7105" y="11558"/>
                    </a:lnTo>
                    <a:lnTo>
                      <a:pt x="5713" y="11558"/>
                    </a:lnTo>
                    <a:lnTo>
                      <a:pt x="5713" y="10165"/>
                    </a:lnTo>
                    <a:close/>
                    <a:moveTo>
                      <a:pt x="687" y="8270"/>
                    </a:moveTo>
                    <a:lnTo>
                      <a:pt x="2079" y="8270"/>
                    </a:lnTo>
                    <a:lnTo>
                      <a:pt x="2079" y="9663"/>
                    </a:lnTo>
                    <a:lnTo>
                      <a:pt x="687" y="9663"/>
                    </a:lnTo>
                    <a:lnTo>
                      <a:pt x="687" y="8270"/>
                    </a:lnTo>
                    <a:close/>
                    <a:moveTo>
                      <a:pt x="2363" y="8270"/>
                    </a:moveTo>
                    <a:lnTo>
                      <a:pt x="3755" y="8270"/>
                    </a:lnTo>
                    <a:lnTo>
                      <a:pt x="3755" y="9663"/>
                    </a:lnTo>
                    <a:lnTo>
                      <a:pt x="2363" y="9663"/>
                    </a:lnTo>
                    <a:lnTo>
                      <a:pt x="2363" y="8270"/>
                    </a:lnTo>
                    <a:close/>
                    <a:moveTo>
                      <a:pt x="4037" y="8270"/>
                    </a:moveTo>
                    <a:lnTo>
                      <a:pt x="5431" y="8270"/>
                    </a:lnTo>
                    <a:lnTo>
                      <a:pt x="5431" y="9663"/>
                    </a:lnTo>
                    <a:lnTo>
                      <a:pt x="4037" y="9663"/>
                    </a:lnTo>
                    <a:lnTo>
                      <a:pt x="4037" y="8270"/>
                    </a:lnTo>
                    <a:close/>
                    <a:moveTo>
                      <a:pt x="5713" y="8270"/>
                    </a:moveTo>
                    <a:lnTo>
                      <a:pt x="7105" y="8270"/>
                    </a:lnTo>
                    <a:lnTo>
                      <a:pt x="7105" y="9663"/>
                    </a:lnTo>
                    <a:lnTo>
                      <a:pt x="5713" y="9663"/>
                    </a:lnTo>
                    <a:lnTo>
                      <a:pt x="5713" y="8270"/>
                    </a:lnTo>
                    <a:close/>
                    <a:moveTo>
                      <a:pt x="687" y="6376"/>
                    </a:moveTo>
                    <a:lnTo>
                      <a:pt x="2079" y="6376"/>
                    </a:lnTo>
                    <a:lnTo>
                      <a:pt x="2079" y="7768"/>
                    </a:lnTo>
                    <a:lnTo>
                      <a:pt x="687" y="7768"/>
                    </a:lnTo>
                    <a:lnTo>
                      <a:pt x="687" y="6376"/>
                    </a:lnTo>
                    <a:close/>
                    <a:moveTo>
                      <a:pt x="2363" y="6376"/>
                    </a:moveTo>
                    <a:lnTo>
                      <a:pt x="3755" y="6376"/>
                    </a:lnTo>
                    <a:lnTo>
                      <a:pt x="3755" y="7768"/>
                    </a:lnTo>
                    <a:lnTo>
                      <a:pt x="2363" y="7768"/>
                    </a:lnTo>
                    <a:lnTo>
                      <a:pt x="2363" y="6376"/>
                    </a:lnTo>
                    <a:close/>
                    <a:moveTo>
                      <a:pt x="4037" y="6376"/>
                    </a:moveTo>
                    <a:lnTo>
                      <a:pt x="5431" y="6376"/>
                    </a:lnTo>
                    <a:lnTo>
                      <a:pt x="5431" y="7768"/>
                    </a:lnTo>
                    <a:lnTo>
                      <a:pt x="4037" y="7768"/>
                    </a:lnTo>
                    <a:lnTo>
                      <a:pt x="4037" y="6376"/>
                    </a:lnTo>
                    <a:close/>
                    <a:moveTo>
                      <a:pt x="5713" y="6376"/>
                    </a:moveTo>
                    <a:lnTo>
                      <a:pt x="7105" y="6376"/>
                    </a:lnTo>
                    <a:lnTo>
                      <a:pt x="7105" y="7768"/>
                    </a:lnTo>
                    <a:lnTo>
                      <a:pt x="5713" y="7768"/>
                    </a:lnTo>
                    <a:lnTo>
                      <a:pt x="5713" y="6376"/>
                    </a:lnTo>
                    <a:close/>
                    <a:moveTo>
                      <a:pt x="687" y="4481"/>
                    </a:moveTo>
                    <a:lnTo>
                      <a:pt x="2079" y="4481"/>
                    </a:lnTo>
                    <a:lnTo>
                      <a:pt x="2079" y="5874"/>
                    </a:lnTo>
                    <a:lnTo>
                      <a:pt x="687" y="5874"/>
                    </a:lnTo>
                    <a:lnTo>
                      <a:pt x="687" y="4481"/>
                    </a:lnTo>
                    <a:close/>
                    <a:moveTo>
                      <a:pt x="2363" y="4481"/>
                    </a:moveTo>
                    <a:lnTo>
                      <a:pt x="3755" y="4481"/>
                    </a:lnTo>
                    <a:lnTo>
                      <a:pt x="3755" y="5874"/>
                    </a:lnTo>
                    <a:lnTo>
                      <a:pt x="2363" y="5874"/>
                    </a:lnTo>
                    <a:lnTo>
                      <a:pt x="2363" y="4481"/>
                    </a:lnTo>
                    <a:close/>
                    <a:moveTo>
                      <a:pt x="4037" y="4481"/>
                    </a:moveTo>
                    <a:lnTo>
                      <a:pt x="5431" y="4481"/>
                    </a:lnTo>
                    <a:lnTo>
                      <a:pt x="5431" y="5874"/>
                    </a:lnTo>
                    <a:lnTo>
                      <a:pt x="4037" y="5874"/>
                    </a:lnTo>
                    <a:lnTo>
                      <a:pt x="4037" y="4481"/>
                    </a:lnTo>
                    <a:close/>
                    <a:moveTo>
                      <a:pt x="5713" y="4481"/>
                    </a:moveTo>
                    <a:lnTo>
                      <a:pt x="7105" y="4481"/>
                    </a:lnTo>
                    <a:lnTo>
                      <a:pt x="7105" y="5874"/>
                    </a:lnTo>
                    <a:lnTo>
                      <a:pt x="5713" y="5874"/>
                    </a:lnTo>
                    <a:lnTo>
                      <a:pt x="5713" y="4481"/>
                    </a:lnTo>
                    <a:close/>
                    <a:moveTo>
                      <a:pt x="687" y="2585"/>
                    </a:moveTo>
                    <a:lnTo>
                      <a:pt x="2079" y="2585"/>
                    </a:lnTo>
                    <a:lnTo>
                      <a:pt x="2079" y="3979"/>
                    </a:lnTo>
                    <a:lnTo>
                      <a:pt x="687" y="3979"/>
                    </a:lnTo>
                    <a:lnTo>
                      <a:pt x="687" y="2585"/>
                    </a:lnTo>
                    <a:close/>
                    <a:moveTo>
                      <a:pt x="2363" y="2585"/>
                    </a:moveTo>
                    <a:lnTo>
                      <a:pt x="3755" y="2585"/>
                    </a:lnTo>
                    <a:lnTo>
                      <a:pt x="3755" y="3979"/>
                    </a:lnTo>
                    <a:lnTo>
                      <a:pt x="2363" y="3979"/>
                    </a:lnTo>
                    <a:lnTo>
                      <a:pt x="2363" y="2585"/>
                    </a:lnTo>
                    <a:close/>
                    <a:moveTo>
                      <a:pt x="4037" y="2585"/>
                    </a:moveTo>
                    <a:lnTo>
                      <a:pt x="5431" y="2585"/>
                    </a:lnTo>
                    <a:lnTo>
                      <a:pt x="5431" y="3979"/>
                    </a:lnTo>
                    <a:lnTo>
                      <a:pt x="4037" y="3979"/>
                    </a:lnTo>
                    <a:lnTo>
                      <a:pt x="4037" y="2585"/>
                    </a:lnTo>
                    <a:close/>
                    <a:moveTo>
                      <a:pt x="2363" y="690"/>
                    </a:moveTo>
                    <a:lnTo>
                      <a:pt x="3755" y="690"/>
                    </a:lnTo>
                    <a:lnTo>
                      <a:pt x="3755" y="2084"/>
                    </a:lnTo>
                    <a:lnTo>
                      <a:pt x="2363" y="2084"/>
                    </a:lnTo>
                    <a:lnTo>
                      <a:pt x="2363" y="690"/>
                    </a:lnTo>
                    <a:close/>
                    <a:moveTo>
                      <a:pt x="4037" y="690"/>
                    </a:moveTo>
                    <a:lnTo>
                      <a:pt x="5431" y="690"/>
                    </a:lnTo>
                    <a:lnTo>
                      <a:pt x="5431" y="2084"/>
                    </a:lnTo>
                    <a:lnTo>
                      <a:pt x="4037" y="2084"/>
                    </a:lnTo>
                    <a:lnTo>
                      <a:pt x="4037" y="690"/>
                    </a:lnTo>
                    <a:close/>
                    <a:moveTo>
                      <a:pt x="5713" y="690"/>
                    </a:moveTo>
                    <a:lnTo>
                      <a:pt x="7105" y="690"/>
                    </a:lnTo>
                    <a:lnTo>
                      <a:pt x="7105" y="2084"/>
                    </a:lnTo>
                    <a:lnTo>
                      <a:pt x="5713" y="2084"/>
                    </a:lnTo>
                    <a:lnTo>
                      <a:pt x="5713" y="690"/>
                    </a:lnTo>
                    <a:close/>
                    <a:moveTo>
                      <a:pt x="5713" y="2585"/>
                    </a:moveTo>
                    <a:lnTo>
                      <a:pt x="7105" y="2585"/>
                    </a:lnTo>
                    <a:lnTo>
                      <a:pt x="7105" y="3979"/>
                    </a:lnTo>
                    <a:lnTo>
                      <a:pt x="5713" y="3979"/>
                    </a:lnTo>
                    <a:lnTo>
                      <a:pt x="5713" y="2585"/>
                    </a:lnTo>
                    <a:close/>
                  </a:path>
                </a:pathLst>
              </a:custGeom>
              <a:grpFill/>
              <a:ln>
                <a:noFill/>
              </a:ln>
              <a:effectLst>
                <a:outerShdw blurRad="127000" sx="102000" sy="102000" algn="ctr" rotWithShape="0">
                  <a:srgbClr val="0CAEF0">
                    <a:alpha val="50000"/>
                  </a:srgbClr>
                </a:outerShdw>
              </a:effectLst>
            </p:spPr>
            <p:txBody>
              <a:bodyPr lIns="116141" tIns="58071" rIns="116141" bIns="58071"/>
              <a:lstStyle/>
              <a:p>
                <a:pPr eaLnBrk="1" hangingPunct="1">
                  <a:defRPr/>
                </a:pPr>
                <a:endParaRPr lang="zh-CN" altLang="en-US" sz="1100" dirty="0"/>
              </a:p>
            </p:txBody>
          </p:sp>
        </p:grpSp>
      </p:grpSp>
      <p:grpSp>
        <p:nvGrpSpPr>
          <p:cNvPr id="246" name="组合 215"/>
          <p:cNvGrpSpPr>
            <a:grpSpLocks noChangeAspect="1"/>
          </p:cNvGrpSpPr>
          <p:nvPr/>
        </p:nvGrpSpPr>
        <p:grpSpPr>
          <a:xfrm>
            <a:off x="1482978" y="4578971"/>
            <a:ext cx="294129" cy="218975"/>
            <a:chOff x="-1685925" y="1102710"/>
            <a:chExt cx="1577975" cy="1174750"/>
          </a:xfrm>
          <a:solidFill>
            <a:schemeClr val="bg1"/>
          </a:solidFill>
        </p:grpSpPr>
        <p:sp>
          <p:nvSpPr>
            <p:cNvPr id="319" name="Freeform 11"/>
            <p:cNvSpPr>
              <a:spLocks/>
            </p:cNvSpPr>
            <p:nvPr/>
          </p:nvSpPr>
          <p:spPr bwMode="auto">
            <a:xfrm>
              <a:off x="-314325" y="1356710"/>
              <a:ext cx="144463" cy="192087"/>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a:lstStyle/>
            <a:p>
              <a:pPr eaLnBrk="1" hangingPunct="1">
                <a:defRPr/>
              </a:pPr>
              <a:endParaRPr lang="zh-CN" altLang="en-US">
                <a:solidFill>
                  <a:prstClr val="black"/>
                </a:solidFill>
                <a:cs typeface="Arial" pitchFamily="34" charset="0"/>
              </a:endParaRPr>
            </a:p>
          </p:txBody>
        </p:sp>
        <p:sp>
          <p:nvSpPr>
            <p:cNvPr id="320" name="Freeform 12"/>
            <p:cNvSpPr>
              <a:spLocks/>
            </p:cNvSpPr>
            <p:nvPr/>
          </p:nvSpPr>
          <p:spPr bwMode="auto">
            <a:xfrm>
              <a:off x="-1624013" y="1356710"/>
              <a:ext cx="146050" cy="192087"/>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a:lstStyle/>
            <a:p>
              <a:pPr eaLnBrk="1" hangingPunct="1">
                <a:defRPr/>
              </a:pPr>
              <a:endParaRPr lang="zh-CN" altLang="en-US">
                <a:solidFill>
                  <a:prstClr val="black"/>
                </a:solidFill>
                <a:cs typeface="Arial" pitchFamily="34" charset="0"/>
              </a:endParaRPr>
            </a:p>
          </p:txBody>
        </p:sp>
        <p:grpSp>
          <p:nvGrpSpPr>
            <p:cNvPr id="247" name="组合 120"/>
            <p:cNvGrpSpPr/>
            <p:nvPr/>
          </p:nvGrpSpPr>
          <p:grpSpPr>
            <a:xfrm>
              <a:off x="-1685925" y="1102710"/>
              <a:ext cx="1577975" cy="1174750"/>
              <a:chOff x="-1685925" y="1102710"/>
              <a:chExt cx="1577975" cy="1174750"/>
            </a:xfrm>
            <a:grpFill/>
          </p:grpSpPr>
          <p:sp>
            <p:nvSpPr>
              <p:cNvPr id="322" name="Freeform 13"/>
              <p:cNvSpPr>
                <a:spLocks noEditPoints="1"/>
              </p:cNvSpPr>
              <p:nvPr/>
            </p:nvSpPr>
            <p:spPr bwMode="auto">
              <a:xfrm>
                <a:off x="-1685925" y="1102710"/>
                <a:ext cx="1577975" cy="1001712"/>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a:lstStyle/>
              <a:p>
                <a:pPr eaLnBrk="1" hangingPunct="1">
                  <a:defRPr/>
                </a:pPr>
                <a:endParaRPr lang="zh-CN" altLang="en-US">
                  <a:solidFill>
                    <a:prstClr val="black"/>
                  </a:solidFill>
                  <a:cs typeface="Arial" pitchFamily="34" charset="0"/>
                </a:endParaRPr>
              </a:p>
            </p:txBody>
          </p:sp>
          <p:sp>
            <p:nvSpPr>
              <p:cNvPr id="323" name="Freeform 14"/>
              <p:cNvSpPr>
                <a:spLocks noEditPoints="1"/>
              </p:cNvSpPr>
              <p:nvPr/>
            </p:nvSpPr>
            <p:spPr bwMode="auto">
              <a:xfrm>
                <a:off x="-1541463" y="2075848"/>
                <a:ext cx="1319213" cy="201612"/>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a:lstStyle/>
              <a:p>
                <a:pPr eaLnBrk="1" hangingPunct="1">
                  <a:defRPr/>
                </a:pPr>
                <a:endParaRPr lang="zh-CN" altLang="en-US">
                  <a:solidFill>
                    <a:prstClr val="black"/>
                  </a:solidFill>
                  <a:cs typeface="Arial" pitchFamily="34" charset="0"/>
                </a:endParaRPr>
              </a:p>
            </p:txBody>
          </p:sp>
        </p:grpSp>
      </p:grpSp>
      <p:sp>
        <p:nvSpPr>
          <p:cNvPr id="326" name="TextBox 325"/>
          <p:cNvSpPr txBox="1"/>
          <p:nvPr/>
        </p:nvSpPr>
        <p:spPr>
          <a:xfrm>
            <a:off x="2785219" y="2074342"/>
            <a:ext cx="810452" cy="276999"/>
          </a:xfrm>
          <a:prstGeom prst="rect">
            <a:avLst/>
          </a:prstGeom>
          <a:noFill/>
        </p:spPr>
        <p:txBody>
          <a:bodyPr wrap="square" rtlCol="0">
            <a:spAutoFit/>
          </a:bodyPr>
          <a:lstStyle/>
          <a:p>
            <a:pPr algn="ctr"/>
            <a:r>
              <a:rPr lang="en-US" altLang="zh-CN" sz="1200" b="1" i="1" kern="0" dirty="0" smtClean="0">
                <a:solidFill>
                  <a:srgbClr val="FFC000"/>
                </a:solidFill>
                <a:latin typeface="微软雅黑" pitchFamily="34" charset="-122"/>
                <a:ea typeface="微软雅黑" pitchFamily="34" charset="-122"/>
              </a:rPr>
              <a:t>RTN51</a:t>
            </a:r>
            <a:r>
              <a:rPr lang="en-US" altLang="zh-CN" sz="1200" b="1" i="1" dirty="0" smtClean="0">
                <a:solidFill>
                  <a:srgbClr val="FFC000"/>
                </a:solidFill>
                <a:latin typeface="微软雅黑" panose="020B0503020204020204" pitchFamily="34" charset="-122"/>
                <a:ea typeface="微软雅黑" panose="020B0503020204020204" pitchFamily="34" charset="-122"/>
              </a:rPr>
              <a:t>0</a:t>
            </a:r>
            <a:endParaRPr lang="zh-CN" altLang="en-US" sz="1200" b="1" i="1" dirty="0">
              <a:solidFill>
                <a:srgbClr val="FFC000"/>
              </a:solidFill>
            </a:endParaRPr>
          </a:p>
        </p:txBody>
      </p:sp>
      <p:sp>
        <p:nvSpPr>
          <p:cNvPr id="301" name="矩形 300"/>
          <p:cNvSpPr/>
          <p:nvPr/>
        </p:nvSpPr>
        <p:spPr>
          <a:xfrm>
            <a:off x="696986" y="226386"/>
            <a:ext cx="10729191" cy="954107"/>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Optical Fiber + Wireless Backhaul Network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Result in Widespread, </a:t>
            </a:r>
            <a:r>
              <a:rPr lang="zh-CN" altLang="en-US" sz="28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ll-Scenario Coverage </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of Urban IoT </a:t>
            </a:r>
            <a:endPar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42621329"/>
      </p:ext>
    </p:extLst>
  </p:cSld>
  <p:clrMapOvr>
    <a:masterClrMapping/>
  </p:clrMapOvr>
  <p:transition>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2" name="梯形 5581"/>
          <p:cNvSpPr/>
          <p:nvPr/>
        </p:nvSpPr>
        <p:spPr>
          <a:xfrm rot="16200000">
            <a:off x="6046622" y="2730755"/>
            <a:ext cx="2707869" cy="994464"/>
          </a:xfrm>
          <a:prstGeom prst="trapezoid">
            <a:avLst>
              <a:gd name="adj" fmla="val 119240"/>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469" name="Picture 4" descr="北京通州.1971"/>
          <p:cNvPicPr>
            <a:picLocks noChangeAspect="1" noChangeArrowheads="1"/>
          </p:cNvPicPr>
          <p:nvPr/>
        </p:nvPicPr>
        <p:blipFill>
          <a:blip r:embed="rId2" cstate="print">
            <a:extLst>
              <a:ext uri="{28A0092B-C50C-407E-A947-70E740481C1C}">
                <a14:useLocalDpi xmlns:a14="http://schemas.microsoft.com/office/drawing/2010/main" val="0"/>
              </a:ext>
            </a:extLst>
          </a:blip>
          <a:srcRect l="47488" t="13013" r="37050" b="10396"/>
          <a:stretch>
            <a:fillRect/>
          </a:stretch>
        </p:blipFill>
        <p:spPr bwMode="auto">
          <a:xfrm>
            <a:off x="5542337" y="2853730"/>
            <a:ext cx="2382746" cy="72285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4470" name="TextBox 4469"/>
          <p:cNvSpPr txBox="1"/>
          <p:nvPr/>
        </p:nvSpPr>
        <p:spPr>
          <a:xfrm>
            <a:off x="5535169" y="1759962"/>
            <a:ext cx="1656000" cy="609398"/>
          </a:xfrm>
          <a:prstGeom prst="rect">
            <a:avLst/>
          </a:prstGeom>
          <a:gradFill flip="none" rotWithShape="1">
            <a:gsLst>
              <a:gs pos="100000">
                <a:srgbClr val="00B050">
                  <a:shade val="30000"/>
                  <a:satMod val="115000"/>
                  <a:alpha val="0"/>
                </a:srgbClr>
              </a:gs>
              <a:gs pos="50000">
                <a:srgbClr val="00B050">
                  <a:shade val="67500"/>
                  <a:satMod val="115000"/>
                </a:srgbClr>
              </a:gs>
              <a:gs pos="100000">
                <a:srgbClr val="00B050">
                  <a:shade val="100000"/>
                  <a:satMod val="115000"/>
                </a:srgbClr>
              </a:gs>
            </a:gsLst>
            <a:path path="circle">
              <a:fillToRect l="50000" t="50000" r="50000" b="50000"/>
            </a:path>
            <a:tileRect/>
          </a:gradFill>
        </p:spPr>
        <p:txBody>
          <a:bodyPr wrap="square" rtlCol="0">
            <a:spAutoFit/>
          </a:bodyPr>
          <a:lstStyle/>
          <a:p>
            <a:pPr algn="ctr">
              <a:lnSpc>
                <a:spcPct val="120000"/>
              </a:lnSpc>
            </a:pPr>
            <a:r>
              <a:rPr lang="en-US" altLang="zh-CN" sz="1400" dirty="0" smtClean="0">
                <a:solidFill>
                  <a:schemeClr val="bg1"/>
                </a:solidFill>
                <a:latin typeface="微软雅黑" pitchFamily="34" charset="-122"/>
                <a:ea typeface="微软雅黑" pitchFamily="34" charset="-122"/>
              </a:rPr>
              <a:t>Built-in 5G micro base station</a:t>
            </a:r>
            <a:endParaRPr lang="zh-CN" altLang="en-US" sz="1400" dirty="0">
              <a:solidFill>
                <a:schemeClr val="bg1"/>
              </a:solidFill>
              <a:latin typeface="微软雅黑" pitchFamily="34" charset="-122"/>
              <a:ea typeface="微软雅黑" pitchFamily="34" charset="-122"/>
            </a:endParaRPr>
          </a:p>
        </p:txBody>
      </p:sp>
      <p:cxnSp>
        <p:nvCxnSpPr>
          <p:cNvPr id="4474" name="肘形连接符 4473"/>
          <p:cNvCxnSpPr>
            <a:stCxn id="4470" idx="2"/>
          </p:cNvCxnSpPr>
          <p:nvPr/>
        </p:nvCxnSpPr>
        <p:spPr>
          <a:xfrm rot="16200000" flipH="1">
            <a:off x="6313928" y="2418601"/>
            <a:ext cx="573794" cy="475312"/>
          </a:xfrm>
          <a:prstGeom prst="bentConnector3">
            <a:avLst>
              <a:gd name="adj1" fmla="val 50000"/>
            </a:avLst>
          </a:pr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 name="组合 13"/>
          <p:cNvGrpSpPr>
            <a:grpSpLocks/>
          </p:cNvGrpSpPr>
          <p:nvPr/>
        </p:nvGrpSpPr>
        <p:grpSpPr bwMode="auto">
          <a:xfrm>
            <a:off x="1071312" y="1485578"/>
            <a:ext cx="1781205" cy="2250182"/>
            <a:chOff x="822772" y="4504706"/>
            <a:chExt cx="8224264" cy="12075489"/>
          </a:xfrm>
        </p:grpSpPr>
        <p:sp>
          <p:nvSpPr>
            <p:cNvPr id="5590" name="剪去单角的矩形 5589"/>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5591" name="图片 11"/>
            <p:cNvPicPr>
              <a:picLocks noChangeAspect="1"/>
            </p:cNvPicPr>
            <p:nvPr/>
          </p:nvPicPr>
          <p:blipFill>
            <a:blip r:embed="rId3" cstate="print"/>
            <a:srcRect/>
            <a:stretch>
              <a:fillRect/>
            </a:stretch>
          </p:blipFill>
          <p:spPr bwMode="auto">
            <a:xfrm>
              <a:off x="4868947" y="5127486"/>
              <a:ext cx="4178089" cy="1172269"/>
            </a:xfrm>
            <a:prstGeom prst="rect">
              <a:avLst/>
            </a:prstGeom>
            <a:noFill/>
            <a:ln w="9525">
              <a:noFill/>
              <a:miter lim="800000"/>
              <a:headEnd/>
              <a:tailEnd/>
            </a:ln>
          </p:spPr>
        </p:pic>
        <p:pic>
          <p:nvPicPr>
            <p:cNvPr id="5592" name="Picture 5" descr="C:\Users\Administrator\Desktop\4 拷贝 9.png"/>
            <p:cNvPicPr>
              <a:picLocks noChangeAspect="1" noChangeArrowheads="1"/>
            </p:cNvPicPr>
            <p:nvPr/>
          </p:nvPicPr>
          <p:blipFill>
            <a:blip r:embed="rId4" cstate="print"/>
            <a:srcRect/>
            <a:stretch>
              <a:fillRect/>
            </a:stretch>
          </p:blipFill>
          <p:spPr bwMode="auto">
            <a:xfrm>
              <a:off x="1060627" y="4504706"/>
              <a:ext cx="7156427" cy="1294424"/>
            </a:xfrm>
            <a:prstGeom prst="rect">
              <a:avLst/>
            </a:prstGeom>
            <a:noFill/>
            <a:ln w="9525">
              <a:noFill/>
              <a:miter lim="800000"/>
              <a:headEnd/>
              <a:tailEnd/>
            </a:ln>
          </p:spPr>
        </p:pic>
      </p:grpSp>
      <p:grpSp>
        <p:nvGrpSpPr>
          <p:cNvPr id="3" name="组合 13"/>
          <p:cNvGrpSpPr>
            <a:grpSpLocks/>
          </p:cNvGrpSpPr>
          <p:nvPr/>
        </p:nvGrpSpPr>
        <p:grpSpPr bwMode="auto">
          <a:xfrm>
            <a:off x="3231552" y="1485578"/>
            <a:ext cx="1781205" cy="2250182"/>
            <a:chOff x="822772" y="4504706"/>
            <a:chExt cx="8224264" cy="12075489"/>
          </a:xfrm>
        </p:grpSpPr>
        <p:sp>
          <p:nvSpPr>
            <p:cNvPr id="5594" name="剪去单角的矩形 5593"/>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5595" name="图片 11"/>
            <p:cNvPicPr>
              <a:picLocks noChangeAspect="1"/>
            </p:cNvPicPr>
            <p:nvPr/>
          </p:nvPicPr>
          <p:blipFill>
            <a:blip r:embed="rId3" cstate="print"/>
            <a:srcRect/>
            <a:stretch>
              <a:fillRect/>
            </a:stretch>
          </p:blipFill>
          <p:spPr bwMode="auto">
            <a:xfrm>
              <a:off x="4868947" y="5127486"/>
              <a:ext cx="4178089" cy="1172269"/>
            </a:xfrm>
            <a:prstGeom prst="rect">
              <a:avLst/>
            </a:prstGeom>
            <a:noFill/>
            <a:ln w="9525">
              <a:noFill/>
              <a:miter lim="800000"/>
              <a:headEnd/>
              <a:tailEnd/>
            </a:ln>
          </p:spPr>
        </p:pic>
        <p:pic>
          <p:nvPicPr>
            <p:cNvPr id="5596" name="Picture 5" descr="C:\Users\Administrator\Desktop\4 拷贝 9.png"/>
            <p:cNvPicPr>
              <a:picLocks noChangeAspect="1" noChangeArrowheads="1"/>
            </p:cNvPicPr>
            <p:nvPr/>
          </p:nvPicPr>
          <p:blipFill>
            <a:blip r:embed="rId4" cstate="print"/>
            <a:srcRect/>
            <a:stretch>
              <a:fillRect/>
            </a:stretch>
          </p:blipFill>
          <p:spPr bwMode="auto">
            <a:xfrm>
              <a:off x="1060627" y="4504706"/>
              <a:ext cx="7156427" cy="1294424"/>
            </a:xfrm>
            <a:prstGeom prst="rect">
              <a:avLst/>
            </a:prstGeom>
            <a:noFill/>
            <a:ln w="9525">
              <a:noFill/>
              <a:miter lim="800000"/>
              <a:headEnd/>
              <a:tailEnd/>
            </a:ln>
          </p:spPr>
        </p:pic>
      </p:grpSp>
      <p:grpSp>
        <p:nvGrpSpPr>
          <p:cNvPr id="4" name="组合 13"/>
          <p:cNvGrpSpPr>
            <a:grpSpLocks/>
          </p:cNvGrpSpPr>
          <p:nvPr/>
        </p:nvGrpSpPr>
        <p:grpSpPr bwMode="auto">
          <a:xfrm>
            <a:off x="1057027" y="3951784"/>
            <a:ext cx="1781205" cy="2250182"/>
            <a:chOff x="822772" y="4504706"/>
            <a:chExt cx="8224264" cy="12075489"/>
          </a:xfrm>
        </p:grpSpPr>
        <p:sp>
          <p:nvSpPr>
            <p:cNvPr id="5598" name="剪去单角的矩形 5597"/>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5599" name="图片 11"/>
            <p:cNvPicPr>
              <a:picLocks noChangeAspect="1"/>
            </p:cNvPicPr>
            <p:nvPr/>
          </p:nvPicPr>
          <p:blipFill>
            <a:blip r:embed="rId3" cstate="print"/>
            <a:srcRect/>
            <a:stretch>
              <a:fillRect/>
            </a:stretch>
          </p:blipFill>
          <p:spPr bwMode="auto">
            <a:xfrm>
              <a:off x="4868947" y="5127486"/>
              <a:ext cx="4178089" cy="1172269"/>
            </a:xfrm>
            <a:prstGeom prst="rect">
              <a:avLst/>
            </a:prstGeom>
            <a:noFill/>
            <a:ln w="9525">
              <a:noFill/>
              <a:miter lim="800000"/>
              <a:headEnd/>
              <a:tailEnd/>
            </a:ln>
          </p:spPr>
        </p:pic>
        <p:pic>
          <p:nvPicPr>
            <p:cNvPr id="5600" name="Picture 5" descr="C:\Users\Administrator\Desktop\4 拷贝 9.png"/>
            <p:cNvPicPr>
              <a:picLocks noChangeAspect="1" noChangeArrowheads="1"/>
            </p:cNvPicPr>
            <p:nvPr/>
          </p:nvPicPr>
          <p:blipFill>
            <a:blip r:embed="rId4" cstate="print"/>
            <a:srcRect/>
            <a:stretch>
              <a:fillRect/>
            </a:stretch>
          </p:blipFill>
          <p:spPr bwMode="auto">
            <a:xfrm>
              <a:off x="1060627" y="4504706"/>
              <a:ext cx="7156427" cy="1294424"/>
            </a:xfrm>
            <a:prstGeom prst="rect">
              <a:avLst/>
            </a:prstGeom>
            <a:noFill/>
            <a:ln w="9525">
              <a:noFill/>
              <a:miter lim="800000"/>
              <a:headEnd/>
              <a:tailEnd/>
            </a:ln>
          </p:spPr>
        </p:pic>
      </p:grpSp>
      <p:grpSp>
        <p:nvGrpSpPr>
          <p:cNvPr id="5" name="组合 13"/>
          <p:cNvGrpSpPr>
            <a:grpSpLocks/>
          </p:cNvGrpSpPr>
          <p:nvPr/>
        </p:nvGrpSpPr>
        <p:grpSpPr bwMode="auto">
          <a:xfrm>
            <a:off x="3217267" y="3951784"/>
            <a:ext cx="1781205" cy="2250182"/>
            <a:chOff x="822772" y="4504706"/>
            <a:chExt cx="8224264" cy="12075489"/>
          </a:xfrm>
        </p:grpSpPr>
        <p:sp>
          <p:nvSpPr>
            <p:cNvPr id="5602" name="剪去单角的矩形 5601"/>
            <p:cNvSpPr/>
            <p:nvPr/>
          </p:nvSpPr>
          <p:spPr>
            <a:xfrm>
              <a:off x="822772" y="5096777"/>
              <a:ext cx="8224264" cy="11483418"/>
            </a:xfrm>
            <a:prstGeom prst="snip1Rect">
              <a:avLst>
                <a:gd name="adj" fmla="val 3003"/>
              </a:avLst>
            </a:prstGeom>
            <a:gradFill flip="none" rotWithShape="1">
              <a:gsLst>
                <a:gs pos="89000">
                  <a:srgbClr val="0F576E">
                    <a:alpha val="0"/>
                  </a:srgbClr>
                </a:gs>
                <a:gs pos="100000">
                  <a:srgbClr val="0F576E"/>
                </a:gs>
              </a:gsLst>
              <a:lin ang="16200000" scaled="1"/>
              <a:tileRect/>
            </a:gradFill>
            <a:ln w="9525" cap="flat" cmpd="sng" algn="ctr">
              <a:gradFill flip="none" rotWithShape="1">
                <a:gsLst>
                  <a:gs pos="0">
                    <a:srgbClr val="4BF0F0"/>
                  </a:gs>
                  <a:gs pos="41000">
                    <a:srgbClr val="4BF0F0">
                      <a:alpha val="0"/>
                    </a:srgbClr>
                  </a:gs>
                  <a:gs pos="100000">
                    <a:srgbClr val="4BF0F0"/>
                  </a:gs>
                </a:gsLst>
                <a:path path="circle">
                  <a:fillToRect t="100000" r="100000"/>
                </a:path>
                <a:tileRect l="-100000" b="-100000"/>
              </a:gradFill>
              <a:prstDash val="solid"/>
            </a:ln>
            <a:effectLst>
              <a:outerShdw blurRad="50800" dist="38100" dir="2700000" algn="tl" rotWithShape="0">
                <a:prstClr val="black">
                  <a:alpha val="40000"/>
                </a:prstClr>
              </a:outerShdw>
            </a:effectLst>
          </p:spPr>
          <p:txBody>
            <a:bodyPr lIns="359901" rIns="359901" anchor="ctr"/>
            <a:lstStyle/>
            <a:p>
              <a:pPr indent="-1040650" defTabSz="5554106">
                <a:lnSpc>
                  <a:spcPct val="120000"/>
                </a:lnSpc>
                <a:buClr>
                  <a:prstClr val="white"/>
                </a:buClr>
                <a:buSzPct val="60000"/>
                <a:defRPr/>
              </a:pPr>
              <a:endParaRPr lang="zh-CN" altLang="en-US" sz="4799" kern="0">
                <a:solidFill>
                  <a:prstClr val="white"/>
                </a:solidFill>
                <a:effectLst>
                  <a:outerShdw blurRad="38100" dist="38100" dir="2700000" algn="tl">
                    <a:srgbClr val="000000">
                      <a:alpha val="43137"/>
                    </a:srgbClr>
                  </a:outerShdw>
                </a:effectLst>
                <a:ea typeface="方正兰亭准黑_GBK" panose="02000000000000000000" pitchFamily="2" charset="-122"/>
                <a:cs typeface="Arial" panose="020B0604020202020204" pitchFamily="34" charset="0"/>
              </a:endParaRPr>
            </a:p>
          </p:txBody>
        </p:sp>
        <p:pic>
          <p:nvPicPr>
            <p:cNvPr id="5603" name="图片 11"/>
            <p:cNvPicPr>
              <a:picLocks noChangeAspect="1"/>
            </p:cNvPicPr>
            <p:nvPr/>
          </p:nvPicPr>
          <p:blipFill>
            <a:blip r:embed="rId3" cstate="print"/>
            <a:srcRect/>
            <a:stretch>
              <a:fillRect/>
            </a:stretch>
          </p:blipFill>
          <p:spPr bwMode="auto">
            <a:xfrm>
              <a:off x="4868947" y="5127486"/>
              <a:ext cx="4178089" cy="1172269"/>
            </a:xfrm>
            <a:prstGeom prst="rect">
              <a:avLst/>
            </a:prstGeom>
            <a:noFill/>
            <a:ln w="9525">
              <a:noFill/>
              <a:miter lim="800000"/>
              <a:headEnd/>
              <a:tailEnd/>
            </a:ln>
          </p:spPr>
        </p:pic>
        <p:pic>
          <p:nvPicPr>
            <p:cNvPr id="5604" name="Picture 5" descr="C:\Users\Administrator\Desktop\4 拷贝 9.png"/>
            <p:cNvPicPr>
              <a:picLocks noChangeAspect="1" noChangeArrowheads="1"/>
            </p:cNvPicPr>
            <p:nvPr/>
          </p:nvPicPr>
          <p:blipFill>
            <a:blip r:embed="rId4" cstate="print"/>
            <a:srcRect/>
            <a:stretch>
              <a:fillRect/>
            </a:stretch>
          </p:blipFill>
          <p:spPr bwMode="auto">
            <a:xfrm>
              <a:off x="1060627" y="4504706"/>
              <a:ext cx="7156427" cy="1294424"/>
            </a:xfrm>
            <a:prstGeom prst="rect">
              <a:avLst/>
            </a:prstGeom>
            <a:noFill/>
            <a:ln w="9525">
              <a:noFill/>
              <a:miter lim="800000"/>
              <a:headEnd/>
              <a:tailEnd/>
            </a:ln>
          </p:spPr>
        </p:pic>
      </p:grpSp>
      <p:sp>
        <p:nvSpPr>
          <p:cNvPr id="5606" name="TextBox 5605"/>
          <p:cNvSpPr txBox="1"/>
          <p:nvPr/>
        </p:nvSpPr>
        <p:spPr>
          <a:xfrm>
            <a:off x="1071312" y="1860134"/>
            <a:ext cx="1766920" cy="1569660"/>
          </a:xfrm>
          <a:prstGeom prst="rect">
            <a:avLst/>
          </a:prstGeom>
          <a:noFill/>
        </p:spPr>
        <p:txBody>
          <a:bodyPr wrap="square" rtlCol="0">
            <a:spAutoFit/>
          </a:bodyPr>
          <a:lstStyle/>
          <a:p>
            <a:pPr algn="ctr">
              <a:lnSpc>
                <a:spcPct val="150000"/>
              </a:lnSpc>
            </a:pPr>
            <a:r>
              <a:rPr lang="en-US" altLang="zh-CN" sz="1600" dirty="0" smtClean="0">
                <a:solidFill>
                  <a:srgbClr val="00B050"/>
                </a:solidFill>
                <a:latin typeface="微软雅黑" pitchFamily="34" charset="-122"/>
                <a:ea typeface="微软雅黑" pitchFamily="34" charset="-122"/>
              </a:rPr>
              <a:t>Overall</a:t>
            </a:r>
            <a:r>
              <a:rPr lang="en-US" altLang="zh-CN" sz="1600" dirty="0" smtClean="0">
                <a:solidFill>
                  <a:schemeClr val="bg1"/>
                </a:solidFill>
                <a:latin typeface="微软雅黑" pitchFamily="34" charset="-122"/>
                <a:ea typeface="微软雅黑" pitchFamily="34" charset="-122"/>
              </a:rPr>
              <a:t> fusion design </a:t>
            </a:r>
            <a:r>
              <a:rPr lang="en-US" altLang="zh-CN" sz="1600" dirty="0" smtClean="0">
                <a:solidFill>
                  <a:srgbClr val="00B050"/>
                </a:solidFill>
                <a:latin typeface="微软雅黑" pitchFamily="34" charset="-122"/>
                <a:ea typeface="微软雅黑" pitchFamily="34" charset="-122"/>
              </a:rPr>
              <a:t>is</a:t>
            </a:r>
            <a:r>
              <a:rPr lang="en-US" altLang="zh-CN" sz="1600" dirty="0" smtClean="0">
                <a:solidFill>
                  <a:schemeClr val="bg1"/>
                </a:solidFill>
                <a:latin typeface="微软雅黑" pitchFamily="34" charset="-122"/>
                <a:ea typeface="微软雅黑" pitchFamily="34" charset="-122"/>
              </a:rPr>
              <a:t> beautiful and </a:t>
            </a:r>
            <a:r>
              <a:rPr lang="en-US" altLang="zh-CN" sz="1600" dirty="0" smtClean="0">
                <a:solidFill>
                  <a:srgbClr val="00B050"/>
                </a:solidFill>
                <a:latin typeface="微软雅黑" pitchFamily="34" charset="-122"/>
                <a:ea typeface="微软雅黑" pitchFamily="34" charset="-122"/>
              </a:rPr>
              <a:t>ergonomic</a:t>
            </a:r>
            <a:endParaRPr lang="zh-CN" altLang="en-US" sz="1600" b="1" dirty="0">
              <a:solidFill>
                <a:srgbClr val="00B050"/>
              </a:solidFill>
              <a:latin typeface="微软雅黑" pitchFamily="34" charset="-122"/>
              <a:ea typeface="微软雅黑" pitchFamily="34" charset="-122"/>
            </a:endParaRPr>
          </a:p>
        </p:txBody>
      </p:sp>
      <p:sp>
        <p:nvSpPr>
          <p:cNvPr id="5607" name="TextBox 5606"/>
          <p:cNvSpPr txBox="1"/>
          <p:nvPr/>
        </p:nvSpPr>
        <p:spPr>
          <a:xfrm>
            <a:off x="3245837" y="1584882"/>
            <a:ext cx="1766920" cy="2160591"/>
          </a:xfrm>
          <a:prstGeom prst="rect">
            <a:avLst/>
          </a:prstGeom>
          <a:noFill/>
        </p:spPr>
        <p:txBody>
          <a:bodyPr wrap="square" rtlCol="0">
            <a:spAutoFit/>
          </a:bodyPr>
          <a:lstStyle/>
          <a:p>
            <a:pPr algn="ctr">
              <a:lnSpc>
                <a:spcPct val="120000"/>
              </a:lnSpc>
            </a:pPr>
            <a:r>
              <a:rPr lang="en-US" altLang="zh-CN" sz="1600" dirty="0" smtClean="0">
                <a:solidFill>
                  <a:schemeClr val="bg1"/>
                </a:solidFill>
                <a:latin typeface="微软雅黑" pitchFamily="34" charset="-122"/>
                <a:ea typeface="微软雅黑" pitchFamily="34" charset="-122"/>
              </a:rPr>
              <a:t>Full consideration of wiring, electromagnetic </a:t>
            </a:r>
            <a:r>
              <a:rPr lang="en-US" altLang="zh-CN" sz="1600" dirty="0" smtClean="0">
                <a:solidFill>
                  <a:srgbClr val="00B050"/>
                </a:solidFill>
                <a:latin typeface="微软雅黑" pitchFamily="34" charset="-122"/>
                <a:ea typeface="微软雅黑" pitchFamily="34" charset="-122"/>
              </a:rPr>
              <a:t>compatibility,</a:t>
            </a:r>
            <a:r>
              <a:rPr lang="en-US" altLang="zh-CN" sz="1600" dirty="0" smtClean="0">
                <a:solidFill>
                  <a:schemeClr val="bg1"/>
                </a:solidFill>
                <a:latin typeface="微软雅黑" pitchFamily="34" charset="-122"/>
                <a:ea typeface="微软雅黑" pitchFamily="34" charset="-122"/>
              </a:rPr>
              <a:t> and heat dissipation</a:t>
            </a:r>
            <a:endParaRPr lang="zh-CN" altLang="en-US" sz="1600" dirty="0">
              <a:solidFill>
                <a:schemeClr val="bg1"/>
              </a:solidFill>
              <a:latin typeface="微软雅黑" pitchFamily="34" charset="-122"/>
              <a:ea typeface="微软雅黑" pitchFamily="34" charset="-122"/>
            </a:endParaRPr>
          </a:p>
        </p:txBody>
      </p:sp>
      <p:sp>
        <p:nvSpPr>
          <p:cNvPr id="5608" name="TextBox 5607"/>
          <p:cNvSpPr txBox="1"/>
          <p:nvPr/>
        </p:nvSpPr>
        <p:spPr>
          <a:xfrm>
            <a:off x="1065965" y="4235530"/>
            <a:ext cx="1766920" cy="1840119"/>
          </a:xfrm>
          <a:prstGeom prst="rect">
            <a:avLst/>
          </a:prstGeom>
          <a:noFill/>
        </p:spPr>
        <p:txBody>
          <a:bodyPr wrap="square" rtlCol="0">
            <a:spAutoFit/>
          </a:bodyPr>
          <a:lstStyle/>
          <a:p>
            <a:pPr algn="ctr">
              <a:lnSpc>
                <a:spcPct val="120000"/>
              </a:lnSpc>
            </a:pPr>
            <a:r>
              <a:rPr lang="en-US" altLang="zh-CN" sz="1600" dirty="0" smtClean="0">
                <a:solidFill>
                  <a:schemeClr val="bg1"/>
                </a:solidFill>
                <a:latin typeface="微软雅黑" pitchFamily="34" charset="-122"/>
                <a:ea typeface="微软雅黑" pitchFamily="34" charset="-122"/>
              </a:rPr>
              <a:t>Multiple ways to guarantee the power supply of the micro base station</a:t>
            </a:r>
            <a:endParaRPr lang="zh-CN" altLang="en-US" sz="1600" b="1" dirty="0">
              <a:solidFill>
                <a:srgbClr val="FFC000"/>
              </a:solidFill>
              <a:latin typeface="微软雅黑" pitchFamily="34" charset="-122"/>
              <a:ea typeface="微软雅黑" pitchFamily="34" charset="-122"/>
            </a:endParaRPr>
          </a:p>
        </p:txBody>
      </p:sp>
      <p:sp>
        <p:nvSpPr>
          <p:cNvPr id="5609" name="TextBox 5608"/>
          <p:cNvSpPr txBox="1"/>
          <p:nvPr/>
        </p:nvSpPr>
        <p:spPr>
          <a:xfrm>
            <a:off x="3240490" y="4436484"/>
            <a:ext cx="1766920" cy="1569660"/>
          </a:xfrm>
          <a:prstGeom prst="rect">
            <a:avLst/>
          </a:prstGeom>
          <a:noFill/>
        </p:spPr>
        <p:txBody>
          <a:bodyPr wrap="square" rtlCol="0">
            <a:spAutoFit/>
          </a:bodyPr>
          <a:lstStyle/>
          <a:p>
            <a:pPr algn="ctr">
              <a:lnSpc>
                <a:spcPct val="120000"/>
              </a:lnSpc>
            </a:pPr>
            <a:r>
              <a:rPr lang="en-US" altLang="zh-CN" sz="1600" dirty="0" smtClean="0">
                <a:solidFill>
                  <a:schemeClr val="bg1"/>
                </a:solidFill>
                <a:latin typeface="微软雅黑" pitchFamily="34" charset="-122"/>
                <a:ea typeface="微软雅黑" pitchFamily="34" charset="-122"/>
              </a:rPr>
              <a:t>Reserved fiber </a:t>
            </a:r>
            <a:r>
              <a:rPr lang="en-US" altLang="zh-CN" sz="1600" dirty="0" smtClean="0">
                <a:solidFill>
                  <a:srgbClr val="00B050"/>
                </a:solidFill>
                <a:latin typeface="微软雅黑" pitchFamily="34" charset="-122"/>
                <a:ea typeface="微软雅黑" pitchFamily="34" charset="-122"/>
              </a:rPr>
              <a:t>accommodates </a:t>
            </a:r>
            <a:r>
              <a:rPr lang="en-US" altLang="zh-CN" sz="1600" dirty="0" smtClean="0">
                <a:solidFill>
                  <a:schemeClr val="bg1"/>
                </a:solidFill>
                <a:latin typeface="微软雅黑" pitchFamily="34" charset="-122"/>
                <a:ea typeface="微软雅黑" pitchFamily="34" charset="-122"/>
              </a:rPr>
              <a:t>5G high-performance transmission</a:t>
            </a:r>
            <a:endParaRPr lang="zh-CN" altLang="en-US" sz="1600" b="1" dirty="0">
              <a:solidFill>
                <a:srgbClr val="FFC000"/>
              </a:solidFill>
              <a:latin typeface="微软雅黑" pitchFamily="34" charset="-122"/>
              <a:ea typeface="微软雅黑" pitchFamily="34" charset="-122"/>
            </a:endParaRPr>
          </a:p>
        </p:txBody>
      </p:sp>
      <p:sp>
        <p:nvSpPr>
          <p:cNvPr id="5610" name="TextBox 5609"/>
          <p:cNvSpPr txBox="1"/>
          <p:nvPr/>
        </p:nvSpPr>
        <p:spPr>
          <a:xfrm>
            <a:off x="2471445" y="3367009"/>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1</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611" name="TextBox 5610"/>
          <p:cNvSpPr txBox="1"/>
          <p:nvPr/>
        </p:nvSpPr>
        <p:spPr>
          <a:xfrm>
            <a:off x="2462507" y="3779999"/>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2</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612" name="TextBox 5611"/>
          <p:cNvSpPr txBox="1"/>
          <p:nvPr/>
        </p:nvSpPr>
        <p:spPr>
          <a:xfrm>
            <a:off x="3044805" y="3362473"/>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3</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613" name="TextBox 5612"/>
          <p:cNvSpPr txBox="1"/>
          <p:nvPr/>
        </p:nvSpPr>
        <p:spPr>
          <a:xfrm>
            <a:off x="3045955" y="3781123"/>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4</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32" name="矩形 31"/>
          <p:cNvSpPr/>
          <p:nvPr/>
        </p:nvSpPr>
        <p:spPr>
          <a:xfrm>
            <a:off x="696986" y="226386"/>
            <a:ext cx="10729191" cy="954107"/>
          </a:xfrm>
          <a:prstGeom prst="rect">
            <a:avLst/>
          </a:prstGeom>
        </p:spPr>
        <p:txBody>
          <a:bodyPr wrap="square">
            <a:spAutoFit/>
          </a:bodyPr>
          <a:lstStyle/>
          <a:p>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mart Pole Supports Built-In</a:t>
            </a:r>
            <a:r>
              <a:rPr lang="en-US" altLang="zh-CN"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5G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Micro Base </a:t>
            </a:r>
            <a:r>
              <a:rPr lang="en-US" altLang="zh-CN" sz="2800" b="1" dirty="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tation </a:t>
            </a:r>
            <a:r>
              <a:rPr lang="en-US" altLang="zh-CN"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to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romote Rapid Development</a:t>
            </a:r>
            <a:r>
              <a:rPr lang="en-US" altLang="zh-CN" sz="28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of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5G Industry</a:t>
            </a:r>
          </a:p>
        </p:txBody>
      </p:sp>
      <p:pic>
        <p:nvPicPr>
          <p:cNvPr id="1026" name="Picture 2"/>
          <p:cNvPicPr>
            <a:picLocks noChangeAspect="1" noChangeArrowheads="1"/>
          </p:cNvPicPr>
          <p:nvPr/>
        </p:nvPicPr>
        <p:blipFill>
          <a:blip r:embed="rId5" cstate="print"/>
          <a:srcRect/>
          <a:stretch>
            <a:fillRect/>
          </a:stretch>
        </p:blipFill>
        <p:spPr bwMode="auto">
          <a:xfrm>
            <a:off x="7897789" y="1485578"/>
            <a:ext cx="3221906" cy="3522084"/>
          </a:xfrm>
          <a:prstGeom prst="roundRect">
            <a:avLst>
              <a:gd name="adj" fmla="val 6877"/>
            </a:avLst>
          </a:prstGeom>
          <a:noFill/>
          <a:ln w="9525">
            <a:noFill/>
            <a:miter lim="800000"/>
            <a:headEnd/>
            <a:tailEnd/>
          </a:ln>
          <a:effectLst>
            <a:outerShdw blurRad="76200" dir="18900000" sy="23000" kx="-1200000" algn="bl" rotWithShape="0">
              <a:prstClr val="black">
                <a:alpha val="20000"/>
              </a:prstClr>
            </a:outerShdw>
          </a:effectLst>
        </p:spPr>
      </p:pic>
      <p:sp>
        <p:nvSpPr>
          <p:cNvPr id="33" name="TextBox 32"/>
          <p:cNvSpPr txBox="1"/>
          <p:nvPr/>
        </p:nvSpPr>
        <p:spPr>
          <a:xfrm>
            <a:off x="3504154" y="3767317"/>
            <a:ext cx="3670014" cy="276999"/>
          </a:xfrm>
          <a:prstGeom prst="rect">
            <a:avLst/>
          </a:prstGeom>
          <a:solidFill>
            <a:srgbClr val="FFFF00"/>
          </a:solidFill>
        </p:spPr>
        <p:txBody>
          <a:bodyPr wrap="square" rtlCol="0">
            <a:spAutoFit/>
          </a:bodyPr>
          <a:lstStyle/>
          <a:p>
            <a:r>
              <a:rPr lang="en-US" sz="1200" b="1" dirty="0" smtClean="0">
                <a:solidFill>
                  <a:srgbClr val="7030A0"/>
                </a:solidFill>
              </a:rPr>
              <a:t>Switched 2 and 3 for consistency with slide 17 </a:t>
            </a:r>
            <a:endParaRPr lang="en-US" sz="1200" b="1" dirty="0">
              <a:solidFill>
                <a:srgbClr val="7030A0"/>
              </a:solidFill>
            </a:endParaRPr>
          </a:p>
        </p:txBody>
      </p:sp>
    </p:spTree>
  </p:cSld>
  <p:clrMapOvr>
    <a:masterClrMapping/>
  </p:clrMapOvr>
  <p:transition>
    <p:fade thruBlk="1"/>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3360"/>
          <p:cNvGrpSpPr/>
          <p:nvPr/>
        </p:nvGrpSpPr>
        <p:grpSpPr>
          <a:xfrm>
            <a:off x="1336433" y="1366611"/>
            <a:ext cx="1872208" cy="4871495"/>
            <a:chOff x="1336433" y="1197546"/>
            <a:chExt cx="1872208" cy="4871495"/>
          </a:xfrm>
        </p:grpSpPr>
        <p:grpSp>
          <p:nvGrpSpPr>
            <p:cNvPr id="3" name="组合 2255"/>
            <p:cNvGrpSpPr/>
            <p:nvPr/>
          </p:nvGrpSpPr>
          <p:grpSpPr>
            <a:xfrm>
              <a:off x="1336433" y="1197546"/>
              <a:ext cx="1872208" cy="2279207"/>
              <a:chOff x="1201043" y="1413570"/>
              <a:chExt cx="1584176" cy="1928560"/>
            </a:xfrm>
          </p:grpSpPr>
          <p:sp>
            <p:nvSpPr>
              <p:cNvPr id="2253" name="Freeform 17"/>
              <p:cNvSpPr>
                <a:spLocks/>
              </p:cNvSpPr>
              <p:nvPr/>
            </p:nvSpPr>
            <p:spPr bwMode="auto">
              <a:xfrm>
                <a:off x="1201043" y="1602605"/>
                <a:ext cx="1584176" cy="1739525"/>
              </a:xfrm>
              <a:custGeom>
                <a:avLst/>
                <a:gdLst>
                  <a:gd name="T0" fmla="*/ 0 w 554"/>
                  <a:gd name="T1" fmla="*/ 0 h 851"/>
                  <a:gd name="T2" fmla="*/ 0 w 554"/>
                  <a:gd name="T3" fmla="*/ 851 h 851"/>
                  <a:gd name="T4" fmla="*/ 554 w 554"/>
                  <a:gd name="T5" fmla="*/ 780 h 851"/>
                  <a:gd name="T6" fmla="*/ 554 w 554"/>
                  <a:gd name="T7" fmla="*/ 71 h 851"/>
                  <a:gd name="T8" fmla="*/ 389 w 554"/>
                  <a:gd name="T9" fmla="*/ 50 h 851"/>
                  <a:gd name="T10" fmla="*/ 277 w 554"/>
                  <a:gd name="T11" fmla="*/ 146 h 851"/>
                  <a:gd name="T12" fmla="*/ 161 w 554"/>
                  <a:gd name="T13" fmla="*/ 21 h 851"/>
                  <a:gd name="T14" fmla="*/ 0 w 554"/>
                  <a:gd name="T15" fmla="*/ 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851">
                    <a:moveTo>
                      <a:pt x="0" y="0"/>
                    </a:moveTo>
                    <a:cubicBezTo>
                      <a:pt x="0" y="726"/>
                      <a:pt x="0" y="851"/>
                      <a:pt x="0" y="851"/>
                    </a:cubicBezTo>
                    <a:cubicBezTo>
                      <a:pt x="554" y="780"/>
                      <a:pt x="554" y="780"/>
                      <a:pt x="554" y="780"/>
                    </a:cubicBezTo>
                    <a:cubicBezTo>
                      <a:pt x="554" y="196"/>
                      <a:pt x="554" y="71"/>
                      <a:pt x="554" y="71"/>
                    </a:cubicBezTo>
                    <a:cubicBezTo>
                      <a:pt x="389" y="50"/>
                      <a:pt x="389" y="50"/>
                      <a:pt x="389" y="50"/>
                    </a:cubicBezTo>
                    <a:cubicBezTo>
                      <a:pt x="377" y="105"/>
                      <a:pt x="331" y="146"/>
                      <a:pt x="277" y="146"/>
                    </a:cubicBezTo>
                    <a:cubicBezTo>
                      <a:pt x="213" y="146"/>
                      <a:pt x="161" y="90"/>
                      <a:pt x="161" y="21"/>
                    </a:cubicBezTo>
                    <a:cubicBezTo>
                      <a:pt x="0" y="0"/>
                      <a:pt x="0" y="0"/>
                      <a:pt x="0" y="0"/>
                    </a:cubicBezTo>
                  </a:path>
                </a:pathLst>
              </a:custGeom>
              <a:solidFill>
                <a:srgbClr val="0070C0">
                  <a:alpha val="40000"/>
                </a:srgbClr>
              </a:solidFill>
              <a:ln w="1270" cap="flat">
                <a:noFill/>
                <a:prstDash val="solid"/>
                <a:bevel/>
              </a:ln>
              <a:effectLst/>
              <a:extLst/>
            </p:spPr>
            <p:txBody>
              <a:bodyPr lIns="0" tIns="0" rIns="0" bIns="0" anchor="ctr"/>
              <a:lstStyle/>
              <a:p>
                <a:pPr algn="ctr" defTabSz="826472" eaLnBrk="1" hangingPunct="1">
                  <a:defRPr/>
                </a:pPr>
                <a:endParaRPr lang="zh-CN" altLang="en-US" sz="1200">
                  <a:solidFill>
                    <a:schemeClr val="bg1"/>
                  </a:solidFill>
                  <a:effectLst>
                    <a:outerShdw blurRad="38100" dist="38100" dir="2700000" algn="tl">
                      <a:srgbClr val="000000">
                        <a:alpha val="43137"/>
                      </a:srgbClr>
                    </a:outerShdw>
                  </a:effectLst>
                </a:endParaRPr>
              </a:p>
            </p:txBody>
          </p:sp>
          <p:grpSp>
            <p:nvGrpSpPr>
              <p:cNvPr id="4" name="组合 11"/>
              <p:cNvGrpSpPr>
                <a:grpSpLocks/>
              </p:cNvGrpSpPr>
              <p:nvPr/>
            </p:nvGrpSpPr>
            <p:grpSpPr bwMode="auto">
              <a:xfrm>
                <a:off x="1689862" y="1413570"/>
                <a:ext cx="591426" cy="565318"/>
                <a:chOff x="15841663" y="2584450"/>
                <a:chExt cx="2933700" cy="2936875"/>
              </a:xfrm>
            </p:grpSpPr>
            <p:grpSp>
              <p:nvGrpSpPr>
                <p:cNvPr id="6" name="Group 1310"/>
                <p:cNvGrpSpPr>
                  <a:grpSpLocks/>
                </p:cNvGrpSpPr>
                <p:nvPr/>
              </p:nvGrpSpPr>
              <p:grpSpPr bwMode="auto">
                <a:xfrm>
                  <a:off x="17581563" y="2936875"/>
                  <a:ext cx="869950" cy="1055688"/>
                  <a:chOff x="11075" y="1850"/>
                  <a:chExt cx="548" cy="665"/>
                </a:xfrm>
              </p:grpSpPr>
              <p:sp>
                <p:nvSpPr>
                  <p:cNvPr id="2052" name="Freeform 1110"/>
                  <p:cNvSpPr>
                    <a:spLocks/>
                  </p:cNvSpPr>
                  <p:nvPr/>
                </p:nvSpPr>
                <p:spPr bwMode="auto">
                  <a:xfrm>
                    <a:off x="11530" y="2203"/>
                    <a:ext cx="8" cy="9"/>
                  </a:xfrm>
                  <a:custGeom>
                    <a:avLst/>
                    <a:gdLst>
                      <a:gd name="T0" fmla="*/ 0 w 5"/>
                      <a:gd name="T1" fmla="*/ 4 h 4"/>
                      <a:gd name="T2" fmla="*/ 5 w 5"/>
                      <a:gd name="T3" fmla="*/ 2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2"/>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053" name="Freeform 1111"/>
                  <p:cNvSpPr>
                    <a:spLocks/>
                  </p:cNvSpPr>
                  <p:nvPr/>
                </p:nvSpPr>
                <p:spPr bwMode="auto">
                  <a:xfrm>
                    <a:off x="11521" y="2194"/>
                    <a:ext cx="8" cy="9"/>
                  </a:xfrm>
                  <a:custGeom>
                    <a:avLst/>
                    <a:gdLst>
                      <a:gd name="T0" fmla="*/ 2 w 7"/>
                      <a:gd name="T1" fmla="*/ 2 h 2"/>
                      <a:gd name="T2" fmla="*/ 7 w 7"/>
                      <a:gd name="T3" fmla="*/ 0 h 2"/>
                      <a:gd name="T4" fmla="*/ 7 w 7"/>
                      <a:gd name="T5" fmla="*/ 0 h 2"/>
                      <a:gd name="T6" fmla="*/ 0 w 7"/>
                      <a:gd name="T7" fmla="*/ 2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lnTo>
                          <a:pt x="7" y="0"/>
                        </a:lnTo>
                        <a:lnTo>
                          <a:pt x="7" y="0"/>
                        </a:lnTo>
                        <a:lnTo>
                          <a:pt x="0" y="2"/>
                        </a:lnTo>
                        <a:lnTo>
                          <a:pt x="2" y="2"/>
                        </a:lnTo>
                        <a:close/>
                      </a:path>
                    </a:pathLst>
                  </a:custGeom>
                  <a:solidFill>
                    <a:srgbClr val="01AAE5"/>
                  </a:solidFill>
                  <a:ln>
                    <a:noFill/>
                  </a:ln>
                  <a:extLst/>
                </p:spPr>
                <p:txBody>
                  <a:bodyPr/>
                  <a:lstStyle/>
                  <a:p>
                    <a:pPr eaLnBrk="1" hangingPunct="1">
                      <a:defRPr/>
                    </a:pPr>
                    <a:endParaRPr lang="zh-CN" altLang="en-US" sz="1050"/>
                  </a:p>
                </p:txBody>
              </p:sp>
              <p:sp>
                <p:nvSpPr>
                  <p:cNvPr id="2054" name="Freeform 1112"/>
                  <p:cNvSpPr>
                    <a:spLocks/>
                  </p:cNvSpPr>
                  <p:nvPr/>
                </p:nvSpPr>
                <p:spPr bwMode="auto">
                  <a:xfrm>
                    <a:off x="11521" y="2203"/>
                    <a:ext cx="17" cy="0"/>
                  </a:xfrm>
                  <a:custGeom>
                    <a:avLst/>
                    <a:gdLst>
                      <a:gd name="T0" fmla="*/ 0 w 7"/>
                      <a:gd name="T1" fmla="*/ 5 h 5"/>
                      <a:gd name="T2" fmla="*/ 7 w 7"/>
                      <a:gd name="T3" fmla="*/ 0 h 5"/>
                      <a:gd name="T4" fmla="*/ 5 w 7"/>
                      <a:gd name="T5" fmla="*/ 0 h 5"/>
                      <a:gd name="T6" fmla="*/ 0 w 7"/>
                      <a:gd name="T7" fmla="*/ 3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55" name="Freeform 1113"/>
                  <p:cNvSpPr>
                    <a:spLocks/>
                  </p:cNvSpPr>
                  <p:nvPr/>
                </p:nvSpPr>
                <p:spPr bwMode="auto">
                  <a:xfrm>
                    <a:off x="11538" y="2212"/>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056" name="Freeform 1114"/>
                  <p:cNvSpPr>
                    <a:spLocks/>
                  </p:cNvSpPr>
                  <p:nvPr/>
                </p:nvSpPr>
                <p:spPr bwMode="auto">
                  <a:xfrm>
                    <a:off x="11521" y="2194"/>
                    <a:ext cx="8" cy="0"/>
                  </a:xfrm>
                  <a:custGeom>
                    <a:avLst/>
                    <a:gdLst>
                      <a:gd name="T0" fmla="*/ 0 w 4"/>
                      <a:gd name="T1" fmla="*/ 5 h 5"/>
                      <a:gd name="T2" fmla="*/ 4 w 4"/>
                      <a:gd name="T3" fmla="*/ 2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57" name="Freeform 1115"/>
                  <p:cNvSpPr>
                    <a:spLocks/>
                  </p:cNvSpPr>
                  <p:nvPr/>
                </p:nvSpPr>
                <p:spPr bwMode="auto">
                  <a:xfrm>
                    <a:off x="11538" y="2212"/>
                    <a:ext cx="0" cy="0"/>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58" name="Freeform 1116"/>
                  <p:cNvSpPr>
                    <a:spLocks/>
                  </p:cNvSpPr>
                  <p:nvPr/>
                </p:nvSpPr>
                <p:spPr bwMode="auto">
                  <a:xfrm>
                    <a:off x="11530" y="2212"/>
                    <a:ext cx="8" cy="0"/>
                  </a:xfrm>
                  <a:custGeom>
                    <a:avLst/>
                    <a:gdLst>
                      <a:gd name="T0" fmla="*/ 0 w 7"/>
                      <a:gd name="T1" fmla="*/ 4 h 4"/>
                      <a:gd name="T2" fmla="*/ 7 w 7"/>
                      <a:gd name="T3" fmla="*/ 0 h 4"/>
                      <a:gd name="T4" fmla="*/ 7 w 7"/>
                      <a:gd name="T5" fmla="*/ 0 h 4"/>
                      <a:gd name="T6" fmla="*/ 0 w 7"/>
                      <a:gd name="T7" fmla="*/ 2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7" y="0"/>
                        </a:lnTo>
                        <a:lnTo>
                          <a:pt x="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2059" name="Freeform 1117"/>
                  <p:cNvSpPr>
                    <a:spLocks/>
                  </p:cNvSpPr>
                  <p:nvPr/>
                </p:nvSpPr>
                <p:spPr bwMode="auto">
                  <a:xfrm>
                    <a:off x="11505" y="2159"/>
                    <a:ext cx="8" cy="9"/>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60" name="Freeform 1118"/>
                  <p:cNvSpPr>
                    <a:spLocks/>
                  </p:cNvSpPr>
                  <p:nvPr/>
                </p:nvSpPr>
                <p:spPr bwMode="auto">
                  <a:xfrm>
                    <a:off x="11505" y="2168"/>
                    <a:ext cx="17" cy="9"/>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2061" name="Freeform 1119"/>
                  <p:cNvSpPr>
                    <a:spLocks/>
                  </p:cNvSpPr>
                  <p:nvPr/>
                </p:nvSpPr>
                <p:spPr bwMode="auto">
                  <a:xfrm>
                    <a:off x="11513" y="2168"/>
                    <a:ext cx="8" cy="9"/>
                  </a:xfrm>
                  <a:custGeom>
                    <a:avLst/>
                    <a:gdLst>
                      <a:gd name="T0" fmla="*/ 0 w 7"/>
                      <a:gd name="T1" fmla="*/ 5 h 5"/>
                      <a:gd name="T2" fmla="*/ 7 w 7"/>
                      <a:gd name="T3" fmla="*/ 0 h 5"/>
                      <a:gd name="T4" fmla="*/ 5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62" name="Freeform 1120"/>
                  <p:cNvSpPr>
                    <a:spLocks/>
                  </p:cNvSpPr>
                  <p:nvPr/>
                </p:nvSpPr>
                <p:spPr bwMode="auto">
                  <a:xfrm>
                    <a:off x="11513" y="2177"/>
                    <a:ext cx="8" cy="0"/>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63" name="Freeform 1121"/>
                  <p:cNvSpPr>
                    <a:spLocks/>
                  </p:cNvSpPr>
                  <p:nvPr/>
                </p:nvSpPr>
                <p:spPr bwMode="auto">
                  <a:xfrm>
                    <a:off x="11521" y="2177"/>
                    <a:ext cx="0"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064" name="Freeform 1122"/>
                  <p:cNvSpPr>
                    <a:spLocks/>
                  </p:cNvSpPr>
                  <p:nvPr/>
                </p:nvSpPr>
                <p:spPr bwMode="auto">
                  <a:xfrm>
                    <a:off x="11505" y="2168"/>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065" name="Freeform 1123"/>
                  <p:cNvSpPr>
                    <a:spLocks/>
                  </p:cNvSpPr>
                  <p:nvPr/>
                </p:nvSpPr>
                <p:spPr bwMode="auto">
                  <a:xfrm>
                    <a:off x="11521" y="2177"/>
                    <a:ext cx="0" cy="9"/>
                  </a:xfrm>
                  <a:custGeom>
                    <a:avLst/>
                    <a:gdLst>
                      <a:gd name="T0" fmla="*/ 0 w 8"/>
                      <a:gd name="T1" fmla="*/ 4 h 4"/>
                      <a:gd name="T2" fmla="*/ 8 w 8"/>
                      <a:gd name="T3" fmla="*/ 2 h 4"/>
                      <a:gd name="T4" fmla="*/ 8 w 8"/>
                      <a:gd name="T5" fmla="*/ 0 h 4"/>
                      <a:gd name="T6" fmla="*/ 0 w 8"/>
                      <a:gd name="T7" fmla="*/ 4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lnTo>
                          <a:pt x="8" y="2"/>
                        </a:lnTo>
                        <a:lnTo>
                          <a:pt x="8"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066" name="Freeform 1124"/>
                  <p:cNvSpPr>
                    <a:spLocks/>
                  </p:cNvSpPr>
                  <p:nvPr/>
                </p:nvSpPr>
                <p:spPr bwMode="auto">
                  <a:xfrm>
                    <a:off x="11521" y="2186"/>
                    <a:ext cx="0" cy="0"/>
                  </a:xfrm>
                  <a:custGeom>
                    <a:avLst/>
                    <a:gdLst>
                      <a:gd name="T0" fmla="*/ 0 w 7"/>
                      <a:gd name="T1" fmla="*/ 3 h 3"/>
                      <a:gd name="T2" fmla="*/ 7 w 7"/>
                      <a:gd name="T3" fmla="*/ 0 h 3"/>
                      <a:gd name="T4" fmla="*/ 5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2067" name="Freeform 1125"/>
                  <p:cNvSpPr>
                    <a:spLocks/>
                  </p:cNvSpPr>
                  <p:nvPr/>
                </p:nvSpPr>
                <p:spPr bwMode="auto">
                  <a:xfrm>
                    <a:off x="11521" y="2186"/>
                    <a:ext cx="0" cy="9"/>
                  </a:xfrm>
                  <a:custGeom>
                    <a:avLst/>
                    <a:gdLst>
                      <a:gd name="T0" fmla="*/ 0 w 5"/>
                      <a:gd name="T1" fmla="*/ 4 h 4"/>
                      <a:gd name="T2" fmla="*/ 5 w 5"/>
                      <a:gd name="T3" fmla="*/ 0 h 4"/>
                      <a:gd name="T4" fmla="*/ 5 w 5"/>
                      <a:gd name="T5" fmla="*/ 0 h 4"/>
                      <a:gd name="T6" fmla="*/ 0 w 5"/>
                      <a:gd name="T7" fmla="*/ 2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2068" name="Freeform 1126"/>
                  <p:cNvSpPr>
                    <a:spLocks/>
                  </p:cNvSpPr>
                  <p:nvPr/>
                </p:nvSpPr>
                <p:spPr bwMode="auto">
                  <a:xfrm>
                    <a:off x="11521" y="2177"/>
                    <a:ext cx="0" cy="9"/>
                  </a:xfrm>
                  <a:custGeom>
                    <a:avLst/>
                    <a:gdLst>
                      <a:gd name="T0" fmla="*/ 0 w 5"/>
                      <a:gd name="T1" fmla="*/ 5 h 5"/>
                      <a:gd name="T2" fmla="*/ 5 w 5"/>
                      <a:gd name="T3" fmla="*/ 0 h 5"/>
                      <a:gd name="T4" fmla="*/ 5 w 5"/>
                      <a:gd name="T5" fmla="*/ 0 h 5"/>
                      <a:gd name="T6" fmla="*/ 0 w 5"/>
                      <a:gd name="T7" fmla="*/ 3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69" name="Freeform 1127"/>
                  <p:cNvSpPr>
                    <a:spLocks/>
                  </p:cNvSpPr>
                  <p:nvPr/>
                </p:nvSpPr>
                <p:spPr bwMode="auto">
                  <a:xfrm>
                    <a:off x="11530" y="2212"/>
                    <a:ext cx="8" cy="0"/>
                  </a:xfrm>
                  <a:custGeom>
                    <a:avLst/>
                    <a:gdLst>
                      <a:gd name="T0" fmla="*/ 0 w 4"/>
                      <a:gd name="T1" fmla="*/ 3 h 3"/>
                      <a:gd name="T2" fmla="*/ 4 w 4"/>
                      <a:gd name="T3" fmla="*/ 0 h 3"/>
                      <a:gd name="T4" fmla="*/ 4 w 4"/>
                      <a:gd name="T5" fmla="*/ 0 h 3"/>
                      <a:gd name="T6" fmla="*/ 0 w 4"/>
                      <a:gd name="T7" fmla="*/ 3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lnTo>
                          <a:pt x="4" y="0"/>
                        </a:lnTo>
                        <a:lnTo>
                          <a:pt x="4"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2070" name="Freeform 1128"/>
                  <p:cNvSpPr>
                    <a:spLocks/>
                  </p:cNvSpPr>
                  <p:nvPr/>
                </p:nvSpPr>
                <p:spPr bwMode="auto">
                  <a:xfrm>
                    <a:off x="11546" y="2255"/>
                    <a:ext cx="33" cy="17"/>
                  </a:xfrm>
                  <a:custGeom>
                    <a:avLst/>
                    <a:gdLst>
                      <a:gd name="T0" fmla="*/ 0 w 23"/>
                      <a:gd name="T1" fmla="*/ 12 h 12"/>
                      <a:gd name="T2" fmla="*/ 23 w 23"/>
                      <a:gd name="T3" fmla="*/ 0 h 12"/>
                      <a:gd name="T4" fmla="*/ 23 w 23"/>
                      <a:gd name="T5" fmla="*/ 0 h 12"/>
                      <a:gd name="T6" fmla="*/ 0 w 23"/>
                      <a:gd name="T7" fmla="*/ 9 h 12"/>
                      <a:gd name="T8" fmla="*/ 0 w 23"/>
                      <a:gd name="T9" fmla="*/ 12 h 12"/>
                    </a:gdLst>
                    <a:ahLst/>
                    <a:cxnLst>
                      <a:cxn ang="0">
                        <a:pos x="T0" y="T1"/>
                      </a:cxn>
                      <a:cxn ang="0">
                        <a:pos x="T2" y="T3"/>
                      </a:cxn>
                      <a:cxn ang="0">
                        <a:pos x="T4" y="T5"/>
                      </a:cxn>
                      <a:cxn ang="0">
                        <a:pos x="T6" y="T7"/>
                      </a:cxn>
                      <a:cxn ang="0">
                        <a:pos x="T8" y="T9"/>
                      </a:cxn>
                    </a:cxnLst>
                    <a:rect l="0" t="0" r="r" b="b"/>
                    <a:pathLst>
                      <a:path w="23" h="12">
                        <a:moveTo>
                          <a:pt x="0" y="12"/>
                        </a:moveTo>
                        <a:lnTo>
                          <a:pt x="23" y="0"/>
                        </a:lnTo>
                        <a:lnTo>
                          <a:pt x="23"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071" name="Freeform 1129"/>
                  <p:cNvSpPr>
                    <a:spLocks/>
                  </p:cNvSpPr>
                  <p:nvPr/>
                </p:nvSpPr>
                <p:spPr bwMode="auto">
                  <a:xfrm>
                    <a:off x="11546" y="2247"/>
                    <a:ext cx="25" cy="17"/>
                  </a:xfrm>
                  <a:custGeom>
                    <a:avLst/>
                    <a:gdLst>
                      <a:gd name="T0" fmla="*/ 0 w 18"/>
                      <a:gd name="T1" fmla="*/ 10 h 10"/>
                      <a:gd name="T2" fmla="*/ 18 w 18"/>
                      <a:gd name="T3" fmla="*/ 0 h 10"/>
                      <a:gd name="T4" fmla="*/ 16 w 18"/>
                      <a:gd name="T5" fmla="*/ 0 h 10"/>
                      <a:gd name="T6" fmla="*/ 0 w 18"/>
                      <a:gd name="T7" fmla="*/ 7 h 10"/>
                      <a:gd name="T8" fmla="*/ 0 w 18"/>
                      <a:gd name="T9" fmla="*/ 10 h 10"/>
                    </a:gdLst>
                    <a:ahLst/>
                    <a:cxnLst>
                      <a:cxn ang="0">
                        <a:pos x="T0" y="T1"/>
                      </a:cxn>
                      <a:cxn ang="0">
                        <a:pos x="T2" y="T3"/>
                      </a:cxn>
                      <a:cxn ang="0">
                        <a:pos x="T4" y="T5"/>
                      </a:cxn>
                      <a:cxn ang="0">
                        <a:pos x="T6" y="T7"/>
                      </a:cxn>
                      <a:cxn ang="0">
                        <a:pos x="T8" y="T9"/>
                      </a:cxn>
                    </a:cxnLst>
                    <a:rect l="0" t="0" r="r" b="b"/>
                    <a:pathLst>
                      <a:path w="18" h="10">
                        <a:moveTo>
                          <a:pt x="0" y="10"/>
                        </a:moveTo>
                        <a:lnTo>
                          <a:pt x="18" y="0"/>
                        </a:lnTo>
                        <a:lnTo>
                          <a:pt x="16"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2072" name="Freeform 1130"/>
                  <p:cNvSpPr>
                    <a:spLocks/>
                  </p:cNvSpPr>
                  <p:nvPr/>
                </p:nvSpPr>
                <p:spPr bwMode="auto">
                  <a:xfrm>
                    <a:off x="11546" y="2255"/>
                    <a:ext cx="25" cy="9"/>
                  </a:xfrm>
                  <a:custGeom>
                    <a:avLst/>
                    <a:gdLst>
                      <a:gd name="T0" fmla="*/ 0 w 21"/>
                      <a:gd name="T1" fmla="*/ 9 h 9"/>
                      <a:gd name="T2" fmla="*/ 21 w 21"/>
                      <a:gd name="T3" fmla="*/ 0 h 9"/>
                      <a:gd name="T4" fmla="*/ 21 w 21"/>
                      <a:gd name="T5" fmla="*/ 0 h 9"/>
                      <a:gd name="T6" fmla="*/ 0 w 21"/>
                      <a:gd name="T7" fmla="*/ 9 h 9"/>
                      <a:gd name="T8" fmla="*/ 0 w 21"/>
                      <a:gd name="T9" fmla="*/ 9 h 9"/>
                    </a:gdLst>
                    <a:ahLst/>
                    <a:cxnLst>
                      <a:cxn ang="0">
                        <a:pos x="T0" y="T1"/>
                      </a:cxn>
                      <a:cxn ang="0">
                        <a:pos x="T2" y="T3"/>
                      </a:cxn>
                      <a:cxn ang="0">
                        <a:pos x="T4" y="T5"/>
                      </a:cxn>
                      <a:cxn ang="0">
                        <a:pos x="T6" y="T7"/>
                      </a:cxn>
                      <a:cxn ang="0">
                        <a:pos x="T8" y="T9"/>
                      </a:cxn>
                    </a:cxnLst>
                    <a:rect l="0" t="0" r="r" b="b"/>
                    <a:pathLst>
                      <a:path w="21" h="9">
                        <a:moveTo>
                          <a:pt x="0" y="9"/>
                        </a:moveTo>
                        <a:lnTo>
                          <a:pt x="21" y="0"/>
                        </a:lnTo>
                        <a:lnTo>
                          <a:pt x="21"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2073" name="Freeform 1131"/>
                  <p:cNvSpPr>
                    <a:spLocks/>
                  </p:cNvSpPr>
                  <p:nvPr/>
                </p:nvSpPr>
                <p:spPr bwMode="auto">
                  <a:xfrm>
                    <a:off x="11546" y="2247"/>
                    <a:ext cx="25" cy="9"/>
                  </a:xfrm>
                  <a:custGeom>
                    <a:avLst/>
                    <a:gdLst>
                      <a:gd name="T0" fmla="*/ 0 w 19"/>
                      <a:gd name="T1" fmla="*/ 7 h 7"/>
                      <a:gd name="T2" fmla="*/ 19 w 19"/>
                      <a:gd name="T3" fmla="*/ 0 h 7"/>
                      <a:gd name="T4" fmla="*/ 17 w 19"/>
                      <a:gd name="T5" fmla="*/ 0 h 7"/>
                      <a:gd name="T6" fmla="*/ 0 w 19"/>
                      <a:gd name="T7" fmla="*/ 7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074" name="Freeform 1132"/>
                  <p:cNvSpPr>
                    <a:spLocks/>
                  </p:cNvSpPr>
                  <p:nvPr/>
                </p:nvSpPr>
                <p:spPr bwMode="auto">
                  <a:xfrm>
                    <a:off x="11546" y="2264"/>
                    <a:ext cx="33" cy="9"/>
                  </a:xfrm>
                  <a:custGeom>
                    <a:avLst/>
                    <a:gdLst>
                      <a:gd name="T0" fmla="*/ 0 w 26"/>
                      <a:gd name="T1" fmla="*/ 12 h 12"/>
                      <a:gd name="T2" fmla="*/ 26 w 26"/>
                      <a:gd name="T3" fmla="*/ 0 h 12"/>
                      <a:gd name="T4" fmla="*/ 26 w 26"/>
                      <a:gd name="T5" fmla="*/ 0 h 12"/>
                      <a:gd name="T6" fmla="*/ 0 w 26"/>
                      <a:gd name="T7" fmla="*/ 9 h 12"/>
                      <a:gd name="T8" fmla="*/ 0 w 26"/>
                      <a:gd name="T9" fmla="*/ 12 h 12"/>
                    </a:gdLst>
                    <a:ahLst/>
                    <a:cxnLst>
                      <a:cxn ang="0">
                        <a:pos x="T0" y="T1"/>
                      </a:cxn>
                      <a:cxn ang="0">
                        <a:pos x="T2" y="T3"/>
                      </a:cxn>
                      <a:cxn ang="0">
                        <a:pos x="T4" y="T5"/>
                      </a:cxn>
                      <a:cxn ang="0">
                        <a:pos x="T6" y="T7"/>
                      </a:cxn>
                      <a:cxn ang="0">
                        <a:pos x="T8" y="T9"/>
                      </a:cxn>
                    </a:cxnLst>
                    <a:rect l="0" t="0" r="r" b="b"/>
                    <a:pathLst>
                      <a:path w="26" h="12">
                        <a:moveTo>
                          <a:pt x="0" y="12"/>
                        </a:moveTo>
                        <a:lnTo>
                          <a:pt x="26" y="0"/>
                        </a:lnTo>
                        <a:lnTo>
                          <a:pt x="26"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075" name="Freeform 1133"/>
                  <p:cNvSpPr>
                    <a:spLocks/>
                  </p:cNvSpPr>
                  <p:nvPr/>
                </p:nvSpPr>
                <p:spPr bwMode="auto">
                  <a:xfrm>
                    <a:off x="11546" y="2264"/>
                    <a:ext cx="33" cy="9"/>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076" name="Freeform 1134"/>
                  <p:cNvSpPr>
                    <a:spLocks/>
                  </p:cNvSpPr>
                  <p:nvPr/>
                </p:nvSpPr>
                <p:spPr bwMode="auto">
                  <a:xfrm>
                    <a:off x="11546" y="2255"/>
                    <a:ext cx="33" cy="17"/>
                  </a:xfrm>
                  <a:custGeom>
                    <a:avLst/>
                    <a:gdLst>
                      <a:gd name="T0" fmla="*/ 0 w 24"/>
                      <a:gd name="T1" fmla="*/ 12 h 12"/>
                      <a:gd name="T2" fmla="*/ 24 w 24"/>
                      <a:gd name="T3" fmla="*/ 3 h 12"/>
                      <a:gd name="T4" fmla="*/ 24 w 24"/>
                      <a:gd name="T5" fmla="*/ 0 h 12"/>
                      <a:gd name="T6" fmla="*/ 0 w 24"/>
                      <a:gd name="T7" fmla="*/ 12 h 12"/>
                      <a:gd name="T8" fmla="*/ 0 w 24"/>
                      <a:gd name="T9" fmla="*/ 12 h 12"/>
                    </a:gdLst>
                    <a:ahLst/>
                    <a:cxnLst>
                      <a:cxn ang="0">
                        <a:pos x="T0" y="T1"/>
                      </a:cxn>
                      <a:cxn ang="0">
                        <a:pos x="T2" y="T3"/>
                      </a:cxn>
                      <a:cxn ang="0">
                        <a:pos x="T4" y="T5"/>
                      </a:cxn>
                      <a:cxn ang="0">
                        <a:pos x="T6" y="T7"/>
                      </a:cxn>
                      <a:cxn ang="0">
                        <a:pos x="T8" y="T9"/>
                      </a:cxn>
                    </a:cxnLst>
                    <a:rect l="0" t="0" r="r" b="b"/>
                    <a:pathLst>
                      <a:path w="24" h="12">
                        <a:moveTo>
                          <a:pt x="0" y="12"/>
                        </a:moveTo>
                        <a:lnTo>
                          <a:pt x="24" y="3"/>
                        </a:lnTo>
                        <a:lnTo>
                          <a:pt x="24"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077" name="Freeform 1135"/>
                  <p:cNvSpPr>
                    <a:spLocks/>
                  </p:cNvSpPr>
                  <p:nvPr/>
                </p:nvSpPr>
                <p:spPr bwMode="auto">
                  <a:xfrm>
                    <a:off x="11546" y="2247"/>
                    <a:ext cx="17" cy="9"/>
                  </a:xfrm>
                  <a:custGeom>
                    <a:avLst/>
                    <a:gdLst>
                      <a:gd name="T0" fmla="*/ 0 w 14"/>
                      <a:gd name="T1" fmla="*/ 10 h 10"/>
                      <a:gd name="T2" fmla="*/ 14 w 14"/>
                      <a:gd name="T3" fmla="*/ 2 h 10"/>
                      <a:gd name="T4" fmla="*/ 14 w 14"/>
                      <a:gd name="T5" fmla="*/ 0 h 10"/>
                      <a:gd name="T6" fmla="*/ 0 w 14"/>
                      <a:gd name="T7" fmla="*/ 7 h 10"/>
                      <a:gd name="T8" fmla="*/ 0 w 14"/>
                      <a:gd name="T9" fmla="*/ 10 h 10"/>
                    </a:gdLst>
                    <a:ahLst/>
                    <a:cxnLst>
                      <a:cxn ang="0">
                        <a:pos x="T0" y="T1"/>
                      </a:cxn>
                      <a:cxn ang="0">
                        <a:pos x="T2" y="T3"/>
                      </a:cxn>
                      <a:cxn ang="0">
                        <a:pos x="T4" y="T5"/>
                      </a:cxn>
                      <a:cxn ang="0">
                        <a:pos x="T6" y="T7"/>
                      </a:cxn>
                      <a:cxn ang="0">
                        <a:pos x="T8" y="T9"/>
                      </a:cxn>
                    </a:cxnLst>
                    <a:rect l="0" t="0" r="r" b="b"/>
                    <a:pathLst>
                      <a:path w="14" h="10">
                        <a:moveTo>
                          <a:pt x="0" y="10"/>
                        </a:moveTo>
                        <a:lnTo>
                          <a:pt x="14" y="2"/>
                        </a:lnTo>
                        <a:lnTo>
                          <a:pt x="14"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2078" name="Freeform 1136"/>
                  <p:cNvSpPr>
                    <a:spLocks/>
                  </p:cNvSpPr>
                  <p:nvPr/>
                </p:nvSpPr>
                <p:spPr bwMode="auto">
                  <a:xfrm>
                    <a:off x="11546" y="2238"/>
                    <a:ext cx="8" cy="9"/>
                  </a:xfrm>
                  <a:custGeom>
                    <a:avLst/>
                    <a:gdLst>
                      <a:gd name="T0" fmla="*/ 0 w 12"/>
                      <a:gd name="T1" fmla="*/ 7 h 7"/>
                      <a:gd name="T2" fmla="*/ 12 w 12"/>
                      <a:gd name="T3" fmla="*/ 0 h 7"/>
                      <a:gd name="T4" fmla="*/ 12 w 12"/>
                      <a:gd name="T5" fmla="*/ 0 h 7"/>
                      <a:gd name="T6" fmla="*/ 0 w 12"/>
                      <a:gd name="T7" fmla="*/ 5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2079" name="Freeform 1137"/>
                  <p:cNvSpPr>
                    <a:spLocks/>
                  </p:cNvSpPr>
                  <p:nvPr/>
                </p:nvSpPr>
                <p:spPr bwMode="auto">
                  <a:xfrm>
                    <a:off x="11555" y="2273"/>
                    <a:ext cx="25" cy="9"/>
                  </a:xfrm>
                  <a:custGeom>
                    <a:avLst/>
                    <a:gdLst>
                      <a:gd name="T0" fmla="*/ 0 w 29"/>
                      <a:gd name="T1" fmla="*/ 14 h 14"/>
                      <a:gd name="T2" fmla="*/ 29 w 29"/>
                      <a:gd name="T3" fmla="*/ 0 h 14"/>
                      <a:gd name="T4" fmla="*/ 29 w 29"/>
                      <a:gd name="T5" fmla="*/ 0 h 14"/>
                      <a:gd name="T6" fmla="*/ 0 w 29"/>
                      <a:gd name="T7" fmla="*/ 12 h 14"/>
                      <a:gd name="T8" fmla="*/ 0 w 29"/>
                      <a:gd name="T9" fmla="*/ 14 h 14"/>
                    </a:gdLst>
                    <a:ahLst/>
                    <a:cxnLst>
                      <a:cxn ang="0">
                        <a:pos x="T0" y="T1"/>
                      </a:cxn>
                      <a:cxn ang="0">
                        <a:pos x="T2" y="T3"/>
                      </a:cxn>
                      <a:cxn ang="0">
                        <a:pos x="T4" y="T5"/>
                      </a:cxn>
                      <a:cxn ang="0">
                        <a:pos x="T6" y="T7"/>
                      </a:cxn>
                      <a:cxn ang="0">
                        <a:pos x="T8" y="T9"/>
                      </a:cxn>
                    </a:cxnLst>
                    <a:rect l="0" t="0" r="r" b="b"/>
                    <a:pathLst>
                      <a:path w="29" h="14">
                        <a:moveTo>
                          <a:pt x="0" y="14"/>
                        </a:moveTo>
                        <a:lnTo>
                          <a:pt x="29" y="0"/>
                        </a:lnTo>
                        <a:lnTo>
                          <a:pt x="29"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2080" name="Freeform 1138"/>
                  <p:cNvSpPr>
                    <a:spLocks/>
                  </p:cNvSpPr>
                  <p:nvPr/>
                </p:nvSpPr>
                <p:spPr bwMode="auto">
                  <a:xfrm>
                    <a:off x="11546" y="2247"/>
                    <a:ext cx="17" cy="0"/>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081" name="Freeform 1139"/>
                  <p:cNvSpPr>
                    <a:spLocks/>
                  </p:cNvSpPr>
                  <p:nvPr/>
                </p:nvSpPr>
                <p:spPr bwMode="auto">
                  <a:xfrm>
                    <a:off x="11546" y="2229"/>
                    <a:ext cx="0" cy="0"/>
                  </a:xfrm>
                  <a:custGeom>
                    <a:avLst/>
                    <a:gdLst>
                      <a:gd name="T0" fmla="*/ 2 w 7"/>
                      <a:gd name="T1" fmla="*/ 4 h 4"/>
                      <a:gd name="T2" fmla="*/ 7 w 7"/>
                      <a:gd name="T3" fmla="*/ 0 h 4"/>
                      <a:gd name="T4" fmla="*/ 7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2082" name="Freeform 1140"/>
                  <p:cNvSpPr>
                    <a:spLocks/>
                  </p:cNvSpPr>
                  <p:nvPr/>
                </p:nvSpPr>
                <p:spPr bwMode="auto">
                  <a:xfrm>
                    <a:off x="11538" y="2220"/>
                    <a:ext cx="8" cy="0"/>
                  </a:xfrm>
                  <a:custGeom>
                    <a:avLst/>
                    <a:gdLst>
                      <a:gd name="T0" fmla="*/ 0 w 7"/>
                      <a:gd name="T1" fmla="*/ 5 h 5"/>
                      <a:gd name="T2" fmla="*/ 7 w 7"/>
                      <a:gd name="T3" fmla="*/ 3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83" name="Freeform 1141"/>
                  <p:cNvSpPr>
                    <a:spLocks/>
                  </p:cNvSpPr>
                  <p:nvPr/>
                </p:nvSpPr>
                <p:spPr bwMode="auto">
                  <a:xfrm>
                    <a:off x="11546" y="2220"/>
                    <a:ext cx="0" cy="9"/>
                  </a:xfrm>
                  <a:custGeom>
                    <a:avLst/>
                    <a:gdLst>
                      <a:gd name="T0" fmla="*/ 0 w 5"/>
                      <a:gd name="T1" fmla="*/ 3 h 3"/>
                      <a:gd name="T2" fmla="*/ 5 w 5"/>
                      <a:gd name="T3" fmla="*/ 0 h 3"/>
                      <a:gd name="T4" fmla="*/ 5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2084" name="Freeform 1142"/>
                  <p:cNvSpPr>
                    <a:spLocks/>
                  </p:cNvSpPr>
                  <p:nvPr/>
                </p:nvSpPr>
                <p:spPr bwMode="auto">
                  <a:xfrm>
                    <a:off x="11546" y="2238"/>
                    <a:ext cx="0" cy="0"/>
                  </a:xfrm>
                  <a:custGeom>
                    <a:avLst/>
                    <a:gdLst>
                      <a:gd name="T0" fmla="*/ 3 w 10"/>
                      <a:gd name="T1" fmla="*/ 4 h 4"/>
                      <a:gd name="T2" fmla="*/ 10 w 10"/>
                      <a:gd name="T3" fmla="*/ 0 h 4"/>
                      <a:gd name="T4" fmla="*/ 10 w 10"/>
                      <a:gd name="T5" fmla="*/ 0 h 4"/>
                      <a:gd name="T6" fmla="*/ 0 w 10"/>
                      <a:gd name="T7" fmla="*/ 2 h 4"/>
                      <a:gd name="T8" fmla="*/ 3 w 10"/>
                      <a:gd name="T9" fmla="*/ 4 h 4"/>
                    </a:gdLst>
                    <a:ahLst/>
                    <a:cxnLst>
                      <a:cxn ang="0">
                        <a:pos x="T0" y="T1"/>
                      </a:cxn>
                      <a:cxn ang="0">
                        <a:pos x="T2" y="T3"/>
                      </a:cxn>
                      <a:cxn ang="0">
                        <a:pos x="T4" y="T5"/>
                      </a:cxn>
                      <a:cxn ang="0">
                        <a:pos x="T6" y="T7"/>
                      </a:cxn>
                      <a:cxn ang="0">
                        <a:pos x="T8" y="T9"/>
                      </a:cxn>
                    </a:cxnLst>
                    <a:rect l="0" t="0" r="r" b="b"/>
                    <a:pathLst>
                      <a:path w="10" h="4">
                        <a:moveTo>
                          <a:pt x="3" y="4"/>
                        </a:moveTo>
                        <a:lnTo>
                          <a:pt x="10" y="0"/>
                        </a:lnTo>
                        <a:lnTo>
                          <a:pt x="10" y="0"/>
                        </a:lnTo>
                        <a:lnTo>
                          <a:pt x="0" y="2"/>
                        </a:lnTo>
                        <a:lnTo>
                          <a:pt x="3" y="4"/>
                        </a:lnTo>
                        <a:close/>
                      </a:path>
                    </a:pathLst>
                  </a:custGeom>
                  <a:solidFill>
                    <a:srgbClr val="01AAE5"/>
                  </a:solidFill>
                  <a:ln>
                    <a:noFill/>
                  </a:ln>
                  <a:extLst/>
                </p:spPr>
                <p:txBody>
                  <a:bodyPr/>
                  <a:lstStyle/>
                  <a:p>
                    <a:pPr eaLnBrk="1" hangingPunct="1">
                      <a:defRPr/>
                    </a:pPr>
                    <a:endParaRPr lang="zh-CN" altLang="en-US" sz="1050"/>
                  </a:p>
                </p:txBody>
              </p:sp>
              <p:sp>
                <p:nvSpPr>
                  <p:cNvPr id="2085" name="Freeform 1143"/>
                  <p:cNvSpPr>
                    <a:spLocks/>
                  </p:cNvSpPr>
                  <p:nvPr/>
                </p:nvSpPr>
                <p:spPr bwMode="auto">
                  <a:xfrm>
                    <a:off x="11538" y="2212"/>
                    <a:ext cx="8" cy="9"/>
                  </a:xfrm>
                  <a:custGeom>
                    <a:avLst/>
                    <a:gdLst>
                      <a:gd name="T0" fmla="*/ 3 w 7"/>
                      <a:gd name="T1" fmla="*/ 5 h 5"/>
                      <a:gd name="T2" fmla="*/ 7 w 7"/>
                      <a:gd name="T3" fmla="*/ 0 h 5"/>
                      <a:gd name="T4" fmla="*/ 7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7"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2086" name="Freeform 1144"/>
                  <p:cNvSpPr>
                    <a:spLocks/>
                  </p:cNvSpPr>
                  <p:nvPr/>
                </p:nvSpPr>
                <p:spPr bwMode="auto">
                  <a:xfrm>
                    <a:off x="11546" y="2238"/>
                    <a:ext cx="8" cy="9"/>
                  </a:xfrm>
                  <a:custGeom>
                    <a:avLst/>
                    <a:gdLst>
                      <a:gd name="T0" fmla="*/ 0 w 9"/>
                      <a:gd name="T1" fmla="*/ 5 h 5"/>
                      <a:gd name="T2" fmla="*/ 9 w 9"/>
                      <a:gd name="T3" fmla="*/ 0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0"/>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87" name="Freeform 1145"/>
                  <p:cNvSpPr>
                    <a:spLocks/>
                  </p:cNvSpPr>
                  <p:nvPr/>
                </p:nvSpPr>
                <p:spPr bwMode="auto">
                  <a:xfrm>
                    <a:off x="11546" y="2229"/>
                    <a:ext cx="0" cy="9"/>
                  </a:xfrm>
                  <a:custGeom>
                    <a:avLst/>
                    <a:gdLst>
                      <a:gd name="T0" fmla="*/ 0 w 8"/>
                      <a:gd name="T1" fmla="*/ 5 h 5"/>
                      <a:gd name="T2" fmla="*/ 8 w 8"/>
                      <a:gd name="T3" fmla="*/ 2 h 5"/>
                      <a:gd name="T4" fmla="*/ 8 w 8"/>
                      <a:gd name="T5" fmla="*/ 0 h 5"/>
                      <a:gd name="T6" fmla="*/ 0 w 8"/>
                      <a:gd name="T7" fmla="*/ 5 h 5"/>
                      <a:gd name="T8" fmla="*/ 0 w 8"/>
                      <a:gd name="T9" fmla="*/ 5 h 5"/>
                    </a:gdLst>
                    <a:ahLst/>
                    <a:cxnLst>
                      <a:cxn ang="0">
                        <a:pos x="T0" y="T1"/>
                      </a:cxn>
                      <a:cxn ang="0">
                        <a:pos x="T2" y="T3"/>
                      </a:cxn>
                      <a:cxn ang="0">
                        <a:pos x="T4" y="T5"/>
                      </a:cxn>
                      <a:cxn ang="0">
                        <a:pos x="T6" y="T7"/>
                      </a:cxn>
                      <a:cxn ang="0">
                        <a:pos x="T8" y="T9"/>
                      </a:cxn>
                    </a:cxnLst>
                    <a:rect l="0" t="0" r="r" b="b"/>
                    <a:pathLst>
                      <a:path w="8" h="5">
                        <a:moveTo>
                          <a:pt x="0" y="5"/>
                        </a:moveTo>
                        <a:lnTo>
                          <a:pt x="8" y="2"/>
                        </a:lnTo>
                        <a:lnTo>
                          <a:pt x="8"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088" name="Freeform 1146"/>
                  <p:cNvSpPr>
                    <a:spLocks/>
                  </p:cNvSpPr>
                  <p:nvPr/>
                </p:nvSpPr>
                <p:spPr bwMode="auto">
                  <a:xfrm>
                    <a:off x="11455" y="2090"/>
                    <a:ext cx="8"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089" name="Freeform 1147"/>
                  <p:cNvSpPr>
                    <a:spLocks/>
                  </p:cNvSpPr>
                  <p:nvPr/>
                </p:nvSpPr>
                <p:spPr bwMode="auto">
                  <a:xfrm>
                    <a:off x="11455" y="2090"/>
                    <a:ext cx="8" cy="9"/>
                  </a:xfrm>
                  <a:custGeom>
                    <a:avLst/>
                    <a:gdLst>
                      <a:gd name="T0" fmla="*/ 0 w 7"/>
                      <a:gd name="T1" fmla="*/ 8 h 8"/>
                      <a:gd name="T2" fmla="*/ 7 w 7"/>
                      <a:gd name="T3" fmla="*/ 0 h 8"/>
                      <a:gd name="T4" fmla="*/ 7 w 7"/>
                      <a:gd name="T5" fmla="*/ 0 h 8"/>
                      <a:gd name="T6" fmla="*/ 0 w 7"/>
                      <a:gd name="T7" fmla="*/ 8 h 8"/>
                      <a:gd name="T8" fmla="*/ 0 w 7"/>
                      <a:gd name="T9" fmla="*/ 8 h 8"/>
                    </a:gdLst>
                    <a:ahLst/>
                    <a:cxnLst>
                      <a:cxn ang="0">
                        <a:pos x="T0" y="T1"/>
                      </a:cxn>
                      <a:cxn ang="0">
                        <a:pos x="T2" y="T3"/>
                      </a:cxn>
                      <a:cxn ang="0">
                        <a:pos x="T4" y="T5"/>
                      </a:cxn>
                      <a:cxn ang="0">
                        <a:pos x="T6" y="T7"/>
                      </a:cxn>
                      <a:cxn ang="0">
                        <a:pos x="T8" y="T9"/>
                      </a:cxn>
                    </a:cxnLst>
                    <a:rect l="0" t="0" r="r" b="b"/>
                    <a:pathLst>
                      <a:path w="7" h="8">
                        <a:moveTo>
                          <a:pt x="0" y="8"/>
                        </a:moveTo>
                        <a:lnTo>
                          <a:pt x="7" y="0"/>
                        </a:lnTo>
                        <a:lnTo>
                          <a:pt x="7"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2090" name="Freeform 1148"/>
                  <p:cNvSpPr>
                    <a:spLocks/>
                  </p:cNvSpPr>
                  <p:nvPr/>
                </p:nvSpPr>
                <p:spPr bwMode="auto">
                  <a:xfrm>
                    <a:off x="11455" y="2090"/>
                    <a:ext cx="8" cy="0"/>
                  </a:xfrm>
                  <a:custGeom>
                    <a:avLst/>
                    <a:gdLst>
                      <a:gd name="T0" fmla="*/ 0 w 7"/>
                      <a:gd name="T1" fmla="*/ 7 h 7"/>
                      <a:gd name="T2" fmla="*/ 7 w 7"/>
                      <a:gd name="T3" fmla="*/ 0 h 7"/>
                      <a:gd name="T4" fmla="*/ 7 w 7"/>
                      <a:gd name="T5" fmla="*/ 0 h 7"/>
                      <a:gd name="T6" fmla="*/ 0 w 7"/>
                      <a:gd name="T7" fmla="*/ 5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2091" name="Freeform 1149"/>
                  <p:cNvSpPr>
                    <a:spLocks/>
                  </p:cNvSpPr>
                  <p:nvPr/>
                </p:nvSpPr>
                <p:spPr bwMode="auto">
                  <a:xfrm>
                    <a:off x="11455" y="2090"/>
                    <a:ext cx="17" cy="17"/>
                  </a:xfrm>
                  <a:custGeom>
                    <a:avLst/>
                    <a:gdLst>
                      <a:gd name="T0" fmla="*/ 2 w 12"/>
                      <a:gd name="T1" fmla="*/ 10 h 10"/>
                      <a:gd name="T2" fmla="*/ 12 w 12"/>
                      <a:gd name="T3" fmla="*/ 0 h 10"/>
                      <a:gd name="T4" fmla="*/ 9 w 12"/>
                      <a:gd name="T5" fmla="*/ 0 h 10"/>
                      <a:gd name="T6" fmla="*/ 0 w 12"/>
                      <a:gd name="T7" fmla="*/ 7 h 10"/>
                      <a:gd name="T8" fmla="*/ 2 w 12"/>
                      <a:gd name="T9" fmla="*/ 10 h 10"/>
                    </a:gdLst>
                    <a:ahLst/>
                    <a:cxnLst>
                      <a:cxn ang="0">
                        <a:pos x="T0" y="T1"/>
                      </a:cxn>
                      <a:cxn ang="0">
                        <a:pos x="T2" y="T3"/>
                      </a:cxn>
                      <a:cxn ang="0">
                        <a:pos x="T4" y="T5"/>
                      </a:cxn>
                      <a:cxn ang="0">
                        <a:pos x="T6" y="T7"/>
                      </a:cxn>
                      <a:cxn ang="0">
                        <a:pos x="T8" y="T9"/>
                      </a:cxn>
                    </a:cxnLst>
                    <a:rect l="0" t="0" r="r" b="b"/>
                    <a:pathLst>
                      <a:path w="12" h="10">
                        <a:moveTo>
                          <a:pt x="2" y="10"/>
                        </a:moveTo>
                        <a:lnTo>
                          <a:pt x="12" y="0"/>
                        </a:lnTo>
                        <a:lnTo>
                          <a:pt x="9" y="0"/>
                        </a:lnTo>
                        <a:lnTo>
                          <a:pt x="0" y="7"/>
                        </a:lnTo>
                        <a:lnTo>
                          <a:pt x="2" y="10"/>
                        </a:lnTo>
                        <a:close/>
                      </a:path>
                    </a:pathLst>
                  </a:custGeom>
                  <a:solidFill>
                    <a:srgbClr val="01AAE5"/>
                  </a:solidFill>
                  <a:ln>
                    <a:noFill/>
                  </a:ln>
                  <a:extLst/>
                </p:spPr>
                <p:txBody>
                  <a:bodyPr/>
                  <a:lstStyle/>
                  <a:p>
                    <a:pPr eaLnBrk="1" hangingPunct="1">
                      <a:defRPr/>
                    </a:pPr>
                    <a:endParaRPr lang="zh-CN" altLang="en-US" sz="1050"/>
                  </a:p>
                </p:txBody>
              </p:sp>
              <p:sp>
                <p:nvSpPr>
                  <p:cNvPr id="2092" name="Freeform 1150"/>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2093" name="Freeform 1151"/>
                  <p:cNvSpPr>
                    <a:spLocks/>
                  </p:cNvSpPr>
                  <p:nvPr/>
                </p:nvSpPr>
                <p:spPr bwMode="auto">
                  <a:xfrm>
                    <a:off x="11463" y="2099"/>
                    <a:ext cx="17" cy="17"/>
                  </a:xfrm>
                  <a:custGeom>
                    <a:avLst/>
                    <a:gdLst>
                      <a:gd name="T0" fmla="*/ 2 w 16"/>
                      <a:gd name="T1" fmla="*/ 12 h 12"/>
                      <a:gd name="T2" fmla="*/ 16 w 16"/>
                      <a:gd name="T3" fmla="*/ 0 h 12"/>
                      <a:gd name="T4" fmla="*/ 14 w 16"/>
                      <a:gd name="T5" fmla="*/ 0 h 12"/>
                      <a:gd name="T6" fmla="*/ 0 w 16"/>
                      <a:gd name="T7" fmla="*/ 10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0"/>
                        </a:lnTo>
                        <a:lnTo>
                          <a:pt x="14" y="0"/>
                        </a:lnTo>
                        <a:lnTo>
                          <a:pt x="0" y="10"/>
                        </a:lnTo>
                        <a:lnTo>
                          <a:pt x="2" y="12"/>
                        </a:lnTo>
                        <a:close/>
                      </a:path>
                    </a:pathLst>
                  </a:custGeom>
                  <a:solidFill>
                    <a:srgbClr val="01AAE5"/>
                  </a:solidFill>
                  <a:ln>
                    <a:noFill/>
                  </a:ln>
                  <a:extLst/>
                </p:spPr>
                <p:txBody>
                  <a:bodyPr/>
                  <a:lstStyle/>
                  <a:p>
                    <a:pPr eaLnBrk="1" hangingPunct="1">
                      <a:defRPr/>
                    </a:pPr>
                    <a:endParaRPr lang="zh-CN" altLang="en-US" sz="1050"/>
                  </a:p>
                </p:txBody>
              </p:sp>
              <p:sp>
                <p:nvSpPr>
                  <p:cNvPr id="2094" name="Freeform 1152"/>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2095" name="Freeform 1153"/>
                  <p:cNvSpPr>
                    <a:spLocks/>
                  </p:cNvSpPr>
                  <p:nvPr/>
                </p:nvSpPr>
                <p:spPr bwMode="auto">
                  <a:xfrm>
                    <a:off x="11447" y="2090"/>
                    <a:ext cx="8" cy="0"/>
                  </a:xfrm>
                  <a:custGeom>
                    <a:avLst/>
                    <a:gdLst>
                      <a:gd name="T0" fmla="*/ 2 w 7"/>
                      <a:gd name="T1" fmla="*/ 4 h 4"/>
                      <a:gd name="T2" fmla="*/ 7 w 7"/>
                      <a:gd name="T3" fmla="*/ 0 h 4"/>
                      <a:gd name="T4" fmla="*/ 7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2096" name="Freeform 1154"/>
                  <p:cNvSpPr>
                    <a:spLocks/>
                  </p:cNvSpPr>
                  <p:nvPr/>
                </p:nvSpPr>
                <p:spPr bwMode="auto">
                  <a:xfrm>
                    <a:off x="11447" y="2081"/>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2097" name="Freeform 1155"/>
                  <p:cNvSpPr>
                    <a:spLocks/>
                  </p:cNvSpPr>
                  <p:nvPr/>
                </p:nvSpPr>
                <p:spPr bwMode="auto">
                  <a:xfrm>
                    <a:off x="11438" y="2072"/>
                    <a:ext cx="8" cy="0"/>
                  </a:xfrm>
                  <a:custGeom>
                    <a:avLst/>
                    <a:gdLst>
                      <a:gd name="T0" fmla="*/ 2 w 7"/>
                      <a:gd name="T1" fmla="*/ 4 h 4"/>
                      <a:gd name="T2" fmla="*/ 7 w 7"/>
                      <a:gd name="T3" fmla="*/ 2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2098" name="Freeform 1156"/>
                  <p:cNvSpPr>
                    <a:spLocks/>
                  </p:cNvSpPr>
                  <p:nvPr/>
                </p:nvSpPr>
                <p:spPr bwMode="auto">
                  <a:xfrm>
                    <a:off x="11438" y="2064"/>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2099" name="Freeform 1157"/>
                  <p:cNvSpPr>
                    <a:spLocks/>
                  </p:cNvSpPr>
                  <p:nvPr/>
                </p:nvSpPr>
                <p:spPr bwMode="auto">
                  <a:xfrm>
                    <a:off x="11438" y="2064"/>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00" name="Freeform 1158"/>
                  <p:cNvSpPr>
                    <a:spLocks/>
                  </p:cNvSpPr>
                  <p:nvPr/>
                </p:nvSpPr>
                <p:spPr bwMode="auto">
                  <a:xfrm>
                    <a:off x="11430" y="2064"/>
                    <a:ext cx="8" cy="0"/>
                  </a:xfrm>
                  <a:custGeom>
                    <a:avLst/>
                    <a:gdLst>
                      <a:gd name="T0" fmla="*/ 2 w 7"/>
                      <a:gd name="T1" fmla="*/ 4 h 4"/>
                      <a:gd name="T2" fmla="*/ 7 w 7"/>
                      <a:gd name="T3" fmla="*/ 0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2101" name="Freeform 1159"/>
                  <p:cNvSpPr>
                    <a:spLocks/>
                  </p:cNvSpPr>
                  <p:nvPr/>
                </p:nvSpPr>
                <p:spPr bwMode="auto">
                  <a:xfrm>
                    <a:off x="11447" y="2072"/>
                    <a:ext cx="0" cy="9"/>
                  </a:xfrm>
                  <a:custGeom>
                    <a:avLst/>
                    <a:gdLst>
                      <a:gd name="T0" fmla="*/ 3 w 8"/>
                      <a:gd name="T1" fmla="*/ 5 h 5"/>
                      <a:gd name="T2" fmla="*/ 8 w 8"/>
                      <a:gd name="T3" fmla="*/ 0 h 5"/>
                      <a:gd name="T4" fmla="*/ 5 w 8"/>
                      <a:gd name="T5" fmla="*/ 0 h 5"/>
                      <a:gd name="T6" fmla="*/ 0 w 8"/>
                      <a:gd name="T7" fmla="*/ 3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0"/>
                        </a:lnTo>
                        <a:lnTo>
                          <a:pt x="5" y="0"/>
                        </a:lnTo>
                        <a:lnTo>
                          <a:pt x="0" y="3"/>
                        </a:lnTo>
                        <a:lnTo>
                          <a:pt x="3" y="5"/>
                        </a:lnTo>
                        <a:close/>
                      </a:path>
                    </a:pathLst>
                  </a:custGeom>
                  <a:solidFill>
                    <a:srgbClr val="01AAE5"/>
                  </a:solidFill>
                  <a:ln>
                    <a:noFill/>
                  </a:ln>
                  <a:extLst/>
                </p:spPr>
                <p:txBody>
                  <a:bodyPr/>
                  <a:lstStyle/>
                  <a:p>
                    <a:pPr eaLnBrk="1" hangingPunct="1">
                      <a:defRPr/>
                    </a:pPr>
                    <a:endParaRPr lang="zh-CN" altLang="en-US" sz="1050"/>
                  </a:p>
                </p:txBody>
              </p:sp>
              <p:sp>
                <p:nvSpPr>
                  <p:cNvPr id="2102" name="Freeform 1160"/>
                  <p:cNvSpPr>
                    <a:spLocks/>
                  </p:cNvSpPr>
                  <p:nvPr/>
                </p:nvSpPr>
                <p:spPr bwMode="auto">
                  <a:xfrm>
                    <a:off x="11447" y="2081"/>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03" name="Freeform 1161"/>
                  <p:cNvSpPr>
                    <a:spLocks/>
                  </p:cNvSpPr>
                  <p:nvPr/>
                </p:nvSpPr>
                <p:spPr bwMode="auto">
                  <a:xfrm>
                    <a:off x="11463" y="2107"/>
                    <a:ext cx="17" cy="9"/>
                  </a:xfrm>
                  <a:custGeom>
                    <a:avLst/>
                    <a:gdLst>
                      <a:gd name="T0" fmla="*/ 0 w 17"/>
                      <a:gd name="T1" fmla="*/ 11 h 11"/>
                      <a:gd name="T2" fmla="*/ 17 w 17"/>
                      <a:gd name="T3" fmla="*/ 0 h 11"/>
                      <a:gd name="T4" fmla="*/ 14 w 17"/>
                      <a:gd name="T5" fmla="*/ 0 h 11"/>
                      <a:gd name="T6" fmla="*/ 0 w 17"/>
                      <a:gd name="T7" fmla="*/ 11 h 11"/>
                      <a:gd name="T8" fmla="*/ 0 w 17"/>
                      <a:gd name="T9" fmla="*/ 11 h 11"/>
                    </a:gdLst>
                    <a:ahLst/>
                    <a:cxnLst>
                      <a:cxn ang="0">
                        <a:pos x="T0" y="T1"/>
                      </a:cxn>
                      <a:cxn ang="0">
                        <a:pos x="T2" y="T3"/>
                      </a:cxn>
                      <a:cxn ang="0">
                        <a:pos x="T4" y="T5"/>
                      </a:cxn>
                      <a:cxn ang="0">
                        <a:pos x="T6" y="T7"/>
                      </a:cxn>
                      <a:cxn ang="0">
                        <a:pos x="T8" y="T9"/>
                      </a:cxn>
                    </a:cxnLst>
                    <a:rect l="0" t="0" r="r" b="b"/>
                    <a:pathLst>
                      <a:path w="17" h="11">
                        <a:moveTo>
                          <a:pt x="0" y="11"/>
                        </a:moveTo>
                        <a:lnTo>
                          <a:pt x="17" y="0"/>
                        </a:lnTo>
                        <a:lnTo>
                          <a:pt x="14" y="0"/>
                        </a:lnTo>
                        <a:lnTo>
                          <a:pt x="0" y="11"/>
                        </a:lnTo>
                        <a:lnTo>
                          <a:pt x="0" y="11"/>
                        </a:lnTo>
                        <a:close/>
                      </a:path>
                    </a:pathLst>
                  </a:custGeom>
                  <a:solidFill>
                    <a:srgbClr val="01AAE5"/>
                  </a:solidFill>
                  <a:ln>
                    <a:noFill/>
                  </a:ln>
                  <a:extLst/>
                </p:spPr>
                <p:txBody>
                  <a:bodyPr/>
                  <a:lstStyle/>
                  <a:p>
                    <a:pPr eaLnBrk="1" hangingPunct="1">
                      <a:defRPr/>
                    </a:pPr>
                    <a:endParaRPr lang="zh-CN" altLang="en-US" sz="1050"/>
                  </a:p>
                </p:txBody>
              </p:sp>
              <p:sp>
                <p:nvSpPr>
                  <p:cNvPr id="2104" name="Freeform 1162"/>
                  <p:cNvSpPr>
                    <a:spLocks/>
                  </p:cNvSpPr>
                  <p:nvPr/>
                </p:nvSpPr>
                <p:spPr bwMode="auto">
                  <a:xfrm>
                    <a:off x="11447" y="2081"/>
                    <a:ext cx="0" cy="0"/>
                  </a:xfrm>
                  <a:custGeom>
                    <a:avLst/>
                    <a:gdLst>
                      <a:gd name="T0" fmla="*/ 2 w 7"/>
                      <a:gd name="T1" fmla="*/ 4 h 4"/>
                      <a:gd name="T2" fmla="*/ 7 w 7"/>
                      <a:gd name="T3" fmla="*/ 0 h 4"/>
                      <a:gd name="T4" fmla="*/ 5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2105" name="Freeform 1163"/>
                  <p:cNvSpPr>
                    <a:spLocks/>
                  </p:cNvSpPr>
                  <p:nvPr/>
                </p:nvSpPr>
                <p:spPr bwMode="auto">
                  <a:xfrm>
                    <a:off x="11472" y="2116"/>
                    <a:ext cx="25" cy="17"/>
                  </a:xfrm>
                  <a:custGeom>
                    <a:avLst/>
                    <a:gdLst>
                      <a:gd name="T0" fmla="*/ 2 w 16"/>
                      <a:gd name="T1" fmla="*/ 12 h 12"/>
                      <a:gd name="T2" fmla="*/ 16 w 16"/>
                      <a:gd name="T3" fmla="*/ 3 h 12"/>
                      <a:gd name="T4" fmla="*/ 16 w 16"/>
                      <a:gd name="T5" fmla="*/ 0 h 12"/>
                      <a:gd name="T6" fmla="*/ 0 w 16"/>
                      <a:gd name="T7" fmla="*/ 12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3"/>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2106" name="Freeform 1164"/>
                  <p:cNvSpPr>
                    <a:spLocks/>
                  </p:cNvSpPr>
                  <p:nvPr/>
                </p:nvSpPr>
                <p:spPr bwMode="auto">
                  <a:xfrm>
                    <a:off x="11496" y="2142"/>
                    <a:ext cx="0" cy="9"/>
                  </a:xfrm>
                  <a:custGeom>
                    <a:avLst/>
                    <a:gdLst>
                      <a:gd name="T0" fmla="*/ 3 w 8"/>
                      <a:gd name="T1" fmla="*/ 5 h 5"/>
                      <a:gd name="T2" fmla="*/ 8 w 8"/>
                      <a:gd name="T3" fmla="*/ 3 h 5"/>
                      <a:gd name="T4" fmla="*/ 8 w 8"/>
                      <a:gd name="T5" fmla="*/ 0 h 5"/>
                      <a:gd name="T6" fmla="*/ 0 w 8"/>
                      <a:gd name="T7" fmla="*/ 5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3"/>
                        </a:lnTo>
                        <a:lnTo>
                          <a:pt x="8"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2107" name="Freeform 1165"/>
                  <p:cNvSpPr>
                    <a:spLocks/>
                  </p:cNvSpPr>
                  <p:nvPr/>
                </p:nvSpPr>
                <p:spPr bwMode="auto">
                  <a:xfrm>
                    <a:off x="11496" y="2151"/>
                    <a:ext cx="0" cy="0"/>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08" name="Freeform 1166"/>
                  <p:cNvSpPr>
                    <a:spLocks/>
                  </p:cNvSpPr>
                  <p:nvPr/>
                </p:nvSpPr>
                <p:spPr bwMode="auto">
                  <a:xfrm>
                    <a:off x="11472" y="2107"/>
                    <a:ext cx="8" cy="9"/>
                  </a:xfrm>
                  <a:custGeom>
                    <a:avLst/>
                    <a:gdLst>
                      <a:gd name="T0" fmla="*/ 0 w 17"/>
                      <a:gd name="T1" fmla="*/ 12 h 12"/>
                      <a:gd name="T2" fmla="*/ 17 w 17"/>
                      <a:gd name="T3" fmla="*/ 0 h 12"/>
                      <a:gd name="T4" fmla="*/ 17 w 17"/>
                      <a:gd name="T5" fmla="*/ 0 h 12"/>
                      <a:gd name="T6" fmla="*/ 0 w 17"/>
                      <a:gd name="T7" fmla="*/ 12 h 12"/>
                      <a:gd name="T8" fmla="*/ 0 w 17"/>
                      <a:gd name="T9" fmla="*/ 12 h 12"/>
                    </a:gdLst>
                    <a:ahLst/>
                    <a:cxnLst>
                      <a:cxn ang="0">
                        <a:pos x="T0" y="T1"/>
                      </a:cxn>
                      <a:cxn ang="0">
                        <a:pos x="T2" y="T3"/>
                      </a:cxn>
                      <a:cxn ang="0">
                        <a:pos x="T4" y="T5"/>
                      </a:cxn>
                      <a:cxn ang="0">
                        <a:pos x="T6" y="T7"/>
                      </a:cxn>
                      <a:cxn ang="0">
                        <a:pos x="T8" y="T9"/>
                      </a:cxn>
                    </a:cxnLst>
                    <a:rect l="0" t="0" r="r" b="b"/>
                    <a:pathLst>
                      <a:path w="17" h="12">
                        <a:moveTo>
                          <a:pt x="0" y="12"/>
                        </a:moveTo>
                        <a:lnTo>
                          <a:pt x="17" y="0"/>
                        </a:lnTo>
                        <a:lnTo>
                          <a:pt x="1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109" name="Freeform 1167"/>
                  <p:cNvSpPr>
                    <a:spLocks/>
                  </p:cNvSpPr>
                  <p:nvPr/>
                </p:nvSpPr>
                <p:spPr bwMode="auto">
                  <a:xfrm>
                    <a:off x="11488" y="2133"/>
                    <a:ext cx="8" cy="9"/>
                  </a:xfrm>
                  <a:custGeom>
                    <a:avLst/>
                    <a:gdLst>
                      <a:gd name="T0" fmla="*/ 0 w 9"/>
                      <a:gd name="T1" fmla="*/ 7 h 7"/>
                      <a:gd name="T2" fmla="*/ 9 w 9"/>
                      <a:gd name="T3" fmla="*/ 3 h 7"/>
                      <a:gd name="T4" fmla="*/ 9 w 9"/>
                      <a:gd name="T5" fmla="*/ 0 h 7"/>
                      <a:gd name="T6" fmla="*/ 0 w 9"/>
                      <a:gd name="T7" fmla="*/ 7 h 7"/>
                      <a:gd name="T8" fmla="*/ 0 w 9"/>
                      <a:gd name="T9" fmla="*/ 7 h 7"/>
                    </a:gdLst>
                    <a:ahLst/>
                    <a:cxnLst>
                      <a:cxn ang="0">
                        <a:pos x="T0" y="T1"/>
                      </a:cxn>
                      <a:cxn ang="0">
                        <a:pos x="T2" y="T3"/>
                      </a:cxn>
                      <a:cxn ang="0">
                        <a:pos x="T4" y="T5"/>
                      </a:cxn>
                      <a:cxn ang="0">
                        <a:pos x="T6" y="T7"/>
                      </a:cxn>
                      <a:cxn ang="0">
                        <a:pos x="T8" y="T9"/>
                      </a:cxn>
                    </a:cxnLst>
                    <a:rect l="0" t="0" r="r" b="b"/>
                    <a:pathLst>
                      <a:path w="9" h="7">
                        <a:moveTo>
                          <a:pt x="0" y="7"/>
                        </a:moveTo>
                        <a:lnTo>
                          <a:pt x="9" y="3"/>
                        </a:lnTo>
                        <a:lnTo>
                          <a:pt x="9"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110" name="Freeform 1168"/>
                  <p:cNvSpPr>
                    <a:spLocks/>
                  </p:cNvSpPr>
                  <p:nvPr/>
                </p:nvSpPr>
                <p:spPr bwMode="auto">
                  <a:xfrm>
                    <a:off x="11496" y="2151"/>
                    <a:ext cx="8"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11" name="Freeform 1169"/>
                  <p:cNvSpPr>
                    <a:spLocks/>
                  </p:cNvSpPr>
                  <p:nvPr/>
                </p:nvSpPr>
                <p:spPr bwMode="auto">
                  <a:xfrm>
                    <a:off x="11496" y="2151"/>
                    <a:ext cx="8" cy="0"/>
                  </a:xfrm>
                  <a:custGeom>
                    <a:avLst/>
                    <a:gdLst>
                      <a:gd name="T0" fmla="*/ 3 w 7"/>
                      <a:gd name="T1" fmla="*/ 4 h 4"/>
                      <a:gd name="T2" fmla="*/ 7 w 7"/>
                      <a:gd name="T3" fmla="*/ 0 h 4"/>
                      <a:gd name="T4" fmla="*/ 7 w 7"/>
                      <a:gd name="T5" fmla="*/ 0 h 4"/>
                      <a:gd name="T6" fmla="*/ 0 w 7"/>
                      <a:gd name="T7" fmla="*/ 4 h 4"/>
                      <a:gd name="T8" fmla="*/ 3 w 7"/>
                      <a:gd name="T9" fmla="*/ 4 h 4"/>
                    </a:gdLst>
                    <a:ahLst/>
                    <a:cxnLst>
                      <a:cxn ang="0">
                        <a:pos x="T0" y="T1"/>
                      </a:cxn>
                      <a:cxn ang="0">
                        <a:pos x="T2" y="T3"/>
                      </a:cxn>
                      <a:cxn ang="0">
                        <a:pos x="T4" y="T5"/>
                      </a:cxn>
                      <a:cxn ang="0">
                        <a:pos x="T6" y="T7"/>
                      </a:cxn>
                      <a:cxn ang="0">
                        <a:pos x="T8" y="T9"/>
                      </a:cxn>
                    </a:cxnLst>
                    <a:rect l="0" t="0" r="r" b="b"/>
                    <a:pathLst>
                      <a:path w="7" h="4">
                        <a:moveTo>
                          <a:pt x="3" y="4"/>
                        </a:moveTo>
                        <a:lnTo>
                          <a:pt x="7" y="0"/>
                        </a:lnTo>
                        <a:lnTo>
                          <a:pt x="7" y="0"/>
                        </a:lnTo>
                        <a:lnTo>
                          <a:pt x="0" y="4"/>
                        </a:lnTo>
                        <a:lnTo>
                          <a:pt x="3" y="4"/>
                        </a:lnTo>
                        <a:close/>
                      </a:path>
                    </a:pathLst>
                  </a:custGeom>
                  <a:solidFill>
                    <a:srgbClr val="01AAE5"/>
                  </a:solidFill>
                  <a:ln>
                    <a:noFill/>
                  </a:ln>
                  <a:extLst/>
                </p:spPr>
                <p:txBody>
                  <a:bodyPr/>
                  <a:lstStyle/>
                  <a:p>
                    <a:pPr eaLnBrk="1" hangingPunct="1">
                      <a:defRPr/>
                    </a:pPr>
                    <a:endParaRPr lang="zh-CN" altLang="en-US" sz="1050"/>
                  </a:p>
                </p:txBody>
              </p:sp>
              <p:sp>
                <p:nvSpPr>
                  <p:cNvPr id="2112" name="Freeform 1170"/>
                  <p:cNvSpPr>
                    <a:spLocks/>
                  </p:cNvSpPr>
                  <p:nvPr/>
                </p:nvSpPr>
                <p:spPr bwMode="auto">
                  <a:xfrm>
                    <a:off x="11488" y="2133"/>
                    <a:ext cx="8" cy="9"/>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113" name="Freeform 1171"/>
                  <p:cNvSpPr>
                    <a:spLocks/>
                  </p:cNvSpPr>
                  <p:nvPr/>
                </p:nvSpPr>
                <p:spPr bwMode="auto">
                  <a:xfrm>
                    <a:off x="11496" y="2151"/>
                    <a:ext cx="8" cy="0"/>
                  </a:xfrm>
                  <a:custGeom>
                    <a:avLst/>
                    <a:gdLst>
                      <a:gd name="T0" fmla="*/ 0 w 7"/>
                      <a:gd name="T1" fmla="*/ 5 h 5"/>
                      <a:gd name="T2" fmla="*/ 7 w 7"/>
                      <a:gd name="T3" fmla="*/ 2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14" name="Freeform 1172"/>
                  <p:cNvSpPr>
                    <a:spLocks/>
                  </p:cNvSpPr>
                  <p:nvPr/>
                </p:nvSpPr>
                <p:spPr bwMode="auto">
                  <a:xfrm>
                    <a:off x="11496" y="2142"/>
                    <a:ext cx="0" cy="9"/>
                  </a:xfrm>
                  <a:custGeom>
                    <a:avLst/>
                    <a:gdLst>
                      <a:gd name="T0" fmla="*/ 2 w 10"/>
                      <a:gd name="T1" fmla="*/ 5 h 5"/>
                      <a:gd name="T2" fmla="*/ 10 w 10"/>
                      <a:gd name="T3" fmla="*/ 0 h 5"/>
                      <a:gd name="T4" fmla="*/ 10 w 10"/>
                      <a:gd name="T5" fmla="*/ 0 h 5"/>
                      <a:gd name="T6" fmla="*/ 0 w 10"/>
                      <a:gd name="T7" fmla="*/ 5 h 5"/>
                      <a:gd name="T8" fmla="*/ 2 w 10"/>
                      <a:gd name="T9" fmla="*/ 5 h 5"/>
                    </a:gdLst>
                    <a:ahLst/>
                    <a:cxnLst>
                      <a:cxn ang="0">
                        <a:pos x="T0" y="T1"/>
                      </a:cxn>
                      <a:cxn ang="0">
                        <a:pos x="T2" y="T3"/>
                      </a:cxn>
                      <a:cxn ang="0">
                        <a:pos x="T4" y="T5"/>
                      </a:cxn>
                      <a:cxn ang="0">
                        <a:pos x="T6" y="T7"/>
                      </a:cxn>
                      <a:cxn ang="0">
                        <a:pos x="T8" y="T9"/>
                      </a:cxn>
                    </a:cxnLst>
                    <a:rect l="0" t="0" r="r" b="b"/>
                    <a:pathLst>
                      <a:path w="10" h="5">
                        <a:moveTo>
                          <a:pt x="2" y="5"/>
                        </a:moveTo>
                        <a:lnTo>
                          <a:pt x="10" y="0"/>
                        </a:lnTo>
                        <a:lnTo>
                          <a:pt x="10"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15" name="Freeform 1173"/>
                  <p:cNvSpPr>
                    <a:spLocks/>
                  </p:cNvSpPr>
                  <p:nvPr/>
                </p:nvSpPr>
                <p:spPr bwMode="auto">
                  <a:xfrm>
                    <a:off x="11472" y="2116"/>
                    <a:ext cx="17" cy="9"/>
                  </a:xfrm>
                  <a:custGeom>
                    <a:avLst/>
                    <a:gdLst>
                      <a:gd name="T0" fmla="*/ 2 w 19"/>
                      <a:gd name="T1" fmla="*/ 14 h 14"/>
                      <a:gd name="T2" fmla="*/ 19 w 19"/>
                      <a:gd name="T3" fmla="*/ 2 h 14"/>
                      <a:gd name="T4" fmla="*/ 19 w 19"/>
                      <a:gd name="T5" fmla="*/ 0 h 14"/>
                      <a:gd name="T6" fmla="*/ 0 w 19"/>
                      <a:gd name="T7" fmla="*/ 14 h 14"/>
                      <a:gd name="T8" fmla="*/ 2 w 19"/>
                      <a:gd name="T9" fmla="*/ 14 h 14"/>
                    </a:gdLst>
                    <a:ahLst/>
                    <a:cxnLst>
                      <a:cxn ang="0">
                        <a:pos x="T0" y="T1"/>
                      </a:cxn>
                      <a:cxn ang="0">
                        <a:pos x="T2" y="T3"/>
                      </a:cxn>
                      <a:cxn ang="0">
                        <a:pos x="T4" y="T5"/>
                      </a:cxn>
                      <a:cxn ang="0">
                        <a:pos x="T6" y="T7"/>
                      </a:cxn>
                      <a:cxn ang="0">
                        <a:pos x="T8" y="T9"/>
                      </a:cxn>
                    </a:cxnLst>
                    <a:rect l="0" t="0" r="r" b="b"/>
                    <a:pathLst>
                      <a:path w="19" h="14">
                        <a:moveTo>
                          <a:pt x="2" y="14"/>
                        </a:moveTo>
                        <a:lnTo>
                          <a:pt x="19" y="2"/>
                        </a:lnTo>
                        <a:lnTo>
                          <a:pt x="19" y="0"/>
                        </a:lnTo>
                        <a:lnTo>
                          <a:pt x="0"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2116" name="Freeform 1174"/>
                  <p:cNvSpPr>
                    <a:spLocks/>
                  </p:cNvSpPr>
                  <p:nvPr/>
                </p:nvSpPr>
                <p:spPr bwMode="auto">
                  <a:xfrm>
                    <a:off x="11472" y="2116"/>
                    <a:ext cx="25" cy="9"/>
                  </a:xfrm>
                  <a:custGeom>
                    <a:avLst/>
                    <a:gdLst>
                      <a:gd name="T0" fmla="*/ 3 w 19"/>
                      <a:gd name="T1" fmla="*/ 14 h 14"/>
                      <a:gd name="T2" fmla="*/ 19 w 19"/>
                      <a:gd name="T3" fmla="*/ 2 h 14"/>
                      <a:gd name="T4" fmla="*/ 19 w 19"/>
                      <a:gd name="T5" fmla="*/ 0 h 14"/>
                      <a:gd name="T6" fmla="*/ 0 w 19"/>
                      <a:gd name="T7" fmla="*/ 14 h 14"/>
                      <a:gd name="T8" fmla="*/ 3 w 19"/>
                      <a:gd name="T9" fmla="*/ 14 h 14"/>
                    </a:gdLst>
                    <a:ahLst/>
                    <a:cxnLst>
                      <a:cxn ang="0">
                        <a:pos x="T0" y="T1"/>
                      </a:cxn>
                      <a:cxn ang="0">
                        <a:pos x="T2" y="T3"/>
                      </a:cxn>
                      <a:cxn ang="0">
                        <a:pos x="T4" y="T5"/>
                      </a:cxn>
                      <a:cxn ang="0">
                        <a:pos x="T6" y="T7"/>
                      </a:cxn>
                      <a:cxn ang="0">
                        <a:pos x="T8" y="T9"/>
                      </a:cxn>
                    </a:cxnLst>
                    <a:rect l="0" t="0" r="r" b="b"/>
                    <a:pathLst>
                      <a:path w="19" h="14">
                        <a:moveTo>
                          <a:pt x="3" y="14"/>
                        </a:moveTo>
                        <a:lnTo>
                          <a:pt x="19" y="2"/>
                        </a:lnTo>
                        <a:lnTo>
                          <a:pt x="19"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2117" name="Freeform 1175"/>
                  <p:cNvSpPr>
                    <a:spLocks/>
                  </p:cNvSpPr>
                  <p:nvPr/>
                </p:nvSpPr>
                <p:spPr bwMode="auto">
                  <a:xfrm>
                    <a:off x="11430" y="2055"/>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18" name="Freeform 1176"/>
                  <p:cNvSpPr>
                    <a:spLocks/>
                  </p:cNvSpPr>
                  <p:nvPr/>
                </p:nvSpPr>
                <p:spPr bwMode="auto">
                  <a:xfrm>
                    <a:off x="11480" y="2125"/>
                    <a:ext cx="17" cy="17"/>
                  </a:xfrm>
                  <a:custGeom>
                    <a:avLst/>
                    <a:gdLst>
                      <a:gd name="T0" fmla="*/ 0 w 12"/>
                      <a:gd name="T1" fmla="*/ 10 h 10"/>
                      <a:gd name="T2" fmla="*/ 12 w 12"/>
                      <a:gd name="T3" fmla="*/ 3 h 10"/>
                      <a:gd name="T4" fmla="*/ 12 w 12"/>
                      <a:gd name="T5" fmla="*/ 0 h 10"/>
                      <a:gd name="T6" fmla="*/ 0 w 12"/>
                      <a:gd name="T7" fmla="*/ 10 h 10"/>
                      <a:gd name="T8" fmla="*/ 0 w 12"/>
                      <a:gd name="T9" fmla="*/ 10 h 10"/>
                    </a:gdLst>
                    <a:ahLst/>
                    <a:cxnLst>
                      <a:cxn ang="0">
                        <a:pos x="T0" y="T1"/>
                      </a:cxn>
                      <a:cxn ang="0">
                        <a:pos x="T2" y="T3"/>
                      </a:cxn>
                      <a:cxn ang="0">
                        <a:pos x="T4" y="T5"/>
                      </a:cxn>
                      <a:cxn ang="0">
                        <a:pos x="T6" y="T7"/>
                      </a:cxn>
                      <a:cxn ang="0">
                        <a:pos x="T8" y="T9"/>
                      </a:cxn>
                    </a:cxnLst>
                    <a:rect l="0" t="0" r="r" b="b"/>
                    <a:pathLst>
                      <a:path w="12" h="10">
                        <a:moveTo>
                          <a:pt x="0" y="10"/>
                        </a:moveTo>
                        <a:lnTo>
                          <a:pt x="12" y="3"/>
                        </a:lnTo>
                        <a:lnTo>
                          <a:pt x="12"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2119" name="Freeform 1177"/>
                  <p:cNvSpPr>
                    <a:spLocks/>
                  </p:cNvSpPr>
                  <p:nvPr/>
                </p:nvSpPr>
                <p:spPr bwMode="auto">
                  <a:xfrm>
                    <a:off x="11480" y="2125"/>
                    <a:ext cx="17" cy="9"/>
                  </a:xfrm>
                  <a:custGeom>
                    <a:avLst/>
                    <a:gdLst>
                      <a:gd name="T0" fmla="*/ 0 w 14"/>
                      <a:gd name="T1" fmla="*/ 9 h 9"/>
                      <a:gd name="T2" fmla="*/ 14 w 14"/>
                      <a:gd name="T3" fmla="*/ 0 h 9"/>
                      <a:gd name="T4" fmla="*/ 14 w 14"/>
                      <a:gd name="T5" fmla="*/ 0 h 9"/>
                      <a:gd name="T6" fmla="*/ 0 w 14"/>
                      <a:gd name="T7" fmla="*/ 9 h 9"/>
                      <a:gd name="T8" fmla="*/ 0 w 14"/>
                      <a:gd name="T9" fmla="*/ 9 h 9"/>
                    </a:gdLst>
                    <a:ahLst/>
                    <a:cxnLst>
                      <a:cxn ang="0">
                        <a:pos x="T0" y="T1"/>
                      </a:cxn>
                      <a:cxn ang="0">
                        <a:pos x="T2" y="T3"/>
                      </a:cxn>
                      <a:cxn ang="0">
                        <a:pos x="T4" y="T5"/>
                      </a:cxn>
                      <a:cxn ang="0">
                        <a:pos x="T6" y="T7"/>
                      </a:cxn>
                      <a:cxn ang="0">
                        <a:pos x="T8" y="T9"/>
                      </a:cxn>
                    </a:cxnLst>
                    <a:rect l="0" t="0" r="r" b="b"/>
                    <a:pathLst>
                      <a:path w="14" h="9">
                        <a:moveTo>
                          <a:pt x="0" y="9"/>
                        </a:moveTo>
                        <a:lnTo>
                          <a:pt x="14" y="0"/>
                        </a:lnTo>
                        <a:lnTo>
                          <a:pt x="14"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2120" name="Freeform 1178"/>
                  <p:cNvSpPr>
                    <a:spLocks/>
                  </p:cNvSpPr>
                  <p:nvPr/>
                </p:nvSpPr>
                <p:spPr bwMode="auto">
                  <a:xfrm>
                    <a:off x="11505" y="2159"/>
                    <a:ext cx="0" cy="0"/>
                  </a:xfrm>
                  <a:custGeom>
                    <a:avLst/>
                    <a:gdLst>
                      <a:gd name="T0" fmla="*/ 0 w 5"/>
                      <a:gd name="T1" fmla="*/ 5 h 5"/>
                      <a:gd name="T2" fmla="*/ 5 w 5"/>
                      <a:gd name="T3" fmla="*/ 0 h 5"/>
                      <a:gd name="T4" fmla="*/ 5 w 5"/>
                      <a:gd name="T5" fmla="*/ 0 h 5"/>
                      <a:gd name="T6" fmla="*/ 0 w 5"/>
                      <a:gd name="T7" fmla="*/ 2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21" name="Freeform 1179"/>
                  <p:cNvSpPr>
                    <a:spLocks/>
                  </p:cNvSpPr>
                  <p:nvPr/>
                </p:nvSpPr>
                <p:spPr bwMode="auto">
                  <a:xfrm>
                    <a:off x="11472" y="2116"/>
                    <a:ext cx="25" cy="17"/>
                  </a:xfrm>
                  <a:custGeom>
                    <a:avLst/>
                    <a:gdLst>
                      <a:gd name="T0" fmla="*/ 2 w 18"/>
                      <a:gd name="T1" fmla="*/ 12 h 12"/>
                      <a:gd name="T2" fmla="*/ 18 w 18"/>
                      <a:gd name="T3" fmla="*/ 0 h 12"/>
                      <a:gd name="T4" fmla="*/ 16 w 18"/>
                      <a:gd name="T5" fmla="*/ 0 h 12"/>
                      <a:gd name="T6" fmla="*/ 0 w 18"/>
                      <a:gd name="T7" fmla="*/ 12 h 12"/>
                      <a:gd name="T8" fmla="*/ 2 w 18"/>
                      <a:gd name="T9" fmla="*/ 12 h 12"/>
                    </a:gdLst>
                    <a:ahLst/>
                    <a:cxnLst>
                      <a:cxn ang="0">
                        <a:pos x="T0" y="T1"/>
                      </a:cxn>
                      <a:cxn ang="0">
                        <a:pos x="T2" y="T3"/>
                      </a:cxn>
                      <a:cxn ang="0">
                        <a:pos x="T4" y="T5"/>
                      </a:cxn>
                      <a:cxn ang="0">
                        <a:pos x="T6" y="T7"/>
                      </a:cxn>
                      <a:cxn ang="0">
                        <a:pos x="T8" y="T9"/>
                      </a:cxn>
                    </a:cxnLst>
                    <a:rect l="0" t="0" r="r" b="b"/>
                    <a:pathLst>
                      <a:path w="18" h="12">
                        <a:moveTo>
                          <a:pt x="2" y="12"/>
                        </a:moveTo>
                        <a:lnTo>
                          <a:pt x="18" y="0"/>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2122" name="Freeform 1180"/>
                  <p:cNvSpPr>
                    <a:spLocks/>
                  </p:cNvSpPr>
                  <p:nvPr/>
                </p:nvSpPr>
                <p:spPr bwMode="auto">
                  <a:xfrm>
                    <a:off x="11472" y="2107"/>
                    <a:ext cx="17" cy="17"/>
                  </a:xfrm>
                  <a:custGeom>
                    <a:avLst/>
                    <a:gdLst>
                      <a:gd name="T0" fmla="*/ 0 w 16"/>
                      <a:gd name="T1" fmla="*/ 15 h 15"/>
                      <a:gd name="T2" fmla="*/ 16 w 16"/>
                      <a:gd name="T3" fmla="*/ 0 h 15"/>
                      <a:gd name="T4" fmla="*/ 16 w 16"/>
                      <a:gd name="T5" fmla="*/ 0 h 15"/>
                      <a:gd name="T6" fmla="*/ 0 w 16"/>
                      <a:gd name="T7" fmla="*/ 12 h 15"/>
                      <a:gd name="T8" fmla="*/ 0 w 16"/>
                      <a:gd name="T9" fmla="*/ 15 h 15"/>
                    </a:gdLst>
                    <a:ahLst/>
                    <a:cxnLst>
                      <a:cxn ang="0">
                        <a:pos x="T0" y="T1"/>
                      </a:cxn>
                      <a:cxn ang="0">
                        <a:pos x="T2" y="T3"/>
                      </a:cxn>
                      <a:cxn ang="0">
                        <a:pos x="T4" y="T5"/>
                      </a:cxn>
                      <a:cxn ang="0">
                        <a:pos x="T6" y="T7"/>
                      </a:cxn>
                      <a:cxn ang="0">
                        <a:pos x="T8" y="T9"/>
                      </a:cxn>
                    </a:cxnLst>
                    <a:rect l="0" t="0" r="r" b="b"/>
                    <a:pathLst>
                      <a:path w="16" h="15">
                        <a:moveTo>
                          <a:pt x="0" y="15"/>
                        </a:moveTo>
                        <a:lnTo>
                          <a:pt x="16" y="0"/>
                        </a:lnTo>
                        <a:lnTo>
                          <a:pt x="16" y="0"/>
                        </a:lnTo>
                        <a:lnTo>
                          <a:pt x="0" y="12"/>
                        </a:lnTo>
                        <a:lnTo>
                          <a:pt x="0" y="15"/>
                        </a:lnTo>
                        <a:close/>
                      </a:path>
                    </a:pathLst>
                  </a:custGeom>
                  <a:solidFill>
                    <a:srgbClr val="01AAE5"/>
                  </a:solidFill>
                  <a:ln>
                    <a:noFill/>
                  </a:ln>
                  <a:extLst/>
                </p:spPr>
                <p:txBody>
                  <a:bodyPr/>
                  <a:lstStyle/>
                  <a:p>
                    <a:pPr eaLnBrk="1" hangingPunct="1">
                      <a:defRPr/>
                    </a:pPr>
                    <a:endParaRPr lang="zh-CN" altLang="en-US" sz="1050"/>
                  </a:p>
                </p:txBody>
              </p:sp>
              <p:sp>
                <p:nvSpPr>
                  <p:cNvPr id="2123" name="Freeform 1181"/>
                  <p:cNvSpPr>
                    <a:spLocks/>
                  </p:cNvSpPr>
                  <p:nvPr/>
                </p:nvSpPr>
                <p:spPr bwMode="auto">
                  <a:xfrm>
                    <a:off x="11605" y="2438"/>
                    <a:ext cx="17" cy="9"/>
                  </a:xfrm>
                  <a:custGeom>
                    <a:avLst/>
                    <a:gdLst>
                      <a:gd name="T0" fmla="*/ 2 w 16"/>
                      <a:gd name="T1" fmla="*/ 3 h 3"/>
                      <a:gd name="T2" fmla="*/ 16 w 16"/>
                      <a:gd name="T3" fmla="*/ 0 h 3"/>
                      <a:gd name="T4" fmla="*/ 16 w 16"/>
                      <a:gd name="T5" fmla="*/ 0 h 3"/>
                      <a:gd name="T6" fmla="*/ 0 w 16"/>
                      <a:gd name="T7" fmla="*/ 3 h 3"/>
                      <a:gd name="T8" fmla="*/ 2 w 16"/>
                      <a:gd name="T9" fmla="*/ 3 h 3"/>
                    </a:gdLst>
                    <a:ahLst/>
                    <a:cxnLst>
                      <a:cxn ang="0">
                        <a:pos x="T0" y="T1"/>
                      </a:cxn>
                      <a:cxn ang="0">
                        <a:pos x="T2" y="T3"/>
                      </a:cxn>
                      <a:cxn ang="0">
                        <a:pos x="T4" y="T5"/>
                      </a:cxn>
                      <a:cxn ang="0">
                        <a:pos x="T6" y="T7"/>
                      </a:cxn>
                      <a:cxn ang="0">
                        <a:pos x="T8" y="T9"/>
                      </a:cxn>
                    </a:cxnLst>
                    <a:rect l="0" t="0" r="r" b="b"/>
                    <a:pathLst>
                      <a:path w="16" h="3">
                        <a:moveTo>
                          <a:pt x="2" y="3"/>
                        </a:moveTo>
                        <a:lnTo>
                          <a:pt x="16" y="0"/>
                        </a:lnTo>
                        <a:lnTo>
                          <a:pt x="16"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2124" name="Freeform 1182"/>
                  <p:cNvSpPr>
                    <a:spLocks/>
                  </p:cNvSpPr>
                  <p:nvPr/>
                </p:nvSpPr>
                <p:spPr bwMode="auto">
                  <a:xfrm>
                    <a:off x="11605" y="2430"/>
                    <a:ext cx="17" cy="9"/>
                  </a:xfrm>
                  <a:custGeom>
                    <a:avLst/>
                    <a:gdLst>
                      <a:gd name="T0" fmla="*/ 0 w 16"/>
                      <a:gd name="T1" fmla="*/ 5 h 5"/>
                      <a:gd name="T2" fmla="*/ 16 w 16"/>
                      <a:gd name="T3" fmla="*/ 3 h 5"/>
                      <a:gd name="T4" fmla="*/ 16 w 16"/>
                      <a:gd name="T5" fmla="*/ 0 h 5"/>
                      <a:gd name="T6" fmla="*/ 0 w 16"/>
                      <a:gd name="T7" fmla="*/ 5 h 5"/>
                      <a:gd name="T8" fmla="*/ 0 w 16"/>
                      <a:gd name="T9" fmla="*/ 5 h 5"/>
                    </a:gdLst>
                    <a:ahLst/>
                    <a:cxnLst>
                      <a:cxn ang="0">
                        <a:pos x="T0" y="T1"/>
                      </a:cxn>
                      <a:cxn ang="0">
                        <a:pos x="T2" y="T3"/>
                      </a:cxn>
                      <a:cxn ang="0">
                        <a:pos x="T4" y="T5"/>
                      </a:cxn>
                      <a:cxn ang="0">
                        <a:pos x="T6" y="T7"/>
                      </a:cxn>
                      <a:cxn ang="0">
                        <a:pos x="T8" y="T9"/>
                      </a:cxn>
                    </a:cxnLst>
                    <a:rect l="0" t="0" r="r" b="b"/>
                    <a:pathLst>
                      <a:path w="16" h="5">
                        <a:moveTo>
                          <a:pt x="0" y="5"/>
                        </a:moveTo>
                        <a:lnTo>
                          <a:pt x="16" y="3"/>
                        </a:lnTo>
                        <a:lnTo>
                          <a:pt x="16"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25" name="Freeform 1183"/>
                  <p:cNvSpPr>
                    <a:spLocks/>
                  </p:cNvSpPr>
                  <p:nvPr/>
                </p:nvSpPr>
                <p:spPr bwMode="auto">
                  <a:xfrm>
                    <a:off x="11605" y="2447"/>
                    <a:ext cx="17" cy="0"/>
                  </a:xfrm>
                  <a:custGeom>
                    <a:avLst/>
                    <a:gdLst>
                      <a:gd name="T0" fmla="*/ 0 w 14"/>
                      <a:gd name="T1" fmla="*/ 2 h 2"/>
                      <a:gd name="T2" fmla="*/ 14 w 14"/>
                      <a:gd name="T3" fmla="*/ 0 h 2"/>
                      <a:gd name="T4" fmla="*/ 14 w 14"/>
                      <a:gd name="T5" fmla="*/ 0 h 2"/>
                      <a:gd name="T6" fmla="*/ 0 w 14"/>
                      <a:gd name="T7" fmla="*/ 0 h 2"/>
                      <a:gd name="T8" fmla="*/ 0 w 14"/>
                      <a:gd name="T9" fmla="*/ 2 h 2"/>
                    </a:gdLst>
                    <a:ahLst/>
                    <a:cxnLst>
                      <a:cxn ang="0">
                        <a:pos x="T0" y="T1"/>
                      </a:cxn>
                      <a:cxn ang="0">
                        <a:pos x="T2" y="T3"/>
                      </a:cxn>
                      <a:cxn ang="0">
                        <a:pos x="T4" y="T5"/>
                      </a:cxn>
                      <a:cxn ang="0">
                        <a:pos x="T6" y="T7"/>
                      </a:cxn>
                      <a:cxn ang="0">
                        <a:pos x="T8" y="T9"/>
                      </a:cxn>
                    </a:cxnLst>
                    <a:rect l="0" t="0" r="r" b="b"/>
                    <a:pathLst>
                      <a:path w="14" h="2">
                        <a:moveTo>
                          <a:pt x="0" y="2"/>
                        </a:moveTo>
                        <a:lnTo>
                          <a:pt x="14" y="0"/>
                        </a:lnTo>
                        <a:lnTo>
                          <a:pt x="14"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26" name="Freeform 1184"/>
                  <p:cNvSpPr>
                    <a:spLocks/>
                  </p:cNvSpPr>
                  <p:nvPr/>
                </p:nvSpPr>
                <p:spPr bwMode="auto">
                  <a:xfrm>
                    <a:off x="11605" y="2430"/>
                    <a:ext cx="17" cy="0"/>
                  </a:xfrm>
                  <a:custGeom>
                    <a:avLst/>
                    <a:gdLst>
                      <a:gd name="T0" fmla="*/ 0 w 16"/>
                      <a:gd name="T1" fmla="*/ 2 h 2"/>
                      <a:gd name="T2" fmla="*/ 16 w 16"/>
                      <a:gd name="T3" fmla="*/ 0 h 2"/>
                      <a:gd name="T4" fmla="*/ 16 w 16"/>
                      <a:gd name="T5" fmla="*/ 0 h 2"/>
                      <a:gd name="T6" fmla="*/ 0 w 16"/>
                      <a:gd name="T7" fmla="*/ 2 h 2"/>
                      <a:gd name="T8" fmla="*/ 0 w 16"/>
                      <a:gd name="T9" fmla="*/ 2 h 2"/>
                    </a:gdLst>
                    <a:ahLst/>
                    <a:cxnLst>
                      <a:cxn ang="0">
                        <a:pos x="T0" y="T1"/>
                      </a:cxn>
                      <a:cxn ang="0">
                        <a:pos x="T2" y="T3"/>
                      </a:cxn>
                      <a:cxn ang="0">
                        <a:pos x="T4" y="T5"/>
                      </a:cxn>
                      <a:cxn ang="0">
                        <a:pos x="T6" y="T7"/>
                      </a:cxn>
                      <a:cxn ang="0">
                        <a:pos x="T8" y="T9"/>
                      </a:cxn>
                    </a:cxnLst>
                    <a:rect l="0" t="0" r="r" b="b"/>
                    <a:pathLst>
                      <a:path w="16" h="2">
                        <a:moveTo>
                          <a:pt x="0" y="2"/>
                        </a:moveTo>
                        <a:lnTo>
                          <a:pt x="16" y="0"/>
                        </a:lnTo>
                        <a:lnTo>
                          <a:pt x="16"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27" name="Freeform 1185"/>
                  <p:cNvSpPr>
                    <a:spLocks/>
                  </p:cNvSpPr>
                  <p:nvPr/>
                </p:nvSpPr>
                <p:spPr bwMode="auto">
                  <a:xfrm>
                    <a:off x="11605" y="2447"/>
                    <a:ext cx="17" cy="9"/>
                  </a:xfrm>
                  <a:custGeom>
                    <a:avLst/>
                    <a:gdLst>
                      <a:gd name="T0" fmla="*/ 2 w 14"/>
                      <a:gd name="T1" fmla="*/ 3 h 3"/>
                      <a:gd name="T2" fmla="*/ 14 w 14"/>
                      <a:gd name="T3" fmla="*/ 0 h 3"/>
                      <a:gd name="T4" fmla="*/ 14 w 14"/>
                      <a:gd name="T5" fmla="*/ 0 h 3"/>
                      <a:gd name="T6" fmla="*/ 0 w 14"/>
                      <a:gd name="T7" fmla="*/ 3 h 3"/>
                      <a:gd name="T8" fmla="*/ 2 w 14"/>
                      <a:gd name="T9" fmla="*/ 3 h 3"/>
                    </a:gdLst>
                    <a:ahLst/>
                    <a:cxnLst>
                      <a:cxn ang="0">
                        <a:pos x="T0" y="T1"/>
                      </a:cxn>
                      <a:cxn ang="0">
                        <a:pos x="T2" y="T3"/>
                      </a:cxn>
                      <a:cxn ang="0">
                        <a:pos x="T4" y="T5"/>
                      </a:cxn>
                      <a:cxn ang="0">
                        <a:pos x="T6" y="T7"/>
                      </a:cxn>
                      <a:cxn ang="0">
                        <a:pos x="T8" y="T9"/>
                      </a:cxn>
                    </a:cxnLst>
                    <a:rect l="0" t="0" r="r" b="b"/>
                    <a:pathLst>
                      <a:path w="14" h="3">
                        <a:moveTo>
                          <a:pt x="2" y="3"/>
                        </a:moveTo>
                        <a:lnTo>
                          <a:pt x="14" y="0"/>
                        </a:lnTo>
                        <a:lnTo>
                          <a:pt x="14"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2128" name="Freeform 1186"/>
                  <p:cNvSpPr>
                    <a:spLocks/>
                  </p:cNvSpPr>
                  <p:nvPr/>
                </p:nvSpPr>
                <p:spPr bwMode="auto">
                  <a:xfrm>
                    <a:off x="11605" y="2430"/>
                    <a:ext cx="17" cy="0"/>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29" name="Freeform 1187"/>
                  <p:cNvSpPr>
                    <a:spLocks/>
                  </p:cNvSpPr>
                  <p:nvPr/>
                </p:nvSpPr>
                <p:spPr bwMode="auto">
                  <a:xfrm>
                    <a:off x="11605" y="2456"/>
                    <a:ext cx="17" cy="9"/>
                  </a:xfrm>
                  <a:custGeom>
                    <a:avLst/>
                    <a:gdLst>
                      <a:gd name="T0" fmla="*/ 3 w 12"/>
                      <a:gd name="T1" fmla="*/ 3 h 3"/>
                      <a:gd name="T2" fmla="*/ 12 w 12"/>
                      <a:gd name="T3" fmla="*/ 3 h 3"/>
                      <a:gd name="T4" fmla="*/ 12 w 12"/>
                      <a:gd name="T5" fmla="*/ 0 h 3"/>
                      <a:gd name="T6" fmla="*/ 0 w 12"/>
                      <a:gd name="T7" fmla="*/ 3 h 3"/>
                      <a:gd name="T8" fmla="*/ 3 w 12"/>
                      <a:gd name="T9" fmla="*/ 3 h 3"/>
                    </a:gdLst>
                    <a:ahLst/>
                    <a:cxnLst>
                      <a:cxn ang="0">
                        <a:pos x="T0" y="T1"/>
                      </a:cxn>
                      <a:cxn ang="0">
                        <a:pos x="T2" y="T3"/>
                      </a:cxn>
                      <a:cxn ang="0">
                        <a:pos x="T4" y="T5"/>
                      </a:cxn>
                      <a:cxn ang="0">
                        <a:pos x="T6" y="T7"/>
                      </a:cxn>
                      <a:cxn ang="0">
                        <a:pos x="T8" y="T9"/>
                      </a:cxn>
                    </a:cxnLst>
                    <a:rect l="0" t="0" r="r" b="b"/>
                    <a:pathLst>
                      <a:path w="12" h="3">
                        <a:moveTo>
                          <a:pt x="3" y="3"/>
                        </a:moveTo>
                        <a:lnTo>
                          <a:pt x="12" y="3"/>
                        </a:lnTo>
                        <a:lnTo>
                          <a:pt x="12" y="0"/>
                        </a:lnTo>
                        <a:lnTo>
                          <a:pt x="0" y="3"/>
                        </a:lnTo>
                        <a:lnTo>
                          <a:pt x="3" y="3"/>
                        </a:lnTo>
                        <a:close/>
                      </a:path>
                    </a:pathLst>
                  </a:custGeom>
                  <a:solidFill>
                    <a:srgbClr val="01AAE5"/>
                  </a:solidFill>
                  <a:ln>
                    <a:noFill/>
                  </a:ln>
                  <a:extLst/>
                </p:spPr>
                <p:txBody>
                  <a:bodyPr/>
                  <a:lstStyle/>
                  <a:p>
                    <a:pPr eaLnBrk="1" hangingPunct="1">
                      <a:defRPr/>
                    </a:pPr>
                    <a:endParaRPr lang="zh-CN" altLang="en-US" sz="1050"/>
                  </a:p>
                </p:txBody>
              </p:sp>
              <p:sp>
                <p:nvSpPr>
                  <p:cNvPr id="2130" name="Freeform 1188"/>
                  <p:cNvSpPr>
                    <a:spLocks/>
                  </p:cNvSpPr>
                  <p:nvPr/>
                </p:nvSpPr>
                <p:spPr bwMode="auto">
                  <a:xfrm>
                    <a:off x="11605" y="2456"/>
                    <a:ext cx="17" cy="0"/>
                  </a:xfrm>
                  <a:custGeom>
                    <a:avLst/>
                    <a:gdLst>
                      <a:gd name="T0" fmla="*/ 0 w 12"/>
                      <a:gd name="T1" fmla="*/ 2 h 2"/>
                      <a:gd name="T2" fmla="*/ 12 w 12"/>
                      <a:gd name="T3" fmla="*/ 0 h 2"/>
                      <a:gd name="T4" fmla="*/ 12 w 12"/>
                      <a:gd name="T5" fmla="*/ 0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31" name="Freeform 1189"/>
                  <p:cNvSpPr>
                    <a:spLocks/>
                  </p:cNvSpPr>
                  <p:nvPr/>
                </p:nvSpPr>
                <p:spPr bwMode="auto">
                  <a:xfrm>
                    <a:off x="11596" y="2395"/>
                    <a:ext cx="17" cy="9"/>
                  </a:xfrm>
                  <a:custGeom>
                    <a:avLst/>
                    <a:gdLst>
                      <a:gd name="T0" fmla="*/ 0 w 19"/>
                      <a:gd name="T1" fmla="*/ 5 h 5"/>
                      <a:gd name="T2" fmla="*/ 19 w 19"/>
                      <a:gd name="T3" fmla="*/ 2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2"/>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2" name="Freeform 1190"/>
                  <p:cNvSpPr>
                    <a:spLocks/>
                  </p:cNvSpPr>
                  <p:nvPr/>
                </p:nvSpPr>
                <p:spPr bwMode="auto">
                  <a:xfrm>
                    <a:off x="11596" y="2403"/>
                    <a:ext cx="17" cy="9"/>
                  </a:xfrm>
                  <a:custGeom>
                    <a:avLst/>
                    <a:gdLst>
                      <a:gd name="T0" fmla="*/ 0 w 19"/>
                      <a:gd name="T1" fmla="*/ 4 h 4"/>
                      <a:gd name="T2" fmla="*/ 19 w 19"/>
                      <a:gd name="T3" fmla="*/ 0 h 4"/>
                      <a:gd name="T4" fmla="*/ 19 w 19"/>
                      <a:gd name="T5" fmla="*/ 0 h 4"/>
                      <a:gd name="T6" fmla="*/ 0 w 19"/>
                      <a:gd name="T7" fmla="*/ 2 h 4"/>
                      <a:gd name="T8" fmla="*/ 0 w 19"/>
                      <a:gd name="T9" fmla="*/ 4 h 4"/>
                    </a:gdLst>
                    <a:ahLst/>
                    <a:cxnLst>
                      <a:cxn ang="0">
                        <a:pos x="T0" y="T1"/>
                      </a:cxn>
                      <a:cxn ang="0">
                        <a:pos x="T2" y="T3"/>
                      </a:cxn>
                      <a:cxn ang="0">
                        <a:pos x="T4" y="T5"/>
                      </a:cxn>
                      <a:cxn ang="0">
                        <a:pos x="T6" y="T7"/>
                      </a:cxn>
                      <a:cxn ang="0">
                        <a:pos x="T8" y="T9"/>
                      </a:cxn>
                    </a:cxnLst>
                    <a:rect l="0" t="0" r="r" b="b"/>
                    <a:pathLst>
                      <a:path w="19" h="4">
                        <a:moveTo>
                          <a:pt x="0" y="4"/>
                        </a:moveTo>
                        <a:lnTo>
                          <a:pt x="19" y="0"/>
                        </a:lnTo>
                        <a:lnTo>
                          <a:pt x="19"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2133" name="Freeform 1191"/>
                  <p:cNvSpPr>
                    <a:spLocks/>
                  </p:cNvSpPr>
                  <p:nvPr/>
                </p:nvSpPr>
                <p:spPr bwMode="auto">
                  <a:xfrm>
                    <a:off x="11596" y="2403"/>
                    <a:ext cx="17" cy="9"/>
                  </a:xfrm>
                  <a:custGeom>
                    <a:avLst/>
                    <a:gdLst>
                      <a:gd name="T0" fmla="*/ 0 w 22"/>
                      <a:gd name="T1" fmla="*/ 5 h 5"/>
                      <a:gd name="T2" fmla="*/ 22 w 22"/>
                      <a:gd name="T3" fmla="*/ 2 h 5"/>
                      <a:gd name="T4" fmla="*/ 22 w 22"/>
                      <a:gd name="T5" fmla="*/ 0 h 5"/>
                      <a:gd name="T6" fmla="*/ 0 w 22"/>
                      <a:gd name="T7" fmla="*/ 5 h 5"/>
                      <a:gd name="T8" fmla="*/ 0 w 22"/>
                      <a:gd name="T9" fmla="*/ 5 h 5"/>
                    </a:gdLst>
                    <a:ahLst/>
                    <a:cxnLst>
                      <a:cxn ang="0">
                        <a:pos x="T0" y="T1"/>
                      </a:cxn>
                      <a:cxn ang="0">
                        <a:pos x="T2" y="T3"/>
                      </a:cxn>
                      <a:cxn ang="0">
                        <a:pos x="T4" y="T5"/>
                      </a:cxn>
                      <a:cxn ang="0">
                        <a:pos x="T6" y="T7"/>
                      </a:cxn>
                      <a:cxn ang="0">
                        <a:pos x="T8" y="T9"/>
                      </a:cxn>
                    </a:cxnLst>
                    <a:rect l="0" t="0" r="r" b="b"/>
                    <a:pathLst>
                      <a:path w="22" h="5">
                        <a:moveTo>
                          <a:pt x="0" y="5"/>
                        </a:moveTo>
                        <a:lnTo>
                          <a:pt x="22" y="2"/>
                        </a:lnTo>
                        <a:lnTo>
                          <a:pt x="2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4" name="Freeform 1192"/>
                  <p:cNvSpPr>
                    <a:spLocks/>
                  </p:cNvSpPr>
                  <p:nvPr/>
                </p:nvSpPr>
                <p:spPr bwMode="auto">
                  <a:xfrm>
                    <a:off x="11596" y="2412"/>
                    <a:ext cx="17" cy="9"/>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5" name="Freeform 1193"/>
                  <p:cNvSpPr>
                    <a:spLocks/>
                  </p:cNvSpPr>
                  <p:nvPr/>
                </p:nvSpPr>
                <p:spPr bwMode="auto">
                  <a:xfrm>
                    <a:off x="11605" y="2464"/>
                    <a:ext cx="17" cy="0"/>
                  </a:xfrm>
                  <a:custGeom>
                    <a:avLst/>
                    <a:gdLst>
                      <a:gd name="T0" fmla="*/ 0 w 9"/>
                      <a:gd name="T1" fmla="*/ 2 h 2"/>
                      <a:gd name="T2" fmla="*/ 9 w 9"/>
                      <a:gd name="T3" fmla="*/ 0 h 2"/>
                      <a:gd name="T4" fmla="*/ 9 w 9"/>
                      <a:gd name="T5" fmla="*/ 0 h 2"/>
                      <a:gd name="T6" fmla="*/ 0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9" y="0"/>
                        </a:lnTo>
                        <a:lnTo>
                          <a:pt x="9"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36" name="Freeform 1194"/>
                  <p:cNvSpPr>
                    <a:spLocks/>
                  </p:cNvSpPr>
                  <p:nvPr/>
                </p:nvSpPr>
                <p:spPr bwMode="auto">
                  <a:xfrm>
                    <a:off x="11605" y="2430"/>
                    <a:ext cx="17" cy="0"/>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7" name="Freeform 1195"/>
                  <p:cNvSpPr>
                    <a:spLocks/>
                  </p:cNvSpPr>
                  <p:nvPr/>
                </p:nvSpPr>
                <p:spPr bwMode="auto">
                  <a:xfrm>
                    <a:off x="11596" y="2421"/>
                    <a:ext cx="25" cy="9"/>
                  </a:xfrm>
                  <a:custGeom>
                    <a:avLst/>
                    <a:gdLst>
                      <a:gd name="T0" fmla="*/ 0 w 21"/>
                      <a:gd name="T1" fmla="*/ 5 h 5"/>
                      <a:gd name="T2" fmla="*/ 21 w 21"/>
                      <a:gd name="T3" fmla="*/ 3 h 5"/>
                      <a:gd name="T4" fmla="*/ 21 w 21"/>
                      <a:gd name="T5" fmla="*/ 0 h 5"/>
                      <a:gd name="T6" fmla="*/ 0 w 21"/>
                      <a:gd name="T7" fmla="*/ 5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3"/>
                        </a:lnTo>
                        <a:lnTo>
                          <a:pt x="21"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8" name="Freeform 1196"/>
                  <p:cNvSpPr>
                    <a:spLocks/>
                  </p:cNvSpPr>
                  <p:nvPr/>
                </p:nvSpPr>
                <p:spPr bwMode="auto">
                  <a:xfrm>
                    <a:off x="11596" y="2412"/>
                    <a:ext cx="17" cy="9"/>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39" name="Freeform 1197"/>
                  <p:cNvSpPr>
                    <a:spLocks/>
                  </p:cNvSpPr>
                  <p:nvPr/>
                </p:nvSpPr>
                <p:spPr bwMode="auto">
                  <a:xfrm>
                    <a:off x="11596" y="2421"/>
                    <a:ext cx="25" cy="9"/>
                  </a:xfrm>
                  <a:custGeom>
                    <a:avLst/>
                    <a:gdLst>
                      <a:gd name="T0" fmla="*/ 0 w 21"/>
                      <a:gd name="T1" fmla="*/ 5 h 5"/>
                      <a:gd name="T2" fmla="*/ 21 w 21"/>
                      <a:gd name="T3" fmla="*/ 0 h 5"/>
                      <a:gd name="T4" fmla="*/ 21 w 21"/>
                      <a:gd name="T5" fmla="*/ 0 h 5"/>
                      <a:gd name="T6" fmla="*/ 0 w 21"/>
                      <a:gd name="T7" fmla="*/ 2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0"/>
                        </a:lnTo>
                        <a:lnTo>
                          <a:pt x="21"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40" name="Freeform 1198"/>
                  <p:cNvSpPr>
                    <a:spLocks/>
                  </p:cNvSpPr>
                  <p:nvPr/>
                </p:nvSpPr>
                <p:spPr bwMode="auto">
                  <a:xfrm>
                    <a:off x="11613" y="2491"/>
                    <a:ext cx="8" cy="0"/>
                  </a:xfrm>
                  <a:custGeom>
                    <a:avLst/>
                    <a:gdLst>
                      <a:gd name="T0" fmla="*/ 0 w 7"/>
                      <a:gd name="T1" fmla="*/ 2 h 2"/>
                      <a:gd name="T2" fmla="*/ 7 w 7"/>
                      <a:gd name="T3" fmla="*/ 0 h 2"/>
                      <a:gd name="T4" fmla="*/ 7 w 7"/>
                      <a:gd name="T5" fmla="*/ 0 h 2"/>
                      <a:gd name="T6" fmla="*/ 0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41" name="Freeform 1199"/>
                  <p:cNvSpPr>
                    <a:spLocks/>
                  </p:cNvSpPr>
                  <p:nvPr/>
                </p:nvSpPr>
                <p:spPr bwMode="auto">
                  <a:xfrm>
                    <a:off x="11605" y="2464"/>
                    <a:ext cx="17" cy="0"/>
                  </a:xfrm>
                  <a:custGeom>
                    <a:avLst/>
                    <a:gdLst>
                      <a:gd name="T0" fmla="*/ 0 w 9"/>
                      <a:gd name="T1" fmla="*/ 3 h 3"/>
                      <a:gd name="T2" fmla="*/ 9 w 9"/>
                      <a:gd name="T3" fmla="*/ 3 h 3"/>
                      <a:gd name="T4" fmla="*/ 9 w 9"/>
                      <a:gd name="T5" fmla="*/ 0 h 3"/>
                      <a:gd name="T6" fmla="*/ 0 w 9"/>
                      <a:gd name="T7" fmla="*/ 3 h 3"/>
                      <a:gd name="T8" fmla="*/ 0 w 9"/>
                      <a:gd name="T9" fmla="*/ 3 h 3"/>
                    </a:gdLst>
                    <a:ahLst/>
                    <a:cxnLst>
                      <a:cxn ang="0">
                        <a:pos x="T0" y="T1"/>
                      </a:cxn>
                      <a:cxn ang="0">
                        <a:pos x="T2" y="T3"/>
                      </a:cxn>
                      <a:cxn ang="0">
                        <a:pos x="T4" y="T5"/>
                      </a:cxn>
                      <a:cxn ang="0">
                        <a:pos x="T6" y="T7"/>
                      </a:cxn>
                      <a:cxn ang="0">
                        <a:pos x="T8" y="T9"/>
                      </a:cxn>
                    </a:cxnLst>
                    <a:rect l="0" t="0" r="r" b="b"/>
                    <a:pathLst>
                      <a:path w="9" h="3">
                        <a:moveTo>
                          <a:pt x="0" y="3"/>
                        </a:moveTo>
                        <a:lnTo>
                          <a:pt x="9" y="3"/>
                        </a:lnTo>
                        <a:lnTo>
                          <a:pt x="9"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2142" name="Rectangle 1200"/>
                  <p:cNvSpPr>
                    <a:spLocks noChangeArrowheads="1"/>
                  </p:cNvSpPr>
                  <p:nvPr/>
                </p:nvSpPr>
                <p:spPr bwMode="auto">
                  <a:xfrm>
                    <a:off x="11613" y="2499"/>
                    <a:ext cx="8" cy="9"/>
                  </a:xfrm>
                  <a:prstGeom prst="rect">
                    <a:avLst/>
                  </a:prstGeom>
                  <a:solidFill>
                    <a:srgbClr val="01AAE5"/>
                  </a:solidFill>
                  <a:ln>
                    <a:noFill/>
                  </a:ln>
                  <a:extLst/>
                </p:spPr>
                <p:txBody>
                  <a:bodyPr/>
                  <a:lstStyle/>
                  <a:p>
                    <a:pPr eaLnBrk="1" hangingPunct="1">
                      <a:defRPr/>
                    </a:pPr>
                    <a:endParaRPr lang="zh-CN" altLang="en-US" sz="1050"/>
                  </a:p>
                </p:txBody>
              </p:sp>
              <p:sp>
                <p:nvSpPr>
                  <p:cNvPr id="2143" name="Freeform 1201"/>
                  <p:cNvSpPr>
                    <a:spLocks/>
                  </p:cNvSpPr>
                  <p:nvPr/>
                </p:nvSpPr>
                <p:spPr bwMode="auto">
                  <a:xfrm>
                    <a:off x="11596" y="2395"/>
                    <a:ext cx="17" cy="0"/>
                  </a:xfrm>
                  <a:custGeom>
                    <a:avLst/>
                    <a:gdLst>
                      <a:gd name="T0" fmla="*/ 0 w 17"/>
                      <a:gd name="T1" fmla="*/ 4 h 4"/>
                      <a:gd name="T2" fmla="*/ 17 w 17"/>
                      <a:gd name="T3" fmla="*/ 0 h 4"/>
                      <a:gd name="T4" fmla="*/ 17 w 17"/>
                      <a:gd name="T5" fmla="*/ 0 h 4"/>
                      <a:gd name="T6" fmla="*/ 0 w 17"/>
                      <a:gd name="T7" fmla="*/ 2 h 4"/>
                      <a:gd name="T8" fmla="*/ 0 w 17"/>
                      <a:gd name="T9" fmla="*/ 4 h 4"/>
                    </a:gdLst>
                    <a:ahLst/>
                    <a:cxnLst>
                      <a:cxn ang="0">
                        <a:pos x="T0" y="T1"/>
                      </a:cxn>
                      <a:cxn ang="0">
                        <a:pos x="T2" y="T3"/>
                      </a:cxn>
                      <a:cxn ang="0">
                        <a:pos x="T4" y="T5"/>
                      </a:cxn>
                      <a:cxn ang="0">
                        <a:pos x="T6" y="T7"/>
                      </a:cxn>
                      <a:cxn ang="0">
                        <a:pos x="T8" y="T9"/>
                      </a:cxn>
                    </a:cxnLst>
                    <a:rect l="0" t="0" r="r" b="b"/>
                    <a:pathLst>
                      <a:path w="17" h="4">
                        <a:moveTo>
                          <a:pt x="0" y="4"/>
                        </a:moveTo>
                        <a:lnTo>
                          <a:pt x="17" y="0"/>
                        </a:lnTo>
                        <a:lnTo>
                          <a:pt x="1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2144" name="Rectangle 1202"/>
                  <p:cNvSpPr>
                    <a:spLocks noChangeArrowheads="1"/>
                  </p:cNvSpPr>
                  <p:nvPr/>
                </p:nvSpPr>
                <p:spPr bwMode="auto">
                  <a:xfrm>
                    <a:off x="11613" y="2508"/>
                    <a:ext cx="8" cy="0"/>
                  </a:xfrm>
                  <a:prstGeom prst="rect">
                    <a:avLst/>
                  </a:prstGeom>
                  <a:solidFill>
                    <a:srgbClr val="01AAE5"/>
                  </a:solidFill>
                  <a:ln>
                    <a:noFill/>
                  </a:ln>
                  <a:extLst/>
                </p:spPr>
                <p:txBody>
                  <a:bodyPr/>
                  <a:lstStyle/>
                  <a:p>
                    <a:pPr eaLnBrk="1" hangingPunct="1">
                      <a:defRPr/>
                    </a:pPr>
                    <a:endParaRPr lang="zh-CN" altLang="en-US" sz="1050"/>
                  </a:p>
                </p:txBody>
              </p:sp>
              <p:sp>
                <p:nvSpPr>
                  <p:cNvPr id="2145" name="Rectangle 120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2146" name="Freeform 1204"/>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2147" name="Freeform 1205"/>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path>
                    </a:pathLst>
                  </a:custGeom>
                  <a:noFill/>
                  <a:ln>
                    <a:noFill/>
                  </a:ln>
                  <a:extLst/>
                </p:spPr>
                <p:txBody>
                  <a:bodyPr/>
                  <a:lstStyle/>
                  <a:p>
                    <a:pPr eaLnBrk="1" hangingPunct="1">
                      <a:defRPr/>
                    </a:pPr>
                    <a:endParaRPr lang="zh-CN" altLang="en-US" sz="1050"/>
                  </a:p>
                </p:txBody>
              </p:sp>
              <p:sp>
                <p:nvSpPr>
                  <p:cNvPr id="2148" name="Rectangle 1206"/>
                  <p:cNvSpPr>
                    <a:spLocks noChangeArrowheads="1"/>
                  </p:cNvSpPr>
                  <p:nvPr/>
                </p:nvSpPr>
                <p:spPr bwMode="auto">
                  <a:xfrm>
                    <a:off x="11613" y="2508"/>
                    <a:ext cx="8" cy="9"/>
                  </a:xfrm>
                  <a:prstGeom prst="rect">
                    <a:avLst/>
                  </a:prstGeom>
                  <a:solidFill>
                    <a:srgbClr val="01AAE5"/>
                  </a:solidFill>
                  <a:ln>
                    <a:noFill/>
                  </a:ln>
                  <a:extLst/>
                </p:spPr>
                <p:txBody>
                  <a:bodyPr/>
                  <a:lstStyle/>
                  <a:p>
                    <a:pPr eaLnBrk="1" hangingPunct="1">
                      <a:defRPr/>
                    </a:pPr>
                    <a:endParaRPr lang="zh-CN" altLang="en-US" sz="1050"/>
                  </a:p>
                </p:txBody>
              </p:sp>
              <p:sp>
                <p:nvSpPr>
                  <p:cNvPr id="2149" name="Rectangle 1207"/>
                  <p:cNvSpPr>
                    <a:spLocks noChangeArrowheads="1"/>
                  </p:cNvSpPr>
                  <p:nvPr/>
                </p:nvSpPr>
                <p:spPr bwMode="auto">
                  <a:xfrm>
                    <a:off x="11613" y="2517"/>
                    <a:ext cx="8" cy="0"/>
                  </a:xfrm>
                  <a:prstGeom prst="rect">
                    <a:avLst/>
                  </a:prstGeom>
                  <a:solidFill>
                    <a:srgbClr val="01AAE5"/>
                  </a:solidFill>
                  <a:ln>
                    <a:noFill/>
                  </a:ln>
                  <a:extLst/>
                </p:spPr>
                <p:txBody>
                  <a:bodyPr/>
                  <a:lstStyle/>
                  <a:p>
                    <a:pPr eaLnBrk="1" hangingPunct="1">
                      <a:defRPr/>
                    </a:pPr>
                    <a:endParaRPr lang="zh-CN" altLang="en-US" sz="1050"/>
                  </a:p>
                </p:txBody>
              </p:sp>
              <p:sp>
                <p:nvSpPr>
                  <p:cNvPr id="2150" name="Rectangle 1208"/>
                  <p:cNvSpPr>
                    <a:spLocks noChangeArrowheads="1"/>
                  </p:cNvSpPr>
                  <p:nvPr/>
                </p:nvSpPr>
                <p:spPr bwMode="auto">
                  <a:xfrm>
                    <a:off x="11613" y="2499"/>
                    <a:ext cx="8" cy="0"/>
                  </a:xfrm>
                  <a:prstGeom prst="rect">
                    <a:avLst/>
                  </a:prstGeom>
                  <a:solidFill>
                    <a:srgbClr val="01AAE5"/>
                  </a:solidFill>
                  <a:ln>
                    <a:noFill/>
                  </a:ln>
                  <a:extLst/>
                </p:spPr>
                <p:txBody>
                  <a:bodyPr/>
                  <a:lstStyle/>
                  <a:p>
                    <a:pPr eaLnBrk="1" hangingPunct="1">
                      <a:defRPr/>
                    </a:pPr>
                    <a:endParaRPr lang="zh-CN" altLang="en-US" sz="1050"/>
                  </a:p>
                </p:txBody>
              </p:sp>
              <p:sp>
                <p:nvSpPr>
                  <p:cNvPr id="2151" name="Freeform 1209"/>
                  <p:cNvSpPr>
                    <a:spLocks/>
                  </p:cNvSpPr>
                  <p:nvPr/>
                </p:nvSpPr>
                <p:spPr bwMode="auto">
                  <a:xfrm>
                    <a:off x="11613" y="2464"/>
                    <a:ext cx="8" cy="9"/>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52" name="Freeform 1210"/>
                  <p:cNvSpPr>
                    <a:spLocks/>
                  </p:cNvSpPr>
                  <p:nvPr/>
                </p:nvSpPr>
                <p:spPr bwMode="auto">
                  <a:xfrm>
                    <a:off x="11613" y="2491"/>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153" name="Freeform 1211"/>
                  <p:cNvSpPr>
                    <a:spLocks/>
                  </p:cNvSpPr>
                  <p:nvPr/>
                </p:nvSpPr>
                <p:spPr bwMode="auto">
                  <a:xfrm>
                    <a:off x="11613" y="2464"/>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154" name="Freeform 1212"/>
                  <p:cNvSpPr>
                    <a:spLocks/>
                  </p:cNvSpPr>
                  <p:nvPr/>
                </p:nvSpPr>
                <p:spPr bwMode="auto">
                  <a:xfrm>
                    <a:off x="11613" y="2473"/>
                    <a:ext cx="8" cy="0"/>
                  </a:xfrm>
                  <a:custGeom>
                    <a:avLst/>
                    <a:gdLst>
                      <a:gd name="T0" fmla="*/ 2 w 7"/>
                      <a:gd name="T1" fmla="*/ 3 h 3"/>
                      <a:gd name="T2" fmla="*/ 7 w 7"/>
                      <a:gd name="T3" fmla="*/ 0 h 3"/>
                      <a:gd name="T4" fmla="*/ 7 w 7"/>
                      <a:gd name="T5" fmla="*/ 0 h 3"/>
                      <a:gd name="T6" fmla="*/ 0 w 7"/>
                      <a:gd name="T7" fmla="*/ 0 h 3"/>
                      <a:gd name="T8" fmla="*/ 2 w 7"/>
                      <a:gd name="T9" fmla="*/ 3 h 3"/>
                    </a:gdLst>
                    <a:ahLst/>
                    <a:cxnLst>
                      <a:cxn ang="0">
                        <a:pos x="T0" y="T1"/>
                      </a:cxn>
                      <a:cxn ang="0">
                        <a:pos x="T2" y="T3"/>
                      </a:cxn>
                      <a:cxn ang="0">
                        <a:pos x="T4" y="T5"/>
                      </a:cxn>
                      <a:cxn ang="0">
                        <a:pos x="T6" y="T7"/>
                      </a:cxn>
                      <a:cxn ang="0">
                        <a:pos x="T8" y="T9"/>
                      </a:cxn>
                    </a:cxnLst>
                    <a:rect l="0" t="0" r="r" b="b"/>
                    <a:pathLst>
                      <a:path w="7" h="3">
                        <a:moveTo>
                          <a:pt x="2" y="3"/>
                        </a:moveTo>
                        <a:lnTo>
                          <a:pt x="7" y="0"/>
                        </a:lnTo>
                        <a:lnTo>
                          <a:pt x="7" y="0"/>
                        </a:lnTo>
                        <a:lnTo>
                          <a:pt x="0" y="0"/>
                        </a:lnTo>
                        <a:lnTo>
                          <a:pt x="2" y="3"/>
                        </a:lnTo>
                        <a:close/>
                      </a:path>
                    </a:pathLst>
                  </a:custGeom>
                  <a:solidFill>
                    <a:srgbClr val="01AAE5"/>
                  </a:solidFill>
                  <a:ln>
                    <a:noFill/>
                  </a:ln>
                  <a:extLst/>
                </p:spPr>
                <p:txBody>
                  <a:bodyPr/>
                  <a:lstStyle/>
                  <a:p>
                    <a:pPr eaLnBrk="1" hangingPunct="1">
                      <a:defRPr/>
                    </a:pPr>
                    <a:endParaRPr lang="zh-CN" altLang="en-US" sz="1050"/>
                  </a:p>
                </p:txBody>
              </p:sp>
              <p:sp>
                <p:nvSpPr>
                  <p:cNvPr id="2155" name="Rectangle 121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2156" name="Freeform 1214"/>
                  <p:cNvSpPr>
                    <a:spLocks/>
                  </p:cNvSpPr>
                  <p:nvPr/>
                </p:nvSpPr>
                <p:spPr bwMode="auto">
                  <a:xfrm>
                    <a:off x="11613" y="2473"/>
                    <a:ext cx="8" cy="9"/>
                  </a:xfrm>
                  <a:custGeom>
                    <a:avLst/>
                    <a:gdLst>
                      <a:gd name="T0" fmla="*/ 0 w 5"/>
                      <a:gd name="T1" fmla="*/ 2 h 2"/>
                      <a:gd name="T2" fmla="*/ 5 w 5"/>
                      <a:gd name="T3" fmla="*/ 2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2"/>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57" name="Freeform 1215"/>
                  <p:cNvSpPr>
                    <a:spLocks/>
                  </p:cNvSpPr>
                  <p:nvPr/>
                </p:nvSpPr>
                <p:spPr bwMode="auto">
                  <a:xfrm>
                    <a:off x="11613" y="2482"/>
                    <a:ext cx="8" cy="0"/>
                  </a:xfrm>
                  <a:custGeom>
                    <a:avLst/>
                    <a:gdLst>
                      <a:gd name="T0" fmla="*/ 0 w 5"/>
                      <a:gd name="T1" fmla="*/ 3 h 3"/>
                      <a:gd name="T2" fmla="*/ 5 w 5"/>
                      <a:gd name="T3" fmla="*/ 0 h 3"/>
                      <a:gd name="T4" fmla="*/ 5 w 5"/>
                      <a:gd name="T5" fmla="*/ 0 h 3"/>
                      <a:gd name="T6" fmla="*/ 0 w 5"/>
                      <a:gd name="T7" fmla="*/ 0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158" name="Freeform 1216"/>
                  <p:cNvSpPr>
                    <a:spLocks/>
                  </p:cNvSpPr>
                  <p:nvPr/>
                </p:nvSpPr>
                <p:spPr bwMode="auto">
                  <a:xfrm>
                    <a:off x="11596" y="2369"/>
                    <a:ext cx="8" cy="0"/>
                  </a:xfrm>
                  <a:custGeom>
                    <a:avLst/>
                    <a:gdLst>
                      <a:gd name="T0" fmla="*/ 0 w 10"/>
                      <a:gd name="T1" fmla="*/ 5 h 5"/>
                      <a:gd name="T2" fmla="*/ 10 w 10"/>
                      <a:gd name="T3" fmla="*/ 0 h 5"/>
                      <a:gd name="T4" fmla="*/ 10 w 10"/>
                      <a:gd name="T5" fmla="*/ 0 h 5"/>
                      <a:gd name="T6" fmla="*/ 0 w 10"/>
                      <a:gd name="T7" fmla="*/ 3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0"/>
                        </a:lnTo>
                        <a:lnTo>
                          <a:pt x="10"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59" name="Freeform 1217"/>
                  <p:cNvSpPr>
                    <a:spLocks/>
                  </p:cNvSpPr>
                  <p:nvPr/>
                </p:nvSpPr>
                <p:spPr bwMode="auto">
                  <a:xfrm>
                    <a:off x="11571" y="2308"/>
                    <a:ext cx="25" cy="0"/>
                  </a:xfrm>
                  <a:custGeom>
                    <a:avLst/>
                    <a:gdLst>
                      <a:gd name="T0" fmla="*/ 0 w 24"/>
                      <a:gd name="T1" fmla="*/ 10 h 10"/>
                      <a:gd name="T2" fmla="*/ 24 w 24"/>
                      <a:gd name="T3" fmla="*/ 3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3"/>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2160" name="Freeform 1218"/>
                  <p:cNvSpPr>
                    <a:spLocks/>
                  </p:cNvSpPr>
                  <p:nvPr/>
                </p:nvSpPr>
                <p:spPr bwMode="auto">
                  <a:xfrm>
                    <a:off x="11580" y="2316"/>
                    <a:ext cx="17" cy="9"/>
                  </a:xfrm>
                  <a:custGeom>
                    <a:avLst/>
                    <a:gdLst>
                      <a:gd name="T0" fmla="*/ 3 w 19"/>
                      <a:gd name="T1" fmla="*/ 7 h 7"/>
                      <a:gd name="T2" fmla="*/ 19 w 19"/>
                      <a:gd name="T3" fmla="*/ 2 h 7"/>
                      <a:gd name="T4" fmla="*/ 19 w 19"/>
                      <a:gd name="T5" fmla="*/ 0 h 7"/>
                      <a:gd name="T6" fmla="*/ 0 w 19"/>
                      <a:gd name="T7" fmla="*/ 7 h 7"/>
                      <a:gd name="T8" fmla="*/ 3 w 19"/>
                      <a:gd name="T9" fmla="*/ 7 h 7"/>
                    </a:gdLst>
                    <a:ahLst/>
                    <a:cxnLst>
                      <a:cxn ang="0">
                        <a:pos x="T0" y="T1"/>
                      </a:cxn>
                      <a:cxn ang="0">
                        <a:pos x="T2" y="T3"/>
                      </a:cxn>
                      <a:cxn ang="0">
                        <a:pos x="T4" y="T5"/>
                      </a:cxn>
                      <a:cxn ang="0">
                        <a:pos x="T6" y="T7"/>
                      </a:cxn>
                      <a:cxn ang="0">
                        <a:pos x="T8" y="T9"/>
                      </a:cxn>
                    </a:cxnLst>
                    <a:rect l="0" t="0" r="r" b="b"/>
                    <a:pathLst>
                      <a:path w="19" h="7">
                        <a:moveTo>
                          <a:pt x="3" y="7"/>
                        </a:moveTo>
                        <a:lnTo>
                          <a:pt x="19" y="2"/>
                        </a:lnTo>
                        <a:lnTo>
                          <a:pt x="19"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2161" name="Freeform 1219"/>
                  <p:cNvSpPr>
                    <a:spLocks/>
                  </p:cNvSpPr>
                  <p:nvPr/>
                </p:nvSpPr>
                <p:spPr bwMode="auto">
                  <a:xfrm>
                    <a:off x="11580" y="2308"/>
                    <a:ext cx="17" cy="9"/>
                  </a:xfrm>
                  <a:custGeom>
                    <a:avLst/>
                    <a:gdLst>
                      <a:gd name="T0" fmla="*/ 0 w 19"/>
                      <a:gd name="T1" fmla="*/ 7 h 7"/>
                      <a:gd name="T2" fmla="*/ 19 w 19"/>
                      <a:gd name="T3" fmla="*/ 0 h 7"/>
                      <a:gd name="T4" fmla="*/ 19 w 19"/>
                      <a:gd name="T5" fmla="*/ 0 h 7"/>
                      <a:gd name="T6" fmla="*/ 0 w 19"/>
                      <a:gd name="T7" fmla="*/ 4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9"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2162" name="Freeform 1220"/>
                  <p:cNvSpPr>
                    <a:spLocks/>
                  </p:cNvSpPr>
                  <p:nvPr/>
                </p:nvSpPr>
                <p:spPr bwMode="auto">
                  <a:xfrm>
                    <a:off x="11571" y="2308"/>
                    <a:ext cx="25" cy="9"/>
                  </a:xfrm>
                  <a:custGeom>
                    <a:avLst/>
                    <a:gdLst>
                      <a:gd name="T0" fmla="*/ 0 w 21"/>
                      <a:gd name="T1" fmla="*/ 7 h 7"/>
                      <a:gd name="T2" fmla="*/ 21 w 21"/>
                      <a:gd name="T3" fmla="*/ 0 h 7"/>
                      <a:gd name="T4" fmla="*/ 21 w 21"/>
                      <a:gd name="T5" fmla="*/ 0 h 7"/>
                      <a:gd name="T6" fmla="*/ 0 w 21"/>
                      <a:gd name="T7" fmla="*/ 7 h 7"/>
                      <a:gd name="T8" fmla="*/ 0 w 21"/>
                      <a:gd name="T9" fmla="*/ 7 h 7"/>
                    </a:gdLst>
                    <a:ahLst/>
                    <a:cxnLst>
                      <a:cxn ang="0">
                        <a:pos x="T0" y="T1"/>
                      </a:cxn>
                      <a:cxn ang="0">
                        <a:pos x="T2" y="T3"/>
                      </a:cxn>
                      <a:cxn ang="0">
                        <a:pos x="T4" y="T5"/>
                      </a:cxn>
                      <a:cxn ang="0">
                        <a:pos x="T6" y="T7"/>
                      </a:cxn>
                      <a:cxn ang="0">
                        <a:pos x="T8" y="T9"/>
                      </a:cxn>
                    </a:cxnLst>
                    <a:rect l="0" t="0" r="r" b="b"/>
                    <a:pathLst>
                      <a:path w="21" h="7">
                        <a:moveTo>
                          <a:pt x="0" y="7"/>
                        </a:moveTo>
                        <a:lnTo>
                          <a:pt x="21" y="0"/>
                        </a:lnTo>
                        <a:lnTo>
                          <a:pt x="21"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163" name="Freeform 1221"/>
                  <p:cNvSpPr>
                    <a:spLocks/>
                  </p:cNvSpPr>
                  <p:nvPr/>
                </p:nvSpPr>
                <p:spPr bwMode="auto">
                  <a:xfrm>
                    <a:off x="11580" y="2316"/>
                    <a:ext cx="17" cy="9"/>
                  </a:xfrm>
                  <a:custGeom>
                    <a:avLst/>
                    <a:gdLst>
                      <a:gd name="T0" fmla="*/ 0 w 16"/>
                      <a:gd name="T1" fmla="*/ 4 h 4"/>
                      <a:gd name="T2" fmla="*/ 16 w 16"/>
                      <a:gd name="T3" fmla="*/ 0 h 4"/>
                      <a:gd name="T4" fmla="*/ 16 w 16"/>
                      <a:gd name="T5" fmla="*/ 0 h 4"/>
                      <a:gd name="T6" fmla="*/ 0 w 16"/>
                      <a:gd name="T7" fmla="*/ 4 h 4"/>
                      <a:gd name="T8" fmla="*/ 0 w 16"/>
                      <a:gd name="T9" fmla="*/ 4 h 4"/>
                    </a:gdLst>
                    <a:ahLst/>
                    <a:cxnLst>
                      <a:cxn ang="0">
                        <a:pos x="T0" y="T1"/>
                      </a:cxn>
                      <a:cxn ang="0">
                        <a:pos x="T2" y="T3"/>
                      </a:cxn>
                      <a:cxn ang="0">
                        <a:pos x="T4" y="T5"/>
                      </a:cxn>
                      <a:cxn ang="0">
                        <a:pos x="T6" y="T7"/>
                      </a:cxn>
                      <a:cxn ang="0">
                        <a:pos x="T8" y="T9"/>
                      </a:cxn>
                    </a:cxnLst>
                    <a:rect l="0" t="0" r="r" b="b"/>
                    <a:pathLst>
                      <a:path w="16" h="4">
                        <a:moveTo>
                          <a:pt x="0" y="4"/>
                        </a:moveTo>
                        <a:lnTo>
                          <a:pt x="16" y="0"/>
                        </a:lnTo>
                        <a:lnTo>
                          <a:pt x="16"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164" name="Freeform 1222"/>
                  <p:cNvSpPr>
                    <a:spLocks/>
                  </p:cNvSpPr>
                  <p:nvPr/>
                </p:nvSpPr>
                <p:spPr bwMode="auto">
                  <a:xfrm>
                    <a:off x="11580" y="2334"/>
                    <a:ext cx="17" cy="9"/>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65" name="Freeform 1223"/>
                  <p:cNvSpPr>
                    <a:spLocks/>
                  </p:cNvSpPr>
                  <p:nvPr/>
                </p:nvSpPr>
                <p:spPr bwMode="auto">
                  <a:xfrm>
                    <a:off x="11580" y="2325"/>
                    <a:ext cx="17" cy="9"/>
                  </a:xfrm>
                  <a:custGeom>
                    <a:avLst/>
                    <a:gdLst>
                      <a:gd name="T0" fmla="*/ 0 w 14"/>
                      <a:gd name="T1" fmla="*/ 7 h 7"/>
                      <a:gd name="T2" fmla="*/ 14 w 14"/>
                      <a:gd name="T3" fmla="*/ 2 h 7"/>
                      <a:gd name="T4" fmla="*/ 14 w 14"/>
                      <a:gd name="T5" fmla="*/ 0 h 7"/>
                      <a:gd name="T6" fmla="*/ 0 w 14"/>
                      <a:gd name="T7" fmla="*/ 5 h 7"/>
                      <a:gd name="T8" fmla="*/ 0 w 14"/>
                      <a:gd name="T9" fmla="*/ 7 h 7"/>
                    </a:gdLst>
                    <a:ahLst/>
                    <a:cxnLst>
                      <a:cxn ang="0">
                        <a:pos x="T0" y="T1"/>
                      </a:cxn>
                      <a:cxn ang="0">
                        <a:pos x="T2" y="T3"/>
                      </a:cxn>
                      <a:cxn ang="0">
                        <a:pos x="T4" y="T5"/>
                      </a:cxn>
                      <a:cxn ang="0">
                        <a:pos x="T6" y="T7"/>
                      </a:cxn>
                      <a:cxn ang="0">
                        <a:pos x="T8" y="T9"/>
                      </a:cxn>
                    </a:cxnLst>
                    <a:rect l="0" t="0" r="r" b="b"/>
                    <a:pathLst>
                      <a:path w="14" h="7">
                        <a:moveTo>
                          <a:pt x="0" y="7"/>
                        </a:moveTo>
                        <a:lnTo>
                          <a:pt x="14" y="2"/>
                        </a:lnTo>
                        <a:lnTo>
                          <a:pt x="14"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2166" name="Freeform 1224"/>
                  <p:cNvSpPr>
                    <a:spLocks/>
                  </p:cNvSpPr>
                  <p:nvPr/>
                </p:nvSpPr>
                <p:spPr bwMode="auto">
                  <a:xfrm>
                    <a:off x="11580" y="2325"/>
                    <a:ext cx="17" cy="9"/>
                  </a:xfrm>
                  <a:custGeom>
                    <a:avLst/>
                    <a:gdLst>
                      <a:gd name="T0" fmla="*/ 2 w 14"/>
                      <a:gd name="T1" fmla="*/ 4 h 4"/>
                      <a:gd name="T2" fmla="*/ 14 w 14"/>
                      <a:gd name="T3" fmla="*/ 0 h 4"/>
                      <a:gd name="T4" fmla="*/ 14 w 14"/>
                      <a:gd name="T5" fmla="*/ 0 h 4"/>
                      <a:gd name="T6" fmla="*/ 0 w 14"/>
                      <a:gd name="T7" fmla="*/ 4 h 4"/>
                      <a:gd name="T8" fmla="*/ 2 w 14"/>
                      <a:gd name="T9" fmla="*/ 4 h 4"/>
                    </a:gdLst>
                    <a:ahLst/>
                    <a:cxnLst>
                      <a:cxn ang="0">
                        <a:pos x="T0" y="T1"/>
                      </a:cxn>
                      <a:cxn ang="0">
                        <a:pos x="T2" y="T3"/>
                      </a:cxn>
                      <a:cxn ang="0">
                        <a:pos x="T4" y="T5"/>
                      </a:cxn>
                      <a:cxn ang="0">
                        <a:pos x="T6" y="T7"/>
                      </a:cxn>
                      <a:cxn ang="0">
                        <a:pos x="T8" y="T9"/>
                      </a:cxn>
                    </a:cxnLst>
                    <a:rect l="0" t="0" r="r" b="b"/>
                    <a:pathLst>
                      <a:path w="14" h="4">
                        <a:moveTo>
                          <a:pt x="2" y="4"/>
                        </a:moveTo>
                        <a:lnTo>
                          <a:pt x="14" y="0"/>
                        </a:lnTo>
                        <a:lnTo>
                          <a:pt x="14"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2167" name="Freeform 1225"/>
                  <p:cNvSpPr>
                    <a:spLocks/>
                  </p:cNvSpPr>
                  <p:nvPr/>
                </p:nvSpPr>
                <p:spPr bwMode="auto">
                  <a:xfrm>
                    <a:off x="11571" y="2308"/>
                    <a:ext cx="25" cy="0"/>
                  </a:xfrm>
                  <a:custGeom>
                    <a:avLst/>
                    <a:gdLst>
                      <a:gd name="T0" fmla="*/ 2 w 26"/>
                      <a:gd name="T1" fmla="*/ 9 h 9"/>
                      <a:gd name="T2" fmla="*/ 26 w 26"/>
                      <a:gd name="T3" fmla="*/ 0 h 9"/>
                      <a:gd name="T4" fmla="*/ 26 w 26"/>
                      <a:gd name="T5" fmla="*/ 0 h 9"/>
                      <a:gd name="T6" fmla="*/ 0 w 26"/>
                      <a:gd name="T7" fmla="*/ 7 h 9"/>
                      <a:gd name="T8" fmla="*/ 2 w 26"/>
                      <a:gd name="T9" fmla="*/ 9 h 9"/>
                    </a:gdLst>
                    <a:ahLst/>
                    <a:cxnLst>
                      <a:cxn ang="0">
                        <a:pos x="T0" y="T1"/>
                      </a:cxn>
                      <a:cxn ang="0">
                        <a:pos x="T2" y="T3"/>
                      </a:cxn>
                      <a:cxn ang="0">
                        <a:pos x="T4" y="T5"/>
                      </a:cxn>
                      <a:cxn ang="0">
                        <a:pos x="T6" y="T7"/>
                      </a:cxn>
                      <a:cxn ang="0">
                        <a:pos x="T8" y="T9"/>
                      </a:cxn>
                    </a:cxnLst>
                    <a:rect l="0" t="0" r="r" b="b"/>
                    <a:pathLst>
                      <a:path w="26" h="9">
                        <a:moveTo>
                          <a:pt x="2" y="9"/>
                        </a:moveTo>
                        <a:lnTo>
                          <a:pt x="26" y="0"/>
                        </a:lnTo>
                        <a:lnTo>
                          <a:pt x="26" y="0"/>
                        </a:lnTo>
                        <a:lnTo>
                          <a:pt x="0" y="7"/>
                        </a:lnTo>
                        <a:lnTo>
                          <a:pt x="2" y="9"/>
                        </a:lnTo>
                        <a:close/>
                      </a:path>
                    </a:pathLst>
                  </a:custGeom>
                  <a:solidFill>
                    <a:srgbClr val="01AAE5"/>
                  </a:solidFill>
                  <a:ln>
                    <a:noFill/>
                  </a:ln>
                  <a:extLst/>
                </p:spPr>
                <p:txBody>
                  <a:bodyPr/>
                  <a:lstStyle/>
                  <a:p>
                    <a:pPr eaLnBrk="1" hangingPunct="1">
                      <a:defRPr/>
                    </a:pPr>
                    <a:endParaRPr lang="zh-CN" altLang="en-US" sz="1050"/>
                  </a:p>
                </p:txBody>
              </p:sp>
              <p:sp>
                <p:nvSpPr>
                  <p:cNvPr id="2168" name="Freeform 1226"/>
                  <p:cNvSpPr>
                    <a:spLocks/>
                  </p:cNvSpPr>
                  <p:nvPr/>
                </p:nvSpPr>
                <p:spPr bwMode="auto">
                  <a:xfrm>
                    <a:off x="11555" y="2273"/>
                    <a:ext cx="33" cy="17"/>
                  </a:xfrm>
                  <a:custGeom>
                    <a:avLst/>
                    <a:gdLst>
                      <a:gd name="T0" fmla="*/ 0 w 30"/>
                      <a:gd name="T1" fmla="*/ 14 h 14"/>
                      <a:gd name="T2" fmla="*/ 30 w 30"/>
                      <a:gd name="T3" fmla="*/ 3 h 14"/>
                      <a:gd name="T4" fmla="*/ 30 w 30"/>
                      <a:gd name="T5" fmla="*/ 0 h 14"/>
                      <a:gd name="T6" fmla="*/ 0 w 30"/>
                      <a:gd name="T7" fmla="*/ 12 h 14"/>
                      <a:gd name="T8" fmla="*/ 0 w 30"/>
                      <a:gd name="T9" fmla="*/ 14 h 14"/>
                    </a:gdLst>
                    <a:ahLst/>
                    <a:cxnLst>
                      <a:cxn ang="0">
                        <a:pos x="T0" y="T1"/>
                      </a:cxn>
                      <a:cxn ang="0">
                        <a:pos x="T2" y="T3"/>
                      </a:cxn>
                      <a:cxn ang="0">
                        <a:pos x="T4" y="T5"/>
                      </a:cxn>
                      <a:cxn ang="0">
                        <a:pos x="T6" y="T7"/>
                      </a:cxn>
                      <a:cxn ang="0">
                        <a:pos x="T8" y="T9"/>
                      </a:cxn>
                    </a:cxnLst>
                    <a:rect l="0" t="0" r="r" b="b"/>
                    <a:pathLst>
                      <a:path w="30" h="14">
                        <a:moveTo>
                          <a:pt x="0" y="14"/>
                        </a:moveTo>
                        <a:lnTo>
                          <a:pt x="30" y="3"/>
                        </a:lnTo>
                        <a:lnTo>
                          <a:pt x="3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2169" name="Freeform 1227"/>
                  <p:cNvSpPr>
                    <a:spLocks/>
                  </p:cNvSpPr>
                  <p:nvPr/>
                </p:nvSpPr>
                <p:spPr bwMode="auto">
                  <a:xfrm>
                    <a:off x="11563" y="2281"/>
                    <a:ext cx="25" cy="17"/>
                  </a:xfrm>
                  <a:custGeom>
                    <a:avLst/>
                    <a:gdLst>
                      <a:gd name="T0" fmla="*/ 0 w 31"/>
                      <a:gd name="T1" fmla="*/ 12 h 12"/>
                      <a:gd name="T2" fmla="*/ 31 w 31"/>
                      <a:gd name="T3" fmla="*/ 0 h 12"/>
                      <a:gd name="T4" fmla="*/ 28 w 31"/>
                      <a:gd name="T5" fmla="*/ 0 h 12"/>
                      <a:gd name="T6" fmla="*/ 0 w 31"/>
                      <a:gd name="T7" fmla="*/ 12 h 12"/>
                      <a:gd name="T8" fmla="*/ 0 w 31"/>
                      <a:gd name="T9" fmla="*/ 12 h 12"/>
                    </a:gdLst>
                    <a:ahLst/>
                    <a:cxnLst>
                      <a:cxn ang="0">
                        <a:pos x="T0" y="T1"/>
                      </a:cxn>
                      <a:cxn ang="0">
                        <a:pos x="T2" y="T3"/>
                      </a:cxn>
                      <a:cxn ang="0">
                        <a:pos x="T4" y="T5"/>
                      </a:cxn>
                      <a:cxn ang="0">
                        <a:pos x="T6" y="T7"/>
                      </a:cxn>
                      <a:cxn ang="0">
                        <a:pos x="T8" y="T9"/>
                      </a:cxn>
                    </a:cxnLst>
                    <a:rect l="0" t="0" r="r" b="b"/>
                    <a:pathLst>
                      <a:path w="31" h="12">
                        <a:moveTo>
                          <a:pt x="0" y="12"/>
                        </a:moveTo>
                        <a:lnTo>
                          <a:pt x="31"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170" name="Freeform 1228"/>
                  <p:cNvSpPr>
                    <a:spLocks/>
                  </p:cNvSpPr>
                  <p:nvPr/>
                </p:nvSpPr>
                <p:spPr bwMode="auto">
                  <a:xfrm>
                    <a:off x="11563" y="2281"/>
                    <a:ext cx="25" cy="17"/>
                  </a:xfrm>
                  <a:custGeom>
                    <a:avLst/>
                    <a:gdLst>
                      <a:gd name="T0" fmla="*/ 2 w 31"/>
                      <a:gd name="T1" fmla="*/ 12 h 12"/>
                      <a:gd name="T2" fmla="*/ 31 w 31"/>
                      <a:gd name="T3" fmla="*/ 3 h 12"/>
                      <a:gd name="T4" fmla="*/ 31 w 31"/>
                      <a:gd name="T5" fmla="*/ 0 h 12"/>
                      <a:gd name="T6" fmla="*/ 0 w 31"/>
                      <a:gd name="T7" fmla="*/ 12 h 12"/>
                      <a:gd name="T8" fmla="*/ 2 w 31"/>
                      <a:gd name="T9" fmla="*/ 12 h 12"/>
                    </a:gdLst>
                    <a:ahLst/>
                    <a:cxnLst>
                      <a:cxn ang="0">
                        <a:pos x="T0" y="T1"/>
                      </a:cxn>
                      <a:cxn ang="0">
                        <a:pos x="T2" y="T3"/>
                      </a:cxn>
                      <a:cxn ang="0">
                        <a:pos x="T4" y="T5"/>
                      </a:cxn>
                      <a:cxn ang="0">
                        <a:pos x="T6" y="T7"/>
                      </a:cxn>
                      <a:cxn ang="0">
                        <a:pos x="T8" y="T9"/>
                      </a:cxn>
                    </a:cxnLst>
                    <a:rect l="0" t="0" r="r" b="b"/>
                    <a:pathLst>
                      <a:path w="31" h="12">
                        <a:moveTo>
                          <a:pt x="2" y="12"/>
                        </a:moveTo>
                        <a:lnTo>
                          <a:pt x="31" y="3"/>
                        </a:lnTo>
                        <a:lnTo>
                          <a:pt x="31"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2171" name="Freeform 1229"/>
                  <p:cNvSpPr>
                    <a:spLocks/>
                  </p:cNvSpPr>
                  <p:nvPr/>
                </p:nvSpPr>
                <p:spPr bwMode="auto">
                  <a:xfrm>
                    <a:off x="11555" y="2273"/>
                    <a:ext cx="33" cy="17"/>
                  </a:xfrm>
                  <a:custGeom>
                    <a:avLst/>
                    <a:gdLst>
                      <a:gd name="T0" fmla="*/ 0 w 30"/>
                      <a:gd name="T1" fmla="*/ 12 h 12"/>
                      <a:gd name="T2" fmla="*/ 30 w 30"/>
                      <a:gd name="T3" fmla="*/ 0 h 12"/>
                      <a:gd name="T4" fmla="*/ 28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172" name="Freeform 1230"/>
                  <p:cNvSpPr>
                    <a:spLocks/>
                  </p:cNvSpPr>
                  <p:nvPr/>
                </p:nvSpPr>
                <p:spPr bwMode="auto">
                  <a:xfrm>
                    <a:off x="11563" y="2290"/>
                    <a:ext cx="25" cy="9"/>
                  </a:xfrm>
                  <a:custGeom>
                    <a:avLst/>
                    <a:gdLst>
                      <a:gd name="T0" fmla="*/ 0 w 29"/>
                      <a:gd name="T1" fmla="*/ 12 h 12"/>
                      <a:gd name="T2" fmla="*/ 29 w 29"/>
                      <a:gd name="T3" fmla="*/ 0 h 12"/>
                      <a:gd name="T4" fmla="*/ 29 w 29"/>
                      <a:gd name="T5" fmla="*/ 0 h 12"/>
                      <a:gd name="T6" fmla="*/ 0 w 29"/>
                      <a:gd name="T7" fmla="*/ 9 h 12"/>
                      <a:gd name="T8" fmla="*/ 0 w 29"/>
                      <a:gd name="T9" fmla="*/ 12 h 12"/>
                    </a:gdLst>
                    <a:ahLst/>
                    <a:cxnLst>
                      <a:cxn ang="0">
                        <a:pos x="T0" y="T1"/>
                      </a:cxn>
                      <a:cxn ang="0">
                        <a:pos x="T2" y="T3"/>
                      </a:cxn>
                      <a:cxn ang="0">
                        <a:pos x="T4" y="T5"/>
                      </a:cxn>
                      <a:cxn ang="0">
                        <a:pos x="T6" y="T7"/>
                      </a:cxn>
                      <a:cxn ang="0">
                        <a:pos x="T8" y="T9"/>
                      </a:cxn>
                    </a:cxnLst>
                    <a:rect l="0" t="0" r="r" b="b"/>
                    <a:pathLst>
                      <a:path w="29" h="12">
                        <a:moveTo>
                          <a:pt x="0" y="12"/>
                        </a:moveTo>
                        <a:lnTo>
                          <a:pt x="29" y="0"/>
                        </a:lnTo>
                        <a:lnTo>
                          <a:pt x="29"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173" name="Freeform 1231"/>
                  <p:cNvSpPr>
                    <a:spLocks/>
                  </p:cNvSpPr>
                  <p:nvPr/>
                </p:nvSpPr>
                <p:spPr bwMode="auto">
                  <a:xfrm>
                    <a:off x="11571" y="2299"/>
                    <a:ext cx="17" cy="9"/>
                  </a:xfrm>
                  <a:custGeom>
                    <a:avLst/>
                    <a:gdLst>
                      <a:gd name="T0" fmla="*/ 0 w 24"/>
                      <a:gd name="T1" fmla="*/ 10 h 10"/>
                      <a:gd name="T2" fmla="*/ 24 w 24"/>
                      <a:gd name="T3" fmla="*/ 2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2"/>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2174" name="Freeform 1232"/>
                  <p:cNvSpPr>
                    <a:spLocks/>
                  </p:cNvSpPr>
                  <p:nvPr/>
                </p:nvSpPr>
                <p:spPr bwMode="auto">
                  <a:xfrm>
                    <a:off x="11563" y="2299"/>
                    <a:ext cx="25" cy="9"/>
                  </a:xfrm>
                  <a:custGeom>
                    <a:avLst/>
                    <a:gdLst>
                      <a:gd name="T0" fmla="*/ 0 w 26"/>
                      <a:gd name="T1" fmla="*/ 9 h 9"/>
                      <a:gd name="T2" fmla="*/ 26 w 26"/>
                      <a:gd name="T3" fmla="*/ 0 h 9"/>
                      <a:gd name="T4" fmla="*/ 26 w 26"/>
                      <a:gd name="T5" fmla="*/ 0 h 9"/>
                      <a:gd name="T6" fmla="*/ 0 w 26"/>
                      <a:gd name="T7" fmla="*/ 9 h 9"/>
                      <a:gd name="T8" fmla="*/ 0 w 26"/>
                      <a:gd name="T9" fmla="*/ 9 h 9"/>
                    </a:gdLst>
                    <a:ahLst/>
                    <a:cxnLst>
                      <a:cxn ang="0">
                        <a:pos x="T0" y="T1"/>
                      </a:cxn>
                      <a:cxn ang="0">
                        <a:pos x="T2" y="T3"/>
                      </a:cxn>
                      <a:cxn ang="0">
                        <a:pos x="T4" y="T5"/>
                      </a:cxn>
                      <a:cxn ang="0">
                        <a:pos x="T6" y="T7"/>
                      </a:cxn>
                      <a:cxn ang="0">
                        <a:pos x="T8" y="T9"/>
                      </a:cxn>
                    </a:cxnLst>
                    <a:rect l="0" t="0" r="r" b="b"/>
                    <a:pathLst>
                      <a:path w="26" h="9">
                        <a:moveTo>
                          <a:pt x="0" y="9"/>
                        </a:moveTo>
                        <a:lnTo>
                          <a:pt x="26" y="0"/>
                        </a:lnTo>
                        <a:lnTo>
                          <a:pt x="26"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2175" name="Freeform 1233"/>
                  <p:cNvSpPr>
                    <a:spLocks/>
                  </p:cNvSpPr>
                  <p:nvPr/>
                </p:nvSpPr>
                <p:spPr bwMode="auto">
                  <a:xfrm>
                    <a:off x="11580" y="2334"/>
                    <a:ext cx="17" cy="9"/>
                  </a:xfrm>
                  <a:custGeom>
                    <a:avLst/>
                    <a:gdLst>
                      <a:gd name="T0" fmla="*/ 0 w 9"/>
                      <a:gd name="T1" fmla="*/ 5 h 5"/>
                      <a:gd name="T2" fmla="*/ 9 w 9"/>
                      <a:gd name="T3" fmla="*/ 2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76" name="Freeform 1234"/>
                  <p:cNvSpPr>
                    <a:spLocks/>
                  </p:cNvSpPr>
                  <p:nvPr/>
                </p:nvSpPr>
                <p:spPr bwMode="auto">
                  <a:xfrm>
                    <a:off x="11588" y="2342"/>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77" name="Freeform 1235"/>
                  <p:cNvSpPr>
                    <a:spLocks/>
                  </p:cNvSpPr>
                  <p:nvPr/>
                </p:nvSpPr>
                <p:spPr bwMode="auto">
                  <a:xfrm>
                    <a:off x="11596" y="2377"/>
                    <a:ext cx="8" cy="0"/>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78" name="Freeform 1236"/>
                  <p:cNvSpPr>
                    <a:spLocks/>
                  </p:cNvSpPr>
                  <p:nvPr/>
                </p:nvSpPr>
                <p:spPr bwMode="auto">
                  <a:xfrm>
                    <a:off x="11596" y="2369"/>
                    <a:ext cx="8" cy="9"/>
                  </a:xfrm>
                  <a:custGeom>
                    <a:avLst/>
                    <a:gdLst>
                      <a:gd name="T0" fmla="*/ 0 w 12"/>
                      <a:gd name="T1" fmla="*/ 2 h 2"/>
                      <a:gd name="T2" fmla="*/ 12 w 12"/>
                      <a:gd name="T3" fmla="*/ 0 h 2"/>
                      <a:gd name="T4" fmla="*/ 12 w 12"/>
                      <a:gd name="T5" fmla="*/ 0 h 2"/>
                      <a:gd name="T6" fmla="*/ 0 w 12"/>
                      <a:gd name="T7" fmla="*/ 2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79" name="Freeform 1237"/>
                  <p:cNvSpPr>
                    <a:spLocks/>
                  </p:cNvSpPr>
                  <p:nvPr/>
                </p:nvSpPr>
                <p:spPr bwMode="auto">
                  <a:xfrm>
                    <a:off x="11555" y="2273"/>
                    <a:ext cx="33" cy="9"/>
                  </a:xfrm>
                  <a:custGeom>
                    <a:avLst/>
                    <a:gdLst>
                      <a:gd name="T0" fmla="*/ 0 w 31"/>
                      <a:gd name="T1" fmla="*/ 14 h 14"/>
                      <a:gd name="T2" fmla="*/ 31 w 31"/>
                      <a:gd name="T3" fmla="*/ 2 h 14"/>
                      <a:gd name="T4" fmla="*/ 31 w 31"/>
                      <a:gd name="T5" fmla="*/ 0 h 14"/>
                      <a:gd name="T6" fmla="*/ 0 w 31"/>
                      <a:gd name="T7" fmla="*/ 14 h 14"/>
                      <a:gd name="T8" fmla="*/ 0 w 31"/>
                      <a:gd name="T9" fmla="*/ 14 h 14"/>
                    </a:gdLst>
                    <a:ahLst/>
                    <a:cxnLst>
                      <a:cxn ang="0">
                        <a:pos x="T0" y="T1"/>
                      </a:cxn>
                      <a:cxn ang="0">
                        <a:pos x="T2" y="T3"/>
                      </a:cxn>
                      <a:cxn ang="0">
                        <a:pos x="T4" y="T5"/>
                      </a:cxn>
                      <a:cxn ang="0">
                        <a:pos x="T6" y="T7"/>
                      </a:cxn>
                      <a:cxn ang="0">
                        <a:pos x="T8" y="T9"/>
                      </a:cxn>
                    </a:cxnLst>
                    <a:rect l="0" t="0" r="r" b="b"/>
                    <a:pathLst>
                      <a:path w="31" h="14">
                        <a:moveTo>
                          <a:pt x="0" y="14"/>
                        </a:moveTo>
                        <a:lnTo>
                          <a:pt x="31" y="2"/>
                        </a:lnTo>
                        <a:lnTo>
                          <a:pt x="31"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2180" name="Freeform 1238"/>
                  <p:cNvSpPr>
                    <a:spLocks/>
                  </p:cNvSpPr>
                  <p:nvPr/>
                </p:nvSpPr>
                <p:spPr bwMode="auto">
                  <a:xfrm>
                    <a:off x="11596" y="2377"/>
                    <a:ext cx="8" cy="9"/>
                  </a:xfrm>
                  <a:custGeom>
                    <a:avLst/>
                    <a:gdLst>
                      <a:gd name="T0" fmla="*/ 0 w 14"/>
                      <a:gd name="T1" fmla="*/ 4 h 4"/>
                      <a:gd name="T2" fmla="*/ 14 w 14"/>
                      <a:gd name="T3" fmla="*/ 2 h 4"/>
                      <a:gd name="T4" fmla="*/ 14 w 14"/>
                      <a:gd name="T5" fmla="*/ 0 h 4"/>
                      <a:gd name="T6" fmla="*/ 0 w 14"/>
                      <a:gd name="T7" fmla="*/ 4 h 4"/>
                      <a:gd name="T8" fmla="*/ 0 w 14"/>
                      <a:gd name="T9" fmla="*/ 4 h 4"/>
                    </a:gdLst>
                    <a:ahLst/>
                    <a:cxnLst>
                      <a:cxn ang="0">
                        <a:pos x="T0" y="T1"/>
                      </a:cxn>
                      <a:cxn ang="0">
                        <a:pos x="T2" y="T3"/>
                      </a:cxn>
                      <a:cxn ang="0">
                        <a:pos x="T4" y="T5"/>
                      </a:cxn>
                      <a:cxn ang="0">
                        <a:pos x="T6" y="T7"/>
                      </a:cxn>
                      <a:cxn ang="0">
                        <a:pos x="T8" y="T9"/>
                      </a:cxn>
                    </a:cxnLst>
                    <a:rect l="0" t="0" r="r" b="b"/>
                    <a:pathLst>
                      <a:path w="14" h="4">
                        <a:moveTo>
                          <a:pt x="0" y="4"/>
                        </a:moveTo>
                        <a:lnTo>
                          <a:pt x="14" y="2"/>
                        </a:lnTo>
                        <a:lnTo>
                          <a:pt x="1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181" name="Freeform 1239"/>
                  <p:cNvSpPr>
                    <a:spLocks/>
                  </p:cNvSpPr>
                  <p:nvPr/>
                </p:nvSpPr>
                <p:spPr bwMode="auto">
                  <a:xfrm>
                    <a:off x="11596" y="2369"/>
                    <a:ext cx="8" cy="0"/>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82" name="Freeform 1240"/>
                  <p:cNvSpPr>
                    <a:spLocks/>
                  </p:cNvSpPr>
                  <p:nvPr/>
                </p:nvSpPr>
                <p:spPr bwMode="auto">
                  <a:xfrm>
                    <a:off x="11596" y="2395"/>
                    <a:ext cx="8" cy="0"/>
                  </a:xfrm>
                  <a:custGeom>
                    <a:avLst/>
                    <a:gdLst>
                      <a:gd name="T0" fmla="*/ 0 w 15"/>
                      <a:gd name="T1" fmla="*/ 4 h 4"/>
                      <a:gd name="T2" fmla="*/ 15 w 15"/>
                      <a:gd name="T3" fmla="*/ 0 h 4"/>
                      <a:gd name="T4" fmla="*/ 15 w 15"/>
                      <a:gd name="T5" fmla="*/ 0 h 4"/>
                      <a:gd name="T6" fmla="*/ 0 w 15"/>
                      <a:gd name="T7" fmla="*/ 2 h 4"/>
                      <a:gd name="T8" fmla="*/ 0 w 15"/>
                      <a:gd name="T9" fmla="*/ 4 h 4"/>
                    </a:gdLst>
                    <a:ahLst/>
                    <a:cxnLst>
                      <a:cxn ang="0">
                        <a:pos x="T0" y="T1"/>
                      </a:cxn>
                      <a:cxn ang="0">
                        <a:pos x="T2" y="T3"/>
                      </a:cxn>
                      <a:cxn ang="0">
                        <a:pos x="T4" y="T5"/>
                      </a:cxn>
                      <a:cxn ang="0">
                        <a:pos x="T6" y="T7"/>
                      </a:cxn>
                      <a:cxn ang="0">
                        <a:pos x="T8" y="T9"/>
                      </a:cxn>
                    </a:cxnLst>
                    <a:rect l="0" t="0" r="r" b="b"/>
                    <a:pathLst>
                      <a:path w="15" h="4">
                        <a:moveTo>
                          <a:pt x="0" y="4"/>
                        </a:moveTo>
                        <a:lnTo>
                          <a:pt x="15" y="0"/>
                        </a:lnTo>
                        <a:lnTo>
                          <a:pt x="1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2183" name="Freeform 1241"/>
                  <p:cNvSpPr>
                    <a:spLocks/>
                  </p:cNvSpPr>
                  <p:nvPr/>
                </p:nvSpPr>
                <p:spPr bwMode="auto">
                  <a:xfrm>
                    <a:off x="11596" y="2386"/>
                    <a:ext cx="8" cy="9"/>
                  </a:xfrm>
                  <a:custGeom>
                    <a:avLst/>
                    <a:gdLst>
                      <a:gd name="T0" fmla="*/ 0 w 15"/>
                      <a:gd name="T1" fmla="*/ 5 h 5"/>
                      <a:gd name="T2" fmla="*/ 15 w 15"/>
                      <a:gd name="T3" fmla="*/ 2 h 5"/>
                      <a:gd name="T4" fmla="*/ 15 w 15"/>
                      <a:gd name="T5" fmla="*/ 0 h 5"/>
                      <a:gd name="T6" fmla="*/ 0 w 15"/>
                      <a:gd name="T7" fmla="*/ 5 h 5"/>
                      <a:gd name="T8" fmla="*/ 0 w 15"/>
                      <a:gd name="T9" fmla="*/ 5 h 5"/>
                    </a:gdLst>
                    <a:ahLst/>
                    <a:cxnLst>
                      <a:cxn ang="0">
                        <a:pos x="T0" y="T1"/>
                      </a:cxn>
                      <a:cxn ang="0">
                        <a:pos x="T2" y="T3"/>
                      </a:cxn>
                      <a:cxn ang="0">
                        <a:pos x="T4" y="T5"/>
                      </a:cxn>
                      <a:cxn ang="0">
                        <a:pos x="T6" y="T7"/>
                      </a:cxn>
                      <a:cxn ang="0">
                        <a:pos x="T8" y="T9"/>
                      </a:cxn>
                    </a:cxnLst>
                    <a:rect l="0" t="0" r="r" b="b"/>
                    <a:pathLst>
                      <a:path w="15" h="5">
                        <a:moveTo>
                          <a:pt x="0" y="5"/>
                        </a:moveTo>
                        <a:lnTo>
                          <a:pt x="15" y="2"/>
                        </a:lnTo>
                        <a:lnTo>
                          <a:pt x="1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84" name="Freeform 1242"/>
                  <p:cNvSpPr>
                    <a:spLocks/>
                  </p:cNvSpPr>
                  <p:nvPr/>
                </p:nvSpPr>
                <p:spPr bwMode="auto">
                  <a:xfrm>
                    <a:off x="11596" y="2386"/>
                    <a:ext cx="8" cy="0"/>
                  </a:xfrm>
                  <a:custGeom>
                    <a:avLst/>
                    <a:gdLst>
                      <a:gd name="T0" fmla="*/ 2 w 14"/>
                      <a:gd name="T1" fmla="*/ 5 h 5"/>
                      <a:gd name="T2" fmla="*/ 14 w 14"/>
                      <a:gd name="T3" fmla="*/ 0 h 5"/>
                      <a:gd name="T4" fmla="*/ 14 w 14"/>
                      <a:gd name="T5" fmla="*/ 0 h 5"/>
                      <a:gd name="T6" fmla="*/ 0 w 14"/>
                      <a:gd name="T7" fmla="*/ 3 h 5"/>
                      <a:gd name="T8" fmla="*/ 2 w 14"/>
                      <a:gd name="T9" fmla="*/ 5 h 5"/>
                    </a:gdLst>
                    <a:ahLst/>
                    <a:cxnLst>
                      <a:cxn ang="0">
                        <a:pos x="T0" y="T1"/>
                      </a:cxn>
                      <a:cxn ang="0">
                        <a:pos x="T2" y="T3"/>
                      </a:cxn>
                      <a:cxn ang="0">
                        <a:pos x="T4" y="T5"/>
                      </a:cxn>
                      <a:cxn ang="0">
                        <a:pos x="T6" y="T7"/>
                      </a:cxn>
                      <a:cxn ang="0">
                        <a:pos x="T8" y="T9"/>
                      </a:cxn>
                    </a:cxnLst>
                    <a:rect l="0" t="0" r="r" b="b"/>
                    <a:pathLst>
                      <a:path w="14" h="5">
                        <a:moveTo>
                          <a:pt x="2" y="5"/>
                        </a:moveTo>
                        <a:lnTo>
                          <a:pt x="14" y="0"/>
                        </a:lnTo>
                        <a:lnTo>
                          <a:pt x="14"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2185" name="Freeform 1243"/>
                  <p:cNvSpPr>
                    <a:spLocks/>
                  </p:cNvSpPr>
                  <p:nvPr/>
                </p:nvSpPr>
                <p:spPr bwMode="auto">
                  <a:xfrm>
                    <a:off x="11596" y="2369"/>
                    <a:ext cx="8" cy="0"/>
                  </a:xfrm>
                  <a:custGeom>
                    <a:avLst/>
                    <a:gdLst>
                      <a:gd name="T0" fmla="*/ 0 w 7"/>
                      <a:gd name="T1" fmla="*/ 3 h 3"/>
                      <a:gd name="T2" fmla="*/ 7 w 7"/>
                      <a:gd name="T3" fmla="*/ 3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3"/>
                        </a:lnTo>
                        <a:lnTo>
                          <a:pt x="7"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2186" name="Freeform 1244"/>
                  <p:cNvSpPr>
                    <a:spLocks/>
                  </p:cNvSpPr>
                  <p:nvPr/>
                </p:nvSpPr>
                <p:spPr bwMode="auto">
                  <a:xfrm>
                    <a:off x="11596" y="2395"/>
                    <a:ext cx="17" cy="0"/>
                  </a:xfrm>
                  <a:custGeom>
                    <a:avLst/>
                    <a:gdLst>
                      <a:gd name="T0" fmla="*/ 0 w 17"/>
                      <a:gd name="T1" fmla="*/ 5 h 5"/>
                      <a:gd name="T2" fmla="*/ 17 w 17"/>
                      <a:gd name="T3" fmla="*/ 2 h 5"/>
                      <a:gd name="T4" fmla="*/ 17 w 17"/>
                      <a:gd name="T5" fmla="*/ 0 h 5"/>
                      <a:gd name="T6" fmla="*/ 0 w 17"/>
                      <a:gd name="T7" fmla="*/ 5 h 5"/>
                      <a:gd name="T8" fmla="*/ 0 w 17"/>
                      <a:gd name="T9" fmla="*/ 5 h 5"/>
                    </a:gdLst>
                    <a:ahLst/>
                    <a:cxnLst>
                      <a:cxn ang="0">
                        <a:pos x="T0" y="T1"/>
                      </a:cxn>
                      <a:cxn ang="0">
                        <a:pos x="T2" y="T3"/>
                      </a:cxn>
                      <a:cxn ang="0">
                        <a:pos x="T4" y="T5"/>
                      </a:cxn>
                      <a:cxn ang="0">
                        <a:pos x="T6" y="T7"/>
                      </a:cxn>
                      <a:cxn ang="0">
                        <a:pos x="T8" y="T9"/>
                      </a:cxn>
                    </a:cxnLst>
                    <a:rect l="0" t="0" r="r" b="b"/>
                    <a:pathLst>
                      <a:path w="17" h="5">
                        <a:moveTo>
                          <a:pt x="0" y="5"/>
                        </a:moveTo>
                        <a:lnTo>
                          <a:pt x="17" y="2"/>
                        </a:lnTo>
                        <a:lnTo>
                          <a:pt x="17"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87" name="Freeform 1245"/>
                  <p:cNvSpPr>
                    <a:spLocks/>
                  </p:cNvSpPr>
                  <p:nvPr/>
                </p:nvSpPr>
                <p:spPr bwMode="auto">
                  <a:xfrm>
                    <a:off x="11588" y="2351"/>
                    <a:ext cx="8" cy="0"/>
                  </a:xfrm>
                  <a:custGeom>
                    <a:avLst/>
                    <a:gdLst>
                      <a:gd name="T0" fmla="*/ 0 w 7"/>
                      <a:gd name="T1" fmla="*/ 5 h 5"/>
                      <a:gd name="T2" fmla="*/ 7 w 7"/>
                      <a:gd name="T3" fmla="*/ 2 h 5"/>
                      <a:gd name="T4" fmla="*/ 7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88" name="Freeform 1246"/>
                  <p:cNvSpPr>
                    <a:spLocks/>
                  </p:cNvSpPr>
                  <p:nvPr/>
                </p:nvSpPr>
                <p:spPr bwMode="auto">
                  <a:xfrm>
                    <a:off x="11588" y="2342"/>
                    <a:ext cx="8" cy="0"/>
                  </a:xfrm>
                  <a:custGeom>
                    <a:avLst/>
                    <a:gdLst>
                      <a:gd name="T0" fmla="*/ 0 w 9"/>
                      <a:gd name="T1" fmla="*/ 5 h 5"/>
                      <a:gd name="T2" fmla="*/ 9 w 9"/>
                      <a:gd name="T3" fmla="*/ 2 h 5"/>
                      <a:gd name="T4" fmla="*/ 7 w 9"/>
                      <a:gd name="T5" fmla="*/ 0 h 5"/>
                      <a:gd name="T6" fmla="*/ 0 w 9"/>
                      <a:gd name="T7" fmla="*/ 2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89" name="Freeform 1247"/>
                  <p:cNvSpPr>
                    <a:spLocks/>
                  </p:cNvSpPr>
                  <p:nvPr/>
                </p:nvSpPr>
                <p:spPr bwMode="auto">
                  <a:xfrm>
                    <a:off x="11588" y="2334"/>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90" name="Freeform 1248"/>
                  <p:cNvSpPr>
                    <a:spLocks/>
                  </p:cNvSpPr>
                  <p:nvPr/>
                </p:nvSpPr>
                <p:spPr bwMode="auto">
                  <a:xfrm>
                    <a:off x="11588" y="2360"/>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91" name="Freeform 1249"/>
                  <p:cNvSpPr>
                    <a:spLocks/>
                  </p:cNvSpPr>
                  <p:nvPr/>
                </p:nvSpPr>
                <p:spPr bwMode="auto">
                  <a:xfrm>
                    <a:off x="11588" y="2351"/>
                    <a:ext cx="8" cy="9"/>
                  </a:xfrm>
                  <a:custGeom>
                    <a:avLst/>
                    <a:gdLst>
                      <a:gd name="T0" fmla="*/ 0 w 4"/>
                      <a:gd name="T1" fmla="*/ 2 h 2"/>
                      <a:gd name="T2" fmla="*/ 4 w 4"/>
                      <a:gd name="T3" fmla="*/ 0 h 2"/>
                      <a:gd name="T4" fmla="*/ 4 w 4"/>
                      <a:gd name="T5" fmla="*/ 0 h 2"/>
                      <a:gd name="T6" fmla="*/ 0 w 4"/>
                      <a:gd name="T7" fmla="*/ 2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0"/>
                        </a:lnTo>
                        <a:lnTo>
                          <a:pt x="4"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92" name="Freeform 1250"/>
                  <p:cNvSpPr>
                    <a:spLocks/>
                  </p:cNvSpPr>
                  <p:nvPr/>
                </p:nvSpPr>
                <p:spPr bwMode="auto">
                  <a:xfrm>
                    <a:off x="11588" y="2360"/>
                    <a:ext cx="8" cy="0"/>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2193" name="Freeform 1251"/>
                  <p:cNvSpPr>
                    <a:spLocks/>
                  </p:cNvSpPr>
                  <p:nvPr/>
                </p:nvSpPr>
                <p:spPr bwMode="auto">
                  <a:xfrm>
                    <a:off x="11114" y="1846"/>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94" name="Freeform 1252"/>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close/>
                      </a:path>
                    </a:pathLst>
                  </a:custGeom>
                  <a:solidFill>
                    <a:srgbClr val="01AAE5"/>
                  </a:solidFill>
                  <a:ln>
                    <a:noFill/>
                  </a:ln>
                  <a:extLst/>
                </p:spPr>
                <p:txBody>
                  <a:bodyPr/>
                  <a:lstStyle/>
                  <a:p>
                    <a:pPr eaLnBrk="1" hangingPunct="1">
                      <a:defRPr/>
                    </a:pPr>
                    <a:endParaRPr lang="zh-CN" altLang="en-US" sz="1050"/>
                  </a:p>
                </p:txBody>
              </p:sp>
              <p:sp>
                <p:nvSpPr>
                  <p:cNvPr id="2195" name="Freeform 1253"/>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path>
                    </a:pathLst>
                  </a:custGeom>
                  <a:noFill/>
                  <a:ln>
                    <a:noFill/>
                  </a:ln>
                  <a:extLst/>
                </p:spPr>
                <p:txBody>
                  <a:bodyPr/>
                  <a:lstStyle/>
                  <a:p>
                    <a:pPr eaLnBrk="1" hangingPunct="1">
                      <a:defRPr/>
                    </a:pPr>
                    <a:endParaRPr lang="zh-CN" altLang="en-US" sz="1050"/>
                  </a:p>
                </p:txBody>
              </p:sp>
              <p:sp>
                <p:nvSpPr>
                  <p:cNvPr id="2196" name="Freeform 1254"/>
                  <p:cNvSpPr>
                    <a:spLocks/>
                  </p:cNvSpPr>
                  <p:nvPr/>
                </p:nvSpPr>
                <p:spPr bwMode="auto">
                  <a:xfrm>
                    <a:off x="11230" y="1898"/>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197" name="Freeform 1255"/>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198" name="Freeform 1256"/>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path>
                    </a:pathLst>
                  </a:custGeom>
                  <a:noFill/>
                  <a:ln>
                    <a:noFill/>
                  </a:ln>
                  <a:extLst/>
                </p:spPr>
                <p:txBody>
                  <a:bodyPr/>
                  <a:lstStyle/>
                  <a:p>
                    <a:pPr eaLnBrk="1" hangingPunct="1">
                      <a:defRPr/>
                    </a:pPr>
                    <a:endParaRPr lang="zh-CN" altLang="en-US" sz="1050"/>
                  </a:p>
                </p:txBody>
              </p:sp>
              <p:sp>
                <p:nvSpPr>
                  <p:cNvPr id="2199" name="Freeform 1257"/>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2200" name="Freeform 1258"/>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path>
                    </a:pathLst>
                  </a:custGeom>
                  <a:noFill/>
                  <a:ln>
                    <a:noFill/>
                  </a:ln>
                  <a:extLst/>
                </p:spPr>
                <p:txBody>
                  <a:bodyPr/>
                  <a:lstStyle/>
                  <a:p>
                    <a:pPr eaLnBrk="1" hangingPunct="1">
                      <a:defRPr/>
                    </a:pPr>
                    <a:endParaRPr lang="zh-CN" altLang="en-US" sz="1050"/>
                  </a:p>
                </p:txBody>
              </p:sp>
              <p:sp>
                <p:nvSpPr>
                  <p:cNvPr id="2201" name="Freeform 1259"/>
                  <p:cNvSpPr>
                    <a:spLocks/>
                  </p:cNvSpPr>
                  <p:nvPr/>
                </p:nvSpPr>
                <p:spPr bwMode="auto">
                  <a:xfrm>
                    <a:off x="11430" y="2055"/>
                    <a:ext cx="8" cy="9"/>
                  </a:xfrm>
                  <a:custGeom>
                    <a:avLst/>
                    <a:gdLst>
                      <a:gd name="T0" fmla="*/ 3 w 7"/>
                      <a:gd name="T1" fmla="*/ 5 h 5"/>
                      <a:gd name="T2" fmla="*/ 7 w 7"/>
                      <a:gd name="T3" fmla="*/ 0 h 5"/>
                      <a:gd name="T4" fmla="*/ 5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2202" name="Freeform 1260"/>
                  <p:cNvSpPr>
                    <a:spLocks/>
                  </p:cNvSpPr>
                  <p:nvPr/>
                </p:nvSpPr>
                <p:spPr bwMode="auto">
                  <a:xfrm>
                    <a:off x="11180" y="1872"/>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03" name="Freeform 1261"/>
                  <p:cNvSpPr>
                    <a:spLocks/>
                  </p:cNvSpPr>
                  <p:nvPr/>
                </p:nvSpPr>
                <p:spPr bwMode="auto">
                  <a:xfrm>
                    <a:off x="11180" y="1872"/>
                    <a:ext cx="0" cy="9"/>
                  </a:xfrm>
                  <a:custGeom>
                    <a:avLst/>
                    <a:gdLst>
                      <a:gd name="T0" fmla="*/ 2 w 4"/>
                      <a:gd name="T1" fmla="*/ 10 h 10"/>
                      <a:gd name="T2" fmla="*/ 4 w 4"/>
                      <a:gd name="T3" fmla="*/ 0 h 10"/>
                      <a:gd name="T4" fmla="*/ 4 w 4"/>
                      <a:gd name="T5" fmla="*/ 0 h 10"/>
                      <a:gd name="T6" fmla="*/ 0 w 4"/>
                      <a:gd name="T7" fmla="*/ 1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4" y="0"/>
                        </a:lnTo>
                        <a:lnTo>
                          <a:pt x="4" y="0"/>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2204" name="Freeform 1262"/>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205" name="Freeform 1263"/>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path>
                    </a:pathLst>
                  </a:custGeom>
                  <a:noFill/>
                  <a:ln>
                    <a:noFill/>
                  </a:ln>
                  <a:extLst/>
                </p:spPr>
                <p:txBody>
                  <a:bodyPr/>
                  <a:lstStyle/>
                  <a:p>
                    <a:pPr eaLnBrk="1" hangingPunct="1">
                      <a:defRPr/>
                    </a:pPr>
                    <a:endParaRPr lang="zh-CN" altLang="en-US" sz="1050"/>
                  </a:p>
                </p:txBody>
              </p:sp>
              <p:sp>
                <p:nvSpPr>
                  <p:cNvPr id="2206" name="Freeform 1264"/>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2207" name="Freeform 1265"/>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path>
                    </a:pathLst>
                  </a:custGeom>
                  <a:noFill/>
                  <a:ln>
                    <a:noFill/>
                  </a:ln>
                  <a:extLst/>
                </p:spPr>
                <p:txBody>
                  <a:bodyPr/>
                  <a:lstStyle/>
                  <a:p>
                    <a:pPr eaLnBrk="1" hangingPunct="1">
                      <a:defRPr/>
                    </a:pPr>
                    <a:endParaRPr lang="zh-CN" altLang="en-US" sz="1050"/>
                  </a:p>
                </p:txBody>
              </p:sp>
              <p:sp>
                <p:nvSpPr>
                  <p:cNvPr id="2208" name="Freeform 1266"/>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2209" name="Freeform 1267"/>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path>
                    </a:pathLst>
                  </a:custGeom>
                  <a:noFill/>
                  <a:ln>
                    <a:noFill/>
                  </a:ln>
                  <a:extLst/>
                </p:spPr>
                <p:txBody>
                  <a:bodyPr/>
                  <a:lstStyle/>
                  <a:p>
                    <a:pPr eaLnBrk="1" hangingPunct="1">
                      <a:defRPr/>
                    </a:pPr>
                    <a:endParaRPr lang="zh-CN" altLang="en-US" sz="1050"/>
                  </a:p>
                </p:txBody>
              </p:sp>
              <p:sp>
                <p:nvSpPr>
                  <p:cNvPr id="2210" name="Freeform 1268"/>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2211" name="Freeform 1269"/>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2212" name="Freeform 1270"/>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close/>
                      </a:path>
                    </a:pathLst>
                  </a:custGeom>
                  <a:solidFill>
                    <a:srgbClr val="01AAE5"/>
                  </a:solidFill>
                  <a:ln>
                    <a:noFill/>
                  </a:ln>
                  <a:extLst/>
                </p:spPr>
                <p:txBody>
                  <a:bodyPr/>
                  <a:lstStyle/>
                  <a:p>
                    <a:pPr eaLnBrk="1" hangingPunct="1">
                      <a:defRPr/>
                    </a:pPr>
                    <a:endParaRPr lang="zh-CN" altLang="en-US" sz="1050"/>
                  </a:p>
                </p:txBody>
              </p:sp>
              <p:sp>
                <p:nvSpPr>
                  <p:cNvPr id="2213" name="Freeform 1271"/>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path>
                    </a:pathLst>
                  </a:custGeom>
                  <a:noFill/>
                  <a:ln>
                    <a:noFill/>
                  </a:ln>
                  <a:extLst/>
                </p:spPr>
                <p:txBody>
                  <a:bodyPr/>
                  <a:lstStyle/>
                  <a:p>
                    <a:pPr eaLnBrk="1" hangingPunct="1">
                      <a:defRPr/>
                    </a:pPr>
                    <a:endParaRPr lang="zh-CN" altLang="en-US" sz="1050"/>
                  </a:p>
                </p:txBody>
              </p:sp>
              <p:sp>
                <p:nvSpPr>
                  <p:cNvPr id="2214" name="Freeform 1272"/>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2215" name="Freeform 1273"/>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2216" name="Freeform 1274"/>
                  <p:cNvSpPr>
                    <a:spLocks/>
                  </p:cNvSpPr>
                  <p:nvPr/>
                </p:nvSpPr>
                <p:spPr bwMode="auto">
                  <a:xfrm>
                    <a:off x="11180" y="1881"/>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217" name="Freeform 1275"/>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close/>
                      </a:path>
                    </a:pathLst>
                  </a:custGeom>
                  <a:solidFill>
                    <a:srgbClr val="01AAE5"/>
                  </a:solidFill>
                  <a:ln>
                    <a:noFill/>
                  </a:ln>
                  <a:extLst/>
                </p:spPr>
                <p:txBody>
                  <a:bodyPr/>
                  <a:lstStyle/>
                  <a:p>
                    <a:pPr eaLnBrk="1" hangingPunct="1">
                      <a:defRPr/>
                    </a:pPr>
                    <a:endParaRPr lang="zh-CN" altLang="en-US" sz="1050"/>
                  </a:p>
                </p:txBody>
              </p:sp>
              <p:sp>
                <p:nvSpPr>
                  <p:cNvPr id="2218" name="Freeform 1276"/>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path>
                    </a:pathLst>
                  </a:custGeom>
                  <a:noFill/>
                  <a:ln>
                    <a:noFill/>
                  </a:ln>
                  <a:extLst/>
                </p:spPr>
                <p:txBody>
                  <a:bodyPr/>
                  <a:lstStyle/>
                  <a:p>
                    <a:pPr eaLnBrk="1" hangingPunct="1">
                      <a:defRPr/>
                    </a:pPr>
                    <a:endParaRPr lang="zh-CN" altLang="en-US" sz="1050"/>
                  </a:p>
                </p:txBody>
              </p:sp>
              <p:sp>
                <p:nvSpPr>
                  <p:cNvPr id="2219" name="Freeform 1277"/>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2220" name="Freeform 1278"/>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path>
                    </a:pathLst>
                  </a:custGeom>
                  <a:noFill/>
                  <a:ln>
                    <a:noFill/>
                  </a:ln>
                  <a:extLst/>
                </p:spPr>
                <p:txBody>
                  <a:bodyPr/>
                  <a:lstStyle/>
                  <a:p>
                    <a:pPr eaLnBrk="1" hangingPunct="1">
                      <a:defRPr/>
                    </a:pPr>
                    <a:endParaRPr lang="zh-CN" altLang="en-US" sz="1050"/>
                  </a:p>
                </p:txBody>
              </p:sp>
              <p:sp>
                <p:nvSpPr>
                  <p:cNvPr id="2221" name="Freeform 1279"/>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2222" name="Freeform 1280"/>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2223" name="Freeform 1281"/>
                  <p:cNvSpPr>
                    <a:spLocks/>
                  </p:cNvSpPr>
                  <p:nvPr/>
                </p:nvSpPr>
                <p:spPr bwMode="auto">
                  <a:xfrm>
                    <a:off x="11197" y="1889"/>
                    <a:ext cx="0" cy="0"/>
                  </a:xfrm>
                  <a:custGeom>
                    <a:avLst/>
                    <a:gdLst>
                      <a:gd name="T0" fmla="*/ 3 w 5"/>
                      <a:gd name="T1" fmla="*/ 5 h 5"/>
                      <a:gd name="T2" fmla="*/ 5 w 5"/>
                      <a:gd name="T3" fmla="*/ 0 h 5"/>
                      <a:gd name="T4" fmla="*/ 3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3"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2224" name="Freeform 1282"/>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25" name="Freeform 1283"/>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2226" name="Freeform 1284"/>
                  <p:cNvSpPr>
                    <a:spLocks/>
                  </p:cNvSpPr>
                  <p:nvPr/>
                </p:nvSpPr>
                <p:spPr bwMode="auto">
                  <a:xfrm>
                    <a:off x="11214" y="1898"/>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227" name="Freeform 1285"/>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28" name="Freeform 1286"/>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2229" name="Freeform 1287"/>
                  <p:cNvSpPr>
                    <a:spLocks/>
                  </p:cNvSpPr>
                  <p:nvPr/>
                </p:nvSpPr>
                <p:spPr bwMode="auto">
                  <a:xfrm>
                    <a:off x="11205" y="1898"/>
                    <a:ext cx="8" cy="0"/>
                  </a:xfrm>
                  <a:custGeom>
                    <a:avLst/>
                    <a:gdLst>
                      <a:gd name="T0" fmla="*/ 2 w 5"/>
                      <a:gd name="T1" fmla="*/ 5 h 5"/>
                      <a:gd name="T2" fmla="*/ 5 w 5"/>
                      <a:gd name="T3" fmla="*/ 0 h 5"/>
                      <a:gd name="T4" fmla="*/ 2 w 5"/>
                      <a:gd name="T5" fmla="*/ 0 h 5"/>
                      <a:gd name="T6" fmla="*/ 0 w 5"/>
                      <a:gd name="T7" fmla="*/ 5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lnTo>
                          <a:pt x="5"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230" name="Freeform 1288"/>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31" name="Freeform 1289"/>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path>
                    </a:pathLst>
                  </a:custGeom>
                  <a:noFill/>
                  <a:ln>
                    <a:noFill/>
                  </a:ln>
                  <a:extLst/>
                </p:spPr>
                <p:txBody>
                  <a:bodyPr/>
                  <a:lstStyle/>
                  <a:p>
                    <a:pPr eaLnBrk="1" hangingPunct="1">
                      <a:defRPr/>
                    </a:pPr>
                    <a:endParaRPr lang="zh-CN" altLang="en-US" sz="1050"/>
                  </a:p>
                </p:txBody>
              </p:sp>
              <p:sp>
                <p:nvSpPr>
                  <p:cNvPr id="2232" name="Freeform 1290"/>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233" name="Freeform 1291"/>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2234" name="Freeform 1292"/>
                  <p:cNvSpPr>
                    <a:spLocks/>
                  </p:cNvSpPr>
                  <p:nvPr/>
                </p:nvSpPr>
                <p:spPr bwMode="auto">
                  <a:xfrm>
                    <a:off x="11230" y="1898"/>
                    <a:ext cx="0" cy="9"/>
                  </a:xfrm>
                  <a:custGeom>
                    <a:avLst/>
                    <a:gdLst>
                      <a:gd name="T0" fmla="*/ 2 w 4"/>
                      <a:gd name="T1" fmla="*/ 5 h 5"/>
                      <a:gd name="T2" fmla="*/ 4 w 4"/>
                      <a:gd name="T3" fmla="*/ 0 h 5"/>
                      <a:gd name="T4" fmla="*/ 4 w 4"/>
                      <a:gd name="T5" fmla="*/ 0 h 5"/>
                      <a:gd name="T6" fmla="*/ 0 w 4"/>
                      <a:gd name="T7" fmla="*/ 5 h 5"/>
                      <a:gd name="T8" fmla="*/ 2 w 4"/>
                      <a:gd name="T9" fmla="*/ 5 h 5"/>
                    </a:gdLst>
                    <a:ahLst/>
                    <a:cxnLst>
                      <a:cxn ang="0">
                        <a:pos x="T0" y="T1"/>
                      </a:cxn>
                      <a:cxn ang="0">
                        <a:pos x="T2" y="T3"/>
                      </a:cxn>
                      <a:cxn ang="0">
                        <a:pos x="T4" y="T5"/>
                      </a:cxn>
                      <a:cxn ang="0">
                        <a:pos x="T6" y="T7"/>
                      </a:cxn>
                      <a:cxn ang="0">
                        <a:pos x="T8" y="T9"/>
                      </a:cxn>
                    </a:cxnLst>
                    <a:rect l="0" t="0" r="r" b="b"/>
                    <a:pathLst>
                      <a:path w="4" h="5">
                        <a:moveTo>
                          <a:pt x="2" y="5"/>
                        </a:moveTo>
                        <a:lnTo>
                          <a:pt x="4"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235" name="Freeform 1293"/>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2236" name="Freeform 1294"/>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path>
                    </a:pathLst>
                  </a:custGeom>
                  <a:noFill/>
                  <a:ln>
                    <a:noFill/>
                  </a:ln>
                  <a:extLst/>
                </p:spPr>
                <p:txBody>
                  <a:bodyPr/>
                  <a:lstStyle/>
                  <a:p>
                    <a:pPr eaLnBrk="1" hangingPunct="1">
                      <a:defRPr/>
                    </a:pPr>
                    <a:endParaRPr lang="zh-CN" altLang="en-US" sz="1050"/>
                  </a:p>
                </p:txBody>
              </p:sp>
              <p:sp>
                <p:nvSpPr>
                  <p:cNvPr id="2237" name="Freeform 1295"/>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2238" name="Freeform 1296"/>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path>
                    </a:pathLst>
                  </a:custGeom>
                  <a:noFill/>
                  <a:ln>
                    <a:noFill/>
                  </a:ln>
                  <a:extLst/>
                </p:spPr>
                <p:txBody>
                  <a:bodyPr/>
                  <a:lstStyle/>
                  <a:p>
                    <a:pPr eaLnBrk="1" hangingPunct="1">
                      <a:defRPr/>
                    </a:pPr>
                    <a:endParaRPr lang="zh-CN" altLang="en-US" sz="1050"/>
                  </a:p>
                </p:txBody>
              </p:sp>
              <p:sp>
                <p:nvSpPr>
                  <p:cNvPr id="2239" name="Freeform 1297"/>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240" name="Freeform 1298"/>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2241" name="Freeform 1299"/>
                  <p:cNvSpPr>
                    <a:spLocks/>
                  </p:cNvSpPr>
                  <p:nvPr/>
                </p:nvSpPr>
                <p:spPr bwMode="auto">
                  <a:xfrm>
                    <a:off x="11197" y="1881"/>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242" name="Freeform 1300"/>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43" name="Freeform 1301"/>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2244" name="Freeform 1302"/>
                  <p:cNvSpPr>
                    <a:spLocks/>
                  </p:cNvSpPr>
                  <p:nvPr/>
                </p:nvSpPr>
                <p:spPr bwMode="auto">
                  <a:xfrm>
                    <a:off x="11197"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45" name="Freeform 1303"/>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46" name="Freeform 1304"/>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path>
                    </a:pathLst>
                  </a:custGeom>
                  <a:noFill/>
                  <a:ln>
                    <a:noFill/>
                  </a:ln>
                  <a:extLst/>
                </p:spPr>
                <p:txBody>
                  <a:bodyPr/>
                  <a:lstStyle/>
                  <a:p>
                    <a:pPr eaLnBrk="1" hangingPunct="1">
                      <a:defRPr/>
                    </a:pPr>
                    <a:endParaRPr lang="zh-CN" altLang="en-US" sz="1050"/>
                  </a:p>
                </p:txBody>
              </p:sp>
              <p:sp>
                <p:nvSpPr>
                  <p:cNvPr id="2247" name="Freeform 1305"/>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2248" name="Freeform 1306"/>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path>
                    </a:pathLst>
                  </a:custGeom>
                  <a:noFill/>
                  <a:ln>
                    <a:noFill/>
                  </a:ln>
                  <a:extLst/>
                </p:spPr>
                <p:txBody>
                  <a:bodyPr/>
                  <a:lstStyle/>
                  <a:p>
                    <a:pPr eaLnBrk="1" hangingPunct="1">
                      <a:defRPr/>
                    </a:pPr>
                    <a:endParaRPr lang="zh-CN" altLang="en-US" sz="1050"/>
                  </a:p>
                </p:txBody>
              </p:sp>
              <p:sp>
                <p:nvSpPr>
                  <p:cNvPr id="2249" name="Freeform 1307"/>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250" name="Freeform 1308"/>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2251" name="Freeform 1309"/>
                  <p:cNvSpPr>
                    <a:spLocks/>
                  </p:cNvSpPr>
                  <p:nvPr/>
                </p:nvSpPr>
                <p:spPr bwMode="auto">
                  <a:xfrm>
                    <a:off x="11155" y="1863"/>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close/>
                      </a:path>
                    </a:pathLst>
                  </a:custGeom>
                  <a:solidFill>
                    <a:srgbClr val="01AAE5"/>
                  </a:solidFill>
                  <a:ln>
                    <a:noFill/>
                  </a:ln>
                  <a:extLst/>
                </p:spPr>
                <p:txBody>
                  <a:bodyPr/>
                  <a:lstStyle/>
                  <a:p>
                    <a:pPr eaLnBrk="1" hangingPunct="1">
                      <a:defRPr/>
                    </a:pPr>
                    <a:endParaRPr lang="zh-CN" altLang="en-US" sz="1050"/>
                  </a:p>
                </p:txBody>
              </p:sp>
            </p:grpSp>
            <p:grpSp>
              <p:nvGrpSpPr>
                <p:cNvPr id="7" name="Group 1511"/>
                <p:cNvGrpSpPr>
                  <a:grpSpLocks/>
                </p:cNvGrpSpPr>
                <p:nvPr/>
              </p:nvGrpSpPr>
              <p:grpSpPr bwMode="auto">
                <a:xfrm>
                  <a:off x="16538576" y="2911475"/>
                  <a:ext cx="1609725" cy="363538"/>
                  <a:chOff x="10418" y="1834"/>
                  <a:chExt cx="1014" cy="229"/>
                </a:xfrm>
              </p:grpSpPr>
              <p:sp>
                <p:nvSpPr>
                  <p:cNvPr id="1852" name="Freeform 1311"/>
                  <p:cNvSpPr>
                    <a:spLocks/>
                  </p:cNvSpPr>
                  <p:nvPr/>
                </p:nvSpPr>
                <p:spPr bwMode="auto">
                  <a:xfrm>
                    <a:off x="11189" y="1881"/>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path>
                    </a:pathLst>
                  </a:custGeom>
                  <a:noFill/>
                  <a:ln>
                    <a:noFill/>
                  </a:ln>
                  <a:extLst/>
                </p:spPr>
                <p:txBody>
                  <a:bodyPr/>
                  <a:lstStyle/>
                  <a:p>
                    <a:pPr eaLnBrk="1" hangingPunct="1">
                      <a:defRPr/>
                    </a:pPr>
                    <a:endParaRPr lang="zh-CN" altLang="en-US" sz="1050"/>
                  </a:p>
                </p:txBody>
              </p:sp>
              <p:sp>
                <p:nvSpPr>
                  <p:cNvPr id="1853" name="Freeform 1312"/>
                  <p:cNvSpPr>
                    <a:spLocks/>
                  </p:cNvSpPr>
                  <p:nvPr/>
                </p:nvSpPr>
                <p:spPr bwMode="auto">
                  <a:xfrm>
                    <a:off x="11072" y="1881"/>
                    <a:ext cx="0" cy="9"/>
                  </a:xfrm>
                  <a:custGeom>
                    <a:avLst/>
                    <a:gdLst>
                      <a:gd name="T0" fmla="*/ 0 w 3"/>
                      <a:gd name="T1" fmla="*/ 5 h 5"/>
                      <a:gd name="T2" fmla="*/ 3 w 3"/>
                      <a:gd name="T3" fmla="*/ 0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854" name="Freeform 1313"/>
                  <p:cNvSpPr>
                    <a:spLocks/>
                  </p:cNvSpPr>
                  <p:nvPr/>
                </p:nvSpPr>
                <p:spPr bwMode="auto">
                  <a:xfrm>
                    <a:off x="11072"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55" name="Freeform 1314"/>
                  <p:cNvSpPr>
                    <a:spLocks/>
                  </p:cNvSpPr>
                  <p:nvPr/>
                </p:nvSpPr>
                <p:spPr bwMode="auto">
                  <a:xfrm>
                    <a:off x="11064" y="1881"/>
                    <a:ext cx="0" cy="0"/>
                  </a:xfrm>
                  <a:custGeom>
                    <a:avLst/>
                    <a:gdLst>
                      <a:gd name="T0" fmla="*/ 2 w 2"/>
                      <a:gd name="T1" fmla="*/ 4 h 4"/>
                      <a:gd name="T2" fmla="*/ 2 w 2"/>
                      <a:gd name="T3" fmla="*/ 0 h 4"/>
                      <a:gd name="T4" fmla="*/ 2 w 2"/>
                      <a:gd name="T5" fmla="*/ 0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2"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1856" name="Freeform 1315"/>
                  <p:cNvSpPr>
                    <a:spLocks/>
                  </p:cNvSpPr>
                  <p:nvPr/>
                </p:nvSpPr>
                <p:spPr bwMode="auto">
                  <a:xfrm>
                    <a:off x="11064"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857" name="Freeform 1316"/>
                  <p:cNvSpPr>
                    <a:spLocks/>
                  </p:cNvSpPr>
                  <p:nvPr/>
                </p:nvSpPr>
                <p:spPr bwMode="auto">
                  <a:xfrm>
                    <a:off x="11072" y="1881"/>
                    <a:ext cx="0" cy="9"/>
                  </a:xfrm>
                  <a:custGeom>
                    <a:avLst/>
                    <a:gdLst>
                      <a:gd name="T0" fmla="*/ 2 w 2"/>
                      <a:gd name="T1" fmla="*/ 5 h 5"/>
                      <a:gd name="T2" fmla="*/ 2 w 2"/>
                      <a:gd name="T3" fmla="*/ 0 h 5"/>
                      <a:gd name="T4" fmla="*/ 2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1858" name="Freeform 1317"/>
                  <p:cNvSpPr>
                    <a:spLocks/>
                  </p:cNvSpPr>
                  <p:nvPr/>
                </p:nvSpPr>
                <p:spPr bwMode="auto">
                  <a:xfrm>
                    <a:off x="11089"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59" name="Freeform 1318"/>
                  <p:cNvSpPr>
                    <a:spLocks/>
                  </p:cNvSpPr>
                  <p:nvPr/>
                </p:nvSpPr>
                <p:spPr bwMode="auto">
                  <a:xfrm>
                    <a:off x="11081"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60" name="Freeform 1319"/>
                  <p:cNvSpPr>
                    <a:spLocks/>
                  </p:cNvSpPr>
                  <p:nvPr/>
                </p:nvSpPr>
                <p:spPr bwMode="auto">
                  <a:xfrm>
                    <a:off x="11072"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861" name="Freeform 1320"/>
                  <p:cNvSpPr>
                    <a:spLocks/>
                  </p:cNvSpPr>
                  <p:nvPr/>
                </p:nvSpPr>
                <p:spPr bwMode="auto">
                  <a:xfrm>
                    <a:off x="11089"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862" name="Rectangle 1321"/>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1863" name="Rectangle 1322"/>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1864" name="Rectangle 1323"/>
                  <p:cNvSpPr>
                    <a:spLocks noChangeArrowheads="1"/>
                  </p:cNvSpPr>
                  <p:nvPr/>
                </p:nvSpPr>
                <p:spPr bwMode="auto">
                  <a:xfrm>
                    <a:off x="11039" y="1872"/>
                    <a:ext cx="0" cy="9"/>
                  </a:xfrm>
                  <a:prstGeom prst="rect">
                    <a:avLst/>
                  </a:prstGeom>
                  <a:solidFill>
                    <a:srgbClr val="01AAE5"/>
                  </a:solidFill>
                  <a:ln>
                    <a:noFill/>
                  </a:ln>
                  <a:extLst/>
                </p:spPr>
                <p:txBody>
                  <a:bodyPr/>
                  <a:lstStyle/>
                  <a:p>
                    <a:pPr eaLnBrk="1" hangingPunct="1">
                      <a:defRPr/>
                    </a:pPr>
                    <a:endParaRPr lang="zh-CN" altLang="en-US" sz="1050"/>
                  </a:p>
                </p:txBody>
              </p:sp>
              <p:sp>
                <p:nvSpPr>
                  <p:cNvPr id="1865" name="Rectangle 1324"/>
                  <p:cNvSpPr>
                    <a:spLocks noChangeArrowheads="1"/>
                  </p:cNvSpPr>
                  <p:nvPr/>
                </p:nvSpPr>
                <p:spPr bwMode="auto">
                  <a:xfrm>
                    <a:off x="11039" y="1872"/>
                    <a:ext cx="0" cy="9"/>
                  </a:xfrm>
                  <a:prstGeom prst="rect">
                    <a:avLst/>
                  </a:prstGeom>
                  <a:noFill/>
                  <a:ln>
                    <a:noFill/>
                  </a:ln>
                  <a:extLst/>
                </p:spPr>
                <p:txBody>
                  <a:bodyPr/>
                  <a:lstStyle/>
                  <a:p>
                    <a:pPr eaLnBrk="1" hangingPunct="1">
                      <a:defRPr/>
                    </a:pPr>
                    <a:endParaRPr lang="zh-CN" altLang="en-US" sz="1050"/>
                  </a:p>
                </p:txBody>
              </p:sp>
              <p:sp>
                <p:nvSpPr>
                  <p:cNvPr id="1866" name="Freeform 1325"/>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1867" name="Freeform 1326"/>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1868" name="Rectangle 1327"/>
                  <p:cNvSpPr>
                    <a:spLocks noChangeArrowheads="1"/>
                  </p:cNvSpPr>
                  <p:nvPr/>
                </p:nvSpPr>
                <p:spPr bwMode="auto">
                  <a:xfrm>
                    <a:off x="11031" y="1872"/>
                    <a:ext cx="8" cy="9"/>
                  </a:xfrm>
                  <a:prstGeom prst="rect">
                    <a:avLst/>
                  </a:prstGeom>
                  <a:solidFill>
                    <a:srgbClr val="01AAE5"/>
                  </a:solidFill>
                  <a:ln>
                    <a:noFill/>
                  </a:ln>
                  <a:extLst/>
                </p:spPr>
                <p:txBody>
                  <a:bodyPr/>
                  <a:lstStyle/>
                  <a:p>
                    <a:pPr eaLnBrk="1" hangingPunct="1">
                      <a:defRPr/>
                    </a:pPr>
                    <a:endParaRPr lang="zh-CN" altLang="en-US" sz="1050"/>
                  </a:p>
                </p:txBody>
              </p:sp>
              <p:sp>
                <p:nvSpPr>
                  <p:cNvPr id="1869" name="Rectangle 1328"/>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1870" name="Rectangle 1329"/>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1871" name="Freeform 1330"/>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close/>
                      </a:path>
                    </a:pathLst>
                  </a:custGeom>
                  <a:solidFill>
                    <a:srgbClr val="01AAE5"/>
                  </a:solidFill>
                  <a:ln>
                    <a:noFill/>
                  </a:ln>
                  <a:extLst/>
                </p:spPr>
                <p:txBody>
                  <a:bodyPr/>
                  <a:lstStyle/>
                  <a:p>
                    <a:pPr eaLnBrk="1" hangingPunct="1">
                      <a:defRPr/>
                    </a:pPr>
                    <a:endParaRPr lang="zh-CN" altLang="en-US" sz="1050"/>
                  </a:p>
                </p:txBody>
              </p:sp>
              <p:sp>
                <p:nvSpPr>
                  <p:cNvPr id="1872" name="Freeform 1331"/>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path>
                    </a:pathLst>
                  </a:custGeom>
                  <a:noFill/>
                  <a:ln>
                    <a:noFill/>
                  </a:ln>
                  <a:extLst/>
                </p:spPr>
                <p:txBody>
                  <a:bodyPr/>
                  <a:lstStyle/>
                  <a:p>
                    <a:pPr eaLnBrk="1" hangingPunct="1">
                      <a:defRPr/>
                    </a:pPr>
                    <a:endParaRPr lang="zh-CN" altLang="en-US" sz="1050"/>
                  </a:p>
                </p:txBody>
              </p:sp>
              <p:sp>
                <p:nvSpPr>
                  <p:cNvPr id="1873" name="Freeform 1332"/>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1874" name="Freeform 1333"/>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1875" name="Freeform 1334"/>
                  <p:cNvSpPr>
                    <a:spLocks/>
                  </p:cNvSpPr>
                  <p:nvPr/>
                </p:nvSpPr>
                <p:spPr bwMode="auto">
                  <a:xfrm>
                    <a:off x="11056" y="1881"/>
                    <a:ext cx="8" cy="0"/>
                  </a:xfrm>
                  <a:custGeom>
                    <a:avLst/>
                    <a:gdLst>
                      <a:gd name="T0" fmla="*/ 0 w 3"/>
                      <a:gd name="T1" fmla="*/ 4 h 4"/>
                      <a:gd name="T2" fmla="*/ 3 w 3"/>
                      <a:gd name="T3" fmla="*/ 0 h 4"/>
                      <a:gd name="T4" fmla="*/ 0 w 3"/>
                      <a:gd name="T5" fmla="*/ 0 h 4"/>
                      <a:gd name="T6" fmla="*/ 0 w 3"/>
                      <a:gd name="T7" fmla="*/ 4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3" y="0"/>
                        </a:lnTo>
                        <a:lnTo>
                          <a:pt x="0"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876" name="Freeform 1335"/>
                  <p:cNvSpPr>
                    <a:spLocks/>
                  </p:cNvSpPr>
                  <p:nvPr/>
                </p:nvSpPr>
                <p:spPr bwMode="auto">
                  <a:xfrm>
                    <a:off x="11105" y="1881"/>
                    <a:ext cx="8"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877" name="Freeform 1336"/>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close/>
                      </a:path>
                    </a:pathLst>
                  </a:custGeom>
                  <a:solidFill>
                    <a:srgbClr val="01AAE5"/>
                  </a:solidFill>
                  <a:ln>
                    <a:noFill/>
                  </a:ln>
                  <a:extLst/>
                </p:spPr>
                <p:txBody>
                  <a:bodyPr/>
                  <a:lstStyle/>
                  <a:p>
                    <a:pPr eaLnBrk="1" hangingPunct="1">
                      <a:defRPr/>
                    </a:pPr>
                    <a:endParaRPr lang="zh-CN" altLang="en-US" sz="1050"/>
                  </a:p>
                </p:txBody>
              </p:sp>
              <p:sp>
                <p:nvSpPr>
                  <p:cNvPr id="1878" name="Freeform 1337"/>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path>
                    </a:pathLst>
                  </a:custGeom>
                  <a:noFill/>
                  <a:ln>
                    <a:noFill/>
                  </a:ln>
                  <a:extLst/>
                </p:spPr>
                <p:txBody>
                  <a:bodyPr/>
                  <a:lstStyle/>
                  <a:p>
                    <a:pPr eaLnBrk="1" hangingPunct="1">
                      <a:defRPr/>
                    </a:pPr>
                    <a:endParaRPr lang="zh-CN" altLang="en-US" sz="1050"/>
                  </a:p>
                </p:txBody>
              </p:sp>
              <p:sp>
                <p:nvSpPr>
                  <p:cNvPr id="1879" name="Freeform 1338"/>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1880" name="Freeform 1339"/>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path>
                    </a:pathLst>
                  </a:custGeom>
                  <a:noFill/>
                  <a:ln>
                    <a:noFill/>
                  </a:ln>
                  <a:extLst/>
                </p:spPr>
                <p:txBody>
                  <a:bodyPr/>
                  <a:lstStyle/>
                  <a:p>
                    <a:pPr eaLnBrk="1" hangingPunct="1">
                      <a:defRPr/>
                    </a:pPr>
                    <a:endParaRPr lang="zh-CN" altLang="en-US" sz="1050"/>
                  </a:p>
                </p:txBody>
              </p:sp>
              <p:sp>
                <p:nvSpPr>
                  <p:cNvPr id="1881" name="Freeform 1340"/>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close/>
                      </a:path>
                    </a:pathLst>
                  </a:custGeom>
                  <a:solidFill>
                    <a:srgbClr val="01AAE5"/>
                  </a:solidFill>
                  <a:ln>
                    <a:noFill/>
                  </a:ln>
                  <a:extLst/>
                </p:spPr>
                <p:txBody>
                  <a:bodyPr/>
                  <a:lstStyle/>
                  <a:p>
                    <a:pPr eaLnBrk="1" hangingPunct="1">
                      <a:defRPr/>
                    </a:pPr>
                    <a:endParaRPr lang="zh-CN" altLang="en-US" sz="1050"/>
                  </a:p>
                </p:txBody>
              </p:sp>
              <p:sp>
                <p:nvSpPr>
                  <p:cNvPr id="1882" name="Freeform 1341"/>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path>
                    </a:pathLst>
                  </a:custGeom>
                  <a:noFill/>
                  <a:ln>
                    <a:noFill/>
                  </a:ln>
                  <a:extLst/>
                </p:spPr>
                <p:txBody>
                  <a:bodyPr/>
                  <a:lstStyle/>
                  <a:p>
                    <a:pPr eaLnBrk="1" hangingPunct="1">
                      <a:defRPr/>
                    </a:pPr>
                    <a:endParaRPr lang="zh-CN" altLang="en-US" sz="1050"/>
                  </a:p>
                </p:txBody>
              </p:sp>
              <p:sp>
                <p:nvSpPr>
                  <p:cNvPr id="1883" name="Freeform 1342"/>
                  <p:cNvSpPr>
                    <a:spLocks/>
                  </p:cNvSpPr>
                  <p:nvPr/>
                </p:nvSpPr>
                <p:spPr bwMode="auto">
                  <a:xfrm>
                    <a:off x="11130" y="1881"/>
                    <a:ext cx="0" cy="9"/>
                  </a:xfrm>
                  <a:custGeom>
                    <a:avLst/>
                    <a:gdLst>
                      <a:gd name="T0" fmla="*/ 2 w 4"/>
                      <a:gd name="T1" fmla="*/ 7 h 7"/>
                      <a:gd name="T2" fmla="*/ 4 w 4"/>
                      <a:gd name="T3" fmla="*/ 0 h 7"/>
                      <a:gd name="T4" fmla="*/ 2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84" name="Freeform 1343"/>
                  <p:cNvSpPr>
                    <a:spLocks/>
                  </p:cNvSpPr>
                  <p:nvPr/>
                </p:nvSpPr>
                <p:spPr bwMode="auto">
                  <a:xfrm>
                    <a:off x="11122" y="1881"/>
                    <a:ext cx="8" cy="9"/>
                  </a:xfrm>
                  <a:custGeom>
                    <a:avLst/>
                    <a:gdLst>
                      <a:gd name="T0" fmla="*/ 0 w 3"/>
                      <a:gd name="T1" fmla="*/ 8 h 8"/>
                      <a:gd name="T2" fmla="*/ 3 w 3"/>
                      <a:gd name="T3" fmla="*/ 0 h 8"/>
                      <a:gd name="T4" fmla="*/ 3 w 3"/>
                      <a:gd name="T5" fmla="*/ 0 h 8"/>
                      <a:gd name="T6" fmla="*/ 0 w 3"/>
                      <a:gd name="T7" fmla="*/ 8 h 8"/>
                      <a:gd name="T8" fmla="*/ 0 w 3"/>
                      <a:gd name="T9" fmla="*/ 8 h 8"/>
                    </a:gdLst>
                    <a:ahLst/>
                    <a:cxnLst>
                      <a:cxn ang="0">
                        <a:pos x="T0" y="T1"/>
                      </a:cxn>
                      <a:cxn ang="0">
                        <a:pos x="T2" y="T3"/>
                      </a:cxn>
                      <a:cxn ang="0">
                        <a:pos x="T4" y="T5"/>
                      </a:cxn>
                      <a:cxn ang="0">
                        <a:pos x="T6" y="T7"/>
                      </a:cxn>
                      <a:cxn ang="0">
                        <a:pos x="T8" y="T9"/>
                      </a:cxn>
                    </a:cxnLst>
                    <a:rect l="0" t="0" r="r" b="b"/>
                    <a:pathLst>
                      <a:path w="3" h="8">
                        <a:moveTo>
                          <a:pt x="0" y="8"/>
                        </a:moveTo>
                        <a:lnTo>
                          <a:pt x="3"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1885" name="Freeform 1344"/>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close/>
                      </a:path>
                    </a:pathLst>
                  </a:custGeom>
                  <a:solidFill>
                    <a:srgbClr val="01AAE5"/>
                  </a:solidFill>
                  <a:ln>
                    <a:noFill/>
                  </a:ln>
                  <a:extLst/>
                </p:spPr>
                <p:txBody>
                  <a:bodyPr/>
                  <a:lstStyle/>
                  <a:p>
                    <a:pPr eaLnBrk="1" hangingPunct="1">
                      <a:defRPr/>
                    </a:pPr>
                    <a:endParaRPr lang="zh-CN" altLang="en-US" sz="1050"/>
                  </a:p>
                </p:txBody>
              </p:sp>
              <p:sp>
                <p:nvSpPr>
                  <p:cNvPr id="1886" name="Freeform 1345"/>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path>
                    </a:pathLst>
                  </a:custGeom>
                  <a:noFill/>
                  <a:ln>
                    <a:noFill/>
                  </a:ln>
                  <a:extLst/>
                </p:spPr>
                <p:txBody>
                  <a:bodyPr/>
                  <a:lstStyle/>
                  <a:p>
                    <a:pPr eaLnBrk="1" hangingPunct="1">
                      <a:defRPr/>
                    </a:pPr>
                    <a:endParaRPr lang="zh-CN" altLang="en-US" sz="1050"/>
                  </a:p>
                </p:txBody>
              </p:sp>
              <p:sp>
                <p:nvSpPr>
                  <p:cNvPr id="1887" name="Freeform 1346"/>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1888" name="Freeform 1347"/>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path>
                    </a:pathLst>
                  </a:custGeom>
                  <a:noFill/>
                  <a:ln>
                    <a:noFill/>
                  </a:ln>
                  <a:extLst/>
                </p:spPr>
                <p:txBody>
                  <a:bodyPr/>
                  <a:lstStyle/>
                  <a:p>
                    <a:pPr eaLnBrk="1" hangingPunct="1">
                      <a:defRPr/>
                    </a:pPr>
                    <a:endParaRPr lang="zh-CN" altLang="en-US" sz="1050"/>
                  </a:p>
                </p:txBody>
              </p:sp>
              <p:sp>
                <p:nvSpPr>
                  <p:cNvPr id="1889" name="Freeform 1348"/>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1890" name="Freeform 1349"/>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1891" name="Freeform 1350"/>
                  <p:cNvSpPr>
                    <a:spLocks/>
                  </p:cNvSpPr>
                  <p:nvPr/>
                </p:nvSpPr>
                <p:spPr bwMode="auto">
                  <a:xfrm>
                    <a:off x="11114"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92" name="Freeform 1351"/>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893" name="Freeform 1352"/>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1894" name="Freeform 1353"/>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895" name="Freeform 1354"/>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1896" name="Freeform 1355"/>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897" name="Freeform 1356"/>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1898" name="Freeform 1357"/>
                  <p:cNvSpPr>
                    <a:spLocks/>
                  </p:cNvSpPr>
                  <p:nvPr/>
                </p:nvSpPr>
                <p:spPr bwMode="auto">
                  <a:xfrm>
                    <a:off x="11122" y="1881"/>
                    <a:ext cx="0" cy="9"/>
                  </a:xfrm>
                  <a:custGeom>
                    <a:avLst/>
                    <a:gdLst>
                      <a:gd name="T0" fmla="*/ 0 w 2"/>
                      <a:gd name="T1" fmla="*/ 8 h 8"/>
                      <a:gd name="T2" fmla="*/ 2 w 2"/>
                      <a:gd name="T3" fmla="*/ 8 h 8"/>
                      <a:gd name="T4" fmla="*/ 2 w 2"/>
                      <a:gd name="T5" fmla="*/ 0 h 8"/>
                      <a:gd name="T6" fmla="*/ 2 w 2"/>
                      <a:gd name="T7" fmla="*/ 0 h 8"/>
                      <a:gd name="T8" fmla="*/ 0 w 2"/>
                      <a:gd name="T9" fmla="*/ 8 h 8"/>
                    </a:gdLst>
                    <a:ahLst/>
                    <a:cxnLst>
                      <a:cxn ang="0">
                        <a:pos x="T0" y="T1"/>
                      </a:cxn>
                      <a:cxn ang="0">
                        <a:pos x="T2" y="T3"/>
                      </a:cxn>
                      <a:cxn ang="0">
                        <a:pos x="T4" y="T5"/>
                      </a:cxn>
                      <a:cxn ang="0">
                        <a:pos x="T6" y="T7"/>
                      </a:cxn>
                      <a:cxn ang="0">
                        <a:pos x="T8" y="T9"/>
                      </a:cxn>
                    </a:cxnLst>
                    <a:rect l="0" t="0" r="r" b="b"/>
                    <a:pathLst>
                      <a:path w="2" h="8">
                        <a:moveTo>
                          <a:pt x="0" y="8"/>
                        </a:moveTo>
                        <a:lnTo>
                          <a:pt x="2" y="8"/>
                        </a:lnTo>
                        <a:lnTo>
                          <a:pt x="2" y="0"/>
                        </a:lnTo>
                        <a:lnTo>
                          <a:pt x="2" y="0"/>
                        </a:lnTo>
                        <a:lnTo>
                          <a:pt x="0" y="8"/>
                        </a:lnTo>
                        <a:close/>
                      </a:path>
                    </a:pathLst>
                  </a:custGeom>
                  <a:solidFill>
                    <a:srgbClr val="01AAE5"/>
                  </a:solidFill>
                  <a:ln>
                    <a:noFill/>
                  </a:ln>
                  <a:extLst/>
                </p:spPr>
                <p:txBody>
                  <a:bodyPr/>
                  <a:lstStyle/>
                  <a:p>
                    <a:pPr eaLnBrk="1" hangingPunct="1">
                      <a:defRPr/>
                    </a:pPr>
                    <a:endParaRPr lang="zh-CN" altLang="en-US" sz="1050"/>
                  </a:p>
                </p:txBody>
              </p:sp>
              <p:sp>
                <p:nvSpPr>
                  <p:cNvPr id="1899" name="Freeform 1358"/>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00" name="Freeform 1359"/>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1901" name="Freeform 1360"/>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1902" name="Freeform 1361"/>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path>
                    </a:pathLst>
                  </a:custGeom>
                  <a:noFill/>
                  <a:ln>
                    <a:noFill/>
                  </a:ln>
                  <a:extLst/>
                </p:spPr>
                <p:txBody>
                  <a:bodyPr/>
                  <a:lstStyle/>
                  <a:p>
                    <a:pPr eaLnBrk="1" hangingPunct="1">
                      <a:defRPr/>
                    </a:pPr>
                    <a:endParaRPr lang="zh-CN" altLang="en-US" sz="1050"/>
                  </a:p>
                </p:txBody>
              </p:sp>
              <p:sp>
                <p:nvSpPr>
                  <p:cNvPr id="1903" name="Freeform 1362"/>
                  <p:cNvSpPr>
                    <a:spLocks/>
                  </p:cNvSpPr>
                  <p:nvPr/>
                </p:nvSpPr>
                <p:spPr bwMode="auto">
                  <a:xfrm>
                    <a:off x="11105"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04" name="Freeform 1363"/>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1905" name="Freeform 1364"/>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path>
                    </a:pathLst>
                  </a:custGeom>
                  <a:noFill/>
                  <a:ln>
                    <a:noFill/>
                  </a:ln>
                  <a:extLst/>
                </p:spPr>
                <p:txBody>
                  <a:bodyPr/>
                  <a:lstStyle/>
                  <a:p>
                    <a:pPr eaLnBrk="1" hangingPunct="1">
                      <a:defRPr/>
                    </a:pPr>
                    <a:endParaRPr lang="zh-CN" altLang="en-US" sz="1050"/>
                  </a:p>
                </p:txBody>
              </p:sp>
              <p:sp>
                <p:nvSpPr>
                  <p:cNvPr id="1906" name="Freeform 1365"/>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close/>
                      </a:path>
                    </a:pathLst>
                  </a:custGeom>
                  <a:solidFill>
                    <a:srgbClr val="01AAE5"/>
                  </a:solidFill>
                  <a:ln>
                    <a:noFill/>
                  </a:ln>
                  <a:extLst/>
                </p:spPr>
                <p:txBody>
                  <a:bodyPr/>
                  <a:lstStyle/>
                  <a:p>
                    <a:pPr eaLnBrk="1" hangingPunct="1">
                      <a:defRPr/>
                    </a:pPr>
                    <a:endParaRPr lang="zh-CN" altLang="en-US" sz="1050"/>
                  </a:p>
                </p:txBody>
              </p:sp>
              <p:sp>
                <p:nvSpPr>
                  <p:cNvPr id="1907" name="Freeform 1366"/>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path>
                    </a:pathLst>
                  </a:custGeom>
                  <a:noFill/>
                  <a:ln>
                    <a:noFill/>
                  </a:ln>
                  <a:extLst/>
                </p:spPr>
                <p:txBody>
                  <a:bodyPr/>
                  <a:lstStyle/>
                  <a:p>
                    <a:pPr eaLnBrk="1" hangingPunct="1">
                      <a:defRPr/>
                    </a:pPr>
                    <a:endParaRPr lang="zh-CN" altLang="en-US" sz="1050"/>
                  </a:p>
                </p:txBody>
              </p:sp>
              <p:sp>
                <p:nvSpPr>
                  <p:cNvPr id="1908" name="Freeform 1367"/>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1909" name="Freeform 1368"/>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path>
                    </a:pathLst>
                  </a:custGeom>
                  <a:noFill/>
                  <a:ln>
                    <a:noFill/>
                  </a:ln>
                  <a:extLst/>
                </p:spPr>
                <p:txBody>
                  <a:bodyPr/>
                  <a:lstStyle/>
                  <a:p>
                    <a:pPr eaLnBrk="1" hangingPunct="1">
                      <a:defRPr/>
                    </a:pPr>
                    <a:endParaRPr lang="zh-CN" altLang="en-US" sz="1050"/>
                  </a:p>
                </p:txBody>
              </p:sp>
              <p:sp>
                <p:nvSpPr>
                  <p:cNvPr id="1910" name="Freeform 1369"/>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1911" name="Freeform 1370"/>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path>
                    </a:pathLst>
                  </a:custGeom>
                  <a:noFill/>
                  <a:ln>
                    <a:noFill/>
                  </a:ln>
                  <a:extLst/>
                </p:spPr>
                <p:txBody>
                  <a:bodyPr/>
                  <a:lstStyle/>
                  <a:p>
                    <a:pPr eaLnBrk="1" hangingPunct="1">
                      <a:defRPr/>
                    </a:pPr>
                    <a:endParaRPr lang="zh-CN" altLang="en-US" sz="1050"/>
                  </a:p>
                </p:txBody>
              </p:sp>
              <p:sp>
                <p:nvSpPr>
                  <p:cNvPr id="1912" name="Freeform 1371"/>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1913" name="Freeform 1372"/>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path>
                    </a:pathLst>
                  </a:custGeom>
                  <a:noFill/>
                  <a:ln>
                    <a:noFill/>
                  </a:ln>
                  <a:extLst/>
                </p:spPr>
                <p:txBody>
                  <a:bodyPr/>
                  <a:lstStyle/>
                  <a:p>
                    <a:pPr eaLnBrk="1" hangingPunct="1">
                      <a:defRPr/>
                    </a:pPr>
                    <a:endParaRPr lang="zh-CN" altLang="en-US" sz="1050"/>
                  </a:p>
                </p:txBody>
              </p:sp>
              <p:sp>
                <p:nvSpPr>
                  <p:cNvPr id="1914" name="Freeform 1373"/>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close/>
                      </a:path>
                    </a:pathLst>
                  </a:custGeom>
                  <a:solidFill>
                    <a:srgbClr val="01AAE5"/>
                  </a:solidFill>
                  <a:ln>
                    <a:noFill/>
                  </a:ln>
                  <a:extLst/>
                </p:spPr>
                <p:txBody>
                  <a:bodyPr/>
                  <a:lstStyle/>
                  <a:p>
                    <a:pPr eaLnBrk="1" hangingPunct="1">
                      <a:defRPr/>
                    </a:pPr>
                    <a:endParaRPr lang="zh-CN" altLang="en-US" sz="1050"/>
                  </a:p>
                </p:txBody>
              </p:sp>
              <p:sp>
                <p:nvSpPr>
                  <p:cNvPr id="1915" name="Freeform 1374"/>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path>
                    </a:pathLst>
                  </a:custGeom>
                  <a:noFill/>
                  <a:ln>
                    <a:noFill/>
                  </a:ln>
                  <a:extLst/>
                </p:spPr>
                <p:txBody>
                  <a:bodyPr/>
                  <a:lstStyle/>
                  <a:p>
                    <a:pPr eaLnBrk="1" hangingPunct="1">
                      <a:defRPr/>
                    </a:pPr>
                    <a:endParaRPr lang="zh-CN" altLang="en-US" sz="1050"/>
                  </a:p>
                </p:txBody>
              </p:sp>
              <p:sp>
                <p:nvSpPr>
                  <p:cNvPr id="1916" name="Freeform 1375"/>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1917" name="Freeform 1376"/>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path>
                    </a:pathLst>
                  </a:custGeom>
                  <a:noFill/>
                  <a:ln>
                    <a:noFill/>
                  </a:ln>
                  <a:extLst/>
                </p:spPr>
                <p:txBody>
                  <a:bodyPr/>
                  <a:lstStyle/>
                  <a:p>
                    <a:pPr eaLnBrk="1" hangingPunct="1">
                      <a:defRPr/>
                    </a:pPr>
                    <a:endParaRPr lang="zh-CN" altLang="en-US" sz="1050"/>
                  </a:p>
                </p:txBody>
              </p:sp>
              <p:sp>
                <p:nvSpPr>
                  <p:cNvPr id="1918" name="Freeform 1377"/>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1919" name="Freeform 1378"/>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path>
                    </a:pathLst>
                  </a:custGeom>
                  <a:noFill/>
                  <a:ln>
                    <a:noFill/>
                  </a:ln>
                  <a:extLst/>
                </p:spPr>
                <p:txBody>
                  <a:bodyPr/>
                  <a:lstStyle/>
                  <a:p>
                    <a:pPr eaLnBrk="1" hangingPunct="1">
                      <a:defRPr/>
                    </a:pPr>
                    <a:endParaRPr lang="zh-CN" altLang="en-US" sz="1050"/>
                  </a:p>
                </p:txBody>
              </p:sp>
              <p:sp>
                <p:nvSpPr>
                  <p:cNvPr id="1920" name="Freeform 1379"/>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close/>
                      </a:path>
                    </a:pathLst>
                  </a:custGeom>
                  <a:solidFill>
                    <a:srgbClr val="01AAE5"/>
                  </a:solidFill>
                  <a:ln>
                    <a:noFill/>
                  </a:ln>
                  <a:extLst/>
                </p:spPr>
                <p:txBody>
                  <a:bodyPr/>
                  <a:lstStyle/>
                  <a:p>
                    <a:pPr eaLnBrk="1" hangingPunct="1">
                      <a:defRPr/>
                    </a:pPr>
                    <a:endParaRPr lang="zh-CN" altLang="en-US" sz="1050"/>
                  </a:p>
                </p:txBody>
              </p:sp>
              <p:sp>
                <p:nvSpPr>
                  <p:cNvPr id="1921" name="Freeform 1380"/>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path>
                    </a:pathLst>
                  </a:custGeom>
                  <a:noFill/>
                  <a:ln>
                    <a:noFill/>
                  </a:ln>
                  <a:extLst/>
                </p:spPr>
                <p:txBody>
                  <a:bodyPr/>
                  <a:lstStyle/>
                  <a:p>
                    <a:pPr eaLnBrk="1" hangingPunct="1">
                      <a:defRPr/>
                    </a:pPr>
                    <a:endParaRPr lang="zh-CN" altLang="en-US" sz="1050"/>
                  </a:p>
                </p:txBody>
              </p:sp>
              <p:sp>
                <p:nvSpPr>
                  <p:cNvPr id="1922" name="Freeform 1381"/>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close/>
                      </a:path>
                    </a:pathLst>
                  </a:custGeom>
                  <a:solidFill>
                    <a:srgbClr val="01AAE5"/>
                  </a:solidFill>
                  <a:ln>
                    <a:noFill/>
                  </a:ln>
                  <a:extLst/>
                </p:spPr>
                <p:txBody>
                  <a:bodyPr/>
                  <a:lstStyle/>
                  <a:p>
                    <a:pPr eaLnBrk="1" hangingPunct="1">
                      <a:defRPr/>
                    </a:pPr>
                    <a:endParaRPr lang="zh-CN" altLang="en-US" sz="1050"/>
                  </a:p>
                </p:txBody>
              </p:sp>
              <p:sp>
                <p:nvSpPr>
                  <p:cNvPr id="1923" name="Freeform 1382"/>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path>
                    </a:pathLst>
                  </a:custGeom>
                  <a:noFill/>
                  <a:ln>
                    <a:noFill/>
                  </a:ln>
                  <a:extLst/>
                </p:spPr>
                <p:txBody>
                  <a:bodyPr/>
                  <a:lstStyle/>
                  <a:p>
                    <a:pPr eaLnBrk="1" hangingPunct="1">
                      <a:defRPr/>
                    </a:pPr>
                    <a:endParaRPr lang="zh-CN" altLang="en-US" sz="1050"/>
                  </a:p>
                </p:txBody>
              </p:sp>
              <p:sp>
                <p:nvSpPr>
                  <p:cNvPr id="1924" name="Freeform 1383"/>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close/>
                      </a:path>
                    </a:pathLst>
                  </a:custGeom>
                  <a:solidFill>
                    <a:srgbClr val="01AAE5"/>
                  </a:solidFill>
                  <a:ln>
                    <a:noFill/>
                  </a:ln>
                  <a:extLst/>
                </p:spPr>
                <p:txBody>
                  <a:bodyPr/>
                  <a:lstStyle/>
                  <a:p>
                    <a:pPr eaLnBrk="1" hangingPunct="1">
                      <a:defRPr/>
                    </a:pPr>
                    <a:endParaRPr lang="zh-CN" altLang="en-US" sz="1050"/>
                  </a:p>
                </p:txBody>
              </p:sp>
              <p:sp>
                <p:nvSpPr>
                  <p:cNvPr id="1925" name="Freeform 1384"/>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path>
                    </a:pathLst>
                  </a:custGeom>
                  <a:noFill/>
                  <a:ln>
                    <a:noFill/>
                  </a:ln>
                  <a:extLst/>
                </p:spPr>
                <p:txBody>
                  <a:bodyPr/>
                  <a:lstStyle/>
                  <a:p>
                    <a:pPr eaLnBrk="1" hangingPunct="1">
                      <a:defRPr/>
                    </a:pPr>
                    <a:endParaRPr lang="zh-CN" altLang="en-US" sz="1050"/>
                  </a:p>
                </p:txBody>
              </p:sp>
              <p:sp>
                <p:nvSpPr>
                  <p:cNvPr id="1926" name="Freeform 1385"/>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close/>
                      </a:path>
                    </a:pathLst>
                  </a:custGeom>
                  <a:solidFill>
                    <a:srgbClr val="01AAE5"/>
                  </a:solidFill>
                  <a:ln>
                    <a:noFill/>
                  </a:ln>
                  <a:extLst/>
                </p:spPr>
                <p:txBody>
                  <a:bodyPr/>
                  <a:lstStyle/>
                  <a:p>
                    <a:pPr eaLnBrk="1" hangingPunct="1">
                      <a:defRPr/>
                    </a:pPr>
                    <a:endParaRPr lang="zh-CN" altLang="en-US" sz="1050"/>
                  </a:p>
                </p:txBody>
              </p:sp>
              <p:sp>
                <p:nvSpPr>
                  <p:cNvPr id="1927" name="Freeform 1386"/>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path>
                    </a:pathLst>
                  </a:custGeom>
                  <a:noFill/>
                  <a:ln>
                    <a:noFill/>
                  </a:ln>
                  <a:extLst/>
                </p:spPr>
                <p:txBody>
                  <a:bodyPr/>
                  <a:lstStyle/>
                  <a:p>
                    <a:pPr eaLnBrk="1" hangingPunct="1">
                      <a:defRPr/>
                    </a:pPr>
                    <a:endParaRPr lang="zh-CN" altLang="en-US" sz="1050"/>
                  </a:p>
                </p:txBody>
              </p:sp>
              <p:sp>
                <p:nvSpPr>
                  <p:cNvPr id="1928" name="Freeform 1387"/>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close/>
                      </a:path>
                    </a:pathLst>
                  </a:custGeom>
                  <a:solidFill>
                    <a:srgbClr val="01AAE5"/>
                  </a:solidFill>
                  <a:ln>
                    <a:noFill/>
                  </a:ln>
                  <a:extLst/>
                </p:spPr>
                <p:txBody>
                  <a:bodyPr/>
                  <a:lstStyle/>
                  <a:p>
                    <a:pPr eaLnBrk="1" hangingPunct="1">
                      <a:defRPr/>
                    </a:pPr>
                    <a:endParaRPr lang="zh-CN" altLang="en-US" sz="1050"/>
                  </a:p>
                </p:txBody>
              </p:sp>
              <p:sp>
                <p:nvSpPr>
                  <p:cNvPr id="1929" name="Freeform 1388"/>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path>
                    </a:pathLst>
                  </a:custGeom>
                  <a:noFill/>
                  <a:ln>
                    <a:noFill/>
                  </a:ln>
                  <a:extLst/>
                </p:spPr>
                <p:txBody>
                  <a:bodyPr/>
                  <a:lstStyle/>
                  <a:p>
                    <a:pPr eaLnBrk="1" hangingPunct="1">
                      <a:defRPr/>
                    </a:pPr>
                    <a:endParaRPr lang="zh-CN" altLang="en-US" sz="1050"/>
                  </a:p>
                </p:txBody>
              </p:sp>
              <p:sp>
                <p:nvSpPr>
                  <p:cNvPr id="1930" name="Freeform 1389"/>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1931" name="Freeform 1390"/>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path>
                    </a:pathLst>
                  </a:custGeom>
                  <a:noFill/>
                  <a:ln>
                    <a:noFill/>
                  </a:ln>
                  <a:extLst/>
                </p:spPr>
                <p:txBody>
                  <a:bodyPr/>
                  <a:lstStyle/>
                  <a:p>
                    <a:pPr eaLnBrk="1" hangingPunct="1">
                      <a:defRPr/>
                    </a:pPr>
                    <a:endParaRPr lang="zh-CN" altLang="en-US" sz="1050"/>
                  </a:p>
                </p:txBody>
              </p:sp>
              <p:sp>
                <p:nvSpPr>
                  <p:cNvPr id="1932" name="Freeform 1391"/>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close/>
                      </a:path>
                    </a:pathLst>
                  </a:custGeom>
                  <a:solidFill>
                    <a:srgbClr val="01AAE5"/>
                  </a:solidFill>
                  <a:ln>
                    <a:noFill/>
                  </a:ln>
                  <a:extLst/>
                </p:spPr>
                <p:txBody>
                  <a:bodyPr/>
                  <a:lstStyle/>
                  <a:p>
                    <a:pPr eaLnBrk="1" hangingPunct="1">
                      <a:defRPr/>
                    </a:pPr>
                    <a:endParaRPr lang="zh-CN" altLang="en-US" sz="1050"/>
                  </a:p>
                </p:txBody>
              </p:sp>
              <p:sp>
                <p:nvSpPr>
                  <p:cNvPr id="1933" name="Freeform 1392"/>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path>
                    </a:pathLst>
                  </a:custGeom>
                  <a:noFill/>
                  <a:ln>
                    <a:noFill/>
                  </a:ln>
                  <a:extLst/>
                </p:spPr>
                <p:txBody>
                  <a:bodyPr/>
                  <a:lstStyle/>
                  <a:p>
                    <a:pPr eaLnBrk="1" hangingPunct="1">
                      <a:defRPr/>
                    </a:pPr>
                    <a:endParaRPr lang="zh-CN" altLang="en-US" sz="1050"/>
                  </a:p>
                </p:txBody>
              </p:sp>
              <p:sp>
                <p:nvSpPr>
                  <p:cNvPr id="1934" name="Freeform 1393"/>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1935" name="Freeform 1394"/>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path>
                    </a:pathLst>
                  </a:custGeom>
                  <a:noFill/>
                  <a:ln>
                    <a:noFill/>
                  </a:ln>
                  <a:extLst/>
                </p:spPr>
                <p:txBody>
                  <a:bodyPr/>
                  <a:lstStyle/>
                  <a:p>
                    <a:pPr eaLnBrk="1" hangingPunct="1">
                      <a:defRPr/>
                    </a:pPr>
                    <a:endParaRPr lang="zh-CN" altLang="en-US" sz="1050"/>
                  </a:p>
                </p:txBody>
              </p:sp>
              <p:sp>
                <p:nvSpPr>
                  <p:cNvPr id="1936" name="Freeform 1395"/>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close/>
                      </a:path>
                    </a:pathLst>
                  </a:custGeom>
                  <a:solidFill>
                    <a:srgbClr val="01AAE5"/>
                  </a:solidFill>
                  <a:ln>
                    <a:noFill/>
                  </a:ln>
                  <a:extLst/>
                </p:spPr>
                <p:txBody>
                  <a:bodyPr/>
                  <a:lstStyle/>
                  <a:p>
                    <a:pPr eaLnBrk="1" hangingPunct="1">
                      <a:defRPr/>
                    </a:pPr>
                    <a:endParaRPr lang="zh-CN" altLang="en-US" sz="1050"/>
                  </a:p>
                </p:txBody>
              </p:sp>
              <p:sp>
                <p:nvSpPr>
                  <p:cNvPr id="1937" name="Freeform 1396"/>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path>
                    </a:pathLst>
                  </a:custGeom>
                  <a:noFill/>
                  <a:ln>
                    <a:noFill/>
                  </a:ln>
                  <a:extLst/>
                </p:spPr>
                <p:txBody>
                  <a:bodyPr/>
                  <a:lstStyle/>
                  <a:p>
                    <a:pPr eaLnBrk="1" hangingPunct="1">
                      <a:defRPr/>
                    </a:pPr>
                    <a:endParaRPr lang="zh-CN" altLang="en-US" sz="1050"/>
                  </a:p>
                </p:txBody>
              </p:sp>
              <p:sp>
                <p:nvSpPr>
                  <p:cNvPr id="1938" name="Freeform 1397"/>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close/>
                      </a:path>
                    </a:pathLst>
                  </a:custGeom>
                  <a:solidFill>
                    <a:srgbClr val="01AAE5"/>
                  </a:solidFill>
                  <a:ln>
                    <a:noFill/>
                  </a:ln>
                  <a:extLst/>
                </p:spPr>
                <p:txBody>
                  <a:bodyPr/>
                  <a:lstStyle/>
                  <a:p>
                    <a:pPr eaLnBrk="1" hangingPunct="1">
                      <a:defRPr/>
                    </a:pPr>
                    <a:endParaRPr lang="zh-CN" altLang="en-US" sz="1050"/>
                  </a:p>
                </p:txBody>
              </p:sp>
              <p:sp>
                <p:nvSpPr>
                  <p:cNvPr id="1939" name="Freeform 1398"/>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path>
                    </a:pathLst>
                  </a:custGeom>
                  <a:noFill/>
                  <a:ln>
                    <a:noFill/>
                  </a:ln>
                  <a:extLst/>
                </p:spPr>
                <p:txBody>
                  <a:bodyPr/>
                  <a:lstStyle/>
                  <a:p>
                    <a:pPr eaLnBrk="1" hangingPunct="1">
                      <a:defRPr/>
                    </a:pPr>
                    <a:endParaRPr lang="zh-CN" altLang="en-US" sz="1050"/>
                  </a:p>
                </p:txBody>
              </p:sp>
              <p:sp>
                <p:nvSpPr>
                  <p:cNvPr id="1940" name="Freeform 1399"/>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1941" name="Freeform 1400"/>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path>
                    </a:pathLst>
                  </a:custGeom>
                  <a:noFill/>
                  <a:ln>
                    <a:noFill/>
                  </a:ln>
                  <a:extLst/>
                </p:spPr>
                <p:txBody>
                  <a:bodyPr/>
                  <a:lstStyle/>
                  <a:p>
                    <a:pPr eaLnBrk="1" hangingPunct="1">
                      <a:defRPr/>
                    </a:pPr>
                    <a:endParaRPr lang="zh-CN" altLang="en-US" sz="1050"/>
                  </a:p>
                </p:txBody>
              </p:sp>
              <p:sp>
                <p:nvSpPr>
                  <p:cNvPr id="1942" name="Freeform 1401"/>
                  <p:cNvSpPr>
                    <a:spLocks/>
                  </p:cNvSpPr>
                  <p:nvPr/>
                </p:nvSpPr>
                <p:spPr bwMode="auto">
                  <a:xfrm>
                    <a:off x="11488" y="2046"/>
                    <a:ext cx="0" cy="0"/>
                  </a:xfrm>
                  <a:custGeom>
                    <a:avLst/>
                    <a:gdLst>
                      <a:gd name="T0" fmla="*/ 0 w 4"/>
                      <a:gd name="T1" fmla="*/ 4 h 4"/>
                      <a:gd name="T2" fmla="*/ 4 w 4"/>
                      <a:gd name="T3" fmla="*/ 0 h 4"/>
                      <a:gd name="T4" fmla="*/ 4 w 4"/>
                      <a:gd name="T5" fmla="*/ 0 h 4"/>
                      <a:gd name="T6" fmla="*/ 0 w 4"/>
                      <a:gd name="T7" fmla="*/ 4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0"/>
                        </a:lnTo>
                        <a:lnTo>
                          <a:pt x="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943" name="Freeform 1402"/>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44" name="Freeform 1403"/>
                  <p:cNvSpPr>
                    <a:spLocks/>
                  </p:cNvSpPr>
                  <p:nvPr/>
                </p:nvSpPr>
                <p:spPr bwMode="auto">
                  <a:xfrm>
                    <a:off x="11488" y="2046"/>
                    <a:ext cx="0" cy="9"/>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45" name="Freeform 1404"/>
                  <p:cNvSpPr>
                    <a:spLocks/>
                  </p:cNvSpPr>
                  <p:nvPr/>
                </p:nvSpPr>
                <p:spPr bwMode="auto">
                  <a:xfrm>
                    <a:off x="11480" y="2046"/>
                    <a:ext cx="0" cy="0"/>
                  </a:xfrm>
                  <a:custGeom>
                    <a:avLst/>
                    <a:gdLst>
                      <a:gd name="T0" fmla="*/ 0 w 5"/>
                      <a:gd name="T1" fmla="*/ 4 h 4"/>
                      <a:gd name="T2" fmla="*/ 5 w 5"/>
                      <a:gd name="T3" fmla="*/ 0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946" name="Freeform 1405"/>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47" name="Freeform 1406"/>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1948" name="Freeform 1407"/>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path>
                    </a:pathLst>
                  </a:custGeom>
                  <a:noFill/>
                  <a:ln>
                    <a:noFill/>
                  </a:ln>
                  <a:extLst/>
                </p:spPr>
                <p:txBody>
                  <a:bodyPr/>
                  <a:lstStyle/>
                  <a:p>
                    <a:pPr eaLnBrk="1" hangingPunct="1">
                      <a:defRPr/>
                    </a:pPr>
                    <a:endParaRPr lang="zh-CN" altLang="en-US" sz="1050"/>
                  </a:p>
                </p:txBody>
              </p:sp>
              <p:sp>
                <p:nvSpPr>
                  <p:cNvPr id="1949" name="Freeform 1408"/>
                  <p:cNvSpPr>
                    <a:spLocks/>
                  </p:cNvSpPr>
                  <p:nvPr/>
                </p:nvSpPr>
                <p:spPr bwMode="auto">
                  <a:xfrm>
                    <a:off x="11488" y="2046"/>
                    <a:ext cx="0" cy="9"/>
                  </a:xfrm>
                  <a:custGeom>
                    <a:avLst/>
                    <a:gdLst>
                      <a:gd name="T0" fmla="*/ 3 w 5"/>
                      <a:gd name="T1" fmla="*/ 5 h 5"/>
                      <a:gd name="T2" fmla="*/ 5 w 5"/>
                      <a:gd name="T3" fmla="*/ 3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1950" name="Freeform 1409"/>
                  <p:cNvSpPr>
                    <a:spLocks/>
                  </p:cNvSpPr>
                  <p:nvPr/>
                </p:nvSpPr>
                <p:spPr bwMode="auto">
                  <a:xfrm>
                    <a:off x="11488" y="2055"/>
                    <a:ext cx="0" cy="9"/>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01AAE5"/>
                  </a:solidFill>
                  <a:ln>
                    <a:noFill/>
                  </a:ln>
                  <a:extLst/>
                </p:spPr>
                <p:txBody>
                  <a:bodyPr/>
                  <a:lstStyle/>
                  <a:p>
                    <a:pPr eaLnBrk="1" hangingPunct="1">
                      <a:defRPr/>
                    </a:pPr>
                    <a:endParaRPr lang="zh-CN" altLang="en-US" sz="1050"/>
                  </a:p>
                </p:txBody>
              </p:sp>
              <p:sp>
                <p:nvSpPr>
                  <p:cNvPr id="1951" name="Freeform 1410"/>
                  <p:cNvSpPr>
                    <a:spLocks/>
                  </p:cNvSpPr>
                  <p:nvPr/>
                </p:nvSpPr>
                <p:spPr bwMode="auto">
                  <a:xfrm>
                    <a:off x="11488" y="2055"/>
                    <a:ext cx="0" cy="9"/>
                  </a:xfrm>
                  <a:custGeom>
                    <a:avLst/>
                    <a:gdLst>
                      <a:gd name="T0" fmla="*/ 2 w 7"/>
                      <a:gd name="T1" fmla="*/ 5 h 5"/>
                      <a:gd name="T2" fmla="*/ 7 w 7"/>
                      <a:gd name="T3" fmla="*/ 0 h 5"/>
                      <a:gd name="T4" fmla="*/ 5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5"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1952" name="Freeform 1411"/>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53" name="Freeform 1412"/>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1954" name="Freeform 1413"/>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1955" name="Freeform 1414"/>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path>
                    </a:pathLst>
                  </a:custGeom>
                  <a:noFill/>
                  <a:ln>
                    <a:noFill/>
                  </a:ln>
                  <a:extLst/>
                </p:spPr>
                <p:txBody>
                  <a:bodyPr/>
                  <a:lstStyle/>
                  <a:p>
                    <a:pPr eaLnBrk="1" hangingPunct="1">
                      <a:defRPr/>
                    </a:pPr>
                    <a:endParaRPr lang="zh-CN" altLang="en-US" sz="1050"/>
                  </a:p>
                </p:txBody>
              </p:sp>
              <p:sp>
                <p:nvSpPr>
                  <p:cNvPr id="1956" name="Freeform 1415"/>
                  <p:cNvSpPr>
                    <a:spLocks/>
                  </p:cNvSpPr>
                  <p:nvPr/>
                </p:nvSpPr>
                <p:spPr bwMode="auto">
                  <a:xfrm>
                    <a:off x="11480" y="2038"/>
                    <a:ext cx="0" cy="9"/>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57" name="Freeform 1416"/>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58" name="Freeform 1417"/>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1959" name="Freeform 1418"/>
                  <p:cNvSpPr>
                    <a:spLocks/>
                  </p:cNvSpPr>
                  <p:nvPr/>
                </p:nvSpPr>
                <p:spPr bwMode="auto">
                  <a:xfrm>
                    <a:off x="11447" y="2029"/>
                    <a:ext cx="0" cy="9"/>
                  </a:xfrm>
                  <a:custGeom>
                    <a:avLst/>
                    <a:gdLst>
                      <a:gd name="T0" fmla="*/ 0 w 5"/>
                      <a:gd name="T1" fmla="*/ 7 h 7"/>
                      <a:gd name="T2" fmla="*/ 5 w 5"/>
                      <a:gd name="T3" fmla="*/ 2 h 7"/>
                      <a:gd name="T4" fmla="*/ 5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2"/>
                        </a:lnTo>
                        <a:lnTo>
                          <a:pt x="5"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60" name="Freeform 1419"/>
                  <p:cNvSpPr>
                    <a:spLocks/>
                  </p:cNvSpPr>
                  <p:nvPr/>
                </p:nvSpPr>
                <p:spPr bwMode="auto">
                  <a:xfrm>
                    <a:off x="11480" y="2038"/>
                    <a:ext cx="0" cy="9"/>
                  </a:xfrm>
                  <a:custGeom>
                    <a:avLst/>
                    <a:gdLst>
                      <a:gd name="T0" fmla="*/ 0 w 4"/>
                      <a:gd name="T1" fmla="*/ 5 h 5"/>
                      <a:gd name="T2" fmla="*/ 0 w 4"/>
                      <a:gd name="T3" fmla="*/ 5 h 5"/>
                      <a:gd name="T4" fmla="*/ 4 w 4"/>
                      <a:gd name="T5" fmla="*/ 0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5"/>
                        </a:lnTo>
                        <a:lnTo>
                          <a:pt x="4" y="0"/>
                        </a:lnTo>
                        <a:lnTo>
                          <a:pt x="4" y="0"/>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61" name="Freeform 1420"/>
                  <p:cNvSpPr>
                    <a:spLocks/>
                  </p:cNvSpPr>
                  <p:nvPr/>
                </p:nvSpPr>
                <p:spPr bwMode="auto">
                  <a:xfrm>
                    <a:off x="11447" y="2038"/>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62" name="Freeform 1421"/>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close/>
                      </a:path>
                    </a:pathLst>
                  </a:custGeom>
                  <a:solidFill>
                    <a:srgbClr val="01AAE5"/>
                  </a:solidFill>
                  <a:ln>
                    <a:noFill/>
                  </a:ln>
                  <a:extLst/>
                </p:spPr>
                <p:txBody>
                  <a:bodyPr/>
                  <a:lstStyle/>
                  <a:p>
                    <a:pPr eaLnBrk="1" hangingPunct="1">
                      <a:defRPr/>
                    </a:pPr>
                    <a:endParaRPr lang="zh-CN" altLang="en-US" sz="1050"/>
                  </a:p>
                </p:txBody>
              </p:sp>
              <p:sp>
                <p:nvSpPr>
                  <p:cNvPr id="1963" name="Freeform 1422"/>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path>
                    </a:pathLst>
                  </a:custGeom>
                  <a:noFill/>
                  <a:ln>
                    <a:noFill/>
                  </a:ln>
                  <a:extLst/>
                </p:spPr>
                <p:txBody>
                  <a:bodyPr/>
                  <a:lstStyle/>
                  <a:p>
                    <a:pPr eaLnBrk="1" hangingPunct="1">
                      <a:defRPr/>
                    </a:pPr>
                    <a:endParaRPr lang="zh-CN" altLang="en-US" sz="1050"/>
                  </a:p>
                </p:txBody>
              </p:sp>
              <p:sp>
                <p:nvSpPr>
                  <p:cNvPr id="1964" name="Freeform 1423"/>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1965" name="Freeform 1424"/>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path>
                    </a:pathLst>
                  </a:custGeom>
                  <a:noFill/>
                  <a:ln>
                    <a:noFill/>
                  </a:ln>
                  <a:extLst/>
                </p:spPr>
                <p:txBody>
                  <a:bodyPr/>
                  <a:lstStyle/>
                  <a:p>
                    <a:pPr eaLnBrk="1" hangingPunct="1">
                      <a:defRPr/>
                    </a:pPr>
                    <a:endParaRPr lang="zh-CN" altLang="en-US" sz="1050"/>
                  </a:p>
                </p:txBody>
              </p:sp>
              <p:sp>
                <p:nvSpPr>
                  <p:cNvPr id="1966" name="Freeform 1425"/>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967" name="Freeform 1426"/>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path>
                    </a:pathLst>
                  </a:custGeom>
                  <a:noFill/>
                  <a:ln>
                    <a:noFill/>
                  </a:ln>
                  <a:extLst/>
                </p:spPr>
                <p:txBody>
                  <a:bodyPr/>
                  <a:lstStyle/>
                  <a:p>
                    <a:pPr eaLnBrk="1" hangingPunct="1">
                      <a:defRPr/>
                    </a:pPr>
                    <a:endParaRPr lang="zh-CN" altLang="en-US" sz="1050"/>
                  </a:p>
                </p:txBody>
              </p:sp>
              <p:sp>
                <p:nvSpPr>
                  <p:cNvPr id="1968" name="Freeform 1427"/>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1969" name="Freeform 1428"/>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path>
                    </a:pathLst>
                  </a:custGeom>
                  <a:noFill/>
                  <a:ln>
                    <a:noFill/>
                  </a:ln>
                  <a:extLst/>
                </p:spPr>
                <p:txBody>
                  <a:bodyPr/>
                  <a:lstStyle/>
                  <a:p>
                    <a:pPr eaLnBrk="1" hangingPunct="1">
                      <a:defRPr/>
                    </a:pPr>
                    <a:endParaRPr lang="zh-CN" altLang="en-US" sz="1050"/>
                  </a:p>
                </p:txBody>
              </p:sp>
              <p:sp>
                <p:nvSpPr>
                  <p:cNvPr id="1970" name="Freeform 1429"/>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1971" name="Freeform 1430"/>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path>
                    </a:pathLst>
                  </a:custGeom>
                  <a:noFill/>
                  <a:ln>
                    <a:noFill/>
                  </a:ln>
                  <a:extLst/>
                </p:spPr>
                <p:txBody>
                  <a:bodyPr/>
                  <a:lstStyle/>
                  <a:p>
                    <a:pPr eaLnBrk="1" hangingPunct="1">
                      <a:defRPr/>
                    </a:pPr>
                    <a:endParaRPr lang="zh-CN" altLang="en-US" sz="1050"/>
                  </a:p>
                </p:txBody>
              </p:sp>
              <p:sp>
                <p:nvSpPr>
                  <p:cNvPr id="1972" name="Freeform 1431"/>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1973" name="Freeform 1432"/>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path>
                    </a:pathLst>
                  </a:custGeom>
                  <a:noFill/>
                  <a:ln>
                    <a:noFill/>
                  </a:ln>
                  <a:extLst/>
                </p:spPr>
                <p:txBody>
                  <a:bodyPr/>
                  <a:lstStyle/>
                  <a:p>
                    <a:pPr eaLnBrk="1" hangingPunct="1">
                      <a:defRPr/>
                    </a:pPr>
                    <a:endParaRPr lang="zh-CN" altLang="en-US" sz="1050"/>
                  </a:p>
                </p:txBody>
              </p:sp>
              <p:sp>
                <p:nvSpPr>
                  <p:cNvPr id="1974" name="Freeform 1433"/>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1975" name="Freeform 1434"/>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path>
                    </a:pathLst>
                  </a:custGeom>
                  <a:noFill/>
                  <a:ln>
                    <a:noFill/>
                  </a:ln>
                  <a:extLst/>
                </p:spPr>
                <p:txBody>
                  <a:bodyPr/>
                  <a:lstStyle/>
                  <a:p>
                    <a:pPr eaLnBrk="1" hangingPunct="1">
                      <a:defRPr/>
                    </a:pPr>
                    <a:endParaRPr lang="zh-CN" altLang="en-US" sz="1050"/>
                  </a:p>
                </p:txBody>
              </p:sp>
              <p:sp>
                <p:nvSpPr>
                  <p:cNvPr id="1976" name="Freeform 1435"/>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1977" name="Freeform 1436"/>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path>
                    </a:pathLst>
                  </a:custGeom>
                  <a:noFill/>
                  <a:ln>
                    <a:noFill/>
                  </a:ln>
                  <a:extLst/>
                </p:spPr>
                <p:txBody>
                  <a:bodyPr/>
                  <a:lstStyle/>
                  <a:p>
                    <a:pPr eaLnBrk="1" hangingPunct="1">
                      <a:defRPr/>
                    </a:pPr>
                    <a:endParaRPr lang="zh-CN" altLang="en-US" sz="1050"/>
                  </a:p>
                </p:txBody>
              </p:sp>
              <p:sp>
                <p:nvSpPr>
                  <p:cNvPr id="1978" name="Freeform 1437"/>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1979" name="Freeform 1438"/>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path>
                    </a:pathLst>
                  </a:custGeom>
                  <a:noFill/>
                  <a:ln>
                    <a:noFill/>
                  </a:ln>
                  <a:extLst/>
                </p:spPr>
                <p:txBody>
                  <a:bodyPr/>
                  <a:lstStyle/>
                  <a:p>
                    <a:pPr eaLnBrk="1" hangingPunct="1">
                      <a:defRPr/>
                    </a:pPr>
                    <a:endParaRPr lang="zh-CN" altLang="en-US" sz="1050"/>
                  </a:p>
                </p:txBody>
              </p:sp>
              <p:sp>
                <p:nvSpPr>
                  <p:cNvPr id="1980" name="Freeform 1439"/>
                  <p:cNvSpPr>
                    <a:spLocks/>
                  </p:cNvSpPr>
                  <p:nvPr/>
                </p:nvSpPr>
                <p:spPr bwMode="auto">
                  <a:xfrm>
                    <a:off x="11289" y="1924"/>
                    <a:ext cx="0" cy="9"/>
                  </a:xfrm>
                  <a:custGeom>
                    <a:avLst/>
                    <a:gdLst>
                      <a:gd name="T0" fmla="*/ 0 w 2"/>
                      <a:gd name="T1" fmla="*/ 7 h 7"/>
                      <a:gd name="T2" fmla="*/ 2 w 2"/>
                      <a:gd name="T3" fmla="*/ 0 h 7"/>
                      <a:gd name="T4" fmla="*/ 2 w 2"/>
                      <a:gd name="T5" fmla="*/ 0 h 7"/>
                      <a:gd name="T6" fmla="*/ 0 w 2"/>
                      <a:gd name="T7" fmla="*/ 5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81" name="Freeform 1440"/>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1982" name="Freeform 1441"/>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path>
                    </a:pathLst>
                  </a:custGeom>
                  <a:noFill/>
                  <a:ln>
                    <a:noFill/>
                  </a:ln>
                  <a:extLst/>
                </p:spPr>
                <p:txBody>
                  <a:bodyPr/>
                  <a:lstStyle/>
                  <a:p>
                    <a:pPr eaLnBrk="1" hangingPunct="1">
                      <a:defRPr/>
                    </a:pPr>
                    <a:endParaRPr lang="zh-CN" altLang="en-US" sz="1050"/>
                  </a:p>
                </p:txBody>
              </p:sp>
              <p:sp>
                <p:nvSpPr>
                  <p:cNvPr id="1983" name="Freeform 1442"/>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1984" name="Freeform 1443"/>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1985" name="Freeform 1444"/>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close/>
                      </a:path>
                    </a:pathLst>
                  </a:custGeom>
                  <a:solidFill>
                    <a:srgbClr val="01AAE5"/>
                  </a:solidFill>
                  <a:ln>
                    <a:noFill/>
                  </a:ln>
                  <a:extLst/>
                </p:spPr>
                <p:txBody>
                  <a:bodyPr/>
                  <a:lstStyle/>
                  <a:p>
                    <a:pPr eaLnBrk="1" hangingPunct="1">
                      <a:defRPr/>
                    </a:pPr>
                    <a:endParaRPr lang="zh-CN" altLang="en-US" sz="1050"/>
                  </a:p>
                </p:txBody>
              </p:sp>
              <p:sp>
                <p:nvSpPr>
                  <p:cNvPr id="1986" name="Freeform 1445"/>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path>
                    </a:pathLst>
                  </a:custGeom>
                  <a:noFill/>
                  <a:ln>
                    <a:noFill/>
                  </a:ln>
                  <a:extLst/>
                </p:spPr>
                <p:txBody>
                  <a:bodyPr/>
                  <a:lstStyle/>
                  <a:p>
                    <a:pPr eaLnBrk="1" hangingPunct="1">
                      <a:defRPr/>
                    </a:pPr>
                    <a:endParaRPr lang="zh-CN" altLang="en-US" sz="1050"/>
                  </a:p>
                </p:txBody>
              </p:sp>
              <p:sp>
                <p:nvSpPr>
                  <p:cNvPr id="1987" name="Freeform 1446"/>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988" name="Freeform 1447"/>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1989" name="Freeform 1448"/>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90" name="Freeform 1449"/>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path>
                    </a:pathLst>
                  </a:custGeom>
                  <a:noFill/>
                  <a:ln>
                    <a:noFill/>
                  </a:ln>
                  <a:extLst/>
                </p:spPr>
                <p:txBody>
                  <a:bodyPr/>
                  <a:lstStyle/>
                  <a:p>
                    <a:pPr eaLnBrk="1" hangingPunct="1">
                      <a:defRPr/>
                    </a:pPr>
                    <a:endParaRPr lang="zh-CN" altLang="en-US" sz="1050"/>
                  </a:p>
                </p:txBody>
              </p:sp>
              <p:sp>
                <p:nvSpPr>
                  <p:cNvPr id="1991" name="Freeform 1450"/>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992" name="Freeform 1451"/>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path>
                    </a:pathLst>
                  </a:custGeom>
                  <a:noFill/>
                  <a:ln>
                    <a:noFill/>
                  </a:ln>
                  <a:extLst/>
                </p:spPr>
                <p:txBody>
                  <a:bodyPr/>
                  <a:lstStyle/>
                  <a:p>
                    <a:pPr eaLnBrk="1" hangingPunct="1">
                      <a:defRPr/>
                    </a:pPr>
                    <a:endParaRPr lang="zh-CN" altLang="en-US" sz="1050"/>
                  </a:p>
                </p:txBody>
              </p:sp>
              <p:sp>
                <p:nvSpPr>
                  <p:cNvPr id="1993" name="Freeform 1452"/>
                  <p:cNvSpPr>
                    <a:spLocks/>
                  </p:cNvSpPr>
                  <p:nvPr/>
                </p:nvSpPr>
                <p:spPr bwMode="auto">
                  <a:xfrm>
                    <a:off x="11289" y="1924"/>
                    <a:ext cx="8" cy="9"/>
                  </a:xfrm>
                  <a:custGeom>
                    <a:avLst/>
                    <a:gdLst>
                      <a:gd name="T0" fmla="*/ 0 w 5"/>
                      <a:gd name="T1" fmla="*/ 4 h 4"/>
                      <a:gd name="T2" fmla="*/ 5 w 5"/>
                      <a:gd name="T3" fmla="*/ 0 h 4"/>
                      <a:gd name="T4" fmla="*/ 3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3"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1994" name="Freeform 1453"/>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1995" name="Freeform 1454"/>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1996" name="Freeform 1455"/>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1997" name="Freeform 1456"/>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1998" name="Freeform 1457"/>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1999" name="Freeform 1458"/>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path>
                    </a:pathLst>
                  </a:custGeom>
                  <a:noFill/>
                  <a:ln>
                    <a:noFill/>
                  </a:ln>
                  <a:extLst/>
                </p:spPr>
                <p:txBody>
                  <a:bodyPr/>
                  <a:lstStyle/>
                  <a:p>
                    <a:pPr eaLnBrk="1" hangingPunct="1">
                      <a:defRPr/>
                    </a:pPr>
                    <a:endParaRPr lang="zh-CN" altLang="en-US" sz="1050"/>
                  </a:p>
                </p:txBody>
              </p:sp>
              <p:sp>
                <p:nvSpPr>
                  <p:cNvPr id="2000" name="Freeform 1459"/>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2001" name="Freeform 1460"/>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path>
                    </a:pathLst>
                  </a:custGeom>
                  <a:noFill/>
                  <a:ln>
                    <a:noFill/>
                  </a:ln>
                  <a:extLst/>
                </p:spPr>
                <p:txBody>
                  <a:bodyPr/>
                  <a:lstStyle/>
                  <a:p>
                    <a:pPr eaLnBrk="1" hangingPunct="1">
                      <a:defRPr/>
                    </a:pPr>
                    <a:endParaRPr lang="zh-CN" altLang="en-US" sz="1050"/>
                  </a:p>
                </p:txBody>
              </p:sp>
              <p:sp>
                <p:nvSpPr>
                  <p:cNvPr id="2002" name="Freeform 1461"/>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2003" name="Freeform 1462"/>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path>
                    </a:pathLst>
                  </a:custGeom>
                  <a:noFill/>
                  <a:ln>
                    <a:noFill/>
                  </a:ln>
                  <a:extLst/>
                </p:spPr>
                <p:txBody>
                  <a:bodyPr/>
                  <a:lstStyle/>
                  <a:p>
                    <a:pPr eaLnBrk="1" hangingPunct="1">
                      <a:defRPr/>
                    </a:pPr>
                    <a:endParaRPr lang="zh-CN" altLang="en-US" sz="1050"/>
                  </a:p>
                </p:txBody>
              </p:sp>
              <p:sp>
                <p:nvSpPr>
                  <p:cNvPr id="2004" name="Freeform 1463"/>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2005" name="Freeform 1464"/>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path>
                    </a:pathLst>
                  </a:custGeom>
                  <a:noFill/>
                  <a:ln>
                    <a:noFill/>
                  </a:ln>
                  <a:extLst/>
                </p:spPr>
                <p:txBody>
                  <a:bodyPr/>
                  <a:lstStyle/>
                  <a:p>
                    <a:pPr eaLnBrk="1" hangingPunct="1">
                      <a:defRPr/>
                    </a:pPr>
                    <a:endParaRPr lang="zh-CN" altLang="en-US" sz="1050"/>
                  </a:p>
                </p:txBody>
              </p:sp>
              <p:sp>
                <p:nvSpPr>
                  <p:cNvPr id="2006" name="Freeform 1465"/>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2007" name="Freeform 1466"/>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2008" name="Freeform 1467"/>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close/>
                      </a:path>
                    </a:pathLst>
                  </a:custGeom>
                  <a:solidFill>
                    <a:srgbClr val="01AAE5"/>
                  </a:solidFill>
                  <a:ln>
                    <a:noFill/>
                  </a:ln>
                  <a:extLst/>
                </p:spPr>
                <p:txBody>
                  <a:bodyPr/>
                  <a:lstStyle/>
                  <a:p>
                    <a:pPr eaLnBrk="1" hangingPunct="1">
                      <a:defRPr/>
                    </a:pPr>
                    <a:endParaRPr lang="zh-CN" altLang="en-US" sz="1050"/>
                  </a:p>
                </p:txBody>
              </p:sp>
              <p:sp>
                <p:nvSpPr>
                  <p:cNvPr id="2009" name="Freeform 1468"/>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path>
                    </a:pathLst>
                  </a:custGeom>
                  <a:noFill/>
                  <a:ln>
                    <a:noFill/>
                  </a:ln>
                  <a:extLst/>
                </p:spPr>
                <p:txBody>
                  <a:bodyPr/>
                  <a:lstStyle/>
                  <a:p>
                    <a:pPr eaLnBrk="1" hangingPunct="1">
                      <a:defRPr/>
                    </a:pPr>
                    <a:endParaRPr lang="zh-CN" altLang="en-US" sz="1050"/>
                  </a:p>
                </p:txBody>
              </p:sp>
              <p:sp>
                <p:nvSpPr>
                  <p:cNvPr id="2010" name="Freeform 1469"/>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close/>
                      </a:path>
                    </a:pathLst>
                  </a:custGeom>
                  <a:solidFill>
                    <a:srgbClr val="01AAE5"/>
                  </a:solidFill>
                  <a:ln>
                    <a:noFill/>
                  </a:ln>
                  <a:extLst/>
                </p:spPr>
                <p:txBody>
                  <a:bodyPr/>
                  <a:lstStyle/>
                  <a:p>
                    <a:pPr eaLnBrk="1" hangingPunct="1">
                      <a:defRPr/>
                    </a:pPr>
                    <a:endParaRPr lang="zh-CN" altLang="en-US" sz="1050"/>
                  </a:p>
                </p:txBody>
              </p:sp>
              <p:sp>
                <p:nvSpPr>
                  <p:cNvPr id="2011" name="Freeform 1470"/>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path>
                    </a:pathLst>
                  </a:custGeom>
                  <a:noFill/>
                  <a:ln>
                    <a:noFill/>
                  </a:ln>
                  <a:extLst/>
                </p:spPr>
                <p:txBody>
                  <a:bodyPr/>
                  <a:lstStyle/>
                  <a:p>
                    <a:pPr eaLnBrk="1" hangingPunct="1">
                      <a:defRPr/>
                    </a:pPr>
                    <a:endParaRPr lang="zh-CN" altLang="en-US" sz="1050"/>
                  </a:p>
                </p:txBody>
              </p:sp>
              <p:sp>
                <p:nvSpPr>
                  <p:cNvPr id="2012" name="Freeform 1471"/>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close/>
                      </a:path>
                    </a:pathLst>
                  </a:custGeom>
                  <a:solidFill>
                    <a:srgbClr val="01AAE5"/>
                  </a:solidFill>
                  <a:ln>
                    <a:noFill/>
                  </a:ln>
                  <a:extLst/>
                </p:spPr>
                <p:txBody>
                  <a:bodyPr/>
                  <a:lstStyle/>
                  <a:p>
                    <a:pPr eaLnBrk="1" hangingPunct="1">
                      <a:defRPr/>
                    </a:pPr>
                    <a:endParaRPr lang="zh-CN" altLang="en-US" sz="1050"/>
                  </a:p>
                </p:txBody>
              </p:sp>
              <p:sp>
                <p:nvSpPr>
                  <p:cNvPr id="2013" name="Freeform 1472"/>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path>
                    </a:pathLst>
                  </a:custGeom>
                  <a:noFill/>
                  <a:ln>
                    <a:noFill/>
                  </a:ln>
                  <a:extLst/>
                </p:spPr>
                <p:txBody>
                  <a:bodyPr/>
                  <a:lstStyle/>
                  <a:p>
                    <a:pPr eaLnBrk="1" hangingPunct="1">
                      <a:defRPr/>
                    </a:pPr>
                    <a:endParaRPr lang="zh-CN" altLang="en-US" sz="1050"/>
                  </a:p>
                </p:txBody>
              </p:sp>
              <p:sp>
                <p:nvSpPr>
                  <p:cNvPr id="2014" name="Freeform 1473"/>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2015" name="Freeform 1474"/>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2016" name="Freeform 1475"/>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close/>
                      </a:path>
                    </a:pathLst>
                  </a:custGeom>
                  <a:solidFill>
                    <a:srgbClr val="01AAE5"/>
                  </a:solidFill>
                  <a:ln>
                    <a:noFill/>
                  </a:ln>
                  <a:extLst/>
                </p:spPr>
                <p:txBody>
                  <a:bodyPr/>
                  <a:lstStyle/>
                  <a:p>
                    <a:pPr eaLnBrk="1" hangingPunct="1">
                      <a:defRPr/>
                    </a:pPr>
                    <a:endParaRPr lang="zh-CN" altLang="en-US" sz="1050"/>
                  </a:p>
                </p:txBody>
              </p:sp>
              <p:sp>
                <p:nvSpPr>
                  <p:cNvPr id="2017" name="Freeform 1476"/>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path>
                    </a:pathLst>
                  </a:custGeom>
                  <a:noFill/>
                  <a:ln>
                    <a:noFill/>
                  </a:ln>
                  <a:extLst/>
                </p:spPr>
                <p:txBody>
                  <a:bodyPr/>
                  <a:lstStyle/>
                  <a:p>
                    <a:pPr eaLnBrk="1" hangingPunct="1">
                      <a:defRPr/>
                    </a:pPr>
                    <a:endParaRPr lang="zh-CN" altLang="en-US" sz="1050"/>
                  </a:p>
                </p:txBody>
              </p:sp>
              <p:sp>
                <p:nvSpPr>
                  <p:cNvPr id="2018" name="Freeform 1477"/>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close/>
                      </a:path>
                    </a:pathLst>
                  </a:custGeom>
                  <a:solidFill>
                    <a:srgbClr val="01AAE5"/>
                  </a:solidFill>
                  <a:ln>
                    <a:noFill/>
                  </a:ln>
                  <a:extLst/>
                </p:spPr>
                <p:txBody>
                  <a:bodyPr/>
                  <a:lstStyle/>
                  <a:p>
                    <a:pPr eaLnBrk="1" hangingPunct="1">
                      <a:defRPr/>
                    </a:pPr>
                    <a:endParaRPr lang="zh-CN" altLang="en-US" sz="1050"/>
                  </a:p>
                </p:txBody>
              </p:sp>
              <p:sp>
                <p:nvSpPr>
                  <p:cNvPr id="2019" name="Freeform 1478"/>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path>
                    </a:pathLst>
                  </a:custGeom>
                  <a:noFill/>
                  <a:ln>
                    <a:noFill/>
                  </a:ln>
                  <a:extLst/>
                </p:spPr>
                <p:txBody>
                  <a:bodyPr/>
                  <a:lstStyle/>
                  <a:p>
                    <a:pPr eaLnBrk="1" hangingPunct="1">
                      <a:defRPr/>
                    </a:pPr>
                    <a:endParaRPr lang="zh-CN" altLang="en-US" sz="1050"/>
                  </a:p>
                </p:txBody>
              </p:sp>
              <p:sp>
                <p:nvSpPr>
                  <p:cNvPr id="2020" name="Freeform 1479"/>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close/>
                      </a:path>
                    </a:pathLst>
                  </a:custGeom>
                  <a:solidFill>
                    <a:srgbClr val="01AAE5"/>
                  </a:solidFill>
                  <a:ln>
                    <a:noFill/>
                  </a:ln>
                  <a:extLst/>
                </p:spPr>
                <p:txBody>
                  <a:bodyPr/>
                  <a:lstStyle/>
                  <a:p>
                    <a:pPr eaLnBrk="1" hangingPunct="1">
                      <a:defRPr/>
                    </a:pPr>
                    <a:endParaRPr lang="zh-CN" altLang="en-US" sz="1050"/>
                  </a:p>
                </p:txBody>
              </p:sp>
              <p:sp>
                <p:nvSpPr>
                  <p:cNvPr id="2021" name="Freeform 1480"/>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path>
                    </a:pathLst>
                  </a:custGeom>
                  <a:noFill/>
                  <a:ln>
                    <a:noFill/>
                  </a:ln>
                  <a:extLst/>
                </p:spPr>
                <p:txBody>
                  <a:bodyPr/>
                  <a:lstStyle/>
                  <a:p>
                    <a:pPr eaLnBrk="1" hangingPunct="1">
                      <a:defRPr/>
                    </a:pPr>
                    <a:endParaRPr lang="zh-CN" altLang="en-US" sz="1050"/>
                  </a:p>
                </p:txBody>
              </p:sp>
              <p:sp>
                <p:nvSpPr>
                  <p:cNvPr id="2022" name="Freeform 1481"/>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2023" name="Freeform 1482"/>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path>
                    </a:pathLst>
                  </a:custGeom>
                  <a:noFill/>
                  <a:ln>
                    <a:noFill/>
                  </a:ln>
                  <a:extLst/>
                </p:spPr>
                <p:txBody>
                  <a:bodyPr/>
                  <a:lstStyle/>
                  <a:p>
                    <a:pPr eaLnBrk="1" hangingPunct="1">
                      <a:defRPr/>
                    </a:pPr>
                    <a:endParaRPr lang="zh-CN" altLang="en-US" sz="1050"/>
                  </a:p>
                </p:txBody>
              </p:sp>
              <p:sp>
                <p:nvSpPr>
                  <p:cNvPr id="2024" name="Freeform 1483"/>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close/>
                      </a:path>
                    </a:pathLst>
                  </a:custGeom>
                  <a:solidFill>
                    <a:srgbClr val="01AAE5"/>
                  </a:solidFill>
                  <a:ln>
                    <a:noFill/>
                  </a:ln>
                  <a:extLst/>
                </p:spPr>
                <p:txBody>
                  <a:bodyPr/>
                  <a:lstStyle/>
                  <a:p>
                    <a:pPr eaLnBrk="1" hangingPunct="1">
                      <a:defRPr/>
                    </a:pPr>
                    <a:endParaRPr lang="zh-CN" altLang="en-US" sz="1050"/>
                  </a:p>
                </p:txBody>
              </p:sp>
              <p:sp>
                <p:nvSpPr>
                  <p:cNvPr id="2025" name="Freeform 1484"/>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path>
                    </a:pathLst>
                  </a:custGeom>
                  <a:noFill/>
                  <a:ln>
                    <a:noFill/>
                  </a:ln>
                  <a:extLst/>
                </p:spPr>
                <p:txBody>
                  <a:bodyPr/>
                  <a:lstStyle/>
                  <a:p>
                    <a:pPr eaLnBrk="1" hangingPunct="1">
                      <a:defRPr/>
                    </a:pPr>
                    <a:endParaRPr lang="zh-CN" altLang="en-US" sz="1050"/>
                  </a:p>
                </p:txBody>
              </p:sp>
              <p:sp>
                <p:nvSpPr>
                  <p:cNvPr id="2026" name="Freeform 1485"/>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2027" name="Freeform 1486"/>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path>
                    </a:pathLst>
                  </a:custGeom>
                  <a:noFill/>
                  <a:ln>
                    <a:noFill/>
                  </a:ln>
                  <a:extLst/>
                </p:spPr>
                <p:txBody>
                  <a:bodyPr/>
                  <a:lstStyle/>
                  <a:p>
                    <a:pPr eaLnBrk="1" hangingPunct="1">
                      <a:defRPr/>
                    </a:pPr>
                    <a:endParaRPr lang="zh-CN" altLang="en-US" sz="1050"/>
                  </a:p>
                </p:txBody>
              </p:sp>
              <p:sp>
                <p:nvSpPr>
                  <p:cNvPr id="2028" name="Freeform 1487"/>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close/>
                      </a:path>
                    </a:pathLst>
                  </a:custGeom>
                  <a:solidFill>
                    <a:srgbClr val="01AAE5"/>
                  </a:solidFill>
                  <a:ln>
                    <a:noFill/>
                  </a:ln>
                  <a:extLst/>
                </p:spPr>
                <p:txBody>
                  <a:bodyPr/>
                  <a:lstStyle/>
                  <a:p>
                    <a:pPr eaLnBrk="1" hangingPunct="1">
                      <a:defRPr/>
                    </a:pPr>
                    <a:endParaRPr lang="zh-CN" altLang="en-US" sz="1050"/>
                  </a:p>
                </p:txBody>
              </p:sp>
              <p:sp>
                <p:nvSpPr>
                  <p:cNvPr id="2029" name="Freeform 1488"/>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path>
                    </a:pathLst>
                  </a:custGeom>
                  <a:noFill/>
                  <a:ln>
                    <a:noFill/>
                  </a:ln>
                  <a:extLst/>
                </p:spPr>
                <p:txBody>
                  <a:bodyPr/>
                  <a:lstStyle/>
                  <a:p>
                    <a:pPr eaLnBrk="1" hangingPunct="1">
                      <a:defRPr/>
                    </a:pPr>
                    <a:endParaRPr lang="zh-CN" altLang="en-US" sz="1050"/>
                  </a:p>
                </p:txBody>
              </p:sp>
              <p:sp>
                <p:nvSpPr>
                  <p:cNvPr id="2030" name="Freeform 1489"/>
                  <p:cNvSpPr>
                    <a:spLocks/>
                  </p:cNvSpPr>
                  <p:nvPr/>
                </p:nvSpPr>
                <p:spPr bwMode="auto">
                  <a:xfrm>
                    <a:off x="10506" y="1977"/>
                    <a:ext cx="8" cy="9"/>
                  </a:xfrm>
                  <a:custGeom>
                    <a:avLst/>
                    <a:gdLst>
                      <a:gd name="T0" fmla="*/ 7 w 7"/>
                      <a:gd name="T1" fmla="*/ 7 h 7"/>
                      <a:gd name="T2" fmla="*/ 3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31" name="Freeform 1490"/>
                  <p:cNvSpPr>
                    <a:spLocks/>
                  </p:cNvSpPr>
                  <p:nvPr/>
                </p:nvSpPr>
                <p:spPr bwMode="auto">
                  <a:xfrm>
                    <a:off x="10506" y="1985"/>
                    <a:ext cx="0" cy="0"/>
                  </a:xfrm>
                  <a:custGeom>
                    <a:avLst/>
                    <a:gdLst>
                      <a:gd name="T0" fmla="*/ 5 w 5"/>
                      <a:gd name="T1" fmla="*/ 8 h 8"/>
                      <a:gd name="T2" fmla="*/ 0 w 5"/>
                      <a:gd name="T3" fmla="*/ 0 h 8"/>
                      <a:gd name="T4" fmla="*/ 0 w 5"/>
                      <a:gd name="T5" fmla="*/ 0 h 8"/>
                      <a:gd name="T6" fmla="*/ 5 w 5"/>
                      <a:gd name="T7" fmla="*/ 8 h 8"/>
                      <a:gd name="T8" fmla="*/ 5 w 5"/>
                      <a:gd name="T9" fmla="*/ 8 h 8"/>
                    </a:gdLst>
                    <a:ahLst/>
                    <a:cxnLst>
                      <a:cxn ang="0">
                        <a:pos x="T0" y="T1"/>
                      </a:cxn>
                      <a:cxn ang="0">
                        <a:pos x="T2" y="T3"/>
                      </a:cxn>
                      <a:cxn ang="0">
                        <a:pos x="T4" y="T5"/>
                      </a:cxn>
                      <a:cxn ang="0">
                        <a:pos x="T6" y="T7"/>
                      </a:cxn>
                      <a:cxn ang="0">
                        <a:pos x="T8" y="T9"/>
                      </a:cxn>
                    </a:cxnLst>
                    <a:rect l="0" t="0" r="r" b="b"/>
                    <a:pathLst>
                      <a:path w="5" h="8">
                        <a:moveTo>
                          <a:pt x="5" y="8"/>
                        </a:moveTo>
                        <a:lnTo>
                          <a:pt x="0" y="0"/>
                        </a:lnTo>
                        <a:lnTo>
                          <a:pt x="0" y="0"/>
                        </a:lnTo>
                        <a:lnTo>
                          <a:pt x="5" y="8"/>
                        </a:lnTo>
                        <a:lnTo>
                          <a:pt x="5" y="8"/>
                        </a:lnTo>
                        <a:close/>
                      </a:path>
                    </a:pathLst>
                  </a:custGeom>
                  <a:solidFill>
                    <a:srgbClr val="01AAE5"/>
                  </a:solidFill>
                  <a:ln>
                    <a:noFill/>
                  </a:ln>
                  <a:extLst/>
                </p:spPr>
                <p:txBody>
                  <a:bodyPr/>
                  <a:lstStyle/>
                  <a:p>
                    <a:pPr eaLnBrk="1" hangingPunct="1">
                      <a:defRPr/>
                    </a:pPr>
                    <a:endParaRPr lang="zh-CN" altLang="en-US" sz="1050"/>
                  </a:p>
                </p:txBody>
              </p:sp>
              <p:sp>
                <p:nvSpPr>
                  <p:cNvPr id="2032" name="Freeform 1491"/>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close/>
                      </a:path>
                    </a:pathLst>
                  </a:custGeom>
                  <a:solidFill>
                    <a:srgbClr val="01AAE5"/>
                  </a:solidFill>
                  <a:ln>
                    <a:noFill/>
                  </a:ln>
                  <a:extLst/>
                </p:spPr>
                <p:txBody>
                  <a:bodyPr/>
                  <a:lstStyle/>
                  <a:p>
                    <a:pPr eaLnBrk="1" hangingPunct="1">
                      <a:defRPr/>
                    </a:pPr>
                    <a:endParaRPr lang="zh-CN" altLang="en-US" sz="1050"/>
                  </a:p>
                </p:txBody>
              </p:sp>
              <p:sp>
                <p:nvSpPr>
                  <p:cNvPr id="2033" name="Freeform 1492"/>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path>
                    </a:pathLst>
                  </a:custGeom>
                  <a:noFill/>
                  <a:ln>
                    <a:noFill/>
                  </a:ln>
                  <a:extLst/>
                </p:spPr>
                <p:txBody>
                  <a:bodyPr/>
                  <a:lstStyle/>
                  <a:p>
                    <a:pPr eaLnBrk="1" hangingPunct="1">
                      <a:defRPr/>
                    </a:pPr>
                    <a:endParaRPr lang="zh-CN" altLang="en-US" sz="1050"/>
                  </a:p>
                </p:txBody>
              </p:sp>
              <p:sp>
                <p:nvSpPr>
                  <p:cNvPr id="2034" name="Freeform 1493"/>
                  <p:cNvSpPr>
                    <a:spLocks/>
                  </p:cNvSpPr>
                  <p:nvPr/>
                </p:nvSpPr>
                <p:spPr bwMode="auto">
                  <a:xfrm>
                    <a:off x="10531" y="1959"/>
                    <a:ext cx="0" cy="9"/>
                  </a:xfrm>
                  <a:custGeom>
                    <a:avLst/>
                    <a:gdLst>
                      <a:gd name="T0" fmla="*/ 7 w 7"/>
                      <a:gd name="T1" fmla="*/ 7 h 7"/>
                      <a:gd name="T2" fmla="*/ 2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2"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35" name="Freeform 1494"/>
                  <p:cNvSpPr>
                    <a:spLocks/>
                  </p:cNvSpPr>
                  <p:nvPr/>
                </p:nvSpPr>
                <p:spPr bwMode="auto">
                  <a:xfrm>
                    <a:off x="10498" y="1985"/>
                    <a:ext cx="8" cy="0"/>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36" name="Freeform 1495"/>
                  <p:cNvSpPr>
                    <a:spLocks/>
                  </p:cNvSpPr>
                  <p:nvPr/>
                </p:nvSpPr>
                <p:spPr bwMode="auto">
                  <a:xfrm>
                    <a:off x="10523" y="1968"/>
                    <a:ext cx="8" cy="9"/>
                  </a:xfrm>
                  <a:custGeom>
                    <a:avLst/>
                    <a:gdLst>
                      <a:gd name="T0" fmla="*/ 4 w 4"/>
                      <a:gd name="T1" fmla="*/ 7 h 9"/>
                      <a:gd name="T2" fmla="*/ 0 w 4"/>
                      <a:gd name="T3" fmla="*/ 0 h 9"/>
                      <a:gd name="T4" fmla="*/ 0 w 4"/>
                      <a:gd name="T5" fmla="*/ 2 h 9"/>
                      <a:gd name="T6" fmla="*/ 4 w 4"/>
                      <a:gd name="T7" fmla="*/ 9 h 9"/>
                      <a:gd name="T8" fmla="*/ 4 w 4"/>
                      <a:gd name="T9" fmla="*/ 7 h 9"/>
                    </a:gdLst>
                    <a:ahLst/>
                    <a:cxnLst>
                      <a:cxn ang="0">
                        <a:pos x="T0" y="T1"/>
                      </a:cxn>
                      <a:cxn ang="0">
                        <a:pos x="T2" y="T3"/>
                      </a:cxn>
                      <a:cxn ang="0">
                        <a:pos x="T4" y="T5"/>
                      </a:cxn>
                      <a:cxn ang="0">
                        <a:pos x="T6" y="T7"/>
                      </a:cxn>
                      <a:cxn ang="0">
                        <a:pos x="T8" y="T9"/>
                      </a:cxn>
                    </a:cxnLst>
                    <a:rect l="0" t="0" r="r" b="b"/>
                    <a:pathLst>
                      <a:path w="4" h="9">
                        <a:moveTo>
                          <a:pt x="4" y="7"/>
                        </a:moveTo>
                        <a:lnTo>
                          <a:pt x="0" y="0"/>
                        </a:lnTo>
                        <a:lnTo>
                          <a:pt x="0" y="2"/>
                        </a:lnTo>
                        <a:lnTo>
                          <a:pt x="4" y="9"/>
                        </a:lnTo>
                        <a:lnTo>
                          <a:pt x="4" y="7"/>
                        </a:lnTo>
                        <a:close/>
                      </a:path>
                    </a:pathLst>
                  </a:custGeom>
                  <a:solidFill>
                    <a:srgbClr val="01AAE5"/>
                  </a:solidFill>
                  <a:ln>
                    <a:noFill/>
                  </a:ln>
                  <a:extLst/>
                </p:spPr>
                <p:txBody>
                  <a:bodyPr/>
                  <a:lstStyle/>
                  <a:p>
                    <a:pPr eaLnBrk="1" hangingPunct="1">
                      <a:defRPr/>
                    </a:pPr>
                    <a:endParaRPr lang="zh-CN" altLang="en-US" sz="1050"/>
                  </a:p>
                </p:txBody>
              </p:sp>
              <p:sp>
                <p:nvSpPr>
                  <p:cNvPr id="2037" name="Freeform 1496"/>
                  <p:cNvSpPr>
                    <a:spLocks/>
                  </p:cNvSpPr>
                  <p:nvPr/>
                </p:nvSpPr>
                <p:spPr bwMode="auto">
                  <a:xfrm>
                    <a:off x="10523" y="1968"/>
                    <a:ext cx="0"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2038" name="Freeform 1497"/>
                  <p:cNvSpPr>
                    <a:spLocks/>
                  </p:cNvSpPr>
                  <p:nvPr/>
                </p:nvSpPr>
                <p:spPr bwMode="auto">
                  <a:xfrm>
                    <a:off x="10457" y="2011"/>
                    <a:ext cx="8" cy="9"/>
                  </a:xfrm>
                  <a:custGeom>
                    <a:avLst/>
                    <a:gdLst>
                      <a:gd name="T0" fmla="*/ 8 w 8"/>
                      <a:gd name="T1" fmla="*/ 7 h 7"/>
                      <a:gd name="T2" fmla="*/ 3 w 8"/>
                      <a:gd name="T3" fmla="*/ 0 h 7"/>
                      <a:gd name="T4" fmla="*/ 0 w 8"/>
                      <a:gd name="T5" fmla="*/ 0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3" y="0"/>
                        </a:lnTo>
                        <a:lnTo>
                          <a:pt x="0" y="0"/>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2039" name="Freeform 1498"/>
                  <p:cNvSpPr>
                    <a:spLocks/>
                  </p:cNvSpPr>
                  <p:nvPr/>
                </p:nvSpPr>
                <p:spPr bwMode="auto">
                  <a:xfrm>
                    <a:off x="10473" y="2011"/>
                    <a:ext cx="0" cy="0"/>
                  </a:xfrm>
                  <a:custGeom>
                    <a:avLst/>
                    <a:gdLst>
                      <a:gd name="T0" fmla="*/ 7 w 7"/>
                      <a:gd name="T1" fmla="*/ 7 h 7"/>
                      <a:gd name="T2" fmla="*/ 0 w 7"/>
                      <a:gd name="T3" fmla="*/ 0 h 7"/>
                      <a:gd name="T4" fmla="*/ 0 w 7"/>
                      <a:gd name="T5" fmla="*/ 2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2"/>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40" name="Freeform 1499"/>
                  <p:cNvSpPr>
                    <a:spLocks/>
                  </p:cNvSpPr>
                  <p:nvPr/>
                </p:nvSpPr>
                <p:spPr bwMode="auto">
                  <a:xfrm>
                    <a:off x="10473" y="2011"/>
                    <a:ext cx="0" cy="0"/>
                  </a:xfrm>
                  <a:custGeom>
                    <a:avLst/>
                    <a:gdLst>
                      <a:gd name="T0" fmla="*/ 7 w 7"/>
                      <a:gd name="T1" fmla="*/ 8 h 8"/>
                      <a:gd name="T2" fmla="*/ 3 w 7"/>
                      <a:gd name="T3" fmla="*/ 0 h 8"/>
                      <a:gd name="T4" fmla="*/ 0 w 7"/>
                      <a:gd name="T5" fmla="*/ 0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3" y="0"/>
                        </a:lnTo>
                        <a:lnTo>
                          <a:pt x="0" y="0"/>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2041" name="Freeform 1500"/>
                  <p:cNvSpPr>
                    <a:spLocks/>
                  </p:cNvSpPr>
                  <p:nvPr/>
                </p:nvSpPr>
                <p:spPr bwMode="auto">
                  <a:xfrm>
                    <a:off x="10482" y="2003"/>
                    <a:ext cx="0" cy="9"/>
                  </a:xfrm>
                  <a:custGeom>
                    <a:avLst/>
                    <a:gdLst>
                      <a:gd name="T0" fmla="*/ 7 w 7"/>
                      <a:gd name="T1" fmla="*/ 7 h 9"/>
                      <a:gd name="T2" fmla="*/ 0 w 7"/>
                      <a:gd name="T3" fmla="*/ 0 h 9"/>
                      <a:gd name="T4" fmla="*/ 0 w 7"/>
                      <a:gd name="T5" fmla="*/ 2 h 9"/>
                      <a:gd name="T6" fmla="*/ 5 w 7"/>
                      <a:gd name="T7" fmla="*/ 9 h 9"/>
                      <a:gd name="T8" fmla="*/ 7 w 7"/>
                      <a:gd name="T9" fmla="*/ 7 h 9"/>
                    </a:gdLst>
                    <a:ahLst/>
                    <a:cxnLst>
                      <a:cxn ang="0">
                        <a:pos x="T0" y="T1"/>
                      </a:cxn>
                      <a:cxn ang="0">
                        <a:pos x="T2" y="T3"/>
                      </a:cxn>
                      <a:cxn ang="0">
                        <a:pos x="T4" y="T5"/>
                      </a:cxn>
                      <a:cxn ang="0">
                        <a:pos x="T6" y="T7"/>
                      </a:cxn>
                      <a:cxn ang="0">
                        <a:pos x="T8" y="T9"/>
                      </a:cxn>
                    </a:cxnLst>
                    <a:rect l="0" t="0" r="r" b="b"/>
                    <a:pathLst>
                      <a:path w="7" h="9">
                        <a:moveTo>
                          <a:pt x="7" y="7"/>
                        </a:moveTo>
                        <a:lnTo>
                          <a:pt x="0" y="0"/>
                        </a:lnTo>
                        <a:lnTo>
                          <a:pt x="0" y="2"/>
                        </a:lnTo>
                        <a:lnTo>
                          <a:pt x="5" y="9"/>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42" name="Freeform 1501"/>
                  <p:cNvSpPr>
                    <a:spLocks/>
                  </p:cNvSpPr>
                  <p:nvPr/>
                </p:nvSpPr>
                <p:spPr bwMode="auto">
                  <a:xfrm>
                    <a:off x="10482" y="2003"/>
                    <a:ext cx="0" cy="9"/>
                  </a:xfrm>
                  <a:custGeom>
                    <a:avLst/>
                    <a:gdLst>
                      <a:gd name="T0" fmla="*/ 4 w 4"/>
                      <a:gd name="T1" fmla="*/ 7 h 7"/>
                      <a:gd name="T2" fmla="*/ 0 w 4"/>
                      <a:gd name="T3" fmla="*/ 0 h 7"/>
                      <a:gd name="T4" fmla="*/ 0 w 4"/>
                      <a:gd name="T5" fmla="*/ 0 h 7"/>
                      <a:gd name="T6" fmla="*/ 4 w 4"/>
                      <a:gd name="T7" fmla="*/ 7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0" y="0"/>
                        </a:lnTo>
                        <a:lnTo>
                          <a:pt x="0" y="0"/>
                        </a:lnTo>
                        <a:lnTo>
                          <a:pt x="4" y="7"/>
                        </a:lnTo>
                        <a:lnTo>
                          <a:pt x="4" y="7"/>
                        </a:lnTo>
                        <a:close/>
                      </a:path>
                    </a:pathLst>
                  </a:custGeom>
                  <a:solidFill>
                    <a:srgbClr val="01AAE5"/>
                  </a:solidFill>
                  <a:ln>
                    <a:noFill/>
                  </a:ln>
                  <a:extLst/>
                </p:spPr>
                <p:txBody>
                  <a:bodyPr/>
                  <a:lstStyle/>
                  <a:p>
                    <a:pPr eaLnBrk="1" hangingPunct="1">
                      <a:defRPr/>
                    </a:pPr>
                    <a:endParaRPr lang="zh-CN" altLang="en-US" sz="1050"/>
                  </a:p>
                </p:txBody>
              </p:sp>
              <p:sp>
                <p:nvSpPr>
                  <p:cNvPr id="2043" name="Freeform 1502"/>
                  <p:cNvSpPr>
                    <a:spLocks/>
                  </p:cNvSpPr>
                  <p:nvPr/>
                </p:nvSpPr>
                <p:spPr bwMode="auto">
                  <a:xfrm>
                    <a:off x="10465" y="2011"/>
                    <a:ext cx="8" cy="9"/>
                  </a:xfrm>
                  <a:custGeom>
                    <a:avLst/>
                    <a:gdLst>
                      <a:gd name="T0" fmla="*/ 7 w 7"/>
                      <a:gd name="T1" fmla="*/ 4 h 7"/>
                      <a:gd name="T2" fmla="*/ 0 w 7"/>
                      <a:gd name="T3" fmla="*/ 0 h 7"/>
                      <a:gd name="T4" fmla="*/ 0 w 7"/>
                      <a:gd name="T5" fmla="*/ 0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2044" name="Freeform 1503"/>
                  <p:cNvSpPr>
                    <a:spLocks/>
                  </p:cNvSpPr>
                  <p:nvPr/>
                </p:nvSpPr>
                <p:spPr bwMode="auto">
                  <a:xfrm>
                    <a:off x="10490" y="1994"/>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45" name="Freeform 1504"/>
                  <p:cNvSpPr>
                    <a:spLocks/>
                  </p:cNvSpPr>
                  <p:nvPr/>
                </p:nvSpPr>
                <p:spPr bwMode="auto">
                  <a:xfrm>
                    <a:off x="10490" y="1985"/>
                    <a:ext cx="8"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2046" name="Freeform 1505"/>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47" name="Freeform 1506"/>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path>
                    </a:pathLst>
                  </a:custGeom>
                  <a:noFill/>
                  <a:ln>
                    <a:noFill/>
                  </a:ln>
                  <a:extLst/>
                </p:spPr>
                <p:txBody>
                  <a:bodyPr/>
                  <a:lstStyle/>
                  <a:p>
                    <a:pPr eaLnBrk="1" hangingPunct="1">
                      <a:defRPr/>
                    </a:pPr>
                    <a:endParaRPr lang="zh-CN" altLang="en-US" sz="1050"/>
                  </a:p>
                </p:txBody>
              </p:sp>
              <p:sp>
                <p:nvSpPr>
                  <p:cNvPr id="2048" name="Freeform 1507"/>
                  <p:cNvSpPr>
                    <a:spLocks/>
                  </p:cNvSpPr>
                  <p:nvPr/>
                </p:nvSpPr>
                <p:spPr bwMode="auto">
                  <a:xfrm>
                    <a:off x="10482" y="1994"/>
                    <a:ext cx="8" cy="9"/>
                  </a:xfrm>
                  <a:custGeom>
                    <a:avLst/>
                    <a:gdLst>
                      <a:gd name="T0" fmla="*/ 7 w 7"/>
                      <a:gd name="T1" fmla="*/ 5 h 7"/>
                      <a:gd name="T2" fmla="*/ 2 w 7"/>
                      <a:gd name="T3" fmla="*/ 0 h 7"/>
                      <a:gd name="T4" fmla="*/ 0 w 7"/>
                      <a:gd name="T5" fmla="*/ 0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2" y="0"/>
                        </a:lnTo>
                        <a:lnTo>
                          <a:pt x="0" y="0"/>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2049" name="Freeform 1508"/>
                  <p:cNvSpPr>
                    <a:spLocks/>
                  </p:cNvSpPr>
                  <p:nvPr/>
                </p:nvSpPr>
                <p:spPr bwMode="auto">
                  <a:xfrm>
                    <a:off x="10515" y="1977"/>
                    <a:ext cx="8" cy="9"/>
                  </a:xfrm>
                  <a:custGeom>
                    <a:avLst/>
                    <a:gdLst>
                      <a:gd name="T0" fmla="*/ 7 w 7"/>
                      <a:gd name="T1" fmla="*/ 7 h 7"/>
                      <a:gd name="T2" fmla="*/ 0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050" name="Freeform 1509"/>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close/>
                      </a:path>
                    </a:pathLst>
                  </a:custGeom>
                  <a:solidFill>
                    <a:srgbClr val="01AAE5"/>
                  </a:solidFill>
                  <a:ln>
                    <a:noFill/>
                  </a:ln>
                  <a:extLst/>
                </p:spPr>
                <p:txBody>
                  <a:bodyPr/>
                  <a:lstStyle/>
                  <a:p>
                    <a:pPr eaLnBrk="1" hangingPunct="1">
                      <a:defRPr/>
                    </a:pPr>
                    <a:endParaRPr lang="zh-CN" altLang="en-US" sz="1050"/>
                  </a:p>
                </p:txBody>
              </p:sp>
              <p:sp>
                <p:nvSpPr>
                  <p:cNvPr id="2051" name="Freeform 1510"/>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path>
                    </a:pathLst>
                  </a:custGeom>
                  <a:noFill/>
                  <a:ln>
                    <a:noFill/>
                  </a:ln>
                  <a:extLst/>
                </p:spPr>
                <p:txBody>
                  <a:bodyPr/>
                  <a:lstStyle/>
                  <a:p>
                    <a:pPr eaLnBrk="1" hangingPunct="1">
                      <a:defRPr/>
                    </a:pPr>
                    <a:endParaRPr lang="zh-CN" altLang="en-US" sz="1050"/>
                  </a:p>
                </p:txBody>
              </p:sp>
            </p:grpSp>
            <p:grpSp>
              <p:nvGrpSpPr>
                <p:cNvPr id="8" name="Group 1712"/>
                <p:cNvGrpSpPr>
                  <a:grpSpLocks/>
                </p:cNvGrpSpPr>
                <p:nvPr/>
              </p:nvGrpSpPr>
              <p:grpSpPr bwMode="auto">
                <a:xfrm>
                  <a:off x="16155988" y="2903538"/>
                  <a:ext cx="1154113" cy="1428750"/>
                  <a:chOff x="10177" y="1829"/>
                  <a:chExt cx="727" cy="900"/>
                </a:xfrm>
              </p:grpSpPr>
              <p:sp>
                <p:nvSpPr>
                  <p:cNvPr id="1652" name="Freeform 1512"/>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close/>
                      </a:path>
                    </a:pathLst>
                  </a:custGeom>
                  <a:solidFill>
                    <a:srgbClr val="01AAE5"/>
                  </a:solidFill>
                  <a:ln>
                    <a:noFill/>
                  </a:ln>
                  <a:extLst/>
                </p:spPr>
                <p:txBody>
                  <a:bodyPr/>
                  <a:lstStyle/>
                  <a:p>
                    <a:pPr eaLnBrk="1" hangingPunct="1">
                      <a:defRPr/>
                    </a:pPr>
                    <a:endParaRPr lang="zh-CN" altLang="en-US" sz="1050"/>
                  </a:p>
                </p:txBody>
              </p:sp>
              <p:sp>
                <p:nvSpPr>
                  <p:cNvPr id="1653" name="Freeform 1513"/>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path>
                    </a:pathLst>
                  </a:custGeom>
                  <a:noFill/>
                  <a:ln>
                    <a:noFill/>
                  </a:ln>
                  <a:extLst/>
                </p:spPr>
                <p:txBody>
                  <a:bodyPr/>
                  <a:lstStyle/>
                  <a:p>
                    <a:pPr eaLnBrk="1" hangingPunct="1">
                      <a:defRPr/>
                    </a:pPr>
                    <a:endParaRPr lang="zh-CN" altLang="en-US" sz="1050"/>
                  </a:p>
                </p:txBody>
              </p:sp>
              <p:sp>
                <p:nvSpPr>
                  <p:cNvPr id="1654" name="Freeform 1514"/>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close/>
                      </a:path>
                    </a:pathLst>
                  </a:custGeom>
                  <a:solidFill>
                    <a:srgbClr val="01AAE5"/>
                  </a:solidFill>
                  <a:ln>
                    <a:noFill/>
                  </a:ln>
                  <a:extLst/>
                </p:spPr>
                <p:txBody>
                  <a:bodyPr/>
                  <a:lstStyle/>
                  <a:p>
                    <a:pPr eaLnBrk="1" hangingPunct="1">
                      <a:defRPr/>
                    </a:pPr>
                    <a:endParaRPr lang="zh-CN" altLang="en-US" sz="1050"/>
                  </a:p>
                </p:txBody>
              </p:sp>
              <p:sp>
                <p:nvSpPr>
                  <p:cNvPr id="1655" name="Freeform 1515"/>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path>
                    </a:pathLst>
                  </a:custGeom>
                  <a:noFill/>
                  <a:ln>
                    <a:noFill/>
                  </a:ln>
                  <a:extLst/>
                </p:spPr>
                <p:txBody>
                  <a:bodyPr/>
                  <a:lstStyle/>
                  <a:p>
                    <a:pPr eaLnBrk="1" hangingPunct="1">
                      <a:defRPr/>
                    </a:pPr>
                    <a:endParaRPr lang="zh-CN" altLang="en-US" sz="1050"/>
                  </a:p>
                </p:txBody>
              </p:sp>
              <p:sp>
                <p:nvSpPr>
                  <p:cNvPr id="1656" name="Freeform 1516"/>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close/>
                      </a:path>
                    </a:pathLst>
                  </a:custGeom>
                  <a:solidFill>
                    <a:srgbClr val="01AAE5"/>
                  </a:solidFill>
                  <a:ln>
                    <a:noFill/>
                  </a:ln>
                  <a:extLst/>
                </p:spPr>
                <p:txBody>
                  <a:bodyPr/>
                  <a:lstStyle/>
                  <a:p>
                    <a:pPr eaLnBrk="1" hangingPunct="1">
                      <a:defRPr/>
                    </a:pPr>
                    <a:endParaRPr lang="zh-CN" altLang="en-US" sz="1050"/>
                  </a:p>
                </p:txBody>
              </p:sp>
              <p:sp>
                <p:nvSpPr>
                  <p:cNvPr id="1657" name="Freeform 1517"/>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path>
                    </a:pathLst>
                  </a:custGeom>
                  <a:noFill/>
                  <a:ln>
                    <a:noFill/>
                  </a:ln>
                  <a:extLst/>
                </p:spPr>
                <p:txBody>
                  <a:bodyPr/>
                  <a:lstStyle/>
                  <a:p>
                    <a:pPr eaLnBrk="1" hangingPunct="1">
                      <a:defRPr/>
                    </a:pPr>
                    <a:endParaRPr lang="zh-CN" altLang="en-US" sz="1050"/>
                  </a:p>
                </p:txBody>
              </p:sp>
              <p:sp>
                <p:nvSpPr>
                  <p:cNvPr id="1658" name="Freeform 1518"/>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close/>
                      </a:path>
                    </a:pathLst>
                  </a:custGeom>
                  <a:solidFill>
                    <a:srgbClr val="01AAE5"/>
                  </a:solidFill>
                  <a:ln>
                    <a:noFill/>
                  </a:ln>
                  <a:extLst/>
                </p:spPr>
                <p:txBody>
                  <a:bodyPr/>
                  <a:lstStyle/>
                  <a:p>
                    <a:pPr eaLnBrk="1" hangingPunct="1">
                      <a:defRPr/>
                    </a:pPr>
                    <a:endParaRPr lang="zh-CN" altLang="en-US" sz="1050"/>
                  </a:p>
                </p:txBody>
              </p:sp>
              <p:sp>
                <p:nvSpPr>
                  <p:cNvPr id="1659" name="Freeform 1519"/>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path>
                    </a:pathLst>
                  </a:custGeom>
                  <a:noFill/>
                  <a:ln>
                    <a:noFill/>
                  </a:ln>
                  <a:extLst/>
                </p:spPr>
                <p:txBody>
                  <a:bodyPr/>
                  <a:lstStyle/>
                  <a:p>
                    <a:pPr eaLnBrk="1" hangingPunct="1">
                      <a:defRPr/>
                    </a:pPr>
                    <a:endParaRPr lang="zh-CN" altLang="en-US" sz="1050"/>
                  </a:p>
                </p:txBody>
              </p:sp>
              <p:sp>
                <p:nvSpPr>
                  <p:cNvPr id="1660" name="Freeform 1520"/>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close/>
                      </a:path>
                    </a:pathLst>
                  </a:custGeom>
                  <a:solidFill>
                    <a:srgbClr val="01AAE5"/>
                  </a:solidFill>
                  <a:ln>
                    <a:noFill/>
                  </a:ln>
                  <a:extLst/>
                </p:spPr>
                <p:txBody>
                  <a:bodyPr/>
                  <a:lstStyle/>
                  <a:p>
                    <a:pPr eaLnBrk="1" hangingPunct="1">
                      <a:defRPr/>
                    </a:pPr>
                    <a:endParaRPr lang="zh-CN" altLang="en-US" sz="1050"/>
                  </a:p>
                </p:txBody>
              </p:sp>
              <p:sp>
                <p:nvSpPr>
                  <p:cNvPr id="1661" name="Freeform 1521"/>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path>
                    </a:pathLst>
                  </a:custGeom>
                  <a:noFill/>
                  <a:ln>
                    <a:noFill/>
                  </a:ln>
                  <a:extLst/>
                </p:spPr>
                <p:txBody>
                  <a:bodyPr/>
                  <a:lstStyle/>
                  <a:p>
                    <a:pPr eaLnBrk="1" hangingPunct="1">
                      <a:defRPr/>
                    </a:pPr>
                    <a:endParaRPr lang="zh-CN" altLang="en-US" sz="1050"/>
                  </a:p>
                </p:txBody>
              </p:sp>
              <p:sp>
                <p:nvSpPr>
                  <p:cNvPr id="1662" name="Freeform 1522"/>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close/>
                      </a:path>
                    </a:pathLst>
                  </a:custGeom>
                  <a:solidFill>
                    <a:srgbClr val="01AAE5"/>
                  </a:solidFill>
                  <a:ln>
                    <a:noFill/>
                  </a:ln>
                  <a:extLst/>
                </p:spPr>
                <p:txBody>
                  <a:bodyPr/>
                  <a:lstStyle/>
                  <a:p>
                    <a:pPr eaLnBrk="1" hangingPunct="1">
                      <a:defRPr/>
                    </a:pPr>
                    <a:endParaRPr lang="zh-CN" altLang="en-US" sz="1050"/>
                  </a:p>
                </p:txBody>
              </p:sp>
              <p:sp>
                <p:nvSpPr>
                  <p:cNvPr id="1663" name="Freeform 1523"/>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path>
                    </a:pathLst>
                  </a:custGeom>
                  <a:noFill/>
                  <a:ln>
                    <a:noFill/>
                  </a:ln>
                  <a:extLst/>
                </p:spPr>
                <p:txBody>
                  <a:bodyPr/>
                  <a:lstStyle/>
                  <a:p>
                    <a:pPr eaLnBrk="1" hangingPunct="1">
                      <a:defRPr/>
                    </a:pPr>
                    <a:endParaRPr lang="zh-CN" altLang="en-US" sz="1050"/>
                  </a:p>
                </p:txBody>
              </p:sp>
              <p:sp>
                <p:nvSpPr>
                  <p:cNvPr id="1664" name="Freeform 1524"/>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close/>
                      </a:path>
                    </a:pathLst>
                  </a:custGeom>
                  <a:solidFill>
                    <a:srgbClr val="01AAE5"/>
                  </a:solidFill>
                  <a:ln>
                    <a:noFill/>
                  </a:ln>
                  <a:extLst/>
                </p:spPr>
                <p:txBody>
                  <a:bodyPr/>
                  <a:lstStyle/>
                  <a:p>
                    <a:pPr eaLnBrk="1" hangingPunct="1">
                      <a:defRPr/>
                    </a:pPr>
                    <a:endParaRPr lang="zh-CN" altLang="en-US" sz="1050"/>
                  </a:p>
                </p:txBody>
              </p:sp>
              <p:sp>
                <p:nvSpPr>
                  <p:cNvPr id="1665" name="Freeform 1525"/>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path>
                    </a:pathLst>
                  </a:custGeom>
                  <a:noFill/>
                  <a:ln>
                    <a:noFill/>
                  </a:ln>
                  <a:extLst/>
                </p:spPr>
                <p:txBody>
                  <a:bodyPr/>
                  <a:lstStyle/>
                  <a:p>
                    <a:pPr eaLnBrk="1" hangingPunct="1">
                      <a:defRPr/>
                    </a:pPr>
                    <a:endParaRPr lang="zh-CN" altLang="en-US" sz="1050"/>
                  </a:p>
                </p:txBody>
              </p:sp>
              <p:sp>
                <p:nvSpPr>
                  <p:cNvPr id="1666" name="Freeform 1526"/>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close/>
                      </a:path>
                    </a:pathLst>
                  </a:custGeom>
                  <a:solidFill>
                    <a:srgbClr val="01AAE5"/>
                  </a:solidFill>
                  <a:ln>
                    <a:noFill/>
                  </a:ln>
                  <a:extLst/>
                </p:spPr>
                <p:txBody>
                  <a:bodyPr/>
                  <a:lstStyle/>
                  <a:p>
                    <a:pPr eaLnBrk="1" hangingPunct="1">
                      <a:defRPr/>
                    </a:pPr>
                    <a:endParaRPr lang="zh-CN" altLang="en-US" sz="1050"/>
                  </a:p>
                </p:txBody>
              </p:sp>
              <p:sp>
                <p:nvSpPr>
                  <p:cNvPr id="1667" name="Freeform 1527"/>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path>
                    </a:pathLst>
                  </a:custGeom>
                  <a:noFill/>
                  <a:ln>
                    <a:noFill/>
                  </a:ln>
                  <a:extLst/>
                </p:spPr>
                <p:txBody>
                  <a:bodyPr/>
                  <a:lstStyle/>
                  <a:p>
                    <a:pPr eaLnBrk="1" hangingPunct="1">
                      <a:defRPr/>
                    </a:pPr>
                    <a:endParaRPr lang="zh-CN" altLang="en-US" sz="1050"/>
                  </a:p>
                </p:txBody>
              </p:sp>
              <p:sp>
                <p:nvSpPr>
                  <p:cNvPr id="1668" name="Freeform 1528"/>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1669" name="Freeform 1529"/>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1670" name="Freeform 1530"/>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close/>
                      </a:path>
                    </a:pathLst>
                  </a:custGeom>
                  <a:solidFill>
                    <a:srgbClr val="01AAE5"/>
                  </a:solidFill>
                  <a:ln>
                    <a:noFill/>
                  </a:ln>
                  <a:extLst/>
                </p:spPr>
                <p:txBody>
                  <a:bodyPr/>
                  <a:lstStyle/>
                  <a:p>
                    <a:pPr eaLnBrk="1" hangingPunct="1">
                      <a:defRPr/>
                    </a:pPr>
                    <a:endParaRPr lang="zh-CN" altLang="en-US" sz="1050"/>
                  </a:p>
                </p:txBody>
              </p:sp>
              <p:sp>
                <p:nvSpPr>
                  <p:cNvPr id="1671" name="Freeform 1531"/>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path>
                    </a:pathLst>
                  </a:custGeom>
                  <a:noFill/>
                  <a:ln>
                    <a:noFill/>
                  </a:ln>
                  <a:extLst/>
                </p:spPr>
                <p:txBody>
                  <a:bodyPr/>
                  <a:lstStyle/>
                  <a:p>
                    <a:pPr eaLnBrk="1" hangingPunct="1">
                      <a:defRPr/>
                    </a:pPr>
                    <a:endParaRPr lang="zh-CN" altLang="en-US" sz="1050"/>
                  </a:p>
                </p:txBody>
              </p:sp>
              <p:sp>
                <p:nvSpPr>
                  <p:cNvPr id="1672" name="Freeform 1532"/>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close/>
                      </a:path>
                    </a:pathLst>
                  </a:custGeom>
                  <a:solidFill>
                    <a:srgbClr val="01AAE5"/>
                  </a:solidFill>
                  <a:ln>
                    <a:noFill/>
                  </a:ln>
                  <a:extLst/>
                </p:spPr>
                <p:txBody>
                  <a:bodyPr/>
                  <a:lstStyle/>
                  <a:p>
                    <a:pPr eaLnBrk="1" hangingPunct="1">
                      <a:defRPr/>
                    </a:pPr>
                    <a:endParaRPr lang="zh-CN" altLang="en-US" sz="1050"/>
                  </a:p>
                </p:txBody>
              </p:sp>
              <p:sp>
                <p:nvSpPr>
                  <p:cNvPr id="1673" name="Freeform 1533"/>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path>
                    </a:pathLst>
                  </a:custGeom>
                  <a:noFill/>
                  <a:ln>
                    <a:noFill/>
                  </a:ln>
                  <a:extLst/>
                </p:spPr>
                <p:txBody>
                  <a:bodyPr/>
                  <a:lstStyle/>
                  <a:p>
                    <a:pPr eaLnBrk="1" hangingPunct="1">
                      <a:defRPr/>
                    </a:pPr>
                    <a:endParaRPr lang="zh-CN" altLang="en-US" sz="1050"/>
                  </a:p>
                </p:txBody>
              </p:sp>
              <p:sp>
                <p:nvSpPr>
                  <p:cNvPr id="1674" name="Freeform 1534"/>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1675" name="Freeform 1535"/>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path>
                    </a:pathLst>
                  </a:custGeom>
                  <a:noFill/>
                  <a:ln>
                    <a:noFill/>
                  </a:ln>
                  <a:extLst/>
                </p:spPr>
                <p:txBody>
                  <a:bodyPr/>
                  <a:lstStyle/>
                  <a:p>
                    <a:pPr eaLnBrk="1" hangingPunct="1">
                      <a:defRPr/>
                    </a:pPr>
                    <a:endParaRPr lang="zh-CN" altLang="en-US" sz="1050"/>
                  </a:p>
                </p:txBody>
              </p:sp>
              <p:sp>
                <p:nvSpPr>
                  <p:cNvPr id="1676" name="Freeform 1536"/>
                  <p:cNvSpPr>
                    <a:spLocks/>
                  </p:cNvSpPr>
                  <p:nvPr/>
                </p:nvSpPr>
                <p:spPr bwMode="auto">
                  <a:xfrm>
                    <a:off x="10540" y="1950"/>
                    <a:ext cx="8" cy="17"/>
                  </a:xfrm>
                  <a:custGeom>
                    <a:avLst/>
                    <a:gdLst>
                      <a:gd name="T0" fmla="*/ 5 w 5"/>
                      <a:gd name="T1" fmla="*/ 7 h 10"/>
                      <a:gd name="T2" fmla="*/ 0 w 5"/>
                      <a:gd name="T3" fmla="*/ 0 h 10"/>
                      <a:gd name="T4" fmla="*/ 0 w 5"/>
                      <a:gd name="T5" fmla="*/ 2 h 10"/>
                      <a:gd name="T6" fmla="*/ 5 w 5"/>
                      <a:gd name="T7" fmla="*/ 10 h 10"/>
                      <a:gd name="T8" fmla="*/ 5 w 5"/>
                      <a:gd name="T9" fmla="*/ 7 h 10"/>
                    </a:gdLst>
                    <a:ahLst/>
                    <a:cxnLst>
                      <a:cxn ang="0">
                        <a:pos x="T0" y="T1"/>
                      </a:cxn>
                      <a:cxn ang="0">
                        <a:pos x="T2" y="T3"/>
                      </a:cxn>
                      <a:cxn ang="0">
                        <a:pos x="T4" y="T5"/>
                      </a:cxn>
                      <a:cxn ang="0">
                        <a:pos x="T6" y="T7"/>
                      </a:cxn>
                      <a:cxn ang="0">
                        <a:pos x="T8" y="T9"/>
                      </a:cxn>
                    </a:cxnLst>
                    <a:rect l="0" t="0" r="r" b="b"/>
                    <a:pathLst>
                      <a:path w="5" h="10">
                        <a:moveTo>
                          <a:pt x="5" y="7"/>
                        </a:moveTo>
                        <a:lnTo>
                          <a:pt x="0" y="0"/>
                        </a:lnTo>
                        <a:lnTo>
                          <a:pt x="0" y="2"/>
                        </a:lnTo>
                        <a:lnTo>
                          <a:pt x="5" y="10"/>
                        </a:lnTo>
                        <a:lnTo>
                          <a:pt x="5" y="7"/>
                        </a:lnTo>
                        <a:close/>
                      </a:path>
                    </a:pathLst>
                  </a:custGeom>
                  <a:solidFill>
                    <a:srgbClr val="01AAE5"/>
                  </a:solidFill>
                  <a:ln>
                    <a:noFill/>
                  </a:ln>
                  <a:extLst/>
                </p:spPr>
                <p:txBody>
                  <a:bodyPr/>
                  <a:lstStyle/>
                  <a:p>
                    <a:pPr eaLnBrk="1" hangingPunct="1">
                      <a:defRPr/>
                    </a:pPr>
                    <a:endParaRPr lang="zh-CN" altLang="en-US" sz="1050"/>
                  </a:p>
                </p:txBody>
              </p:sp>
              <p:sp>
                <p:nvSpPr>
                  <p:cNvPr id="1677" name="Freeform 1537"/>
                  <p:cNvSpPr>
                    <a:spLocks/>
                  </p:cNvSpPr>
                  <p:nvPr/>
                </p:nvSpPr>
                <p:spPr bwMode="auto">
                  <a:xfrm>
                    <a:off x="10548" y="1950"/>
                    <a:ext cx="8" cy="0"/>
                  </a:xfrm>
                  <a:custGeom>
                    <a:avLst/>
                    <a:gdLst>
                      <a:gd name="T0" fmla="*/ 7 w 7"/>
                      <a:gd name="T1" fmla="*/ 9 h 11"/>
                      <a:gd name="T2" fmla="*/ 0 w 7"/>
                      <a:gd name="T3" fmla="*/ 0 h 11"/>
                      <a:gd name="T4" fmla="*/ 0 w 7"/>
                      <a:gd name="T5" fmla="*/ 0 h 11"/>
                      <a:gd name="T6" fmla="*/ 5 w 7"/>
                      <a:gd name="T7" fmla="*/ 11 h 11"/>
                      <a:gd name="T8" fmla="*/ 7 w 7"/>
                      <a:gd name="T9" fmla="*/ 9 h 11"/>
                    </a:gdLst>
                    <a:ahLst/>
                    <a:cxnLst>
                      <a:cxn ang="0">
                        <a:pos x="T0" y="T1"/>
                      </a:cxn>
                      <a:cxn ang="0">
                        <a:pos x="T2" y="T3"/>
                      </a:cxn>
                      <a:cxn ang="0">
                        <a:pos x="T4" y="T5"/>
                      </a:cxn>
                      <a:cxn ang="0">
                        <a:pos x="T6" y="T7"/>
                      </a:cxn>
                      <a:cxn ang="0">
                        <a:pos x="T8" y="T9"/>
                      </a:cxn>
                    </a:cxnLst>
                    <a:rect l="0" t="0" r="r" b="b"/>
                    <a:pathLst>
                      <a:path w="7" h="11">
                        <a:moveTo>
                          <a:pt x="7" y="9"/>
                        </a:moveTo>
                        <a:lnTo>
                          <a:pt x="0" y="0"/>
                        </a:lnTo>
                        <a:lnTo>
                          <a:pt x="0" y="0"/>
                        </a:lnTo>
                        <a:lnTo>
                          <a:pt x="5" y="11"/>
                        </a:lnTo>
                        <a:lnTo>
                          <a:pt x="7" y="9"/>
                        </a:lnTo>
                        <a:close/>
                      </a:path>
                    </a:pathLst>
                  </a:custGeom>
                  <a:solidFill>
                    <a:srgbClr val="01AAE5"/>
                  </a:solidFill>
                  <a:ln>
                    <a:noFill/>
                  </a:ln>
                  <a:extLst/>
                </p:spPr>
                <p:txBody>
                  <a:bodyPr/>
                  <a:lstStyle/>
                  <a:p>
                    <a:pPr eaLnBrk="1" hangingPunct="1">
                      <a:defRPr/>
                    </a:pPr>
                    <a:endParaRPr lang="zh-CN" altLang="en-US" sz="1050"/>
                  </a:p>
                </p:txBody>
              </p:sp>
              <p:sp>
                <p:nvSpPr>
                  <p:cNvPr id="1678" name="Freeform 1538"/>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1679" name="Freeform 1539"/>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path>
                    </a:pathLst>
                  </a:custGeom>
                  <a:noFill/>
                  <a:ln>
                    <a:noFill/>
                  </a:ln>
                  <a:extLst/>
                </p:spPr>
                <p:txBody>
                  <a:bodyPr/>
                  <a:lstStyle/>
                  <a:p>
                    <a:pPr eaLnBrk="1" hangingPunct="1">
                      <a:defRPr/>
                    </a:pPr>
                    <a:endParaRPr lang="zh-CN" altLang="en-US" sz="1050"/>
                  </a:p>
                </p:txBody>
              </p:sp>
              <p:sp>
                <p:nvSpPr>
                  <p:cNvPr id="1680" name="Freeform 1540"/>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close/>
                      </a:path>
                    </a:pathLst>
                  </a:custGeom>
                  <a:solidFill>
                    <a:srgbClr val="01AAE5"/>
                  </a:solidFill>
                  <a:ln>
                    <a:noFill/>
                  </a:ln>
                  <a:extLst/>
                </p:spPr>
                <p:txBody>
                  <a:bodyPr/>
                  <a:lstStyle/>
                  <a:p>
                    <a:pPr eaLnBrk="1" hangingPunct="1">
                      <a:defRPr/>
                    </a:pPr>
                    <a:endParaRPr lang="zh-CN" altLang="en-US" sz="1050"/>
                  </a:p>
                </p:txBody>
              </p:sp>
              <p:sp>
                <p:nvSpPr>
                  <p:cNvPr id="1681" name="Freeform 1541"/>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path>
                    </a:pathLst>
                  </a:custGeom>
                  <a:noFill/>
                  <a:ln>
                    <a:noFill/>
                  </a:ln>
                  <a:extLst/>
                </p:spPr>
                <p:txBody>
                  <a:bodyPr/>
                  <a:lstStyle/>
                  <a:p>
                    <a:pPr eaLnBrk="1" hangingPunct="1">
                      <a:defRPr/>
                    </a:pPr>
                    <a:endParaRPr lang="zh-CN" altLang="en-US" sz="1050"/>
                  </a:p>
                </p:txBody>
              </p:sp>
              <p:sp>
                <p:nvSpPr>
                  <p:cNvPr id="1682" name="Freeform 1542"/>
                  <p:cNvSpPr>
                    <a:spLocks/>
                  </p:cNvSpPr>
                  <p:nvPr/>
                </p:nvSpPr>
                <p:spPr bwMode="auto">
                  <a:xfrm>
                    <a:off x="10548" y="1950"/>
                    <a:ext cx="8" cy="9"/>
                  </a:xfrm>
                  <a:custGeom>
                    <a:avLst/>
                    <a:gdLst>
                      <a:gd name="T0" fmla="*/ 7 w 7"/>
                      <a:gd name="T1" fmla="*/ 9 h 12"/>
                      <a:gd name="T2" fmla="*/ 0 w 7"/>
                      <a:gd name="T3" fmla="*/ 0 h 12"/>
                      <a:gd name="T4" fmla="*/ 0 w 7"/>
                      <a:gd name="T5" fmla="*/ 2 h 12"/>
                      <a:gd name="T6" fmla="*/ 5 w 7"/>
                      <a:gd name="T7" fmla="*/ 12 h 12"/>
                      <a:gd name="T8" fmla="*/ 7 w 7"/>
                      <a:gd name="T9" fmla="*/ 9 h 12"/>
                    </a:gdLst>
                    <a:ahLst/>
                    <a:cxnLst>
                      <a:cxn ang="0">
                        <a:pos x="T0" y="T1"/>
                      </a:cxn>
                      <a:cxn ang="0">
                        <a:pos x="T2" y="T3"/>
                      </a:cxn>
                      <a:cxn ang="0">
                        <a:pos x="T4" y="T5"/>
                      </a:cxn>
                      <a:cxn ang="0">
                        <a:pos x="T6" y="T7"/>
                      </a:cxn>
                      <a:cxn ang="0">
                        <a:pos x="T8" y="T9"/>
                      </a:cxn>
                    </a:cxnLst>
                    <a:rect l="0" t="0" r="r" b="b"/>
                    <a:pathLst>
                      <a:path w="7" h="12">
                        <a:moveTo>
                          <a:pt x="7" y="9"/>
                        </a:moveTo>
                        <a:lnTo>
                          <a:pt x="0" y="0"/>
                        </a:lnTo>
                        <a:lnTo>
                          <a:pt x="0" y="2"/>
                        </a:lnTo>
                        <a:lnTo>
                          <a:pt x="5" y="12"/>
                        </a:lnTo>
                        <a:lnTo>
                          <a:pt x="7" y="9"/>
                        </a:lnTo>
                        <a:close/>
                      </a:path>
                    </a:pathLst>
                  </a:custGeom>
                  <a:solidFill>
                    <a:srgbClr val="01AAE5"/>
                  </a:solidFill>
                  <a:ln>
                    <a:noFill/>
                  </a:ln>
                  <a:extLst/>
                </p:spPr>
                <p:txBody>
                  <a:bodyPr/>
                  <a:lstStyle/>
                  <a:p>
                    <a:pPr eaLnBrk="1" hangingPunct="1">
                      <a:defRPr/>
                    </a:pPr>
                    <a:endParaRPr lang="zh-CN" altLang="en-US" sz="1050"/>
                  </a:p>
                </p:txBody>
              </p:sp>
              <p:sp>
                <p:nvSpPr>
                  <p:cNvPr id="1683" name="Freeform 1543"/>
                  <p:cNvSpPr>
                    <a:spLocks/>
                  </p:cNvSpPr>
                  <p:nvPr/>
                </p:nvSpPr>
                <p:spPr bwMode="auto">
                  <a:xfrm>
                    <a:off x="10390" y="2099"/>
                    <a:ext cx="0" cy="17"/>
                  </a:xfrm>
                  <a:custGeom>
                    <a:avLst/>
                    <a:gdLst>
                      <a:gd name="T0" fmla="*/ 14 w 14"/>
                      <a:gd name="T1" fmla="*/ 9 h 9"/>
                      <a:gd name="T2" fmla="*/ 0 w 14"/>
                      <a:gd name="T3" fmla="*/ 0 h 9"/>
                      <a:gd name="T4" fmla="*/ 0 w 14"/>
                      <a:gd name="T5" fmla="*/ 0 h 9"/>
                      <a:gd name="T6" fmla="*/ 12 w 14"/>
                      <a:gd name="T7" fmla="*/ 9 h 9"/>
                      <a:gd name="T8" fmla="*/ 14 w 14"/>
                      <a:gd name="T9" fmla="*/ 9 h 9"/>
                    </a:gdLst>
                    <a:ahLst/>
                    <a:cxnLst>
                      <a:cxn ang="0">
                        <a:pos x="T0" y="T1"/>
                      </a:cxn>
                      <a:cxn ang="0">
                        <a:pos x="T2" y="T3"/>
                      </a:cxn>
                      <a:cxn ang="0">
                        <a:pos x="T4" y="T5"/>
                      </a:cxn>
                      <a:cxn ang="0">
                        <a:pos x="T6" y="T7"/>
                      </a:cxn>
                      <a:cxn ang="0">
                        <a:pos x="T8" y="T9"/>
                      </a:cxn>
                    </a:cxnLst>
                    <a:rect l="0" t="0" r="r" b="b"/>
                    <a:pathLst>
                      <a:path w="14" h="9">
                        <a:moveTo>
                          <a:pt x="14" y="9"/>
                        </a:moveTo>
                        <a:lnTo>
                          <a:pt x="0" y="0"/>
                        </a:lnTo>
                        <a:lnTo>
                          <a:pt x="0" y="0"/>
                        </a:lnTo>
                        <a:lnTo>
                          <a:pt x="12" y="9"/>
                        </a:lnTo>
                        <a:lnTo>
                          <a:pt x="14" y="9"/>
                        </a:lnTo>
                        <a:close/>
                      </a:path>
                    </a:pathLst>
                  </a:custGeom>
                  <a:solidFill>
                    <a:srgbClr val="01AAE5"/>
                  </a:solidFill>
                  <a:ln>
                    <a:noFill/>
                  </a:ln>
                  <a:extLst/>
                </p:spPr>
                <p:txBody>
                  <a:bodyPr/>
                  <a:lstStyle/>
                  <a:p>
                    <a:pPr eaLnBrk="1" hangingPunct="1">
                      <a:defRPr/>
                    </a:pPr>
                    <a:endParaRPr lang="zh-CN" altLang="en-US" sz="1050"/>
                  </a:p>
                </p:txBody>
              </p:sp>
              <p:sp>
                <p:nvSpPr>
                  <p:cNvPr id="1684" name="Freeform 1544"/>
                  <p:cNvSpPr>
                    <a:spLocks/>
                  </p:cNvSpPr>
                  <p:nvPr/>
                </p:nvSpPr>
                <p:spPr bwMode="auto">
                  <a:xfrm>
                    <a:off x="10373" y="2107"/>
                    <a:ext cx="8" cy="9"/>
                  </a:xfrm>
                  <a:custGeom>
                    <a:avLst/>
                    <a:gdLst>
                      <a:gd name="T0" fmla="*/ 12 w 12"/>
                      <a:gd name="T1" fmla="*/ 7 h 7"/>
                      <a:gd name="T2" fmla="*/ 0 w 12"/>
                      <a:gd name="T3" fmla="*/ 0 h 7"/>
                      <a:gd name="T4" fmla="*/ 0 w 12"/>
                      <a:gd name="T5" fmla="*/ 0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0" y="0"/>
                        </a:lnTo>
                        <a:lnTo>
                          <a:pt x="0" y="0"/>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1685" name="Freeform 1545"/>
                  <p:cNvSpPr>
                    <a:spLocks/>
                  </p:cNvSpPr>
                  <p:nvPr/>
                </p:nvSpPr>
                <p:spPr bwMode="auto">
                  <a:xfrm>
                    <a:off x="10373" y="2116"/>
                    <a:ext cx="8" cy="9"/>
                  </a:xfrm>
                  <a:custGeom>
                    <a:avLst/>
                    <a:gdLst>
                      <a:gd name="T0" fmla="*/ 9 w 9"/>
                      <a:gd name="T1" fmla="*/ 7 h 7"/>
                      <a:gd name="T2" fmla="*/ 0 w 9"/>
                      <a:gd name="T3" fmla="*/ 0 h 7"/>
                      <a:gd name="T4" fmla="*/ 0 w 9"/>
                      <a:gd name="T5" fmla="*/ 0 h 7"/>
                      <a:gd name="T6" fmla="*/ 9 w 9"/>
                      <a:gd name="T7" fmla="*/ 7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0" y="0"/>
                        </a:lnTo>
                        <a:lnTo>
                          <a:pt x="0" y="0"/>
                        </a:lnTo>
                        <a:lnTo>
                          <a:pt x="9" y="7"/>
                        </a:lnTo>
                        <a:lnTo>
                          <a:pt x="9" y="7"/>
                        </a:lnTo>
                        <a:close/>
                      </a:path>
                    </a:pathLst>
                  </a:custGeom>
                  <a:solidFill>
                    <a:srgbClr val="01AAE5"/>
                  </a:solidFill>
                  <a:ln>
                    <a:noFill/>
                  </a:ln>
                  <a:extLst/>
                </p:spPr>
                <p:txBody>
                  <a:bodyPr/>
                  <a:lstStyle/>
                  <a:p>
                    <a:pPr eaLnBrk="1" hangingPunct="1">
                      <a:defRPr/>
                    </a:pPr>
                    <a:endParaRPr lang="zh-CN" altLang="en-US" sz="1050"/>
                  </a:p>
                </p:txBody>
              </p:sp>
              <p:sp>
                <p:nvSpPr>
                  <p:cNvPr id="1686" name="Freeform 1546"/>
                  <p:cNvSpPr>
                    <a:spLocks/>
                  </p:cNvSpPr>
                  <p:nvPr/>
                </p:nvSpPr>
                <p:spPr bwMode="auto">
                  <a:xfrm>
                    <a:off x="10390" y="2090"/>
                    <a:ext cx="0" cy="17"/>
                  </a:xfrm>
                  <a:custGeom>
                    <a:avLst/>
                    <a:gdLst>
                      <a:gd name="T0" fmla="*/ 14 w 14"/>
                      <a:gd name="T1" fmla="*/ 12 h 14"/>
                      <a:gd name="T2" fmla="*/ 0 w 14"/>
                      <a:gd name="T3" fmla="*/ 0 h 14"/>
                      <a:gd name="T4" fmla="*/ 0 w 14"/>
                      <a:gd name="T5" fmla="*/ 2 h 14"/>
                      <a:gd name="T6" fmla="*/ 14 w 14"/>
                      <a:gd name="T7" fmla="*/ 14 h 14"/>
                      <a:gd name="T8" fmla="*/ 14 w 14"/>
                      <a:gd name="T9" fmla="*/ 12 h 14"/>
                    </a:gdLst>
                    <a:ahLst/>
                    <a:cxnLst>
                      <a:cxn ang="0">
                        <a:pos x="T0" y="T1"/>
                      </a:cxn>
                      <a:cxn ang="0">
                        <a:pos x="T2" y="T3"/>
                      </a:cxn>
                      <a:cxn ang="0">
                        <a:pos x="T4" y="T5"/>
                      </a:cxn>
                      <a:cxn ang="0">
                        <a:pos x="T6" y="T7"/>
                      </a:cxn>
                      <a:cxn ang="0">
                        <a:pos x="T8" y="T9"/>
                      </a:cxn>
                    </a:cxnLst>
                    <a:rect l="0" t="0" r="r" b="b"/>
                    <a:pathLst>
                      <a:path w="14" h="14">
                        <a:moveTo>
                          <a:pt x="14" y="12"/>
                        </a:moveTo>
                        <a:lnTo>
                          <a:pt x="0" y="0"/>
                        </a:lnTo>
                        <a:lnTo>
                          <a:pt x="0" y="2"/>
                        </a:lnTo>
                        <a:lnTo>
                          <a:pt x="14" y="14"/>
                        </a:lnTo>
                        <a:lnTo>
                          <a:pt x="14" y="12"/>
                        </a:lnTo>
                        <a:close/>
                      </a:path>
                    </a:pathLst>
                  </a:custGeom>
                  <a:solidFill>
                    <a:srgbClr val="01AAE5"/>
                  </a:solidFill>
                  <a:ln>
                    <a:noFill/>
                  </a:ln>
                  <a:extLst/>
                </p:spPr>
                <p:txBody>
                  <a:bodyPr/>
                  <a:lstStyle/>
                  <a:p>
                    <a:pPr eaLnBrk="1" hangingPunct="1">
                      <a:defRPr/>
                    </a:pPr>
                    <a:endParaRPr lang="zh-CN" altLang="en-US" sz="1050"/>
                  </a:p>
                </p:txBody>
              </p:sp>
              <p:sp>
                <p:nvSpPr>
                  <p:cNvPr id="1687" name="Freeform 1547"/>
                  <p:cNvSpPr>
                    <a:spLocks/>
                  </p:cNvSpPr>
                  <p:nvPr/>
                </p:nvSpPr>
                <p:spPr bwMode="auto">
                  <a:xfrm>
                    <a:off x="10390" y="2090"/>
                    <a:ext cx="25" cy="9"/>
                  </a:xfrm>
                  <a:custGeom>
                    <a:avLst/>
                    <a:gdLst>
                      <a:gd name="T0" fmla="*/ 17 w 17"/>
                      <a:gd name="T1" fmla="*/ 14 h 14"/>
                      <a:gd name="T2" fmla="*/ 0 w 17"/>
                      <a:gd name="T3" fmla="*/ 0 h 14"/>
                      <a:gd name="T4" fmla="*/ 0 w 17"/>
                      <a:gd name="T5" fmla="*/ 2 h 14"/>
                      <a:gd name="T6" fmla="*/ 17 w 17"/>
                      <a:gd name="T7" fmla="*/ 14 h 14"/>
                      <a:gd name="T8" fmla="*/ 17 w 17"/>
                      <a:gd name="T9" fmla="*/ 14 h 14"/>
                    </a:gdLst>
                    <a:ahLst/>
                    <a:cxnLst>
                      <a:cxn ang="0">
                        <a:pos x="T0" y="T1"/>
                      </a:cxn>
                      <a:cxn ang="0">
                        <a:pos x="T2" y="T3"/>
                      </a:cxn>
                      <a:cxn ang="0">
                        <a:pos x="T4" y="T5"/>
                      </a:cxn>
                      <a:cxn ang="0">
                        <a:pos x="T6" y="T7"/>
                      </a:cxn>
                      <a:cxn ang="0">
                        <a:pos x="T8" y="T9"/>
                      </a:cxn>
                    </a:cxnLst>
                    <a:rect l="0" t="0" r="r" b="b"/>
                    <a:pathLst>
                      <a:path w="17" h="14">
                        <a:moveTo>
                          <a:pt x="17" y="14"/>
                        </a:moveTo>
                        <a:lnTo>
                          <a:pt x="0" y="0"/>
                        </a:lnTo>
                        <a:lnTo>
                          <a:pt x="0" y="2"/>
                        </a:lnTo>
                        <a:lnTo>
                          <a:pt x="17" y="14"/>
                        </a:lnTo>
                        <a:lnTo>
                          <a:pt x="17" y="14"/>
                        </a:lnTo>
                        <a:close/>
                      </a:path>
                    </a:pathLst>
                  </a:custGeom>
                  <a:solidFill>
                    <a:srgbClr val="01AAE5"/>
                  </a:solidFill>
                  <a:ln>
                    <a:noFill/>
                  </a:ln>
                  <a:extLst/>
                </p:spPr>
                <p:txBody>
                  <a:bodyPr/>
                  <a:lstStyle/>
                  <a:p>
                    <a:pPr eaLnBrk="1" hangingPunct="1">
                      <a:defRPr/>
                    </a:pPr>
                    <a:endParaRPr lang="zh-CN" altLang="en-US" sz="1050"/>
                  </a:p>
                </p:txBody>
              </p:sp>
              <p:sp>
                <p:nvSpPr>
                  <p:cNvPr id="1688" name="Freeform 1548"/>
                  <p:cNvSpPr>
                    <a:spLocks/>
                  </p:cNvSpPr>
                  <p:nvPr/>
                </p:nvSpPr>
                <p:spPr bwMode="auto">
                  <a:xfrm>
                    <a:off x="10390" y="2081"/>
                    <a:ext cx="25" cy="17"/>
                  </a:xfrm>
                  <a:custGeom>
                    <a:avLst/>
                    <a:gdLst>
                      <a:gd name="T0" fmla="*/ 19 w 19"/>
                      <a:gd name="T1" fmla="*/ 16 h 19"/>
                      <a:gd name="T2" fmla="*/ 0 w 19"/>
                      <a:gd name="T3" fmla="*/ 0 h 19"/>
                      <a:gd name="T4" fmla="*/ 0 w 19"/>
                      <a:gd name="T5" fmla="*/ 2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2"/>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1689" name="Freeform 1549"/>
                  <p:cNvSpPr>
                    <a:spLocks/>
                  </p:cNvSpPr>
                  <p:nvPr/>
                </p:nvSpPr>
                <p:spPr bwMode="auto">
                  <a:xfrm>
                    <a:off x="10390" y="2090"/>
                    <a:ext cx="25" cy="9"/>
                  </a:xfrm>
                  <a:custGeom>
                    <a:avLst/>
                    <a:gdLst>
                      <a:gd name="T0" fmla="*/ 19 w 19"/>
                      <a:gd name="T1" fmla="*/ 17 h 17"/>
                      <a:gd name="T2" fmla="*/ 0 w 19"/>
                      <a:gd name="T3" fmla="*/ 0 h 17"/>
                      <a:gd name="T4" fmla="*/ 0 w 19"/>
                      <a:gd name="T5" fmla="*/ 3 h 17"/>
                      <a:gd name="T6" fmla="*/ 16 w 19"/>
                      <a:gd name="T7" fmla="*/ 17 h 17"/>
                      <a:gd name="T8" fmla="*/ 19 w 19"/>
                      <a:gd name="T9" fmla="*/ 17 h 17"/>
                    </a:gdLst>
                    <a:ahLst/>
                    <a:cxnLst>
                      <a:cxn ang="0">
                        <a:pos x="T0" y="T1"/>
                      </a:cxn>
                      <a:cxn ang="0">
                        <a:pos x="T2" y="T3"/>
                      </a:cxn>
                      <a:cxn ang="0">
                        <a:pos x="T4" y="T5"/>
                      </a:cxn>
                      <a:cxn ang="0">
                        <a:pos x="T6" y="T7"/>
                      </a:cxn>
                      <a:cxn ang="0">
                        <a:pos x="T8" y="T9"/>
                      </a:cxn>
                    </a:cxnLst>
                    <a:rect l="0" t="0" r="r" b="b"/>
                    <a:pathLst>
                      <a:path w="19" h="17">
                        <a:moveTo>
                          <a:pt x="19" y="17"/>
                        </a:moveTo>
                        <a:lnTo>
                          <a:pt x="0" y="0"/>
                        </a:lnTo>
                        <a:lnTo>
                          <a:pt x="0" y="3"/>
                        </a:lnTo>
                        <a:lnTo>
                          <a:pt x="16" y="17"/>
                        </a:lnTo>
                        <a:lnTo>
                          <a:pt x="19" y="17"/>
                        </a:lnTo>
                        <a:close/>
                      </a:path>
                    </a:pathLst>
                  </a:custGeom>
                  <a:solidFill>
                    <a:srgbClr val="01AAE5"/>
                  </a:solidFill>
                  <a:ln>
                    <a:noFill/>
                  </a:ln>
                  <a:extLst/>
                </p:spPr>
                <p:txBody>
                  <a:bodyPr/>
                  <a:lstStyle/>
                  <a:p>
                    <a:pPr eaLnBrk="1" hangingPunct="1">
                      <a:defRPr/>
                    </a:pPr>
                    <a:endParaRPr lang="zh-CN" altLang="en-US" sz="1050"/>
                  </a:p>
                </p:txBody>
              </p:sp>
              <p:sp>
                <p:nvSpPr>
                  <p:cNvPr id="1690" name="Freeform 1550"/>
                  <p:cNvSpPr>
                    <a:spLocks/>
                  </p:cNvSpPr>
                  <p:nvPr/>
                </p:nvSpPr>
                <p:spPr bwMode="auto">
                  <a:xfrm>
                    <a:off x="10373" y="2116"/>
                    <a:ext cx="8" cy="9"/>
                  </a:xfrm>
                  <a:custGeom>
                    <a:avLst/>
                    <a:gdLst>
                      <a:gd name="T0" fmla="*/ 9 w 9"/>
                      <a:gd name="T1" fmla="*/ 5 h 7"/>
                      <a:gd name="T2" fmla="*/ 0 w 9"/>
                      <a:gd name="T3" fmla="*/ 0 h 7"/>
                      <a:gd name="T4" fmla="*/ 0 w 9"/>
                      <a:gd name="T5" fmla="*/ 0 h 7"/>
                      <a:gd name="T6" fmla="*/ 7 w 9"/>
                      <a:gd name="T7" fmla="*/ 7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lnTo>
                          <a:pt x="0" y="0"/>
                        </a:lnTo>
                        <a:lnTo>
                          <a:pt x="0" y="0"/>
                        </a:lnTo>
                        <a:lnTo>
                          <a:pt x="7" y="7"/>
                        </a:lnTo>
                        <a:lnTo>
                          <a:pt x="9" y="5"/>
                        </a:lnTo>
                        <a:close/>
                      </a:path>
                    </a:pathLst>
                  </a:custGeom>
                  <a:solidFill>
                    <a:srgbClr val="01AAE5"/>
                  </a:solidFill>
                  <a:ln>
                    <a:noFill/>
                  </a:ln>
                  <a:extLst/>
                </p:spPr>
                <p:txBody>
                  <a:bodyPr/>
                  <a:lstStyle/>
                  <a:p>
                    <a:pPr eaLnBrk="1" hangingPunct="1">
                      <a:defRPr/>
                    </a:pPr>
                    <a:endParaRPr lang="zh-CN" altLang="en-US" sz="1050"/>
                  </a:p>
                </p:txBody>
              </p:sp>
              <p:sp>
                <p:nvSpPr>
                  <p:cNvPr id="1691" name="Freeform 1551"/>
                  <p:cNvSpPr>
                    <a:spLocks/>
                  </p:cNvSpPr>
                  <p:nvPr/>
                </p:nvSpPr>
                <p:spPr bwMode="auto">
                  <a:xfrm>
                    <a:off x="10365" y="2125"/>
                    <a:ext cx="8" cy="0"/>
                  </a:xfrm>
                  <a:custGeom>
                    <a:avLst/>
                    <a:gdLst>
                      <a:gd name="T0" fmla="*/ 7 w 7"/>
                      <a:gd name="T1" fmla="*/ 5 h 7"/>
                      <a:gd name="T2" fmla="*/ 0 w 7"/>
                      <a:gd name="T3" fmla="*/ 0 h 7"/>
                      <a:gd name="T4" fmla="*/ 0 w 7"/>
                      <a:gd name="T5" fmla="*/ 3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3"/>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1692" name="Freeform 1552"/>
                  <p:cNvSpPr>
                    <a:spLocks/>
                  </p:cNvSpPr>
                  <p:nvPr/>
                </p:nvSpPr>
                <p:spPr bwMode="auto">
                  <a:xfrm>
                    <a:off x="10365" y="2133"/>
                    <a:ext cx="0" cy="9"/>
                  </a:xfrm>
                  <a:custGeom>
                    <a:avLst/>
                    <a:gdLst>
                      <a:gd name="T0" fmla="*/ 8 w 8"/>
                      <a:gd name="T1" fmla="*/ 7 h 7"/>
                      <a:gd name="T2" fmla="*/ 0 w 8"/>
                      <a:gd name="T3" fmla="*/ 0 h 7"/>
                      <a:gd name="T4" fmla="*/ 0 w 8"/>
                      <a:gd name="T5" fmla="*/ 2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0" y="0"/>
                        </a:lnTo>
                        <a:lnTo>
                          <a:pt x="0" y="2"/>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1693" name="Freeform 1553"/>
                  <p:cNvSpPr>
                    <a:spLocks/>
                  </p:cNvSpPr>
                  <p:nvPr/>
                </p:nvSpPr>
                <p:spPr bwMode="auto">
                  <a:xfrm>
                    <a:off x="10348" y="2142"/>
                    <a:ext cx="8" cy="9"/>
                  </a:xfrm>
                  <a:custGeom>
                    <a:avLst/>
                    <a:gdLst>
                      <a:gd name="T0" fmla="*/ 10 w 10"/>
                      <a:gd name="T1" fmla="*/ 5 h 8"/>
                      <a:gd name="T2" fmla="*/ 3 w 10"/>
                      <a:gd name="T3" fmla="*/ 0 h 8"/>
                      <a:gd name="T4" fmla="*/ 0 w 10"/>
                      <a:gd name="T5" fmla="*/ 0 h 8"/>
                      <a:gd name="T6" fmla="*/ 7 w 10"/>
                      <a:gd name="T7" fmla="*/ 8 h 8"/>
                      <a:gd name="T8" fmla="*/ 10 w 10"/>
                      <a:gd name="T9" fmla="*/ 5 h 8"/>
                    </a:gdLst>
                    <a:ahLst/>
                    <a:cxnLst>
                      <a:cxn ang="0">
                        <a:pos x="T0" y="T1"/>
                      </a:cxn>
                      <a:cxn ang="0">
                        <a:pos x="T2" y="T3"/>
                      </a:cxn>
                      <a:cxn ang="0">
                        <a:pos x="T4" y="T5"/>
                      </a:cxn>
                      <a:cxn ang="0">
                        <a:pos x="T6" y="T7"/>
                      </a:cxn>
                      <a:cxn ang="0">
                        <a:pos x="T8" y="T9"/>
                      </a:cxn>
                    </a:cxnLst>
                    <a:rect l="0" t="0" r="r" b="b"/>
                    <a:pathLst>
                      <a:path w="10" h="8">
                        <a:moveTo>
                          <a:pt x="10" y="5"/>
                        </a:moveTo>
                        <a:lnTo>
                          <a:pt x="3" y="0"/>
                        </a:lnTo>
                        <a:lnTo>
                          <a:pt x="0" y="0"/>
                        </a:lnTo>
                        <a:lnTo>
                          <a:pt x="7" y="8"/>
                        </a:lnTo>
                        <a:lnTo>
                          <a:pt x="10" y="5"/>
                        </a:lnTo>
                        <a:close/>
                      </a:path>
                    </a:pathLst>
                  </a:custGeom>
                  <a:solidFill>
                    <a:srgbClr val="01AAE5"/>
                  </a:solidFill>
                  <a:ln>
                    <a:noFill/>
                  </a:ln>
                  <a:extLst/>
                </p:spPr>
                <p:txBody>
                  <a:bodyPr/>
                  <a:lstStyle/>
                  <a:p>
                    <a:pPr eaLnBrk="1" hangingPunct="1">
                      <a:defRPr/>
                    </a:pPr>
                    <a:endParaRPr lang="zh-CN" altLang="en-US" sz="1050"/>
                  </a:p>
                </p:txBody>
              </p:sp>
              <p:sp>
                <p:nvSpPr>
                  <p:cNvPr id="1694" name="Freeform 1554"/>
                  <p:cNvSpPr>
                    <a:spLocks/>
                  </p:cNvSpPr>
                  <p:nvPr/>
                </p:nvSpPr>
                <p:spPr bwMode="auto">
                  <a:xfrm>
                    <a:off x="10365" y="2142"/>
                    <a:ext cx="0"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1695" name="Freeform 1555"/>
                  <p:cNvSpPr>
                    <a:spLocks/>
                  </p:cNvSpPr>
                  <p:nvPr/>
                </p:nvSpPr>
                <p:spPr bwMode="auto">
                  <a:xfrm>
                    <a:off x="10348" y="2151"/>
                    <a:ext cx="0" cy="0"/>
                  </a:xfrm>
                  <a:custGeom>
                    <a:avLst/>
                    <a:gdLst>
                      <a:gd name="T0" fmla="*/ 9 w 9"/>
                      <a:gd name="T1" fmla="*/ 5 h 5"/>
                      <a:gd name="T2" fmla="*/ 0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1696" name="Freeform 1556"/>
                  <p:cNvSpPr>
                    <a:spLocks/>
                  </p:cNvSpPr>
                  <p:nvPr/>
                </p:nvSpPr>
                <p:spPr bwMode="auto">
                  <a:xfrm>
                    <a:off x="10365" y="2133"/>
                    <a:ext cx="0" cy="0"/>
                  </a:xfrm>
                  <a:custGeom>
                    <a:avLst/>
                    <a:gdLst>
                      <a:gd name="T0" fmla="*/ 7 w 7"/>
                      <a:gd name="T1" fmla="*/ 4 h 4"/>
                      <a:gd name="T2" fmla="*/ 0 w 7"/>
                      <a:gd name="T3" fmla="*/ 0 h 4"/>
                      <a:gd name="T4" fmla="*/ 0 w 7"/>
                      <a:gd name="T5" fmla="*/ 0 h 4"/>
                      <a:gd name="T6" fmla="*/ 7 w 7"/>
                      <a:gd name="T7" fmla="*/ 4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0" y="0"/>
                        </a:lnTo>
                        <a:lnTo>
                          <a:pt x="0" y="0"/>
                        </a:lnTo>
                        <a:lnTo>
                          <a:pt x="7" y="4"/>
                        </a:lnTo>
                        <a:lnTo>
                          <a:pt x="7" y="4"/>
                        </a:lnTo>
                        <a:close/>
                      </a:path>
                    </a:pathLst>
                  </a:custGeom>
                  <a:solidFill>
                    <a:srgbClr val="01AAE5"/>
                  </a:solidFill>
                  <a:ln>
                    <a:noFill/>
                  </a:ln>
                  <a:extLst/>
                </p:spPr>
                <p:txBody>
                  <a:bodyPr/>
                  <a:lstStyle/>
                  <a:p>
                    <a:pPr eaLnBrk="1" hangingPunct="1">
                      <a:defRPr/>
                    </a:pPr>
                    <a:endParaRPr lang="zh-CN" altLang="en-US" sz="1050"/>
                  </a:p>
                </p:txBody>
              </p:sp>
              <p:sp>
                <p:nvSpPr>
                  <p:cNvPr id="1697" name="Freeform 1557"/>
                  <p:cNvSpPr>
                    <a:spLocks/>
                  </p:cNvSpPr>
                  <p:nvPr/>
                </p:nvSpPr>
                <p:spPr bwMode="auto">
                  <a:xfrm>
                    <a:off x="10365" y="2125"/>
                    <a:ext cx="8" cy="0"/>
                  </a:xfrm>
                  <a:custGeom>
                    <a:avLst/>
                    <a:gdLst>
                      <a:gd name="T0" fmla="*/ 7 w 7"/>
                      <a:gd name="T1" fmla="*/ 8 h 8"/>
                      <a:gd name="T2" fmla="*/ 0 w 7"/>
                      <a:gd name="T3" fmla="*/ 0 h 8"/>
                      <a:gd name="T4" fmla="*/ 0 w 7"/>
                      <a:gd name="T5" fmla="*/ 3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0" y="0"/>
                        </a:lnTo>
                        <a:lnTo>
                          <a:pt x="0" y="3"/>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1698" name="Freeform 1558"/>
                  <p:cNvSpPr>
                    <a:spLocks/>
                  </p:cNvSpPr>
                  <p:nvPr/>
                </p:nvSpPr>
                <p:spPr bwMode="auto">
                  <a:xfrm>
                    <a:off x="10390" y="2072"/>
                    <a:ext cx="25" cy="17"/>
                  </a:xfrm>
                  <a:custGeom>
                    <a:avLst/>
                    <a:gdLst>
                      <a:gd name="T0" fmla="*/ 21 w 21"/>
                      <a:gd name="T1" fmla="*/ 19 h 19"/>
                      <a:gd name="T2" fmla="*/ 0 w 21"/>
                      <a:gd name="T3" fmla="*/ 0 h 19"/>
                      <a:gd name="T4" fmla="*/ 0 w 21"/>
                      <a:gd name="T5" fmla="*/ 2 h 19"/>
                      <a:gd name="T6" fmla="*/ 21 w 21"/>
                      <a:gd name="T7" fmla="*/ 19 h 19"/>
                      <a:gd name="T8" fmla="*/ 21 w 21"/>
                      <a:gd name="T9" fmla="*/ 19 h 19"/>
                    </a:gdLst>
                    <a:ahLst/>
                    <a:cxnLst>
                      <a:cxn ang="0">
                        <a:pos x="T0" y="T1"/>
                      </a:cxn>
                      <a:cxn ang="0">
                        <a:pos x="T2" y="T3"/>
                      </a:cxn>
                      <a:cxn ang="0">
                        <a:pos x="T4" y="T5"/>
                      </a:cxn>
                      <a:cxn ang="0">
                        <a:pos x="T6" y="T7"/>
                      </a:cxn>
                      <a:cxn ang="0">
                        <a:pos x="T8" y="T9"/>
                      </a:cxn>
                    </a:cxnLst>
                    <a:rect l="0" t="0" r="r" b="b"/>
                    <a:pathLst>
                      <a:path w="21" h="19">
                        <a:moveTo>
                          <a:pt x="21" y="19"/>
                        </a:moveTo>
                        <a:lnTo>
                          <a:pt x="0" y="0"/>
                        </a:lnTo>
                        <a:lnTo>
                          <a:pt x="0" y="2"/>
                        </a:lnTo>
                        <a:lnTo>
                          <a:pt x="21" y="19"/>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1699" name="Freeform 1559"/>
                  <p:cNvSpPr>
                    <a:spLocks/>
                  </p:cNvSpPr>
                  <p:nvPr/>
                </p:nvSpPr>
                <p:spPr bwMode="auto">
                  <a:xfrm>
                    <a:off x="10365" y="2125"/>
                    <a:ext cx="25" cy="9"/>
                  </a:xfrm>
                  <a:custGeom>
                    <a:avLst/>
                    <a:gdLst>
                      <a:gd name="T0" fmla="*/ 10 w 10"/>
                      <a:gd name="T1" fmla="*/ 5 h 7"/>
                      <a:gd name="T2" fmla="*/ 3 w 10"/>
                      <a:gd name="T3" fmla="*/ 0 h 7"/>
                      <a:gd name="T4" fmla="*/ 0 w 10"/>
                      <a:gd name="T5" fmla="*/ 0 h 7"/>
                      <a:gd name="T6" fmla="*/ 7 w 10"/>
                      <a:gd name="T7" fmla="*/ 7 h 7"/>
                      <a:gd name="T8" fmla="*/ 10 w 10"/>
                      <a:gd name="T9" fmla="*/ 5 h 7"/>
                    </a:gdLst>
                    <a:ahLst/>
                    <a:cxnLst>
                      <a:cxn ang="0">
                        <a:pos x="T0" y="T1"/>
                      </a:cxn>
                      <a:cxn ang="0">
                        <a:pos x="T2" y="T3"/>
                      </a:cxn>
                      <a:cxn ang="0">
                        <a:pos x="T4" y="T5"/>
                      </a:cxn>
                      <a:cxn ang="0">
                        <a:pos x="T6" y="T7"/>
                      </a:cxn>
                      <a:cxn ang="0">
                        <a:pos x="T8" y="T9"/>
                      </a:cxn>
                    </a:cxnLst>
                    <a:rect l="0" t="0" r="r" b="b"/>
                    <a:pathLst>
                      <a:path w="10" h="7">
                        <a:moveTo>
                          <a:pt x="10" y="5"/>
                        </a:moveTo>
                        <a:lnTo>
                          <a:pt x="3" y="0"/>
                        </a:lnTo>
                        <a:lnTo>
                          <a:pt x="0" y="0"/>
                        </a:lnTo>
                        <a:lnTo>
                          <a:pt x="7" y="7"/>
                        </a:lnTo>
                        <a:lnTo>
                          <a:pt x="10" y="5"/>
                        </a:lnTo>
                        <a:close/>
                      </a:path>
                    </a:pathLst>
                  </a:custGeom>
                  <a:solidFill>
                    <a:srgbClr val="01AAE5"/>
                  </a:solidFill>
                  <a:ln>
                    <a:noFill/>
                  </a:ln>
                  <a:extLst/>
                </p:spPr>
                <p:txBody>
                  <a:bodyPr/>
                  <a:lstStyle/>
                  <a:p>
                    <a:pPr eaLnBrk="1" hangingPunct="1">
                      <a:defRPr/>
                    </a:pPr>
                    <a:endParaRPr lang="zh-CN" altLang="en-US" sz="1050"/>
                  </a:p>
                </p:txBody>
              </p:sp>
              <p:sp>
                <p:nvSpPr>
                  <p:cNvPr id="1700" name="Freeform 1560"/>
                  <p:cNvSpPr>
                    <a:spLocks/>
                  </p:cNvSpPr>
                  <p:nvPr/>
                </p:nvSpPr>
                <p:spPr bwMode="auto">
                  <a:xfrm>
                    <a:off x="10415" y="2055"/>
                    <a:ext cx="25" cy="17"/>
                  </a:xfrm>
                  <a:custGeom>
                    <a:avLst/>
                    <a:gdLst>
                      <a:gd name="T0" fmla="*/ 19 w 19"/>
                      <a:gd name="T1" fmla="*/ 16 h 19"/>
                      <a:gd name="T2" fmla="*/ 0 w 19"/>
                      <a:gd name="T3" fmla="*/ 0 h 19"/>
                      <a:gd name="T4" fmla="*/ 0 w 19"/>
                      <a:gd name="T5" fmla="*/ 0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0"/>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1701" name="Freeform 1561"/>
                  <p:cNvSpPr>
                    <a:spLocks/>
                  </p:cNvSpPr>
                  <p:nvPr/>
                </p:nvSpPr>
                <p:spPr bwMode="auto">
                  <a:xfrm>
                    <a:off x="10440" y="2038"/>
                    <a:ext cx="0"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1702" name="Freeform 1562"/>
                  <p:cNvSpPr>
                    <a:spLocks/>
                  </p:cNvSpPr>
                  <p:nvPr/>
                </p:nvSpPr>
                <p:spPr bwMode="auto">
                  <a:xfrm>
                    <a:off x="10440" y="2029"/>
                    <a:ext cx="8" cy="9"/>
                  </a:xfrm>
                  <a:custGeom>
                    <a:avLst/>
                    <a:gdLst>
                      <a:gd name="T0" fmla="*/ 9 w 9"/>
                      <a:gd name="T1" fmla="*/ 8 h 10"/>
                      <a:gd name="T2" fmla="*/ 2 w 9"/>
                      <a:gd name="T3" fmla="*/ 0 h 10"/>
                      <a:gd name="T4" fmla="*/ 0 w 9"/>
                      <a:gd name="T5" fmla="*/ 3 h 10"/>
                      <a:gd name="T6" fmla="*/ 7 w 9"/>
                      <a:gd name="T7" fmla="*/ 10 h 10"/>
                      <a:gd name="T8" fmla="*/ 9 w 9"/>
                      <a:gd name="T9" fmla="*/ 8 h 10"/>
                    </a:gdLst>
                    <a:ahLst/>
                    <a:cxnLst>
                      <a:cxn ang="0">
                        <a:pos x="T0" y="T1"/>
                      </a:cxn>
                      <a:cxn ang="0">
                        <a:pos x="T2" y="T3"/>
                      </a:cxn>
                      <a:cxn ang="0">
                        <a:pos x="T4" y="T5"/>
                      </a:cxn>
                      <a:cxn ang="0">
                        <a:pos x="T6" y="T7"/>
                      </a:cxn>
                      <a:cxn ang="0">
                        <a:pos x="T8" y="T9"/>
                      </a:cxn>
                    </a:cxnLst>
                    <a:rect l="0" t="0" r="r" b="b"/>
                    <a:pathLst>
                      <a:path w="9" h="10">
                        <a:moveTo>
                          <a:pt x="9" y="8"/>
                        </a:moveTo>
                        <a:lnTo>
                          <a:pt x="2" y="0"/>
                        </a:lnTo>
                        <a:lnTo>
                          <a:pt x="0" y="3"/>
                        </a:lnTo>
                        <a:lnTo>
                          <a:pt x="7" y="10"/>
                        </a:lnTo>
                        <a:lnTo>
                          <a:pt x="9" y="8"/>
                        </a:lnTo>
                        <a:close/>
                      </a:path>
                    </a:pathLst>
                  </a:custGeom>
                  <a:solidFill>
                    <a:srgbClr val="01AAE5"/>
                  </a:solidFill>
                  <a:ln>
                    <a:noFill/>
                  </a:ln>
                  <a:extLst/>
                </p:spPr>
                <p:txBody>
                  <a:bodyPr/>
                  <a:lstStyle/>
                  <a:p>
                    <a:pPr eaLnBrk="1" hangingPunct="1">
                      <a:defRPr/>
                    </a:pPr>
                    <a:endParaRPr lang="zh-CN" altLang="en-US" sz="1050"/>
                  </a:p>
                </p:txBody>
              </p:sp>
              <p:sp>
                <p:nvSpPr>
                  <p:cNvPr id="1703" name="Freeform 1563"/>
                  <p:cNvSpPr>
                    <a:spLocks/>
                  </p:cNvSpPr>
                  <p:nvPr/>
                </p:nvSpPr>
                <p:spPr bwMode="auto">
                  <a:xfrm>
                    <a:off x="10390" y="2072"/>
                    <a:ext cx="25" cy="17"/>
                  </a:xfrm>
                  <a:custGeom>
                    <a:avLst/>
                    <a:gdLst>
                      <a:gd name="T0" fmla="*/ 24 w 24"/>
                      <a:gd name="T1" fmla="*/ 21 h 21"/>
                      <a:gd name="T2" fmla="*/ 0 w 24"/>
                      <a:gd name="T3" fmla="*/ 0 h 21"/>
                      <a:gd name="T4" fmla="*/ 0 w 24"/>
                      <a:gd name="T5" fmla="*/ 3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3"/>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1704" name="Freeform 1564"/>
                  <p:cNvSpPr>
                    <a:spLocks/>
                  </p:cNvSpPr>
                  <p:nvPr/>
                </p:nvSpPr>
                <p:spPr bwMode="auto">
                  <a:xfrm>
                    <a:off x="10440" y="2038"/>
                    <a:ext cx="0" cy="17"/>
                  </a:xfrm>
                  <a:custGeom>
                    <a:avLst/>
                    <a:gdLst>
                      <a:gd name="T0" fmla="*/ 12 w 12"/>
                      <a:gd name="T1" fmla="*/ 12 h 12"/>
                      <a:gd name="T2" fmla="*/ 0 w 12"/>
                      <a:gd name="T3" fmla="*/ 0 h 12"/>
                      <a:gd name="T4" fmla="*/ 0 w 12"/>
                      <a:gd name="T5" fmla="*/ 0 h 12"/>
                      <a:gd name="T6" fmla="*/ 12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0" y="0"/>
                        </a:lnTo>
                        <a:lnTo>
                          <a:pt x="0" y="0"/>
                        </a:lnTo>
                        <a:lnTo>
                          <a:pt x="12" y="12"/>
                        </a:lnTo>
                        <a:lnTo>
                          <a:pt x="12" y="12"/>
                        </a:lnTo>
                        <a:close/>
                      </a:path>
                    </a:pathLst>
                  </a:custGeom>
                  <a:solidFill>
                    <a:srgbClr val="01AAE5"/>
                  </a:solidFill>
                  <a:ln>
                    <a:noFill/>
                  </a:ln>
                  <a:extLst/>
                </p:spPr>
                <p:txBody>
                  <a:bodyPr/>
                  <a:lstStyle/>
                  <a:p>
                    <a:pPr eaLnBrk="1" hangingPunct="1">
                      <a:defRPr/>
                    </a:pPr>
                    <a:endParaRPr lang="zh-CN" altLang="en-US" sz="1050"/>
                  </a:p>
                </p:txBody>
              </p:sp>
              <p:sp>
                <p:nvSpPr>
                  <p:cNvPr id="1705" name="Freeform 1565"/>
                  <p:cNvSpPr>
                    <a:spLocks/>
                  </p:cNvSpPr>
                  <p:nvPr/>
                </p:nvSpPr>
                <p:spPr bwMode="auto">
                  <a:xfrm>
                    <a:off x="10448" y="2029"/>
                    <a:ext cx="8" cy="9"/>
                  </a:xfrm>
                  <a:custGeom>
                    <a:avLst/>
                    <a:gdLst>
                      <a:gd name="T0" fmla="*/ 7 w 7"/>
                      <a:gd name="T1" fmla="*/ 7 h 7"/>
                      <a:gd name="T2" fmla="*/ 3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1706" name="Freeform 1566"/>
                  <p:cNvSpPr>
                    <a:spLocks/>
                  </p:cNvSpPr>
                  <p:nvPr/>
                </p:nvSpPr>
                <p:spPr bwMode="auto">
                  <a:xfrm>
                    <a:off x="10440" y="2029"/>
                    <a:ext cx="8"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1707" name="Freeform 1567"/>
                  <p:cNvSpPr>
                    <a:spLocks/>
                  </p:cNvSpPr>
                  <p:nvPr/>
                </p:nvSpPr>
                <p:spPr bwMode="auto">
                  <a:xfrm>
                    <a:off x="10423" y="2046"/>
                    <a:ext cx="17" cy="17"/>
                  </a:xfrm>
                  <a:custGeom>
                    <a:avLst/>
                    <a:gdLst>
                      <a:gd name="T0" fmla="*/ 14 w 14"/>
                      <a:gd name="T1" fmla="*/ 14 h 14"/>
                      <a:gd name="T2" fmla="*/ 0 w 14"/>
                      <a:gd name="T3" fmla="*/ 0 h 14"/>
                      <a:gd name="T4" fmla="*/ 0 w 14"/>
                      <a:gd name="T5" fmla="*/ 0 h 14"/>
                      <a:gd name="T6" fmla="*/ 12 w 14"/>
                      <a:gd name="T7" fmla="*/ 14 h 14"/>
                      <a:gd name="T8" fmla="*/ 14 w 14"/>
                      <a:gd name="T9" fmla="*/ 14 h 14"/>
                    </a:gdLst>
                    <a:ahLst/>
                    <a:cxnLst>
                      <a:cxn ang="0">
                        <a:pos x="T0" y="T1"/>
                      </a:cxn>
                      <a:cxn ang="0">
                        <a:pos x="T2" y="T3"/>
                      </a:cxn>
                      <a:cxn ang="0">
                        <a:pos x="T4" y="T5"/>
                      </a:cxn>
                      <a:cxn ang="0">
                        <a:pos x="T6" y="T7"/>
                      </a:cxn>
                      <a:cxn ang="0">
                        <a:pos x="T8" y="T9"/>
                      </a:cxn>
                    </a:cxnLst>
                    <a:rect l="0" t="0" r="r" b="b"/>
                    <a:pathLst>
                      <a:path w="14" h="14">
                        <a:moveTo>
                          <a:pt x="14" y="14"/>
                        </a:moveTo>
                        <a:lnTo>
                          <a:pt x="0" y="0"/>
                        </a:lnTo>
                        <a:lnTo>
                          <a:pt x="0" y="0"/>
                        </a:lnTo>
                        <a:lnTo>
                          <a:pt x="12" y="14"/>
                        </a:lnTo>
                        <a:lnTo>
                          <a:pt x="14" y="14"/>
                        </a:lnTo>
                        <a:close/>
                      </a:path>
                    </a:pathLst>
                  </a:custGeom>
                  <a:solidFill>
                    <a:srgbClr val="01AAE5"/>
                  </a:solidFill>
                  <a:ln>
                    <a:noFill/>
                  </a:ln>
                  <a:extLst/>
                </p:spPr>
                <p:txBody>
                  <a:bodyPr/>
                  <a:lstStyle/>
                  <a:p>
                    <a:pPr eaLnBrk="1" hangingPunct="1">
                      <a:defRPr/>
                    </a:pPr>
                    <a:endParaRPr lang="zh-CN" altLang="en-US" sz="1050"/>
                  </a:p>
                </p:txBody>
              </p:sp>
              <p:sp>
                <p:nvSpPr>
                  <p:cNvPr id="1708" name="Freeform 1568"/>
                  <p:cNvSpPr>
                    <a:spLocks/>
                  </p:cNvSpPr>
                  <p:nvPr/>
                </p:nvSpPr>
                <p:spPr bwMode="auto">
                  <a:xfrm>
                    <a:off x="10448" y="2029"/>
                    <a:ext cx="8"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1709" name="Freeform 1569"/>
                  <p:cNvSpPr>
                    <a:spLocks/>
                  </p:cNvSpPr>
                  <p:nvPr/>
                </p:nvSpPr>
                <p:spPr bwMode="auto">
                  <a:xfrm>
                    <a:off x="10440" y="2038"/>
                    <a:ext cx="0" cy="17"/>
                  </a:xfrm>
                  <a:custGeom>
                    <a:avLst/>
                    <a:gdLst>
                      <a:gd name="T0" fmla="*/ 10 w 10"/>
                      <a:gd name="T1" fmla="*/ 9 h 9"/>
                      <a:gd name="T2" fmla="*/ 0 w 10"/>
                      <a:gd name="T3" fmla="*/ 0 h 9"/>
                      <a:gd name="T4" fmla="*/ 0 w 10"/>
                      <a:gd name="T5" fmla="*/ 0 h 9"/>
                      <a:gd name="T6" fmla="*/ 10 w 10"/>
                      <a:gd name="T7" fmla="*/ 9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0"/>
                        </a:lnTo>
                        <a:lnTo>
                          <a:pt x="0" y="0"/>
                        </a:lnTo>
                        <a:lnTo>
                          <a:pt x="10" y="9"/>
                        </a:lnTo>
                        <a:lnTo>
                          <a:pt x="10" y="9"/>
                        </a:lnTo>
                        <a:close/>
                      </a:path>
                    </a:pathLst>
                  </a:custGeom>
                  <a:solidFill>
                    <a:srgbClr val="01AAE5"/>
                  </a:solidFill>
                  <a:ln>
                    <a:noFill/>
                  </a:ln>
                  <a:extLst/>
                </p:spPr>
                <p:txBody>
                  <a:bodyPr/>
                  <a:lstStyle/>
                  <a:p>
                    <a:pPr eaLnBrk="1" hangingPunct="1">
                      <a:defRPr/>
                    </a:pPr>
                    <a:endParaRPr lang="zh-CN" altLang="en-US" sz="1050"/>
                  </a:p>
                </p:txBody>
              </p:sp>
              <p:sp>
                <p:nvSpPr>
                  <p:cNvPr id="1710" name="Freeform 1570"/>
                  <p:cNvSpPr>
                    <a:spLocks/>
                  </p:cNvSpPr>
                  <p:nvPr/>
                </p:nvSpPr>
                <p:spPr bwMode="auto">
                  <a:xfrm>
                    <a:off x="10398" y="2064"/>
                    <a:ext cx="25" cy="26"/>
                  </a:xfrm>
                  <a:custGeom>
                    <a:avLst/>
                    <a:gdLst>
                      <a:gd name="T0" fmla="*/ 24 w 24"/>
                      <a:gd name="T1" fmla="*/ 21 h 21"/>
                      <a:gd name="T2" fmla="*/ 0 w 24"/>
                      <a:gd name="T3" fmla="*/ 0 h 21"/>
                      <a:gd name="T4" fmla="*/ 0 w 24"/>
                      <a:gd name="T5" fmla="*/ 0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0"/>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1711" name="Freeform 1571"/>
                  <p:cNvSpPr>
                    <a:spLocks/>
                  </p:cNvSpPr>
                  <p:nvPr/>
                </p:nvSpPr>
                <p:spPr bwMode="auto">
                  <a:xfrm>
                    <a:off x="10398" y="2064"/>
                    <a:ext cx="25" cy="17"/>
                  </a:xfrm>
                  <a:custGeom>
                    <a:avLst/>
                    <a:gdLst>
                      <a:gd name="T0" fmla="*/ 24 w 24"/>
                      <a:gd name="T1" fmla="*/ 22 h 22"/>
                      <a:gd name="T2" fmla="*/ 3 w 24"/>
                      <a:gd name="T3" fmla="*/ 0 h 22"/>
                      <a:gd name="T4" fmla="*/ 0 w 24"/>
                      <a:gd name="T5" fmla="*/ 3 h 22"/>
                      <a:gd name="T6" fmla="*/ 24 w 24"/>
                      <a:gd name="T7" fmla="*/ 22 h 22"/>
                      <a:gd name="T8" fmla="*/ 24 w 24"/>
                      <a:gd name="T9" fmla="*/ 22 h 22"/>
                    </a:gdLst>
                    <a:ahLst/>
                    <a:cxnLst>
                      <a:cxn ang="0">
                        <a:pos x="T0" y="T1"/>
                      </a:cxn>
                      <a:cxn ang="0">
                        <a:pos x="T2" y="T3"/>
                      </a:cxn>
                      <a:cxn ang="0">
                        <a:pos x="T4" y="T5"/>
                      </a:cxn>
                      <a:cxn ang="0">
                        <a:pos x="T6" y="T7"/>
                      </a:cxn>
                      <a:cxn ang="0">
                        <a:pos x="T8" y="T9"/>
                      </a:cxn>
                    </a:cxnLst>
                    <a:rect l="0" t="0" r="r" b="b"/>
                    <a:pathLst>
                      <a:path w="24" h="22">
                        <a:moveTo>
                          <a:pt x="24" y="22"/>
                        </a:moveTo>
                        <a:lnTo>
                          <a:pt x="3" y="0"/>
                        </a:lnTo>
                        <a:lnTo>
                          <a:pt x="0" y="3"/>
                        </a:lnTo>
                        <a:lnTo>
                          <a:pt x="24" y="22"/>
                        </a:lnTo>
                        <a:lnTo>
                          <a:pt x="24" y="22"/>
                        </a:lnTo>
                        <a:close/>
                      </a:path>
                    </a:pathLst>
                  </a:custGeom>
                  <a:solidFill>
                    <a:srgbClr val="01AAE5"/>
                  </a:solidFill>
                  <a:ln>
                    <a:noFill/>
                  </a:ln>
                  <a:extLst/>
                </p:spPr>
                <p:txBody>
                  <a:bodyPr/>
                  <a:lstStyle/>
                  <a:p>
                    <a:pPr eaLnBrk="1" hangingPunct="1">
                      <a:defRPr/>
                    </a:pPr>
                    <a:endParaRPr lang="zh-CN" altLang="en-US" sz="1050"/>
                  </a:p>
                </p:txBody>
              </p:sp>
              <p:sp>
                <p:nvSpPr>
                  <p:cNvPr id="1712" name="Freeform 1572"/>
                  <p:cNvSpPr>
                    <a:spLocks/>
                  </p:cNvSpPr>
                  <p:nvPr/>
                </p:nvSpPr>
                <p:spPr bwMode="auto">
                  <a:xfrm>
                    <a:off x="10348" y="2151"/>
                    <a:ext cx="0" cy="9"/>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1713" name="Freeform 1573"/>
                  <p:cNvSpPr>
                    <a:spLocks/>
                  </p:cNvSpPr>
                  <p:nvPr/>
                </p:nvSpPr>
                <p:spPr bwMode="auto">
                  <a:xfrm>
                    <a:off x="10415" y="2046"/>
                    <a:ext cx="25" cy="17"/>
                  </a:xfrm>
                  <a:custGeom>
                    <a:avLst/>
                    <a:gdLst>
                      <a:gd name="T0" fmla="*/ 17 w 17"/>
                      <a:gd name="T1" fmla="*/ 16 h 16"/>
                      <a:gd name="T2" fmla="*/ 0 w 17"/>
                      <a:gd name="T3" fmla="*/ 0 h 16"/>
                      <a:gd name="T4" fmla="*/ 0 w 17"/>
                      <a:gd name="T5" fmla="*/ 0 h 16"/>
                      <a:gd name="T6" fmla="*/ 14 w 17"/>
                      <a:gd name="T7" fmla="*/ 16 h 16"/>
                      <a:gd name="T8" fmla="*/ 17 w 17"/>
                      <a:gd name="T9" fmla="*/ 16 h 16"/>
                    </a:gdLst>
                    <a:ahLst/>
                    <a:cxnLst>
                      <a:cxn ang="0">
                        <a:pos x="T0" y="T1"/>
                      </a:cxn>
                      <a:cxn ang="0">
                        <a:pos x="T2" y="T3"/>
                      </a:cxn>
                      <a:cxn ang="0">
                        <a:pos x="T4" y="T5"/>
                      </a:cxn>
                      <a:cxn ang="0">
                        <a:pos x="T6" y="T7"/>
                      </a:cxn>
                      <a:cxn ang="0">
                        <a:pos x="T8" y="T9"/>
                      </a:cxn>
                    </a:cxnLst>
                    <a:rect l="0" t="0" r="r" b="b"/>
                    <a:pathLst>
                      <a:path w="17" h="16">
                        <a:moveTo>
                          <a:pt x="17" y="16"/>
                        </a:moveTo>
                        <a:lnTo>
                          <a:pt x="0" y="0"/>
                        </a:lnTo>
                        <a:lnTo>
                          <a:pt x="0" y="0"/>
                        </a:lnTo>
                        <a:lnTo>
                          <a:pt x="14" y="16"/>
                        </a:lnTo>
                        <a:lnTo>
                          <a:pt x="17" y="16"/>
                        </a:lnTo>
                        <a:close/>
                      </a:path>
                    </a:pathLst>
                  </a:custGeom>
                  <a:solidFill>
                    <a:srgbClr val="01AAE5"/>
                  </a:solidFill>
                  <a:ln>
                    <a:noFill/>
                  </a:ln>
                  <a:extLst/>
                </p:spPr>
                <p:txBody>
                  <a:bodyPr/>
                  <a:lstStyle/>
                  <a:p>
                    <a:pPr eaLnBrk="1" hangingPunct="1">
                      <a:defRPr/>
                    </a:pPr>
                    <a:endParaRPr lang="zh-CN" altLang="en-US" sz="1050"/>
                  </a:p>
                </p:txBody>
              </p:sp>
              <p:sp>
                <p:nvSpPr>
                  <p:cNvPr id="1714" name="Freeform 1574"/>
                  <p:cNvSpPr>
                    <a:spLocks/>
                  </p:cNvSpPr>
                  <p:nvPr/>
                </p:nvSpPr>
                <p:spPr bwMode="auto">
                  <a:xfrm>
                    <a:off x="10415" y="2055"/>
                    <a:ext cx="25" cy="9"/>
                  </a:xfrm>
                  <a:custGeom>
                    <a:avLst/>
                    <a:gdLst>
                      <a:gd name="T0" fmla="*/ 18 w 18"/>
                      <a:gd name="T1" fmla="*/ 17 h 19"/>
                      <a:gd name="T2" fmla="*/ 0 w 18"/>
                      <a:gd name="T3" fmla="*/ 0 h 19"/>
                      <a:gd name="T4" fmla="*/ 0 w 18"/>
                      <a:gd name="T5" fmla="*/ 2 h 19"/>
                      <a:gd name="T6" fmla="*/ 16 w 18"/>
                      <a:gd name="T7" fmla="*/ 19 h 19"/>
                      <a:gd name="T8" fmla="*/ 18 w 18"/>
                      <a:gd name="T9" fmla="*/ 17 h 19"/>
                    </a:gdLst>
                    <a:ahLst/>
                    <a:cxnLst>
                      <a:cxn ang="0">
                        <a:pos x="T0" y="T1"/>
                      </a:cxn>
                      <a:cxn ang="0">
                        <a:pos x="T2" y="T3"/>
                      </a:cxn>
                      <a:cxn ang="0">
                        <a:pos x="T4" y="T5"/>
                      </a:cxn>
                      <a:cxn ang="0">
                        <a:pos x="T6" y="T7"/>
                      </a:cxn>
                      <a:cxn ang="0">
                        <a:pos x="T8" y="T9"/>
                      </a:cxn>
                    </a:cxnLst>
                    <a:rect l="0" t="0" r="r" b="b"/>
                    <a:pathLst>
                      <a:path w="18" h="19">
                        <a:moveTo>
                          <a:pt x="18" y="17"/>
                        </a:moveTo>
                        <a:lnTo>
                          <a:pt x="0" y="0"/>
                        </a:lnTo>
                        <a:lnTo>
                          <a:pt x="0" y="2"/>
                        </a:lnTo>
                        <a:lnTo>
                          <a:pt x="16" y="19"/>
                        </a:lnTo>
                        <a:lnTo>
                          <a:pt x="18" y="17"/>
                        </a:lnTo>
                        <a:close/>
                      </a:path>
                    </a:pathLst>
                  </a:custGeom>
                  <a:solidFill>
                    <a:srgbClr val="01AAE5"/>
                  </a:solidFill>
                  <a:ln>
                    <a:noFill/>
                  </a:ln>
                  <a:extLst/>
                </p:spPr>
                <p:txBody>
                  <a:bodyPr/>
                  <a:lstStyle/>
                  <a:p>
                    <a:pPr eaLnBrk="1" hangingPunct="1">
                      <a:defRPr/>
                    </a:pPr>
                    <a:endParaRPr lang="zh-CN" altLang="en-US" sz="1050"/>
                  </a:p>
                </p:txBody>
              </p:sp>
              <p:sp>
                <p:nvSpPr>
                  <p:cNvPr id="1715" name="Freeform 1575"/>
                  <p:cNvSpPr>
                    <a:spLocks/>
                  </p:cNvSpPr>
                  <p:nvPr/>
                </p:nvSpPr>
                <p:spPr bwMode="auto">
                  <a:xfrm>
                    <a:off x="10465" y="2020"/>
                    <a:ext cx="0"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1716" name="Freeform 1576"/>
                  <p:cNvSpPr>
                    <a:spLocks/>
                  </p:cNvSpPr>
                  <p:nvPr/>
                </p:nvSpPr>
                <p:spPr bwMode="auto">
                  <a:xfrm>
                    <a:off x="10415" y="2064"/>
                    <a:ext cx="25" cy="17"/>
                  </a:xfrm>
                  <a:custGeom>
                    <a:avLst/>
                    <a:gdLst>
                      <a:gd name="T0" fmla="*/ 21 w 21"/>
                      <a:gd name="T1" fmla="*/ 19 h 21"/>
                      <a:gd name="T2" fmla="*/ 0 w 21"/>
                      <a:gd name="T3" fmla="*/ 0 h 21"/>
                      <a:gd name="T4" fmla="*/ 0 w 21"/>
                      <a:gd name="T5" fmla="*/ 0 h 21"/>
                      <a:gd name="T6" fmla="*/ 21 w 21"/>
                      <a:gd name="T7" fmla="*/ 21 h 21"/>
                      <a:gd name="T8" fmla="*/ 21 w 21"/>
                      <a:gd name="T9" fmla="*/ 19 h 21"/>
                    </a:gdLst>
                    <a:ahLst/>
                    <a:cxnLst>
                      <a:cxn ang="0">
                        <a:pos x="T0" y="T1"/>
                      </a:cxn>
                      <a:cxn ang="0">
                        <a:pos x="T2" y="T3"/>
                      </a:cxn>
                      <a:cxn ang="0">
                        <a:pos x="T4" y="T5"/>
                      </a:cxn>
                      <a:cxn ang="0">
                        <a:pos x="T6" y="T7"/>
                      </a:cxn>
                      <a:cxn ang="0">
                        <a:pos x="T8" y="T9"/>
                      </a:cxn>
                    </a:cxnLst>
                    <a:rect l="0" t="0" r="r" b="b"/>
                    <a:pathLst>
                      <a:path w="21" h="21">
                        <a:moveTo>
                          <a:pt x="21" y="19"/>
                        </a:moveTo>
                        <a:lnTo>
                          <a:pt x="0" y="0"/>
                        </a:lnTo>
                        <a:lnTo>
                          <a:pt x="0" y="0"/>
                        </a:lnTo>
                        <a:lnTo>
                          <a:pt x="21" y="21"/>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1717" name="Freeform 1577"/>
                  <p:cNvSpPr>
                    <a:spLocks/>
                  </p:cNvSpPr>
                  <p:nvPr/>
                </p:nvSpPr>
                <p:spPr bwMode="auto">
                  <a:xfrm>
                    <a:off x="10390" y="2064"/>
                    <a:ext cx="25" cy="26"/>
                  </a:xfrm>
                  <a:custGeom>
                    <a:avLst/>
                    <a:gdLst>
                      <a:gd name="T0" fmla="*/ 24 w 24"/>
                      <a:gd name="T1" fmla="*/ 19 h 19"/>
                      <a:gd name="T2" fmla="*/ 3 w 24"/>
                      <a:gd name="T3" fmla="*/ 0 h 19"/>
                      <a:gd name="T4" fmla="*/ 0 w 24"/>
                      <a:gd name="T5" fmla="*/ 0 h 19"/>
                      <a:gd name="T6" fmla="*/ 24 w 24"/>
                      <a:gd name="T7" fmla="*/ 19 h 19"/>
                      <a:gd name="T8" fmla="*/ 24 w 24"/>
                      <a:gd name="T9" fmla="*/ 19 h 19"/>
                    </a:gdLst>
                    <a:ahLst/>
                    <a:cxnLst>
                      <a:cxn ang="0">
                        <a:pos x="T0" y="T1"/>
                      </a:cxn>
                      <a:cxn ang="0">
                        <a:pos x="T2" y="T3"/>
                      </a:cxn>
                      <a:cxn ang="0">
                        <a:pos x="T4" y="T5"/>
                      </a:cxn>
                      <a:cxn ang="0">
                        <a:pos x="T6" y="T7"/>
                      </a:cxn>
                      <a:cxn ang="0">
                        <a:pos x="T8" y="T9"/>
                      </a:cxn>
                    </a:cxnLst>
                    <a:rect l="0" t="0" r="r" b="b"/>
                    <a:pathLst>
                      <a:path w="24" h="19">
                        <a:moveTo>
                          <a:pt x="24" y="19"/>
                        </a:moveTo>
                        <a:lnTo>
                          <a:pt x="3" y="0"/>
                        </a:lnTo>
                        <a:lnTo>
                          <a:pt x="0" y="0"/>
                        </a:lnTo>
                        <a:lnTo>
                          <a:pt x="24" y="19"/>
                        </a:lnTo>
                        <a:lnTo>
                          <a:pt x="24" y="19"/>
                        </a:lnTo>
                        <a:close/>
                      </a:path>
                    </a:pathLst>
                  </a:custGeom>
                  <a:solidFill>
                    <a:srgbClr val="01AAE5"/>
                  </a:solidFill>
                  <a:ln>
                    <a:noFill/>
                  </a:ln>
                  <a:extLst/>
                </p:spPr>
                <p:txBody>
                  <a:bodyPr/>
                  <a:lstStyle/>
                  <a:p>
                    <a:pPr eaLnBrk="1" hangingPunct="1">
                      <a:defRPr/>
                    </a:pPr>
                    <a:endParaRPr lang="zh-CN" altLang="en-US" sz="1050"/>
                  </a:p>
                </p:txBody>
              </p:sp>
              <p:sp>
                <p:nvSpPr>
                  <p:cNvPr id="1718" name="Freeform 1578"/>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close/>
                      </a:path>
                    </a:pathLst>
                  </a:custGeom>
                  <a:solidFill>
                    <a:srgbClr val="01AAE5"/>
                  </a:solidFill>
                  <a:ln>
                    <a:noFill/>
                  </a:ln>
                  <a:extLst/>
                </p:spPr>
                <p:txBody>
                  <a:bodyPr/>
                  <a:lstStyle/>
                  <a:p>
                    <a:pPr eaLnBrk="1" hangingPunct="1">
                      <a:defRPr/>
                    </a:pPr>
                    <a:endParaRPr lang="zh-CN" altLang="en-US" sz="1050"/>
                  </a:p>
                </p:txBody>
              </p:sp>
              <p:sp>
                <p:nvSpPr>
                  <p:cNvPr id="1719" name="Freeform 1579"/>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path>
                    </a:pathLst>
                  </a:custGeom>
                  <a:noFill/>
                  <a:ln>
                    <a:noFill/>
                  </a:ln>
                  <a:extLst/>
                </p:spPr>
                <p:txBody>
                  <a:bodyPr/>
                  <a:lstStyle/>
                  <a:p>
                    <a:pPr eaLnBrk="1" hangingPunct="1">
                      <a:defRPr/>
                    </a:pPr>
                    <a:endParaRPr lang="zh-CN" altLang="en-US" sz="1050"/>
                  </a:p>
                </p:txBody>
              </p:sp>
              <p:sp>
                <p:nvSpPr>
                  <p:cNvPr id="1720" name="Freeform 1580"/>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close/>
                      </a:path>
                    </a:pathLst>
                  </a:custGeom>
                  <a:solidFill>
                    <a:srgbClr val="01AAE5"/>
                  </a:solidFill>
                  <a:ln>
                    <a:noFill/>
                  </a:ln>
                  <a:extLst/>
                </p:spPr>
                <p:txBody>
                  <a:bodyPr/>
                  <a:lstStyle/>
                  <a:p>
                    <a:pPr eaLnBrk="1" hangingPunct="1">
                      <a:defRPr/>
                    </a:pPr>
                    <a:endParaRPr lang="zh-CN" altLang="en-US" sz="1050"/>
                  </a:p>
                </p:txBody>
              </p:sp>
              <p:sp>
                <p:nvSpPr>
                  <p:cNvPr id="1721" name="Freeform 1581"/>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path>
                    </a:pathLst>
                  </a:custGeom>
                  <a:noFill/>
                  <a:ln>
                    <a:noFill/>
                  </a:ln>
                  <a:extLst/>
                </p:spPr>
                <p:txBody>
                  <a:bodyPr/>
                  <a:lstStyle/>
                  <a:p>
                    <a:pPr eaLnBrk="1" hangingPunct="1">
                      <a:defRPr/>
                    </a:pPr>
                    <a:endParaRPr lang="zh-CN" altLang="en-US" sz="1050"/>
                  </a:p>
                </p:txBody>
              </p:sp>
              <p:sp>
                <p:nvSpPr>
                  <p:cNvPr id="1722" name="Freeform 1582"/>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close/>
                      </a:path>
                    </a:pathLst>
                  </a:custGeom>
                  <a:solidFill>
                    <a:srgbClr val="01AAE5"/>
                  </a:solidFill>
                  <a:ln>
                    <a:noFill/>
                  </a:ln>
                  <a:extLst/>
                </p:spPr>
                <p:txBody>
                  <a:bodyPr/>
                  <a:lstStyle/>
                  <a:p>
                    <a:pPr eaLnBrk="1" hangingPunct="1">
                      <a:defRPr/>
                    </a:pPr>
                    <a:endParaRPr lang="zh-CN" altLang="en-US" sz="1050"/>
                  </a:p>
                </p:txBody>
              </p:sp>
              <p:sp>
                <p:nvSpPr>
                  <p:cNvPr id="1723" name="Freeform 1583"/>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path>
                    </a:pathLst>
                  </a:custGeom>
                  <a:noFill/>
                  <a:ln>
                    <a:noFill/>
                  </a:ln>
                  <a:extLst/>
                </p:spPr>
                <p:txBody>
                  <a:bodyPr/>
                  <a:lstStyle/>
                  <a:p>
                    <a:pPr eaLnBrk="1" hangingPunct="1">
                      <a:defRPr/>
                    </a:pPr>
                    <a:endParaRPr lang="zh-CN" altLang="en-US" sz="1050"/>
                  </a:p>
                </p:txBody>
              </p:sp>
              <p:sp>
                <p:nvSpPr>
                  <p:cNvPr id="1724" name="Freeform 1584"/>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close/>
                      </a:path>
                    </a:pathLst>
                  </a:custGeom>
                  <a:solidFill>
                    <a:srgbClr val="01AAE5"/>
                  </a:solidFill>
                  <a:ln>
                    <a:noFill/>
                  </a:ln>
                  <a:extLst/>
                </p:spPr>
                <p:txBody>
                  <a:bodyPr/>
                  <a:lstStyle/>
                  <a:p>
                    <a:pPr eaLnBrk="1" hangingPunct="1">
                      <a:defRPr/>
                    </a:pPr>
                    <a:endParaRPr lang="zh-CN" altLang="en-US" sz="1050"/>
                  </a:p>
                </p:txBody>
              </p:sp>
              <p:sp>
                <p:nvSpPr>
                  <p:cNvPr id="1725" name="Freeform 1585"/>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path>
                    </a:pathLst>
                  </a:custGeom>
                  <a:noFill/>
                  <a:ln>
                    <a:noFill/>
                  </a:ln>
                  <a:extLst/>
                </p:spPr>
                <p:txBody>
                  <a:bodyPr/>
                  <a:lstStyle/>
                  <a:p>
                    <a:pPr eaLnBrk="1" hangingPunct="1">
                      <a:defRPr/>
                    </a:pPr>
                    <a:endParaRPr lang="zh-CN" altLang="en-US" sz="1050"/>
                  </a:p>
                </p:txBody>
              </p:sp>
              <p:sp>
                <p:nvSpPr>
                  <p:cNvPr id="1726" name="Freeform 1586"/>
                  <p:cNvSpPr>
                    <a:spLocks/>
                  </p:cNvSpPr>
                  <p:nvPr/>
                </p:nvSpPr>
                <p:spPr bwMode="auto">
                  <a:xfrm>
                    <a:off x="10848" y="1828"/>
                    <a:ext cx="8" cy="26"/>
                  </a:xfrm>
                  <a:custGeom>
                    <a:avLst/>
                    <a:gdLst>
                      <a:gd name="T0" fmla="*/ 5 w 5"/>
                      <a:gd name="T1" fmla="*/ 18 h 18"/>
                      <a:gd name="T2" fmla="*/ 3 w 5"/>
                      <a:gd name="T3" fmla="*/ 0 h 18"/>
                      <a:gd name="T4" fmla="*/ 0 w 5"/>
                      <a:gd name="T5" fmla="*/ 0 h 18"/>
                      <a:gd name="T6" fmla="*/ 3 w 5"/>
                      <a:gd name="T7" fmla="*/ 18 h 18"/>
                      <a:gd name="T8" fmla="*/ 5 w 5"/>
                      <a:gd name="T9" fmla="*/ 18 h 18"/>
                    </a:gdLst>
                    <a:ahLst/>
                    <a:cxnLst>
                      <a:cxn ang="0">
                        <a:pos x="T0" y="T1"/>
                      </a:cxn>
                      <a:cxn ang="0">
                        <a:pos x="T2" y="T3"/>
                      </a:cxn>
                      <a:cxn ang="0">
                        <a:pos x="T4" y="T5"/>
                      </a:cxn>
                      <a:cxn ang="0">
                        <a:pos x="T6" y="T7"/>
                      </a:cxn>
                      <a:cxn ang="0">
                        <a:pos x="T8" y="T9"/>
                      </a:cxn>
                    </a:cxnLst>
                    <a:rect l="0" t="0" r="r" b="b"/>
                    <a:pathLst>
                      <a:path w="5" h="18">
                        <a:moveTo>
                          <a:pt x="5" y="18"/>
                        </a:moveTo>
                        <a:lnTo>
                          <a:pt x="3" y="0"/>
                        </a:lnTo>
                        <a:lnTo>
                          <a:pt x="0" y="0"/>
                        </a:lnTo>
                        <a:lnTo>
                          <a:pt x="3" y="18"/>
                        </a:lnTo>
                        <a:lnTo>
                          <a:pt x="5" y="18"/>
                        </a:lnTo>
                        <a:close/>
                      </a:path>
                    </a:pathLst>
                  </a:custGeom>
                  <a:solidFill>
                    <a:srgbClr val="01AAE5"/>
                  </a:solidFill>
                  <a:ln>
                    <a:noFill/>
                  </a:ln>
                  <a:extLst/>
                </p:spPr>
                <p:txBody>
                  <a:bodyPr/>
                  <a:lstStyle/>
                  <a:p>
                    <a:pPr eaLnBrk="1" hangingPunct="1">
                      <a:defRPr/>
                    </a:pPr>
                    <a:endParaRPr lang="zh-CN" altLang="en-US" sz="1050"/>
                  </a:p>
                </p:txBody>
              </p:sp>
              <p:sp>
                <p:nvSpPr>
                  <p:cNvPr id="1727" name="Freeform 1587"/>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1728" name="Freeform 1588"/>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1729" name="Freeform 1589"/>
                  <p:cNvSpPr>
                    <a:spLocks/>
                  </p:cNvSpPr>
                  <p:nvPr/>
                </p:nvSpPr>
                <p:spPr bwMode="auto">
                  <a:xfrm>
                    <a:off x="10856" y="1828"/>
                    <a:ext cx="0" cy="26"/>
                  </a:xfrm>
                  <a:custGeom>
                    <a:avLst/>
                    <a:gdLst>
                      <a:gd name="T0" fmla="*/ 2 w 2"/>
                      <a:gd name="T1" fmla="*/ 16 h 16"/>
                      <a:gd name="T2" fmla="*/ 0 w 2"/>
                      <a:gd name="T3" fmla="*/ 0 h 16"/>
                      <a:gd name="T4" fmla="*/ 0 w 2"/>
                      <a:gd name="T5" fmla="*/ 0 h 16"/>
                      <a:gd name="T6" fmla="*/ 2 w 2"/>
                      <a:gd name="T7" fmla="*/ 16 h 16"/>
                      <a:gd name="T8" fmla="*/ 2 w 2"/>
                      <a:gd name="T9" fmla="*/ 16 h 16"/>
                    </a:gdLst>
                    <a:ahLst/>
                    <a:cxnLst>
                      <a:cxn ang="0">
                        <a:pos x="T0" y="T1"/>
                      </a:cxn>
                      <a:cxn ang="0">
                        <a:pos x="T2" y="T3"/>
                      </a:cxn>
                      <a:cxn ang="0">
                        <a:pos x="T4" y="T5"/>
                      </a:cxn>
                      <a:cxn ang="0">
                        <a:pos x="T6" y="T7"/>
                      </a:cxn>
                      <a:cxn ang="0">
                        <a:pos x="T8" y="T9"/>
                      </a:cxn>
                    </a:cxnLst>
                    <a:rect l="0" t="0" r="r" b="b"/>
                    <a:pathLst>
                      <a:path w="2" h="16">
                        <a:moveTo>
                          <a:pt x="2" y="16"/>
                        </a:moveTo>
                        <a:lnTo>
                          <a:pt x="0" y="0"/>
                        </a:lnTo>
                        <a:lnTo>
                          <a:pt x="0" y="0"/>
                        </a:lnTo>
                        <a:lnTo>
                          <a:pt x="2"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1730" name="Freeform 1590"/>
                  <p:cNvSpPr>
                    <a:spLocks/>
                  </p:cNvSpPr>
                  <p:nvPr/>
                </p:nvSpPr>
                <p:spPr bwMode="auto">
                  <a:xfrm>
                    <a:off x="10856" y="1828"/>
                    <a:ext cx="0" cy="26"/>
                  </a:xfrm>
                  <a:custGeom>
                    <a:avLst/>
                    <a:gdLst>
                      <a:gd name="T0" fmla="*/ 3 w 3"/>
                      <a:gd name="T1" fmla="*/ 16 h 16"/>
                      <a:gd name="T2" fmla="*/ 0 w 3"/>
                      <a:gd name="T3" fmla="*/ 0 h 16"/>
                      <a:gd name="T4" fmla="*/ 0 w 3"/>
                      <a:gd name="T5" fmla="*/ 0 h 16"/>
                      <a:gd name="T6" fmla="*/ 3 w 3"/>
                      <a:gd name="T7" fmla="*/ 16 h 16"/>
                      <a:gd name="T8" fmla="*/ 3 w 3"/>
                      <a:gd name="T9" fmla="*/ 16 h 16"/>
                    </a:gdLst>
                    <a:ahLst/>
                    <a:cxnLst>
                      <a:cxn ang="0">
                        <a:pos x="T0" y="T1"/>
                      </a:cxn>
                      <a:cxn ang="0">
                        <a:pos x="T2" y="T3"/>
                      </a:cxn>
                      <a:cxn ang="0">
                        <a:pos x="T4" y="T5"/>
                      </a:cxn>
                      <a:cxn ang="0">
                        <a:pos x="T6" y="T7"/>
                      </a:cxn>
                      <a:cxn ang="0">
                        <a:pos x="T8" y="T9"/>
                      </a:cxn>
                    </a:cxnLst>
                    <a:rect l="0" t="0" r="r" b="b"/>
                    <a:pathLst>
                      <a:path w="3" h="16">
                        <a:moveTo>
                          <a:pt x="3" y="16"/>
                        </a:moveTo>
                        <a:lnTo>
                          <a:pt x="0" y="0"/>
                        </a:lnTo>
                        <a:lnTo>
                          <a:pt x="0" y="0"/>
                        </a:lnTo>
                        <a:lnTo>
                          <a:pt x="3" y="16"/>
                        </a:lnTo>
                        <a:lnTo>
                          <a:pt x="3" y="16"/>
                        </a:lnTo>
                        <a:close/>
                      </a:path>
                    </a:pathLst>
                  </a:custGeom>
                  <a:solidFill>
                    <a:srgbClr val="01AAE5"/>
                  </a:solidFill>
                  <a:ln>
                    <a:noFill/>
                  </a:ln>
                  <a:extLst/>
                </p:spPr>
                <p:txBody>
                  <a:bodyPr/>
                  <a:lstStyle/>
                  <a:p>
                    <a:pPr eaLnBrk="1" hangingPunct="1">
                      <a:defRPr/>
                    </a:pPr>
                    <a:endParaRPr lang="zh-CN" altLang="en-US" sz="1050"/>
                  </a:p>
                </p:txBody>
              </p:sp>
              <p:sp>
                <p:nvSpPr>
                  <p:cNvPr id="1731" name="Freeform 1591"/>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1732" name="Freeform 1592"/>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1733" name="Freeform 1593"/>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1734" name="Freeform 1594"/>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1735" name="Freeform 1595"/>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close/>
                      </a:path>
                    </a:pathLst>
                  </a:custGeom>
                  <a:solidFill>
                    <a:srgbClr val="01AAE5"/>
                  </a:solidFill>
                  <a:ln>
                    <a:noFill/>
                  </a:ln>
                  <a:extLst/>
                </p:spPr>
                <p:txBody>
                  <a:bodyPr/>
                  <a:lstStyle/>
                  <a:p>
                    <a:pPr eaLnBrk="1" hangingPunct="1">
                      <a:defRPr/>
                    </a:pPr>
                    <a:endParaRPr lang="zh-CN" altLang="en-US" sz="1050"/>
                  </a:p>
                </p:txBody>
              </p:sp>
              <p:sp>
                <p:nvSpPr>
                  <p:cNvPr id="1736" name="Freeform 1596"/>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path>
                    </a:pathLst>
                  </a:custGeom>
                  <a:noFill/>
                  <a:ln>
                    <a:noFill/>
                  </a:ln>
                  <a:extLst/>
                </p:spPr>
                <p:txBody>
                  <a:bodyPr/>
                  <a:lstStyle/>
                  <a:p>
                    <a:pPr eaLnBrk="1" hangingPunct="1">
                      <a:defRPr/>
                    </a:pPr>
                    <a:endParaRPr lang="zh-CN" altLang="en-US" sz="1050"/>
                  </a:p>
                </p:txBody>
              </p:sp>
              <p:sp>
                <p:nvSpPr>
                  <p:cNvPr id="1737" name="Freeform 1597"/>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close/>
                      </a:path>
                    </a:pathLst>
                  </a:custGeom>
                  <a:solidFill>
                    <a:srgbClr val="01AAE5"/>
                  </a:solidFill>
                  <a:ln>
                    <a:noFill/>
                  </a:ln>
                  <a:extLst/>
                </p:spPr>
                <p:txBody>
                  <a:bodyPr/>
                  <a:lstStyle/>
                  <a:p>
                    <a:pPr eaLnBrk="1" hangingPunct="1">
                      <a:defRPr/>
                    </a:pPr>
                    <a:endParaRPr lang="zh-CN" altLang="en-US" sz="1050"/>
                  </a:p>
                </p:txBody>
              </p:sp>
              <p:sp>
                <p:nvSpPr>
                  <p:cNvPr id="1738" name="Freeform 1598"/>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path>
                    </a:pathLst>
                  </a:custGeom>
                  <a:noFill/>
                  <a:ln>
                    <a:noFill/>
                  </a:ln>
                  <a:extLst/>
                </p:spPr>
                <p:txBody>
                  <a:bodyPr/>
                  <a:lstStyle/>
                  <a:p>
                    <a:pPr eaLnBrk="1" hangingPunct="1">
                      <a:defRPr/>
                    </a:pPr>
                    <a:endParaRPr lang="zh-CN" altLang="en-US" sz="1050"/>
                  </a:p>
                </p:txBody>
              </p:sp>
              <p:sp>
                <p:nvSpPr>
                  <p:cNvPr id="1739" name="Freeform 1599"/>
                  <p:cNvSpPr>
                    <a:spLocks/>
                  </p:cNvSpPr>
                  <p:nvPr/>
                </p:nvSpPr>
                <p:spPr bwMode="auto">
                  <a:xfrm>
                    <a:off x="10864" y="1828"/>
                    <a:ext cx="0" cy="26"/>
                  </a:xfrm>
                  <a:custGeom>
                    <a:avLst/>
                    <a:gdLst>
                      <a:gd name="T0" fmla="*/ 2 w 2"/>
                      <a:gd name="T1" fmla="*/ 14 h 14"/>
                      <a:gd name="T2" fmla="*/ 2 w 2"/>
                      <a:gd name="T3" fmla="*/ 0 h 14"/>
                      <a:gd name="T4" fmla="*/ 0 w 2"/>
                      <a:gd name="T5" fmla="*/ 0 h 14"/>
                      <a:gd name="T6" fmla="*/ 2 w 2"/>
                      <a:gd name="T7" fmla="*/ 14 h 14"/>
                      <a:gd name="T8" fmla="*/ 2 w 2"/>
                      <a:gd name="T9" fmla="*/ 14 h 14"/>
                    </a:gdLst>
                    <a:ahLst/>
                    <a:cxnLst>
                      <a:cxn ang="0">
                        <a:pos x="T0" y="T1"/>
                      </a:cxn>
                      <a:cxn ang="0">
                        <a:pos x="T2" y="T3"/>
                      </a:cxn>
                      <a:cxn ang="0">
                        <a:pos x="T4" y="T5"/>
                      </a:cxn>
                      <a:cxn ang="0">
                        <a:pos x="T6" y="T7"/>
                      </a:cxn>
                      <a:cxn ang="0">
                        <a:pos x="T8" y="T9"/>
                      </a:cxn>
                    </a:cxnLst>
                    <a:rect l="0" t="0" r="r" b="b"/>
                    <a:pathLst>
                      <a:path w="2" h="14">
                        <a:moveTo>
                          <a:pt x="2" y="14"/>
                        </a:moveTo>
                        <a:lnTo>
                          <a:pt x="2" y="0"/>
                        </a:lnTo>
                        <a:lnTo>
                          <a:pt x="0" y="0"/>
                        </a:lnTo>
                        <a:lnTo>
                          <a:pt x="2"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1740" name="Freeform 1600"/>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1741" name="Freeform 1601"/>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path>
                    </a:pathLst>
                  </a:custGeom>
                  <a:noFill/>
                  <a:ln>
                    <a:noFill/>
                  </a:ln>
                  <a:extLst/>
                </p:spPr>
                <p:txBody>
                  <a:bodyPr/>
                  <a:lstStyle/>
                  <a:p>
                    <a:pPr eaLnBrk="1" hangingPunct="1">
                      <a:defRPr/>
                    </a:pPr>
                    <a:endParaRPr lang="zh-CN" altLang="en-US" sz="1050"/>
                  </a:p>
                </p:txBody>
              </p:sp>
              <p:sp>
                <p:nvSpPr>
                  <p:cNvPr id="1742" name="Freeform 1602"/>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1743" name="Freeform 1603"/>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path>
                    </a:pathLst>
                  </a:custGeom>
                  <a:noFill/>
                  <a:ln>
                    <a:noFill/>
                  </a:ln>
                  <a:extLst/>
                </p:spPr>
                <p:txBody>
                  <a:bodyPr/>
                  <a:lstStyle/>
                  <a:p>
                    <a:pPr eaLnBrk="1" hangingPunct="1">
                      <a:defRPr/>
                    </a:pPr>
                    <a:endParaRPr lang="zh-CN" altLang="en-US" sz="1050"/>
                  </a:p>
                </p:txBody>
              </p:sp>
              <p:sp>
                <p:nvSpPr>
                  <p:cNvPr id="1744" name="Freeform 1604"/>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close/>
                      </a:path>
                    </a:pathLst>
                  </a:custGeom>
                  <a:solidFill>
                    <a:srgbClr val="01AAE5"/>
                  </a:solidFill>
                  <a:ln>
                    <a:noFill/>
                  </a:ln>
                  <a:extLst/>
                </p:spPr>
                <p:txBody>
                  <a:bodyPr/>
                  <a:lstStyle/>
                  <a:p>
                    <a:pPr eaLnBrk="1" hangingPunct="1">
                      <a:defRPr/>
                    </a:pPr>
                    <a:endParaRPr lang="zh-CN" altLang="en-US" sz="1050"/>
                  </a:p>
                </p:txBody>
              </p:sp>
              <p:sp>
                <p:nvSpPr>
                  <p:cNvPr id="1745" name="Freeform 1605"/>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path>
                    </a:pathLst>
                  </a:custGeom>
                  <a:noFill/>
                  <a:ln>
                    <a:noFill/>
                  </a:ln>
                  <a:extLst/>
                </p:spPr>
                <p:txBody>
                  <a:bodyPr/>
                  <a:lstStyle/>
                  <a:p>
                    <a:pPr eaLnBrk="1" hangingPunct="1">
                      <a:defRPr/>
                    </a:pPr>
                    <a:endParaRPr lang="zh-CN" altLang="en-US" sz="1050"/>
                  </a:p>
                </p:txBody>
              </p:sp>
              <p:sp>
                <p:nvSpPr>
                  <p:cNvPr id="1746" name="Freeform 1606"/>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close/>
                      </a:path>
                    </a:pathLst>
                  </a:custGeom>
                  <a:solidFill>
                    <a:srgbClr val="01AAE5"/>
                  </a:solidFill>
                  <a:ln>
                    <a:noFill/>
                  </a:ln>
                  <a:extLst/>
                </p:spPr>
                <p:txBody>
                  <a:bodyPr/>
                  <a:lstStyle/>
                  <a:p>
                    <a:pPr eaLnBrk="1" hangingPunct="1">
                      <a:defRPr/>
                    </a:pPr>
                    <a:endParaRPr lang="zh-CN" altLang="en-US" sz="1050"/>
                  </a:p>
                </p:txBody>
              </p:sp>
              <p:sp>
                <p:nvSpPr>
                  <p:cNvPr id="1747" name="Freeform 1607"/>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path>
                    </a:pathLst>
                  </a:custGeom>
                  <a:noFill/>
                  <a:ln>
                    <a:noFill/>
                  </a:ln>
                  <a:extLst/>
                </p:spPr>
                <p:txBody>
                  <a:bodyPr/>
                  <a:lstStyle/>
                  <a:p>
                    <a:pPr eaLnBrk="1" hangingPunct="1">
                      <a:defRPr/>
                    </a:pPr>
                    <a:endParaRPr lang="zh-CN" altLang="en-US" sz="1050"/>
                  </a:p>
                </p:txBody>
              </p:sp>
              <p:sp>
                <p:nvSpPr>
                  <p:cNvPr id="1748" name="Freeform 1608"/>
                  <p:cNvSpPr>
                    <a:spLocks/>
                  </p:cNvSpPr>
                  <p:nvPr/>
                </p:nvSpPr>
                <p:spPr bwMode="auto">
                  <a:xfrm>
                    <a:off x="10914" y="1828"/>
                    <a:ext cx="0" cy="9"/>
                  </a:xfrm>
                  <a:custGeom>
                    <a:avLst/>
                    <a:gdLst>
                      <a:gd name="T0" fmla="*/ 2 w 2"/>
                      <a:gd name="T1" fmla="*/ 7 h 7"/>
                      <a:gd name="T2" fmla="*/ 0 w 2"/>
                      <a:gd name="T3" fmla="*/ 0 h 7"/>
                      <a:gd name="T4" fmla="*/ 0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0" y="0"/>
                        </a:lnTo>
                        <a:lnTo>
                          <a:pt x="0"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1749" name="Freeform 1609"/>
                  <p:cNvSpPr>
                    <a:spLocks/>
                  </p:cNvSpPr>
                  <p:nvPr/>
                </p:nvSpPr>
                <p:spPr bwMode="auto">
                  <a:xfrm>
                    <a:off x="10864" y="1828"/>
                    <a:ext cx="8" cy="26"/>
                  </a:xfrm>
                  <a:custGeom>
                    <a:avLst/>
                    <a:gdLst>
                      <a:gd name="T0" fmla="*/ 2 w 2"/>
                      <a:gd name="T1" fmla="*/ 11 h 14"/>
                      <a:gd name="T2" fmla="*/ 2 w 2"/>
                      <a:gd name="T3" fmla="*/ 0 h 14"/>
                      <a:gd name="T4" fmla="*/ 0 w 2"/>
                      <a:gd name="T5" fmla="*/ 0 h 14"/>
                      <a:gd name="T6" fmla="*/ 2 w 2"/>
                      <a:gd name="T7" fmla="*/ 14 h 14"/>
                      <a:gd name="T8" fmla="*/ 2 w 2"/>
                      <a:gd name="T9" fmla="*/ 11 h 14"/>
                    </a:gdLst>
                    <a:ahLst/>
                    <a:cxnLst>
                      <a:cxn ang="0">
                        <a:pos x="T0" y="T1"/>
                      </a:cxn>
                      <a:cxn ang="0">
                        <a:pos x="T2" y="T3"/>
                      </a:cxn>
                      <a:cxn ang="0">
                        <a:pos x="T4" y="T5"/>
                      </a:cxn>
                      <a:cxn ang="0">
                        <a:pos x="T6" y="T7"/>
                      </a:cxn>
                      <a:cxn ang="0">
                        <a:pos x="T8" y="T9"/>
                      </a:cxn>
                    </a:cxnLst>
                    <a:rect l="0" t="0" r="r" b="b"/>
                    <a:pathLst>
                      <a:path w="2" h="14">
                        <a:moveTo>
                          <a:pt x="2" y="11"/>
                        </a:moveTo>
                        <a:lnTo>
                          <a:pt x="2" y="0"/>
                        </a:lnTo>
                        <a:lnTo>
                          <a:pt x="0" y="0"/>
                        </a:lnTo>
                        <a:lnTo>
                          <a:pt x="2" y="14"/>
                        </a:lnTo>
                        <a:lnTo>
                          <a:pt x="2" y="11"/>
                        </a:lnTo>
                        <a:close/>
                      </a:path>
                    </a:pathLst>
                  </a:custGeom>
                  <a:solidFill>
                    <a:srgbClr val="01AAE5"/>
                  </a:solidFill>
                  <a:ln>
                    <a:noFill/>
                  </a:ln>
                  <a:extLst/>
                </p:spPr>
                <p:txBody>
                  <a:bodyPr/>
                  <a:lstStyle/>
                  <a:p>
                    <a:pPr eaLnBrk="1" hangingPunct="1">
                      <a:defRPr/>
                    </a:pPr>
                    <a:endParaRPr lang="zh-CN" altLang="en-US" sz="1050"/>
                  </a:p>
                </p:txBody>
              </p:sp>
              <p:sp>
                <p:nvSpPr>
                  <p:cNvPr id="1750" name="Rectangle 1610"/>
                  <p:cNvSpPr>
                    <a:spLocks noChangeArrowheads="1"/>
                  </p:cNvSpPr>
                  <p:nvPr/>
                </p:nvSpPr>
                <p:spPr bwMode="auto">
                  <a:xfrm>
                    <a:off x="10922" y="1828"/>
                    <a:ext cx="8" cy="9"/>
                  </a:xfrm>
                  <a:prstGeom prst="rect">
                    <a:avLst/>
                  </a:prstGeom>
                  <a:solidFill>
                    <a:srgbClr val="01AAE5"/>
                  </a:solidFill>
                  <a:ln>
                    <a:noFill/>
                  </a:ln>
                  <a:extLst/>
                </p:spPr>
                <p:txBody>
                  <a:bodyPr/>
                  <a:lstStyle/>
                  <a:p>
                    <a:pPr eaLnBrk="1" hangingPunct="1">
                      <a:defRPr/>
                    </a:pPr>
                    <a:endParaRPr lang="zh-CN" altLang="en-US" sz="1050"/>
                  </a:p>
                </p:txBody>
              </p:sp>
              <p:sp>
                <p:nvSpPr>
                  <p:cNvPr id="1751" name="Freeform 1611"/>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1752" name="Freeform 1612"/>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1753" name="Rectangle 1613"/>
                  <p:cNvSpPr>
                    <a:spLocks noChangeArrowheads="1"/>
                  </p:cNvSpPr>
                  <p:nvPr/>
                </p:nvSpPr>
                <p:spPr bwMode="auto">
                  <a:xfrm>
                    <a:off x="10931" y="1828"/>
                    <a:ext cx="0" cy="9"/>
                  </a:xfrm>
                  <a:prstGeom prst="rect">
                    <a:avLst/>
                  </a:prstGeom>
                  <a:solidFill>
                    <a:srgbClr val="01AAE5"/>
                  </a:solidFill>
                  <a:ln>
                    <a:noFill/>
                  </a:ln>
                  <a:extLst/>
                </p:spPr>
                <p:txBody>
                  <a:bodyPr/>
                  <a:lstStyle/>
                  <a:p>
                    <a:pPr eaLnBrk="1" hangingPunct="1">
                      <a:defRPr/>
                    </a:pPr>
                    <a:endParaRPr lang="zh-CN" altLang="en-US" sz="1050"/>
                  </a:p>
                </p:txBody>
              </p:sp>
              <p:sp>
                <p:nvSpPr>
                  <p:cNvPr id="1754" name="Rectangle 1614"/>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1755" name="Freeform 1615"/>
                  <p:cNvSpPr>
                    <a:spLocks/>
                  </p:cNvSpPr>
                  <p:nvPr/>
                </p:nvSpPr>
                <p:spPr bwMode="auto">
                  <a:xfrm>
                    <a:off x="10249" y="2325"/>
                    <a:ext cx="75" cy="17"/>
                  </a:xfrm>
                  <a:custGeom>
                    <a:avLst/>
                    <a:gdLst>
                      <a:gd name="T0" fmla="*/ 71 w 71"/>
                      <a:gd name="T1" fmla="*/ 21 h 23"/>
                      <a:gd name="T2" fmla="*/ 71 w 71"/>
                      <a:gd name="T3" fmla="*/ 21 h 23"/>
                      <a:gd name="T4" fmla="*/ 0 w 71"/>
                      <a:gd name="T5" fmla="*/ 0 h 23"/>
                      <a:gd name="T6" fmla="*/ 0 w 71"/>
                      <a:gd name="T7" fmla="*/ 0 h 23"/>
                      <a:gd name="T8" fmla="*/ 71 w 71"/>
                      <a:gd name="T9" fmla="*/ 23 h 23"/>
                      <a:gd name="T10" fmla="*/ 71 w 71"/>
                      <a:gd name="T11" fmla="*/ 21 h 23"/>
                    </a:gdLst>
                    <a:ahLst/>
                    <a:cxnLst>
                      <a:cxn ang="0">
                        <a:pos x="T0" y="T1"/>
                      </a:cxn>
                      <a:cxn ang="0">
                        <a:pos x="T2" y="T3"/>
                      </a:cxn>
                      <a:cxn ang="0">
                        <a:pos x="T4" y="T5"/>
                      </a:cxn>
                      <a:cxn ang="0">
                        <a:pos x="T6" y="T7"/>
                      </a:cxn>
                      <a:cxn ang="0">
                        <a:pos x="T8" y="T9"/>
                      </a:cxn>
                      <a:cxn ang="0">
                        <a:pos x="T10" y="T11"/>
                      </a:cxn>
                    </a:cxnLst>
                    <a:rect l="0" t="0" r="r" b="b"/>
                    <a:pathLst>
                      <a:path w="71" h="23">
                        <a:moveTo>
                          <a:pt x="71" y="21"/>
                        </a:moveTo>
                        <a:lnTo>
                          <a:pt x="71" y="21"/>
                        </a:lnTo>
                        <a:lnTo>
                          <a:pt x="0" y="0"/>
                        </a:lnTo>
                        <a:lnTo>
                          <a:pt x="0" y="0"/>
                        </a:lnTo>
                        <a:lnTo>
                          <a:pt x="71"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1756" name="Rectangle 1616"/>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1757" name="Rectangle 1617"/>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1758" name="Freeform 1618"/>
                  <p:cNvSpPr>
                    <a:spLocks/>
                  </p:cNvSpPr>
                  <p:nvPr/>
                </p:nvSpPr>
                <p:spPr bwMode="auto">
                  <a:xfrm>
                    <a:off x="10922" y="1828"/>
                    <a:ext cx="0" cy="9"/>
                  </a:xfrm>
                  <a:custGeom>
                    <a:avLst/>
                    <a:gdLst>
                      <a:gd name="T0" fmla="*/ 2 w 2"/>
                      <a:gd name="T1" fmla="*/ 10 h 10"/>
                      <a:gd name="T2" fmla="*/ 2 w 2"/>
                      <a:gd name="T3" fmla="*/ 0 h 10"/>
                      <a:gd name="T4" fmla="*/ 0 w 2"/>
                      <a:gd name="T5" fmla="*/ 3 h 10"/>
                      <a:gd name="T6" fmla="*/ 0 w 2"/>
                      <a:gd name="T7" fmla="*/ 1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0"/>
                        </a:lnTo>
                        <a:lnTo>
                          <a:pt x="0" y="3"/>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1759" name="Freeform 1619"/>
                  <p:cNvSpPr>
                    <a:spLocks/>
                  </p:cNvSpPr>
                  <p:nvPr/>
                </p:nvSpPr>
                <p:spPr bwMode="auto">
                  <a:xfrm>
                    <a:off x="10881" y="1828"/>
                    <a:ext cx="0" cy="17"/>
                  </a:xfrm>
                  <a:custGeom>
                    <a:avLst/>
                    <a:gdLst>
                      <a:gd name="T0" fmla="*/ 3 w 3"/>
                      <a:gd name="T1" fmla="*/ 9 h 11"/>
                      <a:gd name="T2" fmla="*/ 0 w 3"/>
                      <a:gd name="T3" fmla="*/ 0 h 11"/>
                      <a:gd name="T4" fmla="*/ 0 w 3"/>
                      <a:gd name="T5" fmla="*/ 0 h 11"/>
                      <a:gd name="T6" fmla="*/ 0 w 3"/>
                      <a:gd name="T7" fmla="*/ 11 h 11"/>
                      <a:gd name="T8" fmla="*/ 3 w 3"/>
                      <a:gd name="T9" fmla="*/ 9 h 11"/>
                    </a:gdLst>
                    <a:ahLst/>
                    <a:cxnLst>
                      <a:cxn ang="0">
                        <a:pos x="T0" y="T1"/>
                      </a:cxn>
                      <a:cxn ang="0">
                        <a:pos x="T2" y="T3"/>
                      </a:cxn>
                      <a:cxn ang="0">
                        <a:pos x="T4" y="T5"/>
                      </a:cxn>
                      <a:cxn ang="0">
                        <a:pos x="T6" y="T7"/>
                      </a:cxn>
                      <a:cxn ang="0">
                        <a:pos x="T8" y="T9"/>
                      </a:cxn>
                    </a:cxnLst>
                    <a:rect l="0" t="0" r="r" b="b"/>
                    <a:pathLst>
                      <a:path w="3" h="11">
                        <a:moveTo>
                          <a:pt x="3" y="9"/>
                        </a:moveTo>
                        <a:lnTo>
                          <a:pt x="0" y="0"/>
                        </a:lnTo>
                        <a:lnTo>
                          <a:pt x="0" y="0"/>
                        </a:lnTo>
                        <a:lnTo>
                          <a:pt x="0" y="11"/>
                        </a:lnTo>
                        <a:lnTo>
                          <a:pt x="3" y="9"/>
                        </a:lnTo>
                        <a:close/>
                      </a:path>
                    </a:pathLst>
                  </a:custGeom>
                  <a:solidFill>
                    <a:srgbClr val="01AAE5"/>
                  </a:solidFill>
                  <a:ln>
                    <a:noFill/>
                  </a:ln>
                  <a:extLst/>
                </p:spPr>
                <p:txBody>
                  <a:bodyPr/>
                  <a:lstStyle/>
                  <a:p>
                    <a:pPr eaLnBrk="1" hangingPunct="1">
                      <a:defRPr/>
                    </a:pPr>
                    <a:endParaRPr lang="zh-CN" altLang="en-US" sz="1050"/>
                  </a:p>
                </p:txBody>
              </p:sp>
              <p:sp>
                <p:nvSpPr>
                  <p:cNvPr id="1760" name="Rectangle 1620"/>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1761" name="Freeform 1621"/>
                  <p:cNvSpPr>
                    <a:spLocks/>
                  </p:cNvSpPr>
                  <p:nvPr/>
                </p:nvSpPr>
                <p:spPr bwMode="auto">
                  <a:xfrm>
                    <a:off x="10873" y="1828"/>
                    <a:ext cx="8" cy="17"/>
                  </a:xfrm>
                  <a:custGeom>
                    <a:avLst/>
                    <a:gdLst>
                      <a:gd name="T0" fmla="*/ 3 w 3"/>
                      <a:gd name="T1" fmla="*/ 11 h 11"/>
                      <a:gd name="T2" fmla="*/ 3 w 3"/>
                      <a:gd name="T3" fmla="*/ 0 h 11"/>
                      <a:gd name="T4" fmla="*/ 0 w 3"/>
                      <a:gd name="T5" fmla="*/ 0 h 11"/>
                      <a:gd name="T6" fmla="*/ 3 w 3"/>
                      <a:gd name="T7" fmla="*/ 11 h 11"/>
                      <a:gd name="T8" fmla="*/ 3 w 3"/>
                      <a:gd name="T9" fmla="*/ 11 h 11"/>
                    </a:gdLst>
                    <a:ahLst/>
                    <a:cxnLst>
                      <a:cxn ang="0">
                        <a:pos x="T0" y="T1"/>
                      </a:cxn>
                      <a:cxn ang="0">
                        <a:pos x="T2" y="T3"/>
                      </a:cxn>
                      <a:cxn ang="0">
                        <a:pos x="T4" y="T5"/>
                      </a:cxn>
                      <a:cxn ang="0">
                        <a:pos x="T6" y="T7"/>
                      </a:cxn>
                      <a:cxn ang="0">
                        <a:pos x="T8" y="T9"/>
                      </a:cxn>
                    </a:cxnLst>
                    <a:rect l="0" t="0" r="r" b="b"/>
                    <a:pathLst>
                      <a:path w="3" h="11">
                        <a:moveTo>
                          <a:pt x="3" y="11"/>
                        </a:moveTo>
                        <a:lnTo>
                          <a:pt x="3" y="0"/>
                        </a:lnTo>
                        <a:lnTo>
                          <a:pt x="0" y="0"/>
                        </a:lnTo>
                        <a:lnTo>
                          <a:pt x="3" y="11"/>
                        </a:lnTo>
                        <a:lnTo>
                          <a:pt x="3" y="11"/>
                        </a:lnTo>
                        <a:close/>
                      </a:path>
                    </a:pathLst>
                  </a:custGeom>
                  <a:solidFill>
                    <a:srgbClr val="01AAE5"/>
                  </a:solidFill>
                  <a:ln>
                    <a:noFill/>
                  </a:ln>
                  <a:extLst/>
                </p:spPr>
                <p:txBody>
                  <a:bodyPr/>
                  <a:lstStyle/>
                  <a:p>
                    <a:pPr eaLnBrk="1" hangingPunct="1">
                      <a:defRPr/>
                    </a:pPr>
                    <a:endParaRPr lang="zh-CN" altLang="en-US" sz="1050"/>
                  </a:p>
                </p:txBody>
              </p:sp>
              <p:sp>
                <p:nvSpPr>
                  <p:cNvPr id="1762" name="Freeform 1622"/>
                  <p:cNvSpPr>
                    <a:spLocks/>
                  </p:cNvSpPr>
                  <p:nvPr/>
                </p:nvSpPr>
                <p:spPr bwMode="auto">
                  <a:xfrm>
                    <a:off x="10881" y="1828"/>
                    <a:ext cx="0" cy="17"/>
                  </a:xfrm>
                  <a:custGeom>
                    <a:avLst/>
                    <a:gdLst>
                      <a:gd name="T0" fmla="*/ 2 w 2"/>
                      <a:gd name="T1" fmla="*/ 9 h 9"/>
                      <a:gd name="T2" fmla="*/ 0 w 2"/>
                      <a:gd name="T3" fmla="*/ 0 h 9"/>
                      <a:gd name="T4" fmla="*/ 0 w 2"/>
                      <a:gd name="T5" fmla="*/ 0 h 9"/>
                      <a:gd name="T6" fmla="*/ 0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0"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1763" name="Freeform 1623"/>
                  <p:cNvSpPr>
                    <a:spLocks/>
                  </p:cNvSpPr>
                  <p:nvPr/>
                </p:nvSpPr>
                <p:spPr bwMode="auto">
                  <a:xfrm>
                    <a:off x="10897" y="1828"/>
                    <a:ext cx="8" cy="17"/>
                  </a:xfrm>
                  <a:custGeom>
                    <a:avLst/>
                    <a:gdLst>
                      <a:gd name="T0" fmla="*/ 3 w 3"/>
                      <a:gd name="T1" fmla="*/ 9 h 9"/>
                      <a:gd name="T2" fmla="*/ 3 w 3"/>
                      <a:gd name="T3" fmla="*/ 0 h 9"/>
                      <a:gd name="T4" fmla="*/ 0 w 3"/>
                      <a:gd name="T5" fmla="*/ 0 h 9"/>
                      <a:gd name="T6" fmla="*/ 3 w 3"/>
                      <a:gd name="T7" fmla="*/ 9 h 9"/>
                      <a:gd name="T8" fmla="*/ 3 w 3"/>
                      <a:gd name="T9" fmla="*/ 9 h 9"/>
                    </a:gdLst>
                    <a:ahLst/>
                    <a:cxnLst>
                      <a:cxn ang="0">
                        <a:pos x="T0" y="T1"/>
                      </a:cxn>
                      <a:cxn ang="0">
                        <a:pos x="T2" y="T3"/>
                      </a:cxn>
                      <a:cxn ang="0">
                        <a:pos x="T4" y="T5"/>
                      </a:cxn>
                      <a:cxn ang="0">
                        <a:pos x="T6" y="T7"/>
                      </a:cxn>
                      <a:cxn ang="0">
                        <a:pos x="T8" y="T9"/>
                      </a:cxn>
                    </a:cxnLst>
                    <a:rect l="0" t="0" r="r" b="b"/>
                    <a:pathLst>
                      <a:path w="3" h="9">
                        <a:moveTo>
                          <a:pt x="3" y="9"/>
                        </a:moveTo>
                        <a:lnTo>
                          <a:pt x="3" y="0"/>
                        </a:lnTo>
                        <a:lnTo>
                          <a:pt x="0" y="0"/>
                        </a:lnTo>
                        <a:lnTo>
                          <a:pt x="3"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1764" name="Rectangle 1624"/>
                  <p:cNvSpPr>
                    <a:spLocks noChangeArrowheads="1"/>
                  </p:cNvSpPr>
                  <p:nvPr/>
                </p:nvSpPr>
                <p:spPr bwMode="auto">
                  <a:xfrm>
                    <a:off x="10889"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1765" name="Rectangle 1625"/>
                  <p:cNvSpPr>
                    <a:spLocks noChangeArrowheads="1"/>
                  </p:cNvSpPr>
                  <p:nvPr/>
                </p:nvSpPr>
                <p:spPr bwMode="auto">
                  <a:xfrm>
                    <a:off x="10897"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1766" name="Freeform 1626"/>
                  <p:cNvSpPr>
                    <a:spLocks/>
                  </p:cNvSpPr>
                  <p:nvPr/>
                </p:nvSpPr>
                <p:spPr bwMode="auto">
                  <a:xfrm>
                    <a:off x="10739" y="1855"/>
                    <a:ext cx="0" cy="17"/>
                  </a:xfrm>
                  <a:custGeom>
                    <a:avLst/>
                    <a:gdLst>
                      <a:gd name="T0" fmla="*/ 4 w 4"/>
                      <a:gd name="T1" fmla="*/ 11 h 11"/>
                      <a:gd name="T2" fmla="*/ 0 w 4"/>
                      <a:gd name="T3" fmla="*/ 0 h 11"/>
                      <a:gd name="T4" fmla="*/ 0 w 4"/>
                      <a:gd name="T5" fmla="*/ 0 h 11"/>
                      <a:gd name="T6" fmla="*/ 2 w 4"/>
                      <a:gd name="T7" fmla="*/ 11 h 11"/>
                      <a:gd name="T8" fmla="*/ 4 w 4"/>
                      <a:gd name="T9" fmla="*/ 11 h 11"/>
                    </a:gdLst>
                    <a:ahLst/>
                    <a:cxnLst>
                      <a:cxn ang="0">
                        <a:pos x="T0" y="T1"/>
                      </a:cxn>
                      <a:cxn ang="0">
                        <a:pos x="T2" y="T3"/>
                      </a:cxn>
                      <a:cxn ang="0">
                        <a:pos x="T4" y="T5"/>
                      </a:cxn>
                      <a:cxn ang="0">
                        <a:pos x="T6" y="T7"/>
                      </a:cxn>
                      <a:cxn ang="0">
                        <a:pos x="T8" y="T9"/>
                      </a:cxn>
                    </a:cxnLst>
                    <a:rect l="0" t="0" r="r" b="b"/>
                    <a:pathLst>
                      <a:path w="4" h="11">
                        <a:moveTo>
                          <a:pt x="4" y="11"/>
                        </a:moveTo>
                        <a:lnTo>
                          <a:pt x="0" y="0"/>
                        </a:lnTo>
                        <a:lnTo>
                          <a:pt x="0" y="0"/>
                        </a:lnTo>
                        <a:lnTo>
                          <a:pt x="2" y="11"/>
                        </a:lnTo>
                        <a:lnTo>
                          <a:pt x="4" y="11"/>
                        </a:lnTo>
                        <a:close/>
                      </a:path>
                    </a:pathLst>
                  </a:custGeom>
                  <a:solidFill>
                    <a:srgbClr val="01AAE5"/>
                  </a:solidFill>
                  <a:ln>
                    <a:noFill/>
                  </a:ln>
                  <a:extLst/>
                </p:spPr>
                <p:txBody>
                  <a:bodyPr/>
                  <a:lstStyle/>
                  <a:p>
                    <a:pPr eaLnBrk="1" hangingPunct="1">
                      <a:defRPr/>
                    </a:pPr>
                    <a:endParaRPr lang="zh-CN" altLang="en-US" sz="1050"/>
                  </a:p>
                </p:txBody>
              </p:sp>
              <p:sp>
                <p:nvSpPr>
                  <p:cNvPr id="1767" name="Freeform 1627"/>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close/>
                      </a:path>
                    </a:pathLst>
                  </a:custGeom>
                  <a:solidFill>
                    <a:srgbClr val="01AAE5"/>
                  </a:solidFill>
                  <a:ln>
                    <a:noFill/>
                  </a:ln>
                  <a:extLst/>
                </p:spPr>
                <p:txBody>
                  <a:bodyPr/>
                  <a:lstStyle/>
                  <a:p>
                    <a:pPr eaLnBrk="1" hangingPunct="1">
                      <a:defRPr/>
                    </a:pPr>
                    <a:endParaRPr lang="zh-CN" altLang="en-US" sz="1050"/>
                  </a:p>
                </p:txBody>
              </p:sp>
              <p:sp>
                <p:nvSpPr>
                  <p:cNvPr id="1768" name="Freeform 1628"/>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path>
                    </a:pathLst>
                  </a:custGeom>
                  <a:noFill/>
                  <a:ln>
                    <a:noFill/>
                  </a:ln>
                  <a:extLst/>
                </p:spPr>
                <p:txBody>
                  <a:bodyPr/>
                  <a:lstStyle/>
                  <a:p>
                    <a:pPr eaLnBrk="1" hangingPunct="1">
                      <a:defRPr/>
                    </a:pPr>
                    <a:endParaRPr lang="zh-CN" altLang="en-US" sz="1050"/>
                  </a:p>
                </p:txBody>
              </p:sp>
              <p:sp>
                <p:nvSpPr>
                  <p:cNvPr id="1769" name="Freeform 1629"/>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close/>
                      </a:path>
                    </a:pathLst>
                  </a:custGeom>
                  <a:solidFill>
                    <a:srgbClr val="01AAE5"/>
                  </a:solidFill>
                  <a:ln>
                    <a:noFill/>
                  </a:ln>
                  <a:extLst/>
                </p:spPr>
                <p:txBody>
                  <a:bodyPr/>
                  <a:lstStyle/>
                  <a:p>
                    <a:pPr eaLnBrk="1" hangingPunct="1">
                      <a:defRPr/>
                    </a:pPr>
                    <a:endParaRPr lang="zh-CN" altLang="en-US" sz="1050"/>
                  </a:p>
                </p:txBody>
              </p:sp>
              <p:sp>
                <p:nvSpPr>
                  <p:cNvPr id="1770" name="Freeform 1630"/>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path>
                    </a:pathLst>
                  </a:custGeom>
                  <a:noFill/>
                  <a:ln>
                    <a:noFill/>
                  </a:ln>
                  <a:extLst/>
                </p:spPr>
                <p:txBody>
                  <a:bodyPr/>
                  <a:lstStyle/>
                  <a:p>
                    <a:pPr eaLnBrk="1" hangingPunct="1">
                      <a:defRPr/>
                    </a:pPr>
                    <a:endParaRPr lang="zh-CN" altLang="en-US" sz="1050"/>
                  </a:p>
                </p:txBody>
              </p:sp>
              <p:sp>
                <p:nvSpPr>
                  <p:cNvPr id="1771" name="Freeform 1631"/>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close/>
                      </a:path>
                    </a:pathLst>
                  </a:custGeom>
                  <a:solidFill>
                    <a:srgbClr val="01AAE5"/>
                  </a:solidFill>
                  <a:ln>
                    <a:noFill/>
                  </a:ln>
                  <a:extLst/>
                </p:spPr>
                <p:txBody>
                  <a:bodyPr/>
                  <a:lstStyle/>
                  <a:p>
                    <a:pPr eaLnBrk="1" hangingPunct="1">
                      <a:defRPr/>
                    </a:pPr>
                    <a:endParaRPr lang="zh-CN" altLang="en-US" sz="1050"/>
                  </a:p>
                </p:txBody>
              </p:sp>
              <p:sp>
                <p:nvSpPr>
                  <p:cNvPr id="1772" name="Freeform 1632"/>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path>
                    </a:pathLst>
                  </a:custGeom>
                  <a:noFill/>
                  <a:ln>
                    <a:noFill/>
                  </a:ln>
                  <a:extLst/>
                </p:spPr>
                <p:txBody>
                  <a:bodyPr/>
                  <a:lstStyle/>
                  <a:p>
                    <a:pPr eaLnBrk="1" hangingPunct="1">
                      <a:defRPr/>
                    </a:pPr>
                    <a:endParaRPr lang="zh-CN" altLang="en-US" sz="1050"/>
                  </a:p>
                </p:txBody>
              </p:sp>
              <p:sp>
                <p:nvSpPr>
                  <p:cNvPr id="1773" name="Freeform 1633"/>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close/>
                      </a:path>
                    </a:pathLst>
                  </a:custGeom>
                  <a:solidFill>
                    <a:srgbClr val="01AAE5"/>
                  </a:solidFill>
                  <a:ln>
                    <a:noFill/>
                  </a:ln>
                  <a:extLst/>
                </p:spPr>
                <p:txBody>
                  <a:bodyPr/>
                  <a:lstStyle/>
                  <a:p>
                    <a:pPr eaLnBrk="1" hangingPunct="1">
                      <a:defRPr/>
                    </a:pPr>
                    <a:endParaRPr lang="zh-CN" altLang="en-US" sz="1050"/>
                  </a:p>
                </p:txBody>
              </p:sp>
              <p:sp>
                <p:nvSpPr>
                  <p:cNvPr id="1774" name="Freeform 1634"/>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path>
                    </a:pathLst>
                  </a:custGeom>
                  <a:noFill/>
                  <a:ln>
                    <a:noFill/>
                  </a:ln>
                  <a:extLst/>
                </p:spPr>
                <p:txBody>
                  <a:bodyPr/>
                  <a:lstStyle/>
                  <a:p>
                    <a:pPr eaLnBrk="1" hangingPunct="1">
                      <a:defRPr/>
                    </a:pPr>
                    <a:endParaRPr lang="zh-CN" altLang="en-US" sz="1050"/>
                  </a:p>
                </p:txBody>
              </p:sp>
              <p:sp>
                <p:nvSpPr>
                  <p:cNvPr id="1775" name="Freeform 1635"/>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close/>
                      </a:path>
                    </a:pathLst>
                  </a:custGeom>
                  <a:solidFill>
                    <a:srgbClr val="01AAE5"/>
                  </a:solidFill>
                  <a:ln>
                    <a:noFill/>
                  </a:ln>
                  <a:extLst/>
                </p:spPr>
                <p:txBody>
                  <a:bodyPr/>
                  <a:lstStyle/>
                  <a:p>
                    <a:pPr eaLnBrk="1" hangingPunct="1">
                      <a:defRPr/>
                    </a:pPr>
                    <a:endParaRPr lang="zh-CN" altLang="en-US" sz="1050"/>
                  </a:p>
                </p:txBody>
              </p:sp>
              <p:sp>
                <p:nvSpPr>
                  <p:cNvPr id="1776" name="Freeform 1636"/>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path>
                    </a:pathLst>
                  </a:custGeom>
                  <a:noFill/>
                  <a:ln>
                    <a:noFill/>
                  </a:ln>
                  <a:extLst/>
                </p:spPr>
                <p:txBody>
                  <a:bodyPr/>
                  <a:lstStyle/>
                  <a:p>
                    <a:pPr eaLnBrk="1" hangingPunct="1">
                      <a:defRPr/>
                    </a:pPr>
                    <a:endParaRPr lang="zh-CN" altLang="en-US" sz="1050"/>
                  </a:p>
                </p:txBody>
              </p:sp>
              <p:sp>
                <p:nvSpPr>
                  <p:cNvPr id="1777" name="Freeform 1637"/>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close/>
                      </a:path>
                    </a:pathLst>
                  </a:custGeom>
                  <a:solidFill>
                    <a:srgbClr val="01AAE5"/>
                  </a:solidFill>
                  <a:ln>
                    <a:noFill/>
                  </a:ln>
                  <a:extLst/>
                </p:spPr>
                <p:txBody>
                  <a:bodyPr/>
                  <a:lstStyle/>
                  <a:p>
                    <a:pPr eaLnBrk="1" hangingPunct="1">
                      <a:defRPr/>
                    </a:pPr>
                    <a:endParaRPr lang="zh-CN" altLang="en-US" sz="1050"/>
                  </a:p>
                </p:txBody>
              </p:sp>
              <p:sp>
                <p:nvSpPr>
                  <p:cNvPr id="1778" name="Freeform 1638"/>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path>
                    </a:pathLst>
                  </a:custGeom>
                  <a:noFill/>
                  <a:ln>
                    <a:noFill/>
                  </a:ln>
                  <a:extLst/>
                </p:spPr>
                <p:txBody>
                  <a:bodyPr/>
                  <a:lstStyle/>
                  <a:p>
                    <a:pPr eaLnBrk="1" hangingPunct="1">
                      <a:defRPr/>
                    </a:pPr>
                    <a:endParaRPr lang="zh-CN" altLang="en-US" sz="1050"/>
                  </a:p>
                </p:txBody>
              </p:sp>
              <p:sp>
                <p:nvSpPr>
                  <p:cNvPr id="1779" name="Freeform 1639"/>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1780" name="Freeform 1640"/>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path>
                    </a:pathLst>
                  </a:custGeom>
                  <a:noFill/>
                  <a:ln>
                    <a:noFill/>
                  </a:ln>
                  <a:extLst/>
                </p:spPr>
                <p:txBody>
                  <a:bodyPr/>
                  <a:lstStyle/>
                  <a:p>
                    <a:pPr eaLnBrk="1" hangingPunct="1">
                      <a:defRPr/>
                    </a:pPr>
                    <a:endParaRPr lang="zh-CN" altLang="en-US" sz="1050"/>
                  </a:p>
                </p:txBody>
              </p:sp>
              <p:sp>
                <p:nvSpPr>
                  <p:cNvPr id="1781" name="Freeform 1641"/>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1782" name="Freeform 1642"/>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path>
                    </a:pathLst>
                  </a:custGeom>
                  <a:noFill/>
                  <a:ln>
                    <a:noFill/>
                  </a:ln>
                  <a:extLst/>
                </p:spPr>
                <p:txBody>
                  <a:bodyPr/>
                  <a:lstStyle/>
                  <a:p>
                    <a:pPr eaLnBrk="1" hangingPunct="1">
                      <a:defRPr/>
                    </a:pPr>
                    <a:endParaRPr lang="zh-CN" altLang="en-US" sz="1050"/>
                  </a:p>
                </p:txBody>
              </p:sp>
              <p:sp>
                <p:nvSpPr>
                  <p:cNvPr id="1783" name="Freeform 1643"/>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close/>
                      </a:path>
                    </a:pathLst>
                  </a:custGeom>
                  <a:solidFill>
                    <a:srgbClr val="01AAE5"/>
                  </a:solidFill>
                  <a:ln>
                    <a:noFill/>
                  </a:ln>
                  <a:extLst/>
                </p:spPr>
                <p:txBody>
                  <a:bodyPr/>
                  <a:lstStyle/>
                  <a:p>
                    <a:pPr eaLnBrk="1" hangingPunct="1">
                      <a:defRPr/>
                    </a:pPr>
                    <a:endParaRPr lang="zh-CN" altLang="en-US" sz="1050"/>
                  </a:p>
                </p:txBody>
              </p:sp>
              <p:sp>
                <p:nvSpPr>
                  <p:cNvPr id="1784" name="Freeform 1644"/>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path>
                    </a:pathLst>
                  </a:custGeom>
                  <a:noFill/>
                  <a:ln>
                    <a:noFill/>
                  </a:ln>
                  <a:extLst/>
                </p:spPr>
                <p:txBody>
                  <a:bodyPr/>
                  <a:lstStyle/>
                  <a:p>
                    <a:pPr eaLnBrk="1" hangingPunct="1">
                      <a:defRPr/>
                    </a:pPr>
                    <a:endParaRPr lang="zh-CN" altLang="en-US" sz="1050"/>
                  </a:p>
                </p:txBody>
              </p:sp>
              <p:sp>
                <p:nvSpPr>
                  <p:cNvPr id="1785" name="Freeform 1645"/>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1786" name="Freeform 1646"/>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1787" name="Freeform 1647"/>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1788" name="Freeform 1648"/>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1789" name="Freeform 1649"/>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1790" name="Freeform 1650"/>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path>
                    </a:pathLst>
                  </a:custGeom>
                  <a:noFill/>
                  <a:ln>
                    <a:noFill/>
                  </a:ln>
                  <a:extLst/>
                </p:spPr>
                <p:txBody>
                  <a:bodyPr/>
                  <a:lstStyle/>
                  <a:p>
                    <a:pPr eaLnBrk="1" hangingPunct="1">
                      <a:defRPr/>
                    </a:pPr>
                    <a:endParaRPr lang="zh-CN" altLang="en-US" sz="1050"/>
                  </a:p>
                </p:txBody>
              </p:sp>
              <p:sp>
                <p:nvSpPr>
                  <p:cNvPr id="1791" name="Freeform 1651"/>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1792" name="Freeform 1652"/>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1793" name="Freeform 1653"/>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close/>
                      </a:path>
                    </a:pathLst>
                  </a:custGeom>
                  <a:solidFill>
                    <a:srgbClr val="01AAE5"/>
                  </a:solidFill>
                  <a:ln>
                    <a:noFill/>
                  </a:ln>
                  <a:extLst/>
                </p:spPr>
                <p:txBody>
                  <a:bodyPr/>
                  <a:lstStyle/>
                  <a:p>
                    <a:pPr eaLnBrk="1" hangingPunct="1">
                      <a:defRPr/>
                    </a:pPr>
                    <a:endParaRPr lang="zh-CN" altLang="en-US" sz="1050"/>
                  </a:p>
                </p:txBody>
              </p:sp>
              <p:sp>
                <p:nvSpPr>
                  <p:cNvPr id="1794" name="Freeform 1654"/>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path>
                    </a:pathLst>
                  </a:custGeom>
                  <a:noFill/>
                  <a:ln>
                    <a:noFill/>
                  </a:ln>
                  <a:extLst/>
                </p:spPr>
                <p:txBody>
                  <a:bodyPr/>
                  <a:lstStyle/>
                  <a:p>
                    <a:pPr eaLnBrk="1" hangingPunct="1">
                      <a:defRPr/>
                    </a:pPr>
                    <a:endParaRPr lang="zh-CN" altLang="en-US" sz="1050"/>
                  </a:p>
                </p:txBody>
              </p:sp>
              <p:sp>
                <p:nvSpPr>
                  <p:cNvPr id="1795" name="Freeform 1655"/>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close/>
                      </a:path>
                    </a:pathLst>
                  </a:custGeom>
                  <a:solidFill>
                    <a:srgbClr val="01AAE5"/>
                  </a:solidFill>
                  <a:ln>
                    <a:noFill/>
                  </a:ln>
                  <a:extLst/>
                </p:spPr>
                <p:txBody>
                  <a:bodyPr/>
                  <a:lstStyle/>
                  <a:p>
                    <a:pPr eaLnBrk="1" hangingPunct="1">
                      <a:defRPr/>
                    </a:pPr>
                    <a:endParaRPr lang="zh-CN" altLang="en-US" sz="1050"/>
                  </a:p>
                </p:txBody>
              </p:sp>
              <p:sp>
                <p:nvSpPr>
                  <p:cNvPr id="1796" name="Freeform 1656"/>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path>
                    </a:pathLst>
                  </a:custGeom>
                  <a:noFill/>
                  <a:ln>
                    <a:noFill/>
                  </a:ln>
                  <a:extLst/>
                </p:spPr>
                <p:txBody>
                  <a:bodyPr/>
                  <a:lstStyle/>
                  <a:p>
                    <a:pPr eaLnBrk="1" hangingPunct="1">
                      <a:defRPr/>
                    </a:pPr>
                    <a:endParaRPr lang="zh-CN" altLang="en-US" sz="1050"/>
                  </a:p>
                </p:txBody>
              </p:sp>
              <p:sp>
                <p:nvSpPr>
                  <p:cNvPr id="1797" name="Freeform 1657"/>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close/>
                      </a:path>
                    </a:pathLst>
                  </a:custGeom>
                  <a:solidFill>
                    <a:srgbClr val="01AAE5"/>
                  </a:solidFill>
                  <a:ln>
                    <a:noFill/>
                  </a:ln>
                  <a:extLst/>
                </p:spPr>
                <p:txBody>
                  <a:bodyPr/>
                  <a:lstStyle/>
                  <a:p>
                    <a:pPr eaLnBrk="1" hangingPunct="1">
                      <a:defRPr/>
                    </a:pPr>
                    <a:endParaRPr lang="zh-CN" altLang="en-US" sz="1050"/>
                  </a:p>
                </p:txBody>
              </p:sp>
              <p:sp>
                <p:nvSpPr>
                  <p:cNvPr id="1798" name="Freeform 1658"/>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path>
                    </a:pathLst>
                  </a:custGeom>
                  <a:noFill/>
                  <a:ln>
                    <a:noFill/>
                  </a:ln>
                  <a:extLst/>
                </p:spPr>
                <p:txBody>
                  <a:bodyPr/>
                  <a:lstStyle/>
                  <a:p>
                    <a:pPr eaLnBrk="1" hangingPunct="1">
                      <a:defRPr/>
                    </a:pPr>
                    <a:endParaRPr lang="zh-CN" altLang="en-US" sz="1050"/>
                  </a:p>
                </p:txBody>
              </p:sp>
              <p:sp>
                <p:nvSpPr>
                  <p:cNvPr id="1799" name="Freeform 1659"/>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1800" name="Freeform 1660"/>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path>
                    </a:pathLst>
                  </a:custGeom>
                  <a:noFill/>
                  <a:ln>
                    <a:noFill/>
                  </a:ln>
                  <a:extLst/>
                </p:spPr>
                <p:txBody>
                  <a:bodyPr/>
                  <a:lstStyle/>
                  <a:p>
                    <a:pPr eaLnBrk="1" hangingPunct="1">
                      <a:defRPr/>
                    </a:pPr>
                    <a:endParaRPr lang="zh-CN" altLang="en-US" sz="1050"/>
                  </a:p>
                </p:txBody>
              </p:sp>
              <p:sp>
                <p:nvSpPr>
                  <p:cNvPr id="1801" name="Freeform 1661"/>
                  <p:cNvSpPr>
                    <a:spLocks/>
                  </p:cNvSpPr>
                  <p:nvPr/>
                </p:nvSpPr>
                <p:spPr bwMode="auto">
                  <a:xfrm>
                    <a:off x="10706" y="1881"/>
                    <a:ext cx="0" cy="9"/>
                  </a:xfrm>
                  <a:custGeom>
                    <a:avLst/>
                    <a:gdLst>
                      <a:gd name="T0" fmla="*/ 5 w 5"/>
                      <a:gd name="T1" fmla="*/ 10 h 10"/>
                      <a:gd name="T2" fmla="*/ 3 w 5"/>
                      <a:gd name="T3" fmla="*/ 0 h 10"/>
                      <a:gd name="T4" fmla="*/ 0 w 5"/>
                      <a:gd name="T5" fmla="*/ 0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3" y="0"/>
                        </a:lnTo>
                        <a:lnTo>
                          <a:pt x="0" y="0"/>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1802" name="Freeform 1662"/>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close/>
                      </a:path>
                    </a:pathLst>
                  </a:custGeom>
                  <a:solidFill>
                    <a:srgbClr val="01AAE5"/>
                  </a:solidFill>
                  <a:ln>
                    <a:noFill/>
                  </a:ln>
                  <a:extLst/>
                </p:spPr>
                <p:txBody>
                  <a:bodyPr/>
                  <a:lstStyle/>
                  <a:p>
                    <a:pPr eaLnBrk="1" hangingPunct="1">
                      <a:defRPr/>
                    </a:pPr>
                    <a:endParaRPr lang="zh-CN" altLang="en-US" sz="1050"/>
                  </a:p>
                </p:txBody>
              </p:sp>
              <p:sp>
                <p:nvSpPr>
                  <p:cNvPr id="1803" name="Freeform 1663"/>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path>
                    </a:pathLst>
                  </a:custGeom>
                  <a:noFill/>
                  <a:ln>
                    <a:noFill/>
                  </a:ln>
                  <a:extLst/>
                </p:spPr>
                <p:txBody>
                  <a:bodyPr/>
                  <a:lstStyle/>
                  <a:p>
                    <a:pPr eaLnBrk="1" hangingPunct="1">
                      <a:defRPr/>
                    </a:pPr>
                    <a:endParaRPr lang="zh-CN" altLang="en-US" sz="1050"/>
                  </a:p>
                </p:txBody>
              </p:sp>
              <p:sp>
                <p:nvSpPr>
                  <p:cNvPr id="1804" name="Freeform 1664"/>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1805" name="Freeform 1665"/>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path>
                    </a:pathLst>
                  </a:custGeom>
                  <a:noFill/>
                  <a:ln>
                    <a:noFill/>
                  </a:ln>
                  <a:extLst/>
                </p:spPr>
                <p:txBody>
                  <a:bodyPr/>
                  <a:lstStyle/>
                  <a:p>
                    <a:pPr eaLnBrk="1" hangingPunct="1">
                      <a:defRPr/>
                    </a:pPr>
                    <a:endParaRPr lang="zh-CN" altLang="en-US" sz="1050"/>
                  </a:p>
                </p:txBody>
              </p:sp>
              <p:sp>
                <p:nvSpPr>
                  <p:cNvPr id="1806" name="Freeform 1666"/>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1807" name="Freeform 1667"/>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path>
                    </a:pathLst>
                  </a:custGeom>
                  <a:noFill/>
                  <a:ln>
                    <a:noFill/>
                  </a:ln>
                  <a:extLst/>
                </p:spPr>
                <p:txBody>
                  <a:bodyPr/>
                  <a:lstStyle/>
                  <a:p>
                    <a:pPr eaLnBrk="1" hangingPunct="1">
                      <a:defRPr/>
                    </a:pPr>
                    <a:endParaRPr lang="zh-CN" altLang="en-US" sz="1050"/>
                  </a:p>
                </p:txBody>
              </p:sp>
              <p:sp>
                <p:nvSpPr>
                  <p:cNvPr id="1808" name="Freeform 1668"/>
                  <p:cNvSpPr>
                    <a:spLocks/>
                  </p:cNvSpPr>
                  <p:nvPr/>
                </p:nvSpPr>
                <p:spPr bwMode="auto">
                  <a:xfrm>
                    <a:off x="10748" y="1855"/>
                    <a:ext cx="8" cy="17"/>
                  </a:xfrm>
                  <a:custGeom>
                    <a:avLst/>
                    <a:gdLst>
                      <a:gd name="T0" fmla="*/ 4 w 4"/>
                      <a:gd name="T1" fmla="*/ 19 h 19"/>
                      <a:gd name="T2" fmla="*/ 0 w 4"/>
                      <a:gd name="T3" fmla="*/ 0 h 19"/>
                      <a:gd name="T4" fmla="*/ 0 w 4"/>
                      <a:gd name="T5" fmla="*/ 0 h 19"/>
                      <a:gd name="T6" fmla="*/ 4 w 4"/>
                      <a:gd name="T7" fmla="*/ 19 h 19"/>
                      <a:gd name="T8" fmla="*/ 4 w 4"/>
                      <a:gd name="T9" fmla="*/ 19 h 19"/>
                    </a:gdLst>
                    <a:ahLst/>
                    <a:cxnLst>
                      <a:cxn ang="0">
                        <a:pos x="T0" y="T1"/>
                      </a:cxn>
                      <a:cxn ang="0">
                        <a:pos x="T2" y="T3"/>
                      </a:cxn>
                      <a:cxn ang="0">
                        <a:pos x="T4" y="T5"/>
                      </a:cxn>
                      <a:cxn ang="0">
                        <a:pos x="T6" y="T7"/>
                      </a:cxn>
                      <a:cxn ang="0">
                        <a:pos x="T8" y="T9"/>
                      </a:cxn>
                    </a:cxnLst>
                    <a:rect l="0" t="0" r="r" b="b"/>
                    <a:pathLst>
                      <a:path w="4" h="19">
                        <a:moveTo>
                          <a:pt x="4" y="19"/>
                        </a:moveTo>
                        <a:lnTo>
                          <a:pt x="0" y="0"/>
                        </a:lnTo>
                        <a:lnTo>
                          <a:pt x="0" y="0"/>
                        </a:lnTo>
                        <a:lnTo>
                          <a:pt x="4" y="19"/>
                        </a:lnTo>
                        <a:lnTo>
                          <a:pt x="4" y="19"/>
                        </a:lnTo>
                        <a:close/>
                      </a:path>
                    </a:pathLst>
                  </a:custGeom>
                  <a:solidFill>
                    <a:srgbClr val="01AAE5"/>
                  </a:solidFill>
                  <a:ln>
                    <a:noFill/>
                  </a:ln>
                  <a:extLst/>
                </p:spPr>
                <p:txBody>
                  <a:bodyPr/>
                  <a:lstStyle/>
                  <a:p>
                    <a:pPr eaLnBrk="1" hangingPunct="1">
                      <a:defRPr/>
                    </a:pPr>
                    <a:endParaRPr lang="zh-CN" altLang="en-US" sz="1050"/>
                  </a:p>
                </p:txBody>
              </p:sp>
              <p:sp>
                <p:nvSpPr>
                  <p:cNvPr id="1809" name="Freeform 1669"/>
                  <p:cNvSpPr>
                    <a:spLocks/>
                  </p:cNvSpPr>
                  <p:nvPr/>
                </p:nvSpPr>
                <p:spPr bwMode="auto">
                  <a:xfrm>
                    <a:off x="10739" y="1855"/>
                    <a:ext cx="0" cy="17"/>
                  </a:xfrm>
                  <a:custGeom>
                    <a:avLst/>
                    <a:gdLst>
                      <a:gd name="T0" fmla="*/ 5 w 5"/>
                      <a:gd name="T1" fmla="*/ 14 h 14"/>
                      <a:gd name="T2" fmla="*/ 0 w 5"/>
                      <a:gd name="T3" fmla="*/ 0 h 14"/>
                      <a:gd name="T4" fmla="*/ 0 w 5"/>
                      <a:gd name="T5" fmla="*/ 2 h 14"/>
                      <a:gd name="T6" fmla="*/ 2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2"/>
                        </a:lnTo>
                        <a:lnTo>
                          <a:pt x="2"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1810" name="Freeform 1670"/>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1811" name="Freeform 1671"/>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path>
                    </a:pathLst>
                  </a:custGeom>
                  <a:noFill/>
                  <a:ln>
                    <a:noFill/>
                  </a:ln>
                  <a:extLst/>
                </p:spPr>
                <p:txBody>
                  <a:bodyPr/>
                  <a:lstStyle/>
                  <a:p>
                    <a:pPr eaLnBrk="1" hangingPunct="1">
                      <a:defRPr/>
                    </a:pPr>
                    <a:endParaRPr lang="zh-CN" altLang="en-US" sz="1050"/>
                  </a:p>
                </p:txBody>
              </p:sp>
              <p:sp>
                <p:nvSpPr>
                  <p:cNvPr id="1812" name="Freeform 1672"/>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close/>
                      </a:path>
                    </a:pathLst>
                  </a:custGeom>
                  <a:solidFill>
                    <a:srgbClr val="01AAE5"/>
                  </a:solidFill>
                  <a:ln>
                    <a:noFill/>
                  </a:ln>
                  <a:extLst/>
                </p:spPr>
                <p:txBody>
                  <a:bodyPr/>
                  <a:lstStyle/>
                  <a:p>
                    <a:pPr eaLnBrk="1" hangingPunct="1">
                      <a:defRPr/>
                    </a:pPr>
                    <a:endParaRPr lang="zh-CN" altLang="en-US" sz="1050"/>
                  </a:p>
                </p:txBody>
              </p:sp>
              <p:sp>
                <p:nvSpPr>
                  <p:cNvPr id="1813" name="Freeform 1673"/>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path>
                    </a:pathLst>
                  </a:custGeom>
                  <a:noFill/>
                  <a:ln>
                    <a:noFill/>
                  </a:ln>
                  <a:extLst/>
                </p:spPr>
                <p:txBody>
                  <a:bodyPr/>
                  <a:lstStyle/>
                  <a:p>
                    <a:pPr eaLnBrk="1" hangingPunct="1">
                      <a:defRPr/>
                    </a:pPr>
                    <a:endParaRPr lang="zh-CN" altLang="en-US" sz="1050"/>
                  </a:p>
                </p:txBody>
              </p:sp>
              <p:sp>
                <p:nvSpPr>
                  <p:cNvPr id="1814" name="Freeform 1674"/>
                  <p:cNvSpPr>
                    <a:spLocks/>
                  </p:cNvSpPr>
                  <p:nvPr/>
                </p:nvSpPr>
                <p:spPr bwMode="auto">
                  <a:xfrm>
                    <a:off x="10756" y="1855"/>
                    <a:ext cx="8" cy="17"/>
                  </a:xfrm>
                  <a:custGeom>
                    <a:avLst/>
                    <a:gdLst>
                      <a:gd name="T0" fmla="*/ 5 w 5"/>
                      <a:gd name="T1" fmla="*/ 19 h 19"/>
                      <a:gd name="T2" fmla="*/ 0 w 5"/>
                      <a:gd name="T3" fmla="*/ 0 h 19"/>
                      <a:gd name="T4" fmla="*/ 0 w 5"/>
                      <a:gd name="T5" fmla="*/ 0 h 19"/>
                      <a:gd name="T6" fmla="*/ 5 w 5"/>
                      <a:gd name="T7" fmla="*/ 19 h 19"/>
                      <a:gd name="T8" fmla="*/ 5 w 5"/>
                      <a:gd name="T9" fmla="*/ 19 h 19"/>
                    </a:gdLst>
                    <a:ahLst/>
                    <a:cxnLst>
                      <a:cxn ang="0">
                        <a:pos x="T0" y="T1"/>
                      </a:cxn>
                      <a:cxn ang="0">
                        <a:pos x="T2" y="T3"/>
                      </a:cxn>
                      <a:cxn ang="0">
                        <a:pos x="T4" y="T5"/>
                      </a:cxn>
                      <a:cxn ang="0">
                        <a:pos x="T6" y="T7"/>
                      </a:cxn>
                      <a:cxn ang="0">
                        <a:pos x="T8" y="T9"/>
                      </a:cxn>
                    </a:cxnLst>
                    <a:rect l="0" t="0" r="r" b="b"/>
                    <a:pathLst>
                      <a:path w="5" h="19">
                        <a:moveTo>
                          <a:pt x="5" y="19"/>
                        </a:moveTo>
                        <a:lnTo>
                          <a:pt x="0" y="0"/>
                        </a:lnTo>
                        <a:lnTo>
                          <a:pt x="0" y="0"/>
                        </a:lnTo>
                        <a:lnTo>
                          <a:pt x="5" y="19"/>
                        </a:lnTo>
                        <a:lnTo>
                          <a:pt x="5" y="19"/>
                        </a:lnTo>
                        <a:close/>
                      </a:path>
                    </a:pathLst>
                  </a:custGeom>
                  <a:solidFill>
                    <a:srgbClr val="01AAE5"/>
                  </a:solidFill>
                  <a:ln>
                    <a:noFill/>
                  </a:ln>
                  <a:extLst/>
                </p:spPr>
                <p:txBody>
                  <a:bodyPr/>
                  <a:lstStyle/>
                  <a:p>
                    <a:pPr eaLnBrk="1" hangingPunct="1">
                      <a:defRPr/>
                    </a:pPr>
                    <a:endParaRPr lang="zh-CN" altLang="en-US" sz="1050"/>
                  </a:p>
                </p:txBody>
              </p:sp>
              <p:sp>
                <p:nvSpPr>
                  <p:cNvPr id="1815" name="Freeform 1675"/>
                  <p:cNvSpPr>
                    <a:spLocks/>
                  </p:cNvSpPr>
                  <p:nvPr/>
                </p:nvSpPr>
                <p:spPr bwMode="auto">
                  <a:xfrm>
                    <a:off x="10731" y="1863"/>
                    <a:ext cx="8" cy="17"/>
                  </a:xfrm>
                  <a:custGeom>
                    <a:avLst/>
                    <a:gdLst>
                      <a:gd name="T0" fmla="*/ 5 w 5"/>
                      <a:gd name="T1" fmla="*/ 12 h 12"/>
                      <a:gd name="T2" fmla="*/ 0 w 5"/>
                      <a:gd name="T3" fmla="*/ 0 h 12"/>
                      <a:gd name="T4" fmla="*/ 0 w 5"/>
                      <a:gd name="T5" fmla="*/ 2 h 12"/>
                      <a:gd name="T6" fmla="*/ 2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0" y="0"/>
                        </a:lnTo>
                        <a:lnTo>
                          <a:pt x="0" y="2"/>
                        </a:lnTo>
                        <a:lnTo>
                          <a:pt x="2"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1816" name="Freeform 1676"/>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1817" name="Freeform 1677"/>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path>
                    </a:pathLst>
                  </a:custGeom>
                  <a:noFill/>
                  <a:ln>
                    <a:noFill/>
                  </a:ln>
                  <a:extLst/>
                </p:spPr>
                <p:txBody>
                  <a:bodyPr/>
                  <a:lstStyle/>
                  <a:p>
                    <a:pPr eaLnBrk="1" hangingPunct="1">
                      <a:defRPr/>
                    </a:pPr>
                    <a:endParaRPr lang="zh-CN" altLang="en-US" sz="1050"/>
                  </a:p>
                </p:txBody>
              </p:sp>
              <p:sp>
                <p:nvSpPr>
                  <p:cNvPr id="1818" name="Freeform 1678"/>
                  <p:cNvSpPr>
                    <a:spLocks/>
                  </p:cNvSpPr>
                  <p:nvPr/>
                </p:nvSpPr>
                <p:spPr bwMode="auto">
                  <a:xfrm>
                    <a:off x="10706" y="1881"/>
                    <a:ext cx="8" cy="9"/>
                  </a:xfrm>
                  <a:custGeom>
                    <a:avLst/>
                    <a:gdLst>
                      <a:gd name="T0" fmla="*/ 5 w 5"/>
                      <a:gd name="T1" fmla="*/ 7 h 7"/>
                      <a:gd name="T2" fmla="*/ 2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2"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1819" name="Freeform 1679"/>
                  <p:cNvSpPr>
                    <a:spLocks/>
                  </p:cNvSpPr>
                  <p:nvPr/>
                </p:nvSpPr>
                <p:spPr bwMode="auto">
                  <a:xfrm>
                    <a:off x="10698" y="1881"/>
                    <a:ext cx="8" cy="9"/>
                  </a:xfrm>
                  <a:custGeom>
                    <a:avLst/>
                    <a:gdLst>
                      <a:gd name="T0" fmla="*/ 5 w 5"/>
                      <a:gd name="T1" fmla="*/ 12 h 12"/>
                      <a:gd name="T2" fmla="*/ 3 w 5"/>
                      <a:gd name="T3" fmla="*/ 0 h 12"/>
                      <a:gd name="T4" fmla="*/ 0 w 5"/>
                      <a:gd name="T5" fmla="*/ 0 h 12"/>
                      <a:gd name="T6" fmla="*/ 5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3" y="0"/>
                        </a:lnTo>
                        <a:lnTo>
                          <a:pt x="0" y="0"/>
                        </a:lnTo>
                        <a:lnTo>
                          <a:pt x="5"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1820" name="Freeform 1680"/>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close/>
                      </a:path>
                    </a:pathLst>
                  </a:custGeom>
                  <a:solidFill>
                    <a:srgbClr val="01AAE5"/>
                  </a:solidFill>
                  <a:ln>
                    <a:noFill/>
                  </a:ln>
                  <a:extLst/>
                </p:spPr>
                <p:txBody>
                  <a:bodyPr/>
                  <a:lstStyle/>
                  <a:p>
                    <a:pPr eaLnBrk="1" hangingPunct="1">
                      <a:defRPr/>
                    </a:pPr>
                    <a:endParaRPr lang="zh-CN" altLang="en-US" sz="1050"/>
                  </a:p>
                </p:txBody>
              </p:sp>
              <p:sp>
                <p:nvSpPr>
                  <p:cNvPr id="1821" name="Freeform 1681"/>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path>
                    </a:pathLst>
                  </a:custGeom>
                  <a:noFill/>
                  <a:ln>
                    <a:noFill/>
                  </a:ln>
                  <a:extLst/>
                </p:spPr>
                <p:txBody>
                  <a:bodyPr/>
                  <a:lstStyle/>
                  <a:p>
                    <a:pPr eaLnBrk="1" hangingPunct="1">
                      <a:defRPr/>
                    </a:pPr>
                    <a:endParaRPr lang="zh-CN" altLang="en-US" sz="1050"/>
                  </a:p>
                </p:txBody>
              </p:sp>
              <p:sp>
                <p:nvSpPr>
                  <p:cNvPr id="1822" name="Freeform 1682"/>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close/>
                      </a:path>
                    </a:pathLst>
                  </a:custGeom>
                  <a:solidFill>
                    <a:srgbClr val="01AAE5"/>
                  </a:solidFill>
                  <a:ln>
                    <a:noFill/>
                  </a:ln>
                  <a:extLst/>
                </p:spPr>
                <p:txBody>
                  <a:bodyPr/>
                  <a:lstStyle/>
                  <a:p>
                    <a:pPr eaLnBrk="1" hangingPunct="1">
                      <a:defRPr/>
                    </a:pPr>
                    <a:endParaRPr lang="zh-CN" altLang="en-US" sz="1050"/>
                  </a:p>
                </p:txBody>
              </p:sp>
              <p:sp>
                <p:nvSpPr>
                  <p:cNvPr id="1823" name="Freeform 1683"/>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path>
                    </a:pathLst>
                  </a:custGeom>
                  <a:noFill/>
                  <a:ln>
                    <a:noFill/>
                  </a:ln>
                  <a:extLst/>
                </p:spPr>
                <p:txBody>
                  <a:bodyPr/>
                  <a:lstStyle/>
                  <a:p>
                    <a:pPr eaLnBrk="1" hangingPunct="1">
                      <a:defRPr/>
                    </a:pPr>
                    <a:endParaRPr lang="zh-CN" altLang="en-US" sz="1050"/>
                  </a:p>
                </p:txBody>
              </p:sp>
              <p:sp>
                <p:nvSpPr>
                  <p:cNvPr id="1824" name="Freeform 1684"/>
                  <p:cNvSpPr>
                    <a:spLocks/>
                  </p:cNvSpPr>
                  <p:nvPr/>
                </p:nvSpPr>
                <p:spPr bwMode="auto">
                  <a:xfrm>
                    <a:off x="10714" y="1881"/>
                    <a:ext cx="0" cy="9"/>
                  </a:xfrm>
                  <a:custGeom>
                    <a:avLst/>
                    <a:gdLst>
                      <a:gd name="T0" fmla="*/ 2 w 2"/>
                      <a:gd name="T1" fmla="*/ 7 h 9"/>
                      <a:gd name="T2" fmla="*/ 0 w 2"/>
                      <a:gd name="T3" fmla="*/ 0 h 9"/>
                      <a:gd name="T4" fmla="*/ 0 w 2"/>
                      <a:gd name="T5" fmla="*/ 0 h 9"/>
                      <a:gd name="T6" fmla="*/ 2 w 2"/>
                      <a:gd name="T7" fmla="*/ 9 h 9"/>
                      <a:gd name="T8" fmla="*/ 2 w 2"/>
                      <a:gd name="T9" fmla="*/ 7 h 9"/>
                    </a:gdLst>
                    <a:ahLst/>
                    <a:cxnLst>
                      <a:cxn ang="0">
                        <a:pos x="T0" y="T1"/>
                      </a:cxn>
                      <a:cxn ang="0">
                        <a:pos x="T2" y="T3"/>
                      </a:cxn>
                      <a:cxn ang="0">
                        <a:pos x="T4" y="T5"/>
                      </a:cxn>
                      <a:cxn ang="0">
                        <a:pos x="T6" y="T7"/>
                      </a:cxn>
                      <a:cxn ang="0">
                        <a:pos x="T8" y="T9"/>
                      </a:cxn>
                    </a:cxnLst>
                    <a:rect l="0" t="0" r="r" b="b"/>
                    <a:pathLst>
                      <a:path w="2" h="9">
                        <a:moveTo>
                          <a:pt x="2" y="7"/>
                        </a:moveTo>
                        <a:lnTo>
                          <a:pt x="0" y="0"/>
                        </a:lnTo>
                        <a:lnTo>
                          <a:pt x="0" y="0"/>
                        </a:lnTo>
                        <a:lnTo>
                          <a:pt x="2" y="9"/>
                        </a:lnTo>
                        <a:lnTo>
                          <a:pt x="2" y="7"/>
                        </a:lnTo>
                        <a:close/>
                      </a:path>
                    </a:pathLst>
                  </a:custGeom>
                  <a:solidFill>
                    <a:srgbClr val="01AAE5"/>
                  </a:solidFill>
                  <a:ln>
                    <a:noFill/>
                  </a:ln>
                  <a:extLst/>
                </p:spPr>
                <p:txBody>
                  <a:bodyPr/>
                  <a:lstStyle/>
                  <a:p>
                    <a:pPr eaLnBrk="1" hangingPunct="1">
                      <a:defRPr/>
                    </a:pPr>
                    <a:endParaRPr lang="zh-CN" altLang="en-US" sz="1050"/>
                  </a:p>
                </p:txBody>
              </p:sp>
              <p:sp>
                <p:nvSpPr>
                  <p:cNvPr id="1825" name="Freeform 1685"/>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1826" name="Freeform 1686"/>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path>
                    </a:pathLst>
                  </a:custGeom>
                  <a:noFill/>
                  <a:ln>
                    <a:noFill/>
                  </a:ln>
                  <a:extLst/>
                </p:spPr>
                <p:txBody>
                  <a:bodyPr/>
                  <a:lstStyle/>
                  <a:p>
                    <a:pPr eaLnBrk="1" hangingPunct="1">
                      <a:defRPr/>
                    </a:pPr>
                    <a:endParaRPr lang="zh-CN" altLang="en-US" sz="1050"/>
                  </a:p>
                </p:txBody>
              </p:sp>
              <p:sp>
                <p:nvSpPr>
                  <p:cNvPr id="1827" name="Freeform 1687"/>
                  <p:cNvSpPr>
                    <a:spLocks/>
                  </p:cNvSpPr>
                  <p:nvPr/>
                </p:nvSpPr>
                <p:spPr bwMode="auto">
                  <a:xfrm>
                    <a:off x="10274" y="2726"/>
                    <a:ext cx="17" cy="0"/>
                  </a:xfrm>
                  <a:custGeom>
                    <a:avLst/>
                    <a:gdLst>
                      <a:gd name="T0" fmla="*/ 10 w 10"/>
                      <a:gd name="T1" fmla="*/ 0 h 2"/>
                      <a:gd name="T2" fmla="*/ 0 w 10"/>
                      <a:gd name="T3" fmla="*/ 2 h 2"/>
                      <a:gd name="T4" fmla="*/ 3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2"/>
                        </a:lnTo>
                        <a:lnTo>
                          <a:pt x="3"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828" name="Freeform 1688"/>
                  <p:cNvSpPr>
                    <a:spLocks/>
                  </p:cNvSpPr>
                  <p:nvPr/>
                </p:nvSpPr>
                <p:spPr bwMode="auto">
                  <a:xfrm>
                    <a:off x="10249" y="2613"/>
                    <a:ext cx="25" cy="9"/>
                  </a:xfrm>
                  <a:custGeom>
                    <a:avLst/>
                    <a:gdLst>
                      <a:gd name="T0" fmla="*/ 19 w 19"/>
                      <a:gd name="T1" fmla="*/ 0 h 2"/>
                      <a:gd name="T2" fmla="*/ 0 w 19"/>
                      <a:gd name="T3" fmla="*/ 2 h 2"/>
                      <a:gd name="T4" fmla="*/ 0 w 19"/>
                      <a:gd name="T5" fmla="*/ 2 h 2"/>
                      <a:gd name="T6" fmla="*/ 19 w 19"/>
                      <a:gd name="T7" fmla="*/ 0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lnTo>
                          <a:pt x="0" y="2"/>
                        </a:lnTo>
                        <a:lnTo>
                          <a:pt x="0" y="2"/>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829" name="Freeform 1689"/>
                  <p:cNvSpPr>
                    <a:spLocks/>
                  </p:cNvSpPr>
                  <p:nvPr/>
                </p:nvSpPr>
                <p:spPr bwMode="auto">
                  <a:xfrm>
                    <a:off x="10257" y="2499"/>
                    <a:ext cx="17" cy="0"/>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1830" name="Freeform 1690"/>
                  <p:cNvSpPr>
                    <a:spLocks/>
                  </p:cNvSpPr>
                  <p:nvPr/>
                </p:nvSpPr>
                <p:spPr bwMode="auto">
                  <a:xfrm>
                    <a:off x="10249" y="2613"/>
                    <a:ext cx="25" cy="0"/>
                  </a:xfrm>
                  <a:custGeom>
                    <a:avLst/>
                    <a:gdLst>
                      <a:gd name="T0" fmla="*/ 19 w 19"/>
                      <a:gd name="T1" fmla="*/ 0 h 3"/>
                      <a:gd name="T2" fmla="*/ 0 w 19"/>
                      <a:gd name="T3" fmla="*/ 0 h 3"/>
                      <a:gd name="T4" fmla="*/ 0 w 19"/>
                      <a:gd name="T5" fmla="*/ 3 h 3"/>
                      <a:gd name="T6" fmla="*/ 19 w 19"/>
                      <a:gd name="T7" fmla="*/ 0 h 3"/>
                      <a:gd name="T8" fmla="*/ 19 w 19"/>
                      <a:gd name="T9" fmla="*/ 0 h 3"/>
                    </a:gdLst>
                    <a:ahLst/>
                    <a:cxnLst>
                      <a:cxn ang="0">
                        <a:pos x="T0" y="T1"/>
                      </a:cxn>
                      <a:cxn ang="0">
                        <a:pos x="T2" y="T3"/>
                      </a:cxn>
                      <a:cxn ang="0">
                        <a:pos x="T4" y="T5"/>
                      </a:cxn>
                      <a:cxn ang="0">
                        <a:pos x="T6" y="T7"/>
                      </a:cxn>
                      <a:cxn ang="0">
                        <a:pos x="T8" y="T9"/>
                      </a:cxn>
                    </a:cxnLst>
                    <a:rect l="0" t="0" r="r" b="b"/>
                    <a:pathLst>
                      <a:path w="19" h="3">
                        <a:moveTo>
                          <a:pt x="19" y="0"/>
                        </a:moveTo>
                        <a:lnTo>
                          <a:pt x="0" y="0"/>
                        </a:lnTo>
                        <a:lnTo>
                          <a:pt x="0" y="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831" name="Freeform 1691"/>
                  <p:cNvSpPr>
                    <a:spLocks/>
                  </p:cNvSpPr>
                  <p:nvPr/>
                </p:nvSpPr>
                <p:spPr bwMode="auto">
                  <a:xfrm>
                    <a:off x="10249" y="2621"/>
                    <a:ext cx="25" cy="0"/>
                  </a:xfrm>
                  <a:custGeom>
                    <a:avLst/>
                    <a:gdLst>
                      <a:gd name="T0" fmla="*/ 21 w 21"/>
                      <a:gd name="T1" fmla="*/ 0 h 2"/>
                      <a:gd name="T2" fmla="*/ 0 w 21"/>
                      <a:gd name="T3" fmla="*/ 2 h 2"/>
                      <a:gd name="T4" fmla="*/ 0 w 21"/>
                      <a:gd name="T5" fmla="*/ 2 h 2"/>
                      <a:gd name="T6" fmla="*/ 21 w 21"/>
                      <a:gd name="T7" fmla="*/ 0 h 2"/>
                      <a:gd name="T8" fmla="*/ 21 w 21"/>
                      <a:gd name="T9" fmla="*/ 0 h 2"/>
                    </a:gdLst>
                    <a:ahLst/>
                    <a:cxnLst>
                      <a:cxn ang="0">
                        <a:pos x="T0" y="T1"/>
                      </a:cxn>
                      <a:cxn ang="0">
                        <a:pos x="T2" y="T3"/>
                      </a:cxn>
                      <a:cxn ang="0">
                        <a:pos x="T4" y="T5"/>
                      </a:cxn>
                      <a:cxn ang="0">
                        <a:pos x="T6" y="T7"/>
                      </a:cxn>
                      <a:cxn ang="0">
                        <a:pos x="T8" y="T9"/>
                      </a:cxn>
                    </a:cxnLst>
                    <a:rect l="0" t="0" r="r" b="b"/>
                    <a:pathLst>
                      <a:path w="21" h="2">
                        <a:moveTo>
                          <a:pt x="21" y="0"/>
                        </a:moveTo>
                        <a:lnTo>
                          <a:pt x="0" y="2"/>
                        </a:lnTo>
                        <a:lnTo>
                          <a:pt x="0" y="2"/>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832" name="Freeform 1692"/>
                  <p:cNvSpPr>
                    <a:spLocks/>
                  </p:cNvSpPr>
                  <p:nvPr/>
                </p:nvSpPr>
                <p:spPr bwMode="auto">
                  <a:xfrm>
                    <a:off x="10348" y="2151"/>
                    <a:ext cx="0" cy="9"/>
                  </a:xfrm>
                  <a:custGeom>
                    <a:avLst/>
                    <a:gdLst>
                      <a:gd name="T0" fmla="*/ 7 w 7"/>
                      <a:gd name="T1" fmla="*/ 7 h 7"/>
                      <a:gd name="T2" fmla="*/ 0 w 7"/>
                      <a:gd name="T3" fmla="*/ 0 h 7"/>
                      <a:gd name="T4" fmla="*/ 0 w 7"/>
                      <a:gd name="T5" fmla="*/ 3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3"/>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1833" name="Freeform 1693"/>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834" name="Freeform 1694"/>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835" name="Freeform 1695"/>
                  <p:cNvSpPr>
                    <a:spLocks/>
                  </p:cNvSpPr>
                  <p:nvPr/>
                </p:nvSpPr>
                <p:spPr bwMode="auto">
                  <a:xfrm>
                    <a:off x="10249" y="2595"/>
                    <a:ext cx="25" cy="9"/>
                  </a:xfrm>
                  <a:custGeom>
                    <a:avLst/>
                    <a:gdLst>
                      <a:gd name="T0" fmla="*/ 16 w 16"/>
                      <a:gd name="T1" fmla="*/ 0 h 2"/>
                      <a:gd name="T2" fmla="*/ 2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2"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1836" name="Freeform 1696"/>
                  <p:cNvSpPr>
                    <a:spLocks/>
                  </p:cNvSpPr>
                  <p:nvPr/>
                </p:nvSpPr>
                <p:spPr bwMode="auto">
                  <a:xfrm>
                    <a:off x="10249" y="2665"/>
                    <a:ext cx="25" cy="0"/>
                  </a:xfrm>
                  <a:custGeom>
                    <a:avLst/>
                    <a:gdLst>
                      <a:gd name="T0" fmla="*/ 30 w 30"/>
                      <a:gd name="T1" fmla="*/ 0 h 4"/>
                      <a:gd name="T2" fmla="*/ 30 w 30"/>
                      <a:gd name="T3" fmla="*/ 0 h 4"/>
                      <a:gd name="T4" fmla="*/ 0 w 30"/>
                      <a:gd name="T5" fmla="*/ 4 h 4"/>
                      <a:gd name="T6" fmla="*/ 0 w 30"/>
                      <a:gd name="T7" fmla="*/ 4 h 4"/>
                      <a:gd name="T8" fmla="*/ 30 w 30"/>
                      <a:gd name="T9" fmla="*/ 0 h 4"/>
                      <a:gd name="T10" fmla="*/ 30 w 30"/>
                      <a:gd name="T11" fmla="*/ 0 h 4"/>
                    </a:gdLst>
                    <a:ahLst/>
                    <a:cxnLst>
                      <a:cxn ang="0">
                        <a:pos x="T0" y="T1"/>
                      </a:cxn>
                      <a:cxn ang="0">
                        <a:pos x="T2" y="T3"/>
                      </a:cxn>
                      <a:cxn ang="0">
                        <a:pos x="T4" y="T5"/>
                      </a:cxn>
                      <a:cxn ang="0">
                        <a:pos x="T6" y="T7"/>
                      </a:cxn>
                      <a:cxn ang="0">
                        <a:pos x="T8" y="T9"/>
                      </a:cxn>
                      <a:cxn ang="0">
                        <a:pos x="T10" y="T11"/>
                      </a:cxn>
                    </a:cxnLst>
                    <a:rect l="0" t="0" r="r" b="b"/>
                    <a:pathLst>
                      <a:path w="30" h="4">
                        <a:moveTo>
                          <a:pt x="30" y="0"/>
                        </a:moveTo>
                        <a:lnTo>
                          <a:pt x="30" y="0"/>
                        </a:lnTo>
                        <a:lnTo>
                          <a:pt x="0" y="4"/>
                        </a:lnTo>
                        <a:lnTo>
                          <a:pt x="0" y="4"/>
                        </a:lnTo>
                        <a:lnTo>
                          <a:pt x="30" y="0"/>
                        </a:lnTo>
                        <a:lnTo>
                          <a:pt x="30" y="0"/>
                        </a:lnTo>
                        <a:close/>
                      </a:path>
                    </a:pathLst>
                  </a:custGeom>
                  <a:solidFill>
                    <a:srgbClr val="01AAE5"/>
                  </a:solidFill>
                  <a:ln>
                    <a:noFill/>
                  </a:ln>
                  <a:extLst/>
                </p:spPr>
                <p:txBody>
                  <a:bodyPr/>
                  <a:lstStyle/>
                  <a:p>
                    <a:pPr eaLnBrk="1" hangingPunct="1">
                      <a:defRPr/>
                    </a:pPr>
                    <a:endParaRPr lang="zh-CN" altLang="en-US" sz="1050"/>
                  </a:p>
                </p:txBody>
              </p:sp>
              <p:sp>
                <p:nvSpPr>
                  <p:cNvPr id="1837" name="Freeform 1697"/>
                  <p:cNvSpPr>
                    <a:spLocks/>
                  </p:cNvSpPr>
                  <p:nvPr/>
                </p:nvSpPr>
                <p:spPr bwMode="auto">
                  <a:xfrm>
                    <a:off x="10249" y="2656"/>
                    <a:ext cx="25" cy="9"/>
                  </a:xfrm>
                  <a:custGeom>
                    <a:avLst/>
                    <a:gdLst>
                      <a:gd name="T0" fmla="*/ 33 w 33"/>
                      <a:gd name="T1" fmla="*/ 0 h 5"/>
                      <a:gd name="T2" fmla="*/ 0 w 33"/>
                      <a:gd name="T3" fmla="*/ 5 h 5"/>
                      <a:gd name="T4" fmla="*/ 3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5"/>
                        </a:lnTo>
                        <a:lnTo>
                          <a:pt x="3"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1838" name="Freeform 1698"/>
                  <p:cNvSpPr>
                    <a:spLocks/>
                  </p:cNvSpPr>
                  <p:nvPr/>
                </p:nvSpPr>
                <p:spPr bwMode="auto">
                  <a:xfrm>
                    <a:off x="10249" y="2647"/>
                    <a:ext cx="25" cy="9"/>
                  </a:xfrm>
                  <a:custGeom>
                    <a:avLst/>
                    <a:gdLst>
                      <a:gd name="T0" fmla="*/ 33 w 33"/>
                      <a:gd name="T1" fmla="*/ 0 h 5"/>
                      <a:gd name="T2" fmla="*/ 0 w 33"/>
                      <a:gd name="T3" fmla="*/ 3 h 5"/>
                      <a:gd name="T4" fmla="*/ 0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3"/>
                        </a:lnTo>
                        <a:lnTo>
                          <a:pt x="0"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1839" name="Freeform 1699"/>
                  <p:cNvSpPr>
                    <a:spLocks/>
                  </p:cNvSpPr>
                  <p:nvPr/>
                </p:nvSpPr>
                <p:spPr bwMode="auto">
                  <a:xfrm>
                    <a:off x="10249" y="2647"/>
                    <a:ext cx="25" cy="0"/>
                  </a:xfrm>
                  <a:custGeom>
                    <a:avLst/>
                    <a:gdLst>
                      <a:gd name="T0" fmla="*/ 31 w 31"/>
                      <a:gd name="T1" fmla="*/ 0 h 7"/>
                      <a:gd name="T2" fmla="*/ 0 w 31"/>
                      <a:gd name="T3" fmla="*/ 5 h 7"/>
                      <a:gd name="T4" fmla="*/ 0 w 31"/>
                      <a:gd name="T5" fmla="*/ 7 h 7"/>
                      <a:gd name="T6" fmla="*/ 31 w 31"/>
                      <a:gd name="T7" fmla="*/ 2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2"/>
                        </a:lnTo>
                        <a:lnTo>
                          <a:pt x="31" y="0"/>
                        </a:lnTo>
                        <a:close/>
                      </a:path>
                    </a:pathLst>
                  </a:custGeom>
                  <a:solidFill>
                    <a:srgbClr val="01AAE5"/>
                  </a:solidFill>
                  <a:ln>
                    <a:noFill/>
                  </a:ln>
                  <a:extLst/>
                </p:spPr>
                <p:txBody>
                  <a:bodyPr/>
                  <a:lstStyle/>
                  <a:p>
                    <a:pPr eaLnBrk="1" hangingPunct="1">
                      <a:defRPr/>
                    </a:pPr>
                    <a:endParaRPr lang="zh-CN" altLang="en-US" sz="1050"/>
                  </a:p>
                </p:txBody>
              </p:sp>
              <p:sp>
                <p:nvSpPr>
                  <p:cNvPr id="1840" name="Freeform 1700"/>
                  <p:cNvSpPr>
                    <a:spLocks/>
                  </p:cNvSpPr>
                  <p:nvPr/>
                </p:nvSpPr>
                <p:spPr bwMode="auto">
                  <a:xfrm>
                    <a:off x="10249" y="2621"/>
                    <a:ext cx="25" cy="9"/>
                  </a:xfrm>
                  <a:custGeom>
                    <a:avLst/>
                    <a:gdLst>
                      <a:gd name="T0" fmla="*/ 26 w 26"/>
                      <a:gd name="T1" fmla="*/ 0 h 5"/>
                      <a:gd name="T2" fmla="*/ 0 w 26"/>
                      <a:gd name="T3" fmla="*/ 3 h 5"/>
                      <a:gd name="T4" fmla="*/ 0 w 26"/>
                      <a:gd name="T5" fmla="*/ 5 h 5"/>
                      <a:gd name="T6" fmla="*/ 26 w 26"/>
                      <a:gd name="T7" fmla="*/ 3 h 5"/>
                      <a:gd name="T8" fmla="*/ 26 w 26"/>
                      <a:gd name="T9" fmla="*/ 0 h 5"/>
                    </a:gdLst>
                    <a:ahLst/>
                    <a:cxnLst>
                      <a:cxn ang="0">
                        <a:pos x="T0" y="T1"/>
                      </a:cxn>
                      <a:cxn ang="0">
                        <a:pos x="T2" y="T3"/>
                      </a:cxn>
                      <a:cxn ang="0">
                        <a:pos x="T4" y="T5"/>
                      </a:cxn>
                      <a:cxn ang="0">
                        <a:pos x="T6" y="T7"/>
                      </a:cxn>
                      <a:cxn ang="0">
                        <a:pos x="T8" y="T9"/>
                      </a:cxn>
                    </a:cxnLst>
                    <a:rect l="0" t="0" r="r" b="b"/>
                    <a:pathLst>
                      <a:path w="26" h="5">
                        <a:moveTo>
                          <a:pt x="26" y="0"/>
                        </a:moveTo>
                        <a:lnTo>
                          <a:pt x="0" y="3"/>
                        </a:lnTo>
                        <a:lnTo>
                          <a:pt x="0" y="5"/>
                        </a:lnTo>
                        <a:lnTo>
                          <a:pt x="26"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841" name="Rectangle 1701"/>
                  <p:cNvSpPr>
                    <a:spLocks noChangeArrowheads="1"/>
                  </p:cNvSpPr>
                  <p:nvPr/>
                </p:nvSpPr>
                <p:spPr bwMode="auto">
                  <a:xfrm>
                    <a:off x="10257"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1842" name="Freeform 1702"/>
                  <p:cNvSpPr>
                    <a:spLocks/>
                  </p:cNvSpPr>
                  <p:nvPr/>
                </p:nvSpPr>
                <p:spPr bwMode="auto">
                  <a:xfrm>
                    <a:off x="10249" y="2630"/>
                    <a:ext cx="25" cy="9"/>
                  </a:xfrm>
                  <a:custGeom>
                    <a:avLst/>
                    <a:gdLst>
                      <a:gd name="T0" fmla="*/ 29 w 29"/>
                      <a:gd name="T1" fmla="*/ 0 h 5"/>
                      <a:gd name="T2" fmla="*/ 0 w 29"/>
                      <a:gd name="T3" fmla="*/ 5 h 5"/>
                      <a:gd name="T4" fmla="*/ 0 w 29"/>
                      <a:gd name="T5" fmla="*/ 5 h 5"/>
                      <a:gd name="T6" fmla="*/ 29 w 29"/>
                      <a:gd name="T7" fmla="*/ 2 h 5"/>
                      <a:gd name="T8" fmla="*/ 29 w 29"/>
                      <a:gd name="T9" fmla="*/ 0 h 5"/>
                    </a:gdLst>
                    <a:ahLst/>
                    <a:cxnLst>
                      <a:cxn ang="0">
                        <a:pos x="T0" y="T1"/>
                      </a:cxn>
                      <a:cxn ang="0">
                        <a:pos x="T2" y="T3"/>
                      </a:cxn>
                      <a:cxn ang="0">
                        <a:pos x="T4" y="T5"/>
                      </a:cxn>
                      <a:cxn ang="0">
                        <a:pos x="T6" y="T7"/>
                      </a:cxn>
                      <a:cxn ang="0">
                        <a:pos x="T8" y="T9"/>
                      </a:cxn>
                    </a:cxnLst>
                    <a:rect l="0" t="0" r="r" b="b"/>
                    <a:pathLst>
                      <a:path w="29" h="5">
                        <a:moveTo>
                          <a:pt x="29" y="0"/>
                        </a:moveTo>
                        <a:lnTo>
                          <a:pt x="0" y="5"/>
                        </a:lnTo>
                        <a:lnTo>
                          <a:pt x="0" y="5"/>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1843" name="Freeform 1703"/>
                  <p:cNvSpPr>
                    <a:spLocks/>
                  </p:cNvSpPr>
                  <p:nvPr/>
                </p:nvSpPr>
                <p:spPr bwMode="auto">
                  <a:xfrm>
                    <a:off x="10249" y="2639"/>
                    <a:ext cx="25" cy="0"/>
                  </a:xfrm>
                  <a:custGeom>
                    <a:avLst/>
                    <a:gdLst>
                      <a:gd name="T0" fmla="*/ 29 w 29"/>
                      <a:gd name="T1" fmla="*/ 0 h 4"/>
                      <a:gd name="T2" fmla="*/ 0 w 29"/>
                      <a:gd name="T3" fmla="*/ 4 h 4"/>
                      <a:gd name="T4" fmla="*/ 0 w 29"/>
                      <a:gd name="T5" fmla="*/ 4 h 4"/>
                      <a:gd name="T6" fmla="*/ 29 w 29"/>
                      <a:gd name="T7" fmla="*/ 2 h 4"/>
                      <a:gd name="T8" fmla="*/ 29 w 29"/>
                      <a:gd name="T9" fmla="*/ 0 h 4"/>
                    </a:gdLst>
                    <a:ahLst/>
                    <a:cxnLst>
                      <a:cxn ang="0">
                        <a:pos x="T0" y="T1"/>
                      </a:cxn>
                      <a:cxn ang="0">
                        <a:pos x="T2" y="T3"/>
                      </a:cxn>
                      <a:cxn ang="0">
                        <a:pos x="T4" y="T5"/>
                      </a:cxn>
                      <a:cxn ang="0">
                        <a:pos x="T6" y="T7"/>
                      </a:cxn>
                      <a:cxn ang="0">
                        <a:pos x="T8" y="T9"/>
                      </a:cxn>
                    </a:cxnLst>
                    <a:rect l="0" t="0" r="r" b="b"/>
                    <a:pathLst>
                      <a:path w="29" h="4">
                        <a:moveTo>
                          <a:pt x="29" y="0"/>
                        </a:moveTo>
                        <a:lnTo>
                          <a:pt x="0" y="4"/>
                        </a:lnTo>
                        <a:lnTo>
                          <a:pt x="0" y="4"/>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1844" name="Freeform 1704"/>
                  <p:cNvSpPr>
                    <a:spLocks/>
                  </p:cNvSpPr>
                  <p:nvPr/>
                </p:nvSpPr>
                <p:spPr bwMode="auto">
                  <a:xfrm>
                    <a:off x="10249" y="2639"/>
                    <a:ext cx="25" cy="9"/>
                  </a:xfrm>
                  <a:custGeom>
                    <a:avLst/>
                    <a:gdLst>
                      <a:gd name="T0" fmla="*/ 31 w 31"/>
                      <a:gd name="T1" fmla="*/ 0 h 7"/>
                      <a:gd name="T2" fmla="*/ 0 w 31"/>
                      <a:gd name="T3" fmla="*/ 5 h 7"/>
                      <a:gd name="T4" fmla="*/ 0 w 31"/>
                      <a:gd name="T5" fmla="*/ 7 h 7"/>
                      <a:gd name="T6" fmla="*/ 31 w 31"/>
                      <a:gd name="T7" fmla="*/ 3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3"/>
                        </a:lnTo>
                        <a:lnTo>
                          <a:pt x="31" y="0"/>
                        </a:lnTo>
                        <a:close/>
                      </a:path>
                    </a:pathLst>
                  </a:custGeom>
                  <a:solidFill>
                    <a:srgbClr val="01AAE5"/>
                  </a:solidFill>
                  <a:ln>
                    <a:noFill/>
                  </a:ln>
                  <a:extLst/>
                </p:spPr>
                <p:txBody>
                  <a:bodyPr/>
                  <a:lstStyle/>
                  <a:p>
                    <a:pPr eaLnBrk="1" hangingPunct="1">
                      <a:defRPr/>
                    </a:pPr>
                    <a:endParaRPr lang="zh-CN" altLang="en-US" sz="1050"/>
                  </a:p>
                </p:txBody>
              </p:sp>
              <p:sp>
                <p:nvSpPr>
                  <p:cNvPr id="1845" name="Rectangle 1705"/>
                  <p:cNvSpPr>
                    <a:spLocks noChangeArrowheads="1"/>
                  </p:cNvSpPr>
                  <p:nvPr/>
                </p:nvSpPr>
                <p:spPr bwMode="auto">
                  <a:xfrm>
                    <a:off x="10257" y="2560"/>
                    <a:ext cx="0" cy="0"/>
                  </a:xfrm>
                  <a:prstGeom prst="rect">
                    <a:avLst/>
                  </a:prstGeom>
                  <a:solidFill>
                    <a:srgbClr val="01AAE5"/>
                  </a:solidFill>
                  <a:ln>
                    <a:noFill/>
                  </a:ln>
                  <a:extLst/>
                </p:spPr>
                <p:txBody>
                  <a:bodyPr/>
                  <a:lstStyle/>
                  <a:p>
                    <a:pPr eaLnBrk="1" hangingPunct="1">
                      <a:defRPr/>
                    </a:pPr>
                    <a:endParaRPr lang="zh-CN" altLang="en-US" sz="1050"/>
                  </a:p>
                </p:txBody>
              </p:sp>
              <p:sp>
                <p:nvSpPr>
                  <p:cNvPr id="1846" name="Rectangle 1706"/>
                  <p:cNvSpPr>
                    <a:spLocks noChangeArrowheads="1"/>
                  </p:cNvSpPr>
                  <p:nvPr/>
                </p:nvSpPr>
                <p:spPr bwMode="auto">
                  <a:xfrm>
                    <a:off x="10257" y="2525"/>
                    <a:ext cx="0" cy="0"/>
                  </a:xfrm>
                  <a:prstGeom prst="rect">
                    <a:avLst/>
                  </a:prstGeom>
                  <a:solidFill>
                    <a:srgbClr val="01AAE5"/>
                  </a:solidFill>
                  <a:ln>
                    <a:noFill/>
                  </a:ln>
                  <a:extLst/>
                </p:spPr>
                <p:txBody>
                  <a:bodyPr/>
                  <a:lstStyle/>
                  <a:p>
                    <a:pPr eaLnBrk="1" hangingPunct="1">
                      <a:defRPr/>
                    </a:pPr>
                    <a:endParaRPr lang="zh-CN" altLang="en-US" sz="1050"/>
                  </a:p>
                </p:txBody>
              </p:sp>
              <p:sp>
                <p:nvSpPr>
                  <p:cNvPr id="1847" name="Freeform 1707"/>
                  <p:cNvSpPr>
                    <a:spLocks/>
                  </p:cNvSpPr>
                  <p:nvPr/>
                </p:nvSpPr>
                <p:spPr bwMode="auto">
                  <a:xfrm>
                    <a:off x="10257" y="2525"/>
                    <a:ext cx="0" cy="9"/>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1848" name="Rectangle 1708"/>
                  <p:cNvSpPr>
                    <a:spLocks noChangeArrowheads="1"/>
                  </p:cNvSpPr>
                  <p:nvPr/>
                </p:nvSpPr>
                <p:spPr bwMode="auto">
                  <a:xfrm>
                    <a:off x="10257" y="2578"/>
                    <a:ext cx="0" cy="0"/>
                  </a:xfrm>
                  <a:prstGeom prst="rect">
                    <a:avLst/>
                  </a:prstGeom>
                  <a:solidFill>
                    <a:srgbClr val="01AAE5"/>
                  </a:solidFill>
                  <a:ln>
                    <a:noFill/>
                  </a:ln>
                  <a:extLst/>
                </p:spPr>
                <p:txBody>
                  <a:bodyPr/>
                  <a:lstStyle/>
                  <a:p>
                    <a:pPr eaLnBrk="1" hangingPunct="1">
                      <a:defRPr/>
                    </a:pPr>
                    <a:endParaRPr lang="zh-CN" altLang="en-US" sz="1050"/>
                  </a:p>
                </p:txBody>
              </p:sp>
              <p:sp>
                <p:nvSpPr>
                  <p:cNvPr id="1849" name="Rectangle 1709"/>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1850" name="Rectangle 1710"/>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1851" name="Freeform 1711"/>
                  <p:cNvSpPr>
                    <a:spLocks/>
                  </p:cNvSpPr>
                  <p:nvPr/>
                </p:nvSpPr>
                <p:spPr bwMode="auto">
                  <a:xfrm>
                    <a:off x="10257" y="2508"/>
                    <a:ext cx="0" cy="9"/>
                  </a:xfrm>
                  <a:custGeom>
                    <a:avLst/>
                    <a:gdLst>
                      <a:gd name="T0" fmla="*/ 8 w 8"/>
                      <a:gd name="T1" fmla="*/ 0 h 3"/>
                      <a:gd name="T2" fmla="*/ 0 w 8"/>
                      <a:gd name="T3" fmla="*/ 0 h 3"/>
                      <a:gd name="T4" fmla="*/ 0 w 8"/>
                      <a:gd name="T5" fmla="*/ 0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0" y="0"/>
                        </a:lnTo>
                        <a:lnTo>
                          <a:pt x="0" y="0"/>
                        </a:lnTo>
                        <a:lnTo>
                          <a:pt x="8" y="3"/>
                        </a:lnTo>
                        <a:lnTo>
                          <a:pt x="8" y="0"/>
                        </a:lnTo>
                        <a:close/>
                      </a:path>
                    </a:pathLst>
                  </a:custGeom>
                  <a:solidFill>
                    <a:srgbClr val="01AAE5"/>
                  </a:solidFill>
                  <a:ln>
                    <a:noFill/>
                  </a:ln>
                  <a:extLst/>
                </p:spPr>
                <p:txBody>
                  <a:bodyPr/>
                  <a:lstStyle/>
                  <a:p>
                    <a:pPr eaLnBrk="1" hangingPunct="1">
                      <a:defRPr/>
                    </a:pPr>
                    <a:endParaRPr lang="zh-CN" altLang="en-US" sz="1050"/>
                  </a:p>
                </p:txBody>
              </p:sp>
            </p:grpSp>
            <p:grpSp>
              <p:nvGrpSpPr>
                <p:cNvPr id="9" name="Group 1913"/>
                <p:cNvGrpSpPr>
                  <a:grpSpLocks/>
                </p:cNvGrpSpPr>
                <p:nvPr/>
              </p:nvGrpSpPr>
              <p:grpSpPr bwMode="auto">
                <a:xfrm>
                  <a:off x="16149638" y="3429000"/>
                  <a:ext cx="1431925" cy="1789113"/>
                  <a:chOff x="10173" y="2160"/>
                  <a:chExt cx="902" cy="1127"/>
                </a:xfrm>
              </p:grpSpPr>
              <p:sp>
                <p:nvSpPr>
                  <p:cNvPr id="1452" name="Rectangle 1713"/>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1453" name="Rectangle 1714"/>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1454" name="Rectangle 1715"/>
                  <p:cNvSpPr>
                    <a:spLocks noChangeArrowheads="1"/>
                  </p:cNvSpPr>
                  <p:nvPr/>
                </p:nvSpPr>
                <p:spPr bwMode="auto">
                  <a:xfrm>
                    <a:off x="10190" y="2517"/>
                    <a:ext cx="8" cy="9"/>
                  </a:xfrm>
                  <a:prstGeom prst="rect">
                    <a:avLst/>
                  </a:prstGeom>
                  <a:solidFill>
                    <a:srgbClr val="01AAE5"/>
                  </a:solidFill>
                  <a:ln>
                    <a:noFill/>
                  </a:ln>
                  <a:extLst/>
                </p:spPr>
                <p:txBody>
                  <a:bodyPr/>
                  <a:lstStyle/>
                  <a:p>
                    <a:pPr eaLnBrk="1" hangingPunct="1">
                      <a:defRPr/>
                    </a:pPr>
                    <a:endParaRPr lang="zh-CN" altLang="en-US" sz="1050"/>
                  </a:p>
                </p:txBody>
              </p:sp>
              <p:sp>
                <p:nvSpPr>
                  <p:cNvPr id="1455" name="Freeform 1716"/>
                  <p:cNvSpPr>
                    <a:spLocks/>
                  </p:cNvSpPr>
                  <p:nvPr/>
                </p:nvSpPr>
                <p:spPr bwMode="auto">
                  <a:xfrm>
                    <a:off x="10182" y="2543"/>
                    <a:ext cx="17" cy="0"/>
                  </a:xfrm>
                  <a:custGeom>
                    <a:avLst/>
                    <a:gdLst>
                      <a:gd name="T0" fmla="*/ 10 w 10"/>
                      <a:gd name="T1" fmla="*/ 0 h 3"/>
                      <a:gd name="T2" fmla="*/ 0 w 10"/>
                      <a:gd name="T3" fmla="*/ 0 h 3"/>
                      <a:gd name="T4" fmla="*/ 0 w 10"/>
                      <a:gd name="T5" fmla="*/ 0 h 3"/>
                      <a:gd name="T6" fmla="*/ 1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0"/>
                        </a:lnTo>
                        <a:lnTo>
                          <a:pt x="0" y="0"/>
                        </a:lnTo>
                        <a:lnTo>
                          <a:pt x="1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56" name="Rectangle 1717"/>
                  <p:cNvSpPr>
                    <a:spLocks noChangeArrowheads="1"/>
                  </p:cNvSpPr>
                  <p:nvPr/>
                </p:nvSpPr>
                <p:spPr bwMode="auto">
                  <a:xfrm>
                    <a:off x="10182"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1457" name="Freeform 1718"/>
                  <p:cNvSpPr>
                    <a:spLocks/>
                  </p:cNvSpPr>
                  <p:nvPr/>
                </p:nvSpPr>
                <p:spPr bwMode="auto">
                  <a:xfrm>
                    <a:off x="10182" y="2578"/>
                    <a:ext cx="17" cy="0"/>
                  </a:xfrm>
                  <a:custGeom>
                    <a:avLst/>
                    <a:gdLst>
                      <a:gd name="T0" fmla="*/ 10 w 10"/>
                      <a:gd name="T1" fmla="*/ 0 h 2"/>
                      <a:gd name="T2" fmla="*/ 0 w 10"/>
                      <a:gd name="T3" fmla="*/ 0 h 2"/>
                      <a:gd name="T4" fmla="*/ 0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0"/>
                        </a:lnTo>
                        <a:lnTo>
                          <a:pt x="0"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58" name="Rectangle 1719"/>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1459" name="Rectangle 1720"/>
                  <p:cNvSpPr>
                    <a:spLocks noChangeArrowheads="1"/>
                  </p:cNvSpPr>
                  <p:nvPr/>
                </p:nvSpPr>
                <p:spPr bwMode="auto">
                  <a:xfrm>
                    <a:off x="10182"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1460" name="Freeform 1721"/>
                  <p:cNvSpPr>
                    <a:spLocks/>
                  </p:cNvSpPr>
                  <p:nvPr/>
                </p:nvSpPr>
                <p:spPr bwMode="auto">
                  <a:xfrm>
                    <a:off x="10182" y="2674"/>
                    <a:ext cx="33" cy="9"/>
                  </a:xfrm>
                  <a:custGeom>
                    <a:avLst/>
                    <a:gdLst>
                      <a:gd name="T0" fmla="*/ 33 w 33"/>
                      <a:gd name="T1" fmla="*/ 0 h 7"/>
                      <a:gd name="T2" fmla="*/ 0 w 33"/>
                      <a:gd name="T3" fmla="*/ 5 h 7"/>
                      <a:gd name="T4" fmla="*/ 0 w 33"/>
                      <a:gd name="T5" fmla="*/ 7 h 7"/>
                      <a:gd name="T6" fmla="*/ 33 w 33"/>
                      <a:gd name="T7" fmla="*/ 0 h 7"/>
                      <a:gd name="T8" fmla="*/ 33 w 33"/>
                      <a:gd name="T9" fmla="*/ 0 h 7"/>
                    </a:gdLst>
                    <a:ahLst/>
                    <a:cxnLst>
                      <a:cxn ang="0">
                        <a:pos x="T0" y="T1"/>
                      </a:cxn>
                      <a:cxn ang="0">
                        <a:pos x="T2" y="T3"/>
                      </a:cxn>
                      <a:cxn ang="0">
                        <a:pos x="T4" y="T5"/>
                      </a:cxn>
                      <a:cxn ang="0">
                        <a:pos x="T6" y="T7"/>
                      </a:cxn>
                      <a:cxn ang="0">
                        <a:pos x="T8" y="T9"/>
                      </a:cxn>
                    </a:cxnLst>
                    <a:rect l="0" t="0" r="r" b="b"/>
                    <a:pathLst>
                      <a:path w="33" h="7">
                        <a:moveTo>
                          <a:pt x="33" y="0"/>
                        </a:moveTo>
                        <a:lnTo>
                          <a:pt x="0" y="5"/>
                        </a:lnTo>
                        <a:lnTo>
                          <a:pt x="0" y="7"/>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1461" name="Rectangle 1722"/>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1462" name="Freeform 1723"/>
                  <p:cNvSpPr>
                    <a:spLocks/>
                  </p:cNvSpPr>
                  <p:nvPr/>
                </p:nvSpPr>
                <p:spPr bwMode="auto">
                  <a:xfrm>
                    <a:off x="10182" y="2621"/>
                    <a:ext cx="25" cy="9"/>
                  </a:xfrm>
                  <a:custGeom>
                    <a:avLst/>
                    <a:gdLst>
                      <a:gd name="T0" fmla="*/ 24 w 26"/>
                      <a:gd name="T1" fmla="*/ 0 h 5"/>
                      <a:gd name="T2" fmla="*/ 0 w 26"/>
                      <a:gd name="T3" fmla="*/ 3 h 5"/>
                      <a:gd name="T4" fmla="*/ 0 w 26"/>
                      <a:gd name="T5" fmla="*/ 5 h 5"/>
                      <a:gd name="T6" fmla="*/ 26 w 26"/>
                      <a:gd name="T7" fmla="*/ 3 h 5"/>
                      <a:gd name="T8" fmla="*/ 24 w 26"/>
                      <a:gd name="T9" fmla="*/ 0 h 5"/>
                    </a:gdLst>
                    <a:ahLst/>
                    <a:cxnLst>
                      <a:cxn ang="0">
                        <a:pos x="T0" y="T1"/>
                      </a:cxn>
                      <a:cxn ang="0">
                        <a:pos x="T2" y="T3"/>
                      </a:cxn>
                      <a:cxn ang="0">
                        <a:pos x="T4" y="T5"/>
                      </a:cxn>
                      <a:cxn ang="0">
                        <a:pos x="T6" y="T7"/>
                      </a:cxn>
                      <a:cxn ang="0">
                        <a:pos x="T8" y="T9"/>
                      </a:cxn>
                    </a:cxnLst>
                    <a:rect l="0" t="0" r="r" b="b"/>
                    <a:pathLst>
                      <a:path w="26" h="5">
                        <a:moveTo>
                          <a:pt x="24" y="0"/>
                        </a:moveTo>
                        <a:lnTo>
                          <a:pt x="0" y="3"/>
                        </a:lnTo>
                        <a:lnTo>
                          <a:pt x="0" y="5"/>
                        </a:lnTo>
                        <a:lnTo>
                          <a:pt x="26" y="3"/>
                        </a:lnTo>
                        <a:lnTo>
                          <a:pt x="24" y="0"/>
                        </a:lnTo>
                        <a:close/>
                      </a:path>
                    </a:pathLst>
                  </a:custGeom>
                  <a:solidFill>
                    <a:srgbClr val="01AAE5"/>
                  </a:solidFill>
                  <a:ln>
                    <a:noFill/>
                  </a:ln>
                  <a:extLst/>
                </p:spPr>
                <p:txBody>
                  <a:bodyPr/>
                  <a:lstStyle/>
                  <a:p>
                    <a:pPr eaLnBrk="1" hangingPunct="1">
                      <a:defRPr/>
                    </a:pPr>
                    <a:endParaRPr lang="zh-CN" altLang="en-US" sz="1050"/>
                  </a:p>
                </p:txBody>
              </p:sp>
              <p:sp>
                <p:nvSpPr>
                  <p:cNvPr id="1463" name="Freeform 1724"/>
                  <p:cNvSpPr>
                    <a:spLocks/>
                  </p:cNvSpPr>
                  <p:nvPr/>
                </p:nvSpPr>
                <p:spPr bwMode="auto">
                  <a:xfrm>
                    <a:off x="10232" y="2787"/>
                    <a:ext cx="0"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64" name="Freeform 1725"/>
                  <p:cNvSpPr>
                    <a:spLocks/>
                  </p:cNvSpPr>
                  <p:nvPr/>
                </p:nvSpPr>
                <p:spPr bwMode="auto">
                  <a:xfrm>
                    <a:off x="10232" y="2796"/>
                    <a:ext cx="0" cy="0"/>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65" name="Freeform 1726"/>
                  <p:cNvSpPr>
                    <a:spLocks/>
                  </p:cNvSpPr>
                  <p:nvPr/>
                </p:nvSpPr>
                <p:spPr bwMode="auto">
                  <a:xfrm>
                    <a:off x="10232" y="2796"/>
                    <a:ext cx="8" cy="9"/>
                  </a:xfrm>
                  <a:custGeom>
                    <a:avLst/>
                    <a:gdLst>
                      <a:gd name="T0" fmla="*/ 7 w 10"/>
                      <a:gd name="T1" fmla="*/ 0 h 4"/>
                      <a:gd name="T2" fmla="*/ 0 w 10"/>
                      <a:gd name="T3" fmla="*/ 4 h 4"/>
                      <a:gd name="T4" fmla="*/ 0 w 10"/>
                      <a:gd name="T5" fmla="*/ 4 h 4"/>
                      <a:gd name="T6" fmla="*/ 10 w 10"/>
                      <a:gd name="T7" fmla="*/ 2 h 4"/>
                      <a:gd name="T8" fmla="*/ 7 w 10"/>
                      <a:gd name="T9" fmla="*/ 0 h 4"/>
                    </a:gdLst>
                    <a:ahLst/>
                    <a:cxnLst>
                      <a:cxn ang="0">
                        <a:pos x="T0" y="T1"/>
                      </a:cxn>
                      <a:cxn ang="0">
                        <a:pos x="T2" y="T3"/>
                      </a:cxn>
                      <a:cxn ang="0">
                        <a:pos x="T4" y="T5"/>
                      </a:cxn>
                      <a:cxn ang="0">
                        <a:pos x="T6" y="T7"/>
                      </a:cxn>
                      <a:cxn ang="0">
                        <a:pos x="T8" y="T9"/>
                      </a:cxn>
                    </a:cxnLst>
                    <a:rect l="0" t="0" r="r" b="b"/>
                    <a:pathLst>
                      <a:path w="10" h="4">
                        <a:moveTo>
                          <a:pt x="7" y="0"/>
                        </a:moveTo>
                        <a:lnTo>
                          <a:pt x="0" y="4"/>
                        </a:lnTo>
                        <a:lnTo>
                          <a:pt x="0" y="4"/>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66" name="Freeform 1727"/>
                  <p:cNvSpPr>
                    <a:spLocks/>
                  </p:cNvSpPr>
                  <p:nvPr/>
                </p:nvSpPr>
                <p:spPr bwMode="auto">
                  <a:xfrm>
                    <a:off x="10232" y="2796"/>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67" name="Freeform 1728"/>
                  <p:cNvSpPr>
                    <a:spLocks/>
                  </p:cNvSpPr>
                  <p:nvPr/>
                </p:nvSpPr>
                <p:spPr bwMode="auto">
                  <a:xfrm>
                    <a:off x="10232" y="2778"/>
                    <a:ext cx="0" cy="9"/>
                  </a:xfrm>
                  <a:custGeom>
                    <a:avLst/>
                    <a:gdLst>
                      <a:gd name="T0" fmla="*/ 7 w 10"/>
                      <a:gd name="T1" fmla="*/ 0 h 5"/>
                      <a:gd name="T2" fmla="*/ 0 w 10"/>
                      <a:gd name="T3" fmla="*/ 5 h 5"/>
                      <a:gd name="T4" fmla="*/ 0 w 10"/>
                      <a:gd name="T5" fmla="*/ 5 h 5"/>
                      <a:gd name="T6" fmla="*/ 10 w 10"/>
                      <a:gd name="T7" fmla="*/ 2 h 5"/>
                      <a:gd name="T8" fmla="*/ 7 w 10"/>
                      <a:gd name="T9" fmla="*/ 0 h 5"/>
                    </a:gdLst>
                    <a:ahLst/>
                    <a:cxnLst>
                      <a:cxn ang="0">
                        <a:pos x="T0" y="T1"/>
                      </a:cxn>
                      <a:cxn ang="0">
                        <a:pos x="T2" y="T3"/>
                      </a:cxn>
                      <a:cxn ang="0">
                        <a:pos x="T4" y="T5"/>
                      </a:cxn>
                      <a:cxn ang="0">
                        <a:pos x="T6" y="T7"/>
                      </a:cxn>
                      <a:cxn ang="0">
                        <a:pos x="T8" y="T9"/>
                      </a:cxn>
                    </a:cxnLst>
                    <a:rect l="0" t="0" r="r" b="b"/>
                    <a:pathLst>
                      <a:path w="10" h="5">
                        <a:moveTo>
                          <a:pt x="7" y="0"/>
                        </a:moveTo>
                        <a:lnTo>
                          <a:pt x="0" y="5"/>
                        </a:lnTo>
                        <a:lnTo>
                          <a:pt x="0" y="5"/>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68" name="Freeform 1729"/>
                  <p:cNvSpPr>
                    <a:spLocks/>
                  </p:cNvSpPr>
                  <p:nvPr/>
                </p:nvSpPr>
                <p:spPr bwMode="auto">
                  <a:xfrm>
                    <a:off x="10224" y="2769"/>
                    <a:ext cx="0" cy="0"/>
                  </a:xfrm>
                  <a:custGeom>
                    <a:avLst/>
                    <a:gdLst>
                      <a:gd name="T0" fmla="*/ 10 w 10"/>
                      <a:gd name="T1" fmla="*/ 0 h 5"/>
                      <a:gd name="T2" fmla="*/ 0 w 10"/>
                      <a:gd name="T3" fmla="*/ 2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2"/>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69" name="Freeform 1730"/>
                  <p:cNvSpPr>
                    <a:spLocks/>
                  </p:cNvSpPr>
                  <p:nvPr/>
                </p:nvSpPr>
                <p:spPr bwMode="auto">
                  <a:xfrm>
                    <a:off x="10224" y="2769"/>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70" name="Freeform 1731"/>
                  <p:cNvSpPr>
                    <a:spLocks/>
                  </p:cNvSpPr>
                  <p:nvPr/>
                </p:nvSpPr>
                <p:spPr bwMode="auto">
                  <a:xfrm>
                    <a:off x="10224" y="2778"/>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71" name="Freeform 1732"/>
                  <p:cNvSpPr>
                    <a:spLocks/>
                  </p:cNvSpPr>
                  <p:nvPr/>
                </p:nvSpPr>
                <p:spPr bwMode="auto">
                  <a:xfrm>
                    <a:off x="10224" y="2769"/>
                    <a:ext cx="0" cy="0"/>
                  </a:xfrm>
                  <a:custGeom>
                    <a:avLst/>
                    <a:gdLst>
                      <a:gd name="T0" fmla="*/ 7 w 9"/>
                      <a:gd name="T1" fmla="*/ 0 h 4"/>
                      <a:gd name="T2" fmla="*/ 0 w 9"/>
                      <a:gd name="T3" fmla="*/ 2 h 4"/>
                      <a:gd name="T4" fmla="*/ 0 w 9"/>
                      <a:gd name="T5" fmla="*/ 4 h 4"/>
                      <a:gd name="T6" fmla="*/ 9 w 9"/>
                      <a:gd name="T7" fmla="*/ 2 h 4"/>
                      <a:gd name="T8" fmla="*/ 7 w 9"/>
                      <a:gd name="T9" fmla="*/ 0 h 4"/>
                    </a:gdLst>
                    <a:ahLst/>
                    <a:cxnLst>
                      <a:cxn ang="0">
                        <a:pos x="T0" y="T1"/>
                      </a:cxn>
                      <a:cxn ang="0">
                        <a:pos x="T2" y="T3"/>
                      </a:cxn>
                      <a:cxn ang="0">
                        <a:pos x="T4" y="T5"/>
                      </a:cxn>
                      <a:cxn ang="0">
                        <a:pos x="T6" y="T7"/>
                      </a:cxn>
                      <a:cxn ang="0">
                        <a:pos x="T8" y="T9"/>
                      </a:cxn>
                    </a:cxnLst>
                    <a:rect l="0" t="0" r="r" b="b"/>
                    <a:pathLst>
                      <a:path w="9" h="4">
                        <a:moveTo>
                          <a:pt x="7" y="0"/>
                        </a:moveTo>
                        <a:lnTo>
                          <a:pt x="0" y="2"/>
                        </a:lnTo>
                        <a:lnTo>
                          <a:pt x="0" y="4"/>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72" name="Freeform 1733"/>
                  <p:cNvSpPr>
                    <a:spLocks/>
                  </p:cNvSpPr>
                  <p:nvPr/>
                </p:nvSpPr>
                <p:spPr bwMode="auto">
                  <a:xfrm>
                    <a:off x="10240" y="2830"/>
                    <a:ext cx="17" cy="0"/>
                  </a:xfrm>
                  <a:custGeom>
                    <a:avLst/>
                    <a:gdLst>
                      <a:gd name="T0" fmla="*/ 7 w 9"/>
                      <a:gd name="T1" fmla="*/ 0 h 5"/>
                      <a:gd name="T2" fmla="*/ 0 w 9"/>
                      <a:gd name="T3" fmla="*/ 5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5"/>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73" name="Freeform 1734"/>
                  <p:cNvSpPr>
                    <a:spLocks/>
                  </p:cNvSpPr>
                  <p:nvPr/>
                </p:nvSpPr>
                <p:spPr bwMode="auto">
                  <a:xfrm>
                    <a:off x="10249" y="2830"/>
                    <a:ext cx="8"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74" name="Freeform 1735"/>
                  <p:cNvSpPr>
                    <a:spLocks/>
                  </p:cNvSpPr>
                  <p:nvPr/>
                </p:nvSpPr>
                <p:spPr bwMode="auto">
                  <a:xfrm>
                    <a:off x="10249" y="2830"/>
                    <a:ext cx="8" cy="0"/>
                  </a:xfrm>
                  <a:custGeom>
                    <a:avLst/>
                    <a:gdLst>
                      <a:gd name="T0" fmla="*/ 7 w 7"/>
                      <a:gd name="T1" fmla="*/ 0 h 5"/>
                      <a:gd name="T2" fmla="*/ 0 w 7"/>
                      <a:gd name="T3" fmla="*/ 5 h 5"/>
                      <a:gd name="T4" fmla="*/ 0 w 7"/>
                      <a:gd name="T5" fmla="*/ 5 h 5"/>
                      <a:gd name="T6" fmla="*/ 7 w 7"/>
                      <a:gd name="T7" fmla="*/ 2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75" name="Freeform 1736"/>
                  <p:cNvSpPr>
                    <a:spLocks/>
                  </p:cNvSpPr>
                  <p:nvPr/>
                </p:nvSpPr>
                <p:spPr bwMode="auto">
                  <a:xfrm>
                    <a:off x="10249" y="2839"/>
                    <a:ext cx="8" cy="9"/>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76" name="Freeform 1737"/>
                  <p:cNvSpPr>
                    <a:spLocks/>
                  </p:cNvSpPr>
                  <p:nvPr/>
                </p:nvSpPr>
                <p:spPr bwMode="auto">
                  <a:xfrm>
                    <a:off x="10232" y="2813"/>
                    <a:ext cx="17" cy="9"/>
                  </a:xfrm>
                  <a:custGeom>
                    <a:avLst/>
                    <a:gdLst>
                      <a:gd name="T0" fmla="*/ 10 w 10"/>
                      <a:gd name="T1" fmla="*/ 0 h 5"/>
                      <a:gd name="T2" fmla="*/ 0 w 10"/>
                      <a:gd name="T3" fmla="*/ 5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5"/>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77" name="Freeform 1738"/>
                  <p:cNvSpPr>
                    <a:spLocks/>
                  </p:cNvSpPr>
                  <p:nvPr/>
                </p:nvSpPr>
                <p:spPr bwMode="auto">
                  <a:xfrm>
                    <a:off x="10240" y="2822"/>
                    <a:ext cx="8" cy="9"/>
                  </a:xfrm>
                  <a:custGeom>
                    <a:avLst/>
                    <a:gdLst>
                      <a:gd name="T0" fmla="*/ 10 w 10"/>
                      <a:gd name="T1" fmla="*/ 0 h 4"/>
                      <a:gd name="T2" fmla="*/ 0 w 10"/>
                      <a:gd name="T3" fmla="*/ 4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4"/>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78" name="Freeform 1739"/>
                  <p:cNvSpPr>
                    <a:spLocks/>
                  </p:cNvSpPr>
                  <p:nvPr/>
                </p:nvSpPr>
                <p:spPr bwMode="auto">
                  <a:xfrm>
                    <a:off x="10232" y="2813"/>
                    <a:ext cx="17" cy="0"/>
                  </a:xfrm>
                  <a:custGeom>
                    <a:avLst/>
                    <a:gdLst>
                      <a:gd name="T0" fmla="*/ 9 w 9"/>
                      <a:gd name="T1" fmla="*/ 0 h 2"/>
                      <a:gd name="T2" fmla="*/ 0 w 9"/>
                      <a:gd name="T3" fmla="*/ 2 h 2"/>
                      <a:gd name="T4" fmla="*/ 2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2"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79" name="Freeform 1740"/>
                  <p:cNvSpPr>
                    <a:spLocks/>
                  </p:cNvSpPr>
                  <p:nvPr/>
                </p:nvSpPr>
                <p:spPr bwMode="auto">
                  <a:xfrm>
                    <a:off x="10232" y="2804"/>
                    <a:ext cx="8" cy="9"/>
                  </a:xfrm>
                  <a:custGeom>
                    <a:avLst/>
                    <a:gdLst>
                      <a:gd name="T0" fmla="*/ 7 w 7"/>
                      <a:gd name="T1" fmla="*/ 0 h 5"/>
                      <a:gd name="T2" fmla="*/ 0 w 7"/>
                      <a:gd name="T3" fmla="*/ 5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80" name="Freeform 1741"/>
                  <p:cNvSpPr>
                    <a:spLocks/>
                  </p:cNvSpPr>
                  <p:nvPr/>
                </p:nvSpPr>
                <p:spPr bwMode="auto">
                  <a:xfrm>
                    <a:off x="10207" y="2743"/>
                    <a:ext cx="17" cy="0"/>
                  </a:xfrm>
                  <a:custGeom>
                    <a:avLst/>
                    <a:gdLst>
                      <a:gd name="T0" fmla="*/ 7 w 7"/>
                      <a:gd name="T1" fmla="*/ 0 h 2"/>
                      <a:gd name="T2" fmla="*/ 0 w 7"/>
                      <a:gd name="T3" fmla="*/ 2 h 2"/>
                      <a:gd name="T4" fmla="*/ 0 w 7"/>
                      <a:gd name="T5" fmla="*/ 2 h 2"/>
                      <a:gd name="T6" fmla="*/ 7 w 7"/>
                      <a:gd name="T7" fmla="*/ 0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2"/>
                        </a:lnTo>
                        <a:lnTo>
                          <a:pt x="0" y="2"/>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81" name="Freeform 1742"/>
                  <p:cNvSpPr>
                    <a:spLocks/>
                  </p:cNvSpPr>
                  <p:nvPr/>
                </p:nvSpPr>
                <p:spPr bwMode="auto">
                  <a:xfrm>
                    <a:off x="10199" y="2708"/>
                    <a:ext cx="17" cy="9"/>
                  </a:xfrm>
                  <a:custGeom>
                    <a:avLst/>
                    <a:gdLst>
                      <a:gd name="T0" fmla="*/ 14 w 14"/>
                      <a:gd name="T1" fmla="*/ 0 h 5"/>
                      <a:gd name="T2" fmla="*/ 0 w 14"/>
                      <a:gd name="T3" fmla="*/ 2 h 5"/>
                      <a:gd name="T4" fmla="*/ 3 w 14"/>
                      <a:gd name="T5" fmla="*/ 5 h 5"/>
                      <a:gd name="T6" fmla="*/ 14 w 14"/>
                      <a:gd name="T7" fmla="*/ 2 h 5"/>
                      <a:gd name="T8" fmla="*/ 14 w 14"/>
                      <a:gd name="T9" fmla="*/ 0 h 5"/>
                    </a:gdLst>
                    <a:ahLst/>
                    <a:cxnLst>
                      <a:cxn ang="0">
                        <a:pos x="T0" y="T1"/>
                      </a:cxn>
                      <a:cxn ang="0">
                        <a:pos x="T2" y="T3"/>
                      </a:cxn>
                      <a:cxn ang="0">
                        <a:pos x="T4" y="T5"/>
                      </a:cxn>
                      <a:cxn ang="0">
                        <a:pos x="T6" y="T7"/>
                      </a:cxn>
                      <a:cxn ang="0">
                        <a:pos x="T8" y="T9"/>
                      </a:cxn>
                    </a:cxnLst>
                    <a:rect l="0" t="0" r="r" b="b"/>
                    <a:pathLst>
                      <a:path w="14" h="5">
                        <a:moveTo>
                          <a:pt x="14" y="0"/>
                        </a:moveTo>
                        <a:lnTo>
                          <a:pt x="0" y="2"/>
                        </a:lnTo>
                        <a:lnTo>
                          <a:pt x="3" y="5"/>
                        </a:lnTo>
                        <a:lnTo>
                          <a:pt x="14" y="2"/>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482" name="Freeform 1743"/>
                  <p:cNvSpPr>
                    <a:spLocks/>
                  </p:cNvSpPr>
                  <p:nvPr/>
                </p:nvSpPr>
                <p:spPr bwMode="auto">
                  <a:xfrm>
                    <a:off x="10199" y="2700"/>
                    <a:ext cx="17" cy="9"/>
                  </a:xfrm>
                  <a:custGeom>
                    <a:avLst/>
                    <a:gdLst>
                      <a:gd name="T0" fmla="*/ 16 w 16"/>
                      <a:gd name="T1" fmla="*/ 0 h 5"/>
                      <a:gd name="T2" fmla="*/ 0 w 16"/>
                      <a:gd name="T3" fmla="*/ 2 h 5"/>
                      <a:gd name="T4" fmla="*/ 0 w 16"/>
                      <a:gd name="T5" fmla="*/ 5 h 5"/>
                      <a:gd name="T6" fmla="*/ 16 w 16"/>
                      <a:gd name="T7" fmla="*/ 0 h 5"/>
                      <a:gd name="T8" fmla="*/ 16 w 16"/>
                      <a:gd name="T9" fmla="*/ 0 h 5"/>
                    </a:gdLst>
                    <a:ahLst/>
                    <a:cxnLst>
                      <a:cxn ang="0">
                        <a:pos x="T0" y="T1"/>
                      </a:cxn>
                      <a:cxn ang="0">
                        <a:pos x="T2" y="T3"/>
                      </a:cxn>
                      <a:cxn ang="0">
                        <a:pos x="T4" y="T5"/>
                      </a:cxn>
                      <a:cxn ang="0">
                        <a:pos x="T6" y="T7"/>
                      </a:cxn>
                      <a:cxn ang="0">
                        <a:pos x="T8" y="T9"/>
                      </a:cxn>
                    </a:cxnLst>
                    <a:rect l="0" t="0" r="r" b="b"/>
                    <a:pathLst>
                      <a:path w="16" h="5">
                        <a:moveTo>
                          <a:pt x="16" y="0"/>
                        </a:moveTo>
                        <a:lnTo>
                          <a:pt x="0" y="2"/>
                        </a:lnTo>
                        <a:lnTo>
                          <a:pt x="0" y="5"/>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1483" name="Freeform 1744"/>
                  <p:cNvSpPr>
                    <a:spLocks/>
                  </p:cNvSpPr>
                  <p:nvPr/>
                </p:nvSpPr>
                <p:spPr bwMode="auto">
                  <a:xfrm>
                    <a:off x="10199" y="2691"/>
                    <a:ext cx="17" cy="9"/>
                  </a:xfrm>
                  <a:custGeom>
                    <a:avLst/>
                    <a:gdLst>
                      <a:gd name="T0" fmla="*/ 18 w 18"/>
                      <a:gd name="T1" fmla="*/ 0 h 5"/>
                      <a:gd name="T2" fmla="*/ 0 w 18"/>
                      <a:gd name="T3" fmla="*/ 3 h 5"/>
                      <a:gd name="T4" fmla="*/ 0 w 18"/>
                      <a:gd name="T5" fmla="*/ 5 h 5"/>
                      <a:gd name="T6" fmla="*/ 18 w 18"/>
                      <a:gd name="T7" fmla="*/ 0 h 5"/>
                      <a:gd name="T8" fmla="*/ 18 w 18"/>
                      <a:gd name="T9" fmla="*/ 0 h 5"/>
                    </a:gdLst>
                    <a:ahLst/>
                    <a:cxnLst>
                      <a:cxn ang="0">
                        <a:pos x="T0" y="T1"/>
                      </a:cxn>
                      <a:cxn ang="0">
                        <a:pos x="T2" y="T3"/>
                      </a:cxn>
                      <a:cxn ang="0">
                        <a:pos x="T4" y="T5"/>
                      </a:cxn>
                      <a:cxn ang="0">
                        <a:pos x="T6" y="T7"/>
                      </a:cxn>
                      <a:cxn ang="0">
                        <a:pos x="T8" y="T9"/>
                      </a:cxn>
                    </a:cxnLst>
                    <a:rect l="0" t="0" r="r" b="b"/>
                    <a:pathLst>
                      <a:path w="18" h="5">
                        <a:moveTo>
                          <a:pt x="18" y="0"/>
                        </a:moveTo>
                        <a:lnTo>
                          <a:pt x="0" y="3"/>
                        </a:lnTo>
                        <a:lnTo>
                          <a:pt x="0" y="5"/>
                        </a:lnTo>
                        <a:lnTo>
                          <a:pt x="18" y="0"/>
                        </a:lnTo>
                        <a:lnTo>
                          <a:pt x="18" y="0"/>
                        </a:lnTo>
                        <a:close/>
                      </a:path>
                    </a:pathLst>
                  </a:custGeom>
                  <a:solidFill>
                    <a:srgbClr val="01AAE5"/>
                  </a:solidFill>
                  <a:ln>
                    <a:noFill/>
                  </a:ln>
                  <a:extLst/>
                </p:spPr>
                <p:txBody>
                  <a:bodyPr/>
                  <a:lstStyle/>
                  <a:p>
                    <a:pPr eaLnBrk="1" hangingPunct="1">
                      <a:defRPr/>
                    </a:pPr>
                    <a:endParaRPr lang="zh-CN" altLang="en-US" sz="1050"/>
                  </a:p>
                </p:txBody>
              </p:sp>
              <p:sp>
                <p:nvSpPr>
                  <p:cNvPr id="1484" name="Freeform 1745"/>
                  <p:cNvSpPr>
                    <a:spLocks/>
                  </p:cNvSpPr>
                  <p:nvPr/>
                </p:nvSpPr>
                <p:spPr bwMode="auto">
                  <a:xfrm>
                    <a:off x="10199" y="2708"/>
                    <a:ext cx="17" cy="0"/>
                  </a:xfrm>
                  <a:custGeom>
                    <a:avLst/>
                    <a:gdLst>
                      <a:gd name="T0" fmla="*/ 11 w 11"/>
                      <a:gd name="T1" fmla="*/ 0 h 4"/>
                      <a:gd name="T2" fmla="*/ 0 w 11"/>
                      <a:gd name="T3" fmla="*/ 2 h 4"/>
                      <a:gd name="T4" fmla="*/ 2 w 11"/>
                      <a:gd name="T5" fmla="*/ 4 h 4"/>
                      <a:gd name="T6" fmla="*/ 11 w 11"/>
                      <a:gd name="T7" fmla="*/ 2 h 4"/>
                      <a:gd name="T8" fmla="*/ 11 w 11"/>
                      <a:gd name="T9" fmla="*/ 0 h 4"/>
                    </a:gdLst>
                    <a:ahLst/>
                    <a:cxnLst>
                      <a:cxn ang="0">
                        <a:pos x="T0" y="T1"/>
                      </a:cxn>
                      <a:cxn ang="0">
                        <a:pos x="T2" y="T3"/>
                      </a:cxn>
                      <a:cxn ang="0">
                        <a:pos x="T4" y="T5"/>
                      </a:cxn>
                      <a:cxn ang="0">
                        <a:pos x="T6" y="T7"/>
                      </a:cxn>
                      <a:cxn ang="0">
                        <a:pos x="T8" y="T9"/>
                      </a:cxn>
                    </a:cxnLst>
                    <a:rect l="0" t="0" r="r" b="b"/>
                    <a:pathLst>
                      <a:path w="11" h="4">
                        <a:moveTo>
                          <a:pt x="11" y="0"/>
                        </a:moveTo>
                        <a:lnTo>
                          <a:pt x="0" y="2"/>
                        </a:lnTo>
                        <a:lnTo>
                          <a:pt x="2" y="4"/>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1485" name="Freeform 1746"/>
                  <p:cNvSpPr>
                    <a:spLocks/>
                  </p:cNvSpPr>
                  <p:nvPr/>
                </p:nvSpPr>
                <p:spPr bwMode="auto">
                  <a:xfrm>
                    <a:off x="10199" y="2708"/>
                    <a:ext cx="17" cy="9"/>
                  </a:xfrm>
                  <a:custGeom>
                    <a:avLst/>
                    <a:gdLst>
                      <a:gd name="T0" fmla="*/ 9 w 9"/>
                      <a:gd name="T1" fmla="*/ 0 h 5"/>
                      <a:gd name="T2" fmla="*/ 0 w 9"/>
                      <a:gd name="T3" fmla="*/ 3 h 5"/>
                      <a:gd name="T4" fmla="*/ 0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3"/>
                        </a:lnTo>
                        <a:lnTo>
                          <a:pt x="0"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86" name="Freeform 1747"/>
                  <p:cNvSpPr>
                    <a:spLocks/>
                  </p:cNvSpPr>
                  <p:nvPr/>
                </p:nvSpPr>
                <p:spPr bwMode="auto">
                  <a:xfrm>
                    <a:off x="10190" y="2682"/>
                    <a:ext cx="25" cy="0"/>
                  </a:xfrm>
                  <a:custGeom>
                    <a:avLst/>
                    <a:gdLst>
                      <a:gd name="T0" fmla="*/ 29 w 29"/>
                      <a:gd name="T1" fmla="*/ 0 h 7"/>
                      <a:gd name="T2" fmla="*/ 0 w 29"/>
                      <a:gd name="T3" fmla="*/ 5 h 7"/>
                      <a:gd name="T4" fmla="*/ 0 w 29"/>
                      <a:gd name="T5" fmla="*/ 7 h 7"/>
                      <a:gd name="T6" fmla="*/ 29 w 29"/>
                      <a:gd name="T7" fmla="*/ 2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lnTo>
                          <a:pt x="0" y="5"/>
                        </a:lnTo>
                        <a:lnTo>
                          <a:pt x="0" y="7"/>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1487" name="Freeform 1748"/>
                  <p:cNvSpPr>
                    <a:spLocks/>
                  </p:cNvSpPr>
                  <p:nvPr/>
                </p:nvSpPr>
                <p:spPr bwMode="auto">
                  <a:xfrm>
                    <a:off x="10190" y="2682"/>
                    <a:ext cx="25" cy="9"/>
                  </a:xfrm>
                  <a:custGeom>
                    <a:avLst/>
                    <a:gdLst>
                      <a:gd name="T0" fmla="*/ 21 w 21"/>
                      <a:gd name="T1" fmla="*/ 0 h 7"/>
                      <a:gd name="T2" fmla="*/ 0 w 21"/>
                      <a:gd name="T3" fmla="*/ 5 h 7"/>
                      <a:gd name="T4" fmla="*/ 0 w 21"/>
                      <a:gd name="T5" fmla="*/ 7 h 7"/>
                      <a:gd name="T6" fmla="*/ 21 w 21"/>
                      <a:gd name="T7" fmla="*/ 3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lnTo>
                          <a:pt x="0" y="5"/>
                        </a:lnTo>
                        <a:lnTo>
                          <a:pt x="0" y="7"/>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488" name="Freeform 1749"/>
                  <p:cNvSpPr>
                    <a:spLocks/>
                  </p:cNvSpPr>
                  <p:nvPr/>
                </p:nvSpPr>
                <p:spPr bwMode="auto">
                  <a:xfrm>
                    <a:off x="10190" y="2682"/>
                    <a:ext cx="25" cy="9"/>
                  </a:xfrm>
                  <a:custGeom>
                    <a:avLst/>
                    <a:gdLst>
                      <a:gd name="T0" fmla="*/ 26 w 26"/>
                      <a:gd name="T1" fmla="*/ 0 h 7"/>
                      <a:gd name="T2" fmla="*/ 0 w 26"/>
                      <a:gd name="T3" fmla="*/ 4 h 7"/>
                      <a:gd name="T4" fmla="*/ 0 w 26"/>
                      <a:gd name="T5" fmla="*/ 7 h 7"/>
                      <a:gd name="T6" fmla="*/ 26 w 26"/>
                      <a:gd name="T7" fmla="*/ 2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4"/>
                        </a:lnTo>
                        <a:lnTo>
                          <a:pt x="0" y="7"/>
                        </a:lnTo>
                        <a:lnTo>
                          <a:pt x="26"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489" name="Freeform 1750"/>
                  <p:cNvSpPr>
                    <a:spLocks/>
                  </p:cNvSpPr>
                  <p:nvPr/>
                </p:nvSpPr>
                <p:spPr bwMode="auto">
                  <a:xfrm>
                    <a:off x="10207" y="2735"/>
                    <a:ext cx="17" cy="0"/>
                  </a:xfrm>
                  <a:custGeom>
                    <a:avLst/>
                    <a:gdLst>
                      <a:gd name="T0" fmla="*/ 9 w 9"/>
                      <a:gd name="T1" fmla="*/ 0 h 2"/>
                      <a:gd name="T2" fmla="*/ 0 w 9"/>
                      <a:gd name="T3" fmla="*/ 2 h 2"/>
                      <a:gd name="T4" fmla="*/ 0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0"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490" name="Freeform 1751"/>
                  <p:cNvSpPr>
                    <a:spLocks/>
                  </p:cNvSpPr>
                  <p:nvPr/>
                </p:nvSpPr>
                <p:spPr bwMode="auto">
                  <a:xfrm>
                    <a:off x="10215" y="2752"/>
                    <a:ext cx="8" cy="0"/>
                  </a:xfrm>
                  <a:custGeom>
                    <a:avLst/>
                    <a:gdLst>
                      <a:gd name="T0" fmla="*/ 10 w 10"/>
                      <a:gd name="T1" fmla="*/ 0 h 4"/>
                      <a:gd name="T2" fmla="*/ 0 w 10"/>
                      <a:gd name="T3" fmla="*/ 2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2"/>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91" name="Freeform 1752"/>
                  <p:cNvSpPr>
                    <a:spLocks/>
                  </p:cNvSpPr>
                  <p:nvPr/>
                </p:nvSpPr>
                <p:spPr bwMode="auto">
                  <a:xfrm>
                    <a:off x="10215" y="2743"/>
                    <a:ext cx="8" cy="9"/>
                  </a:xfrm>
                  <a:custGeom>
                    <a:avLst/>
                    <a:gdLst>
                      <a:gd name="T0" fmla="*/ 8 w 8"/>
                      <a:gd name="T1" fmla="*/ 0 h 5"/>
                      <a:gd name="T2" fmla="*/ 0 w 8"/>
                      <a:gd name="T3" fmla="*/ 2 h 5"/>
                      <a:gd name="T4" fmla="*/ 0 w 8"/>
                      <a:gd name="T5" fmla="*/ 5 h 5"/>
                      <a:gd name="T6" fmla="*/ 8 w 8"/>
                      <a:gd name="T7" fmla="*/ 0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lnTo>
                          <a:pt x="0" y="2"/>
                        </a:lnTo>
                        <a:lnTo>
                          <a:pt x="0" y="5"/>
                        </a:lnTo>
                        <a:lnTo>
                          <a:pt x="8" y="0"/>
                        </a:lnTo>
                        <a:lnTo>
                          <a:pt x="8" y="0"/>
                        </a:lnTo>
                        <a:close/>
                      </a:path>
                    </a:pathLst>
                  </a:custGeom>
                  <a:solidFill>
                    <a:srgbClr val="01AAE5"/>
                  </a:solidFill>
                  <a:ln>
                    <a:noFill/>
                  </a:ln>
                  <a:extLst/>
                </p:spPr>
                <p:txBody>
                  <a:bodyPr/>
                  <a:lstStyle/>
                  <a:p>
                    <a:pPr eaLnBrk="1" hangingPunct="1">
                      <a:defRPr/>
                    </a:pPr>
                    <a:endParaRPr lang="zh-CN" altLang="en-US" sz="1050"/>
                  </a:p>
                </p:txBody>
              </p:sp>
              <p:sp>
                <p:nvSpPr>
                  <p:cNvPr id="1492" name="Freeform 1753"/>
                  <p:cNvSpPr>
                    <a:spLocks/>
                  </p:cNvSpPr>
                  <p:nvPr/>
                </p:nvSpPr>
                <p:spPr bwMode="auto">
                  <a:xfrm>
                    <a:off x="10215" y="2752"/>
                    <a:ext cx="17" cy="9"/>
                  </a:xfrm>
                  <a:custGeom>
                    <a:avLst/>
                    <a:gdLst>
                      <a:gd name="T0" fmla="*/ 7 w 9"/>
                      <a:gd name="T1" fmla="*/ 0 h 5"/>
                      <a:gd name="T2" fmla="*/ 0 w 9"/>
                      <a:gd name="T3" fmla="*/ 3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3"/>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93" name="Freeform 1754"/>
                  <p:cNvSpPr>
                    <a:spLocks/>
                  </p:cNvSpPr>
                  <p:nvPr/>
                </p:nvSpPr>
                <p:spPr bwMode="auto">
                  <a:xfrm>
                    <a:off x="10207" y="2717"/>
                    <a:ext cx="8" cy="9"/>
                  </a:xfrm>
                  <a:custGeom>
                    <a:avLst/>
                    <a:gdLst>
                      <a:gd name="T0" fmla="*/ 10 w 10"/>
                      <a:gd name="T1" fmla="*/ 0 h 3"/>
                      <a:gd name="T2" fmla="*/ 10 w 10"/>
                      <a:gd name="T3" fmla="*/ 0 h 3"/>
                      <a:gd name="T4" fmla="*/ 0 w 10"/>
                      <a:gd name="T5" fmla="*/ 0 h 3"/>
                      <a:gd name="T6" fmla="*/ 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10" y="0"/>
                        </a:lnTo>
                        <a:lnTo>
                          <a:pt x="0" y="0"/>
                        </a:lnTo>
                        <a:lnTo>
                          <a:pt x="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94" name="Freeform 1755"/>
                  <p:cNvSpPr>
                    <a:spLocks/>
                  </p:cNvSpPr>
                  <p:nvPr/>
                </p:nvSpPr>
                <p:spPr bwMode="auto">
                  <a:xfrm>
                    <a:off x="10224" y="2761"/>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495" name="Freeform 1756"/>
                  <p:cNvSpPr>
                    <a:spLocks/>
                  </p:cNvSpPr>
                  <p:nvPr/>
                </p:nvSpPr>
                <p:spPr bwMode="auto">
                  <a:xfrm>
                    <a:off x="10182" y="2674"/>
                    <a:ext cx="33" cy="9"/>
                  </a:xfrm>
                  <a:custGeom>
                    <a:avLst/>
                    <a:gdLst>
                      <a:gd name="T0" fmla="*/ 31 w 31"/>
                      <a:gd name="T1" fmla="*/ 0 h 7"/>
                      <a:gd name="T2" fmla="*/ 0 w 31"/>
                      <a:gd name="T3" fmla="*/ 5 h 7"/>
                      <a:gd name="T4" fmla="*/ 0 w 31"/>
                      <a:gd name="T5" fmla="*/ 7 h 7"/>
                      <a:gd name="T6" fmla="*/ 31 w 31"/>
                      <a:gd name="T7" fmla="*/ 0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0"/>
                        </a:lnTo>
                        <a:lnTo>
                          <a:pt x="31" y="0"/>
                        </a:lnTo>
                        <a:close/>
                      </a:path>
                    </a:pathLst>
                  </a:custGeom>
                  <a:solidFill>
                    <a:srgbClr val="01AAE5"/>
                  </a:solidFill>
                  <a:ln>
                    <a:noFill/>
                  </a:ln>
                  <a:extLst/>
                </p:spPr>
                <p:txBody>
                  <a:bodyPr/>
                  <a:lstStyle/>
                  <a:p>
                    <a:pPr eaLnBrk="1" hangingPunct="1">
                      <a:defRPr/>
                    </a:pPr>
                    <a:endParaRPr lang="zh-CN" altLang="en-US" sz="1050"/>
                  </a:p>
                </p:txBody>
              </p:sp>
              <p:sp>
                <p:nvSpPr>
                  <p:cNvPr id="1496" name="Freeform 1757"/>
                  <p:cNvSpPr>
                    <a:spLocks/>
                  </p:cNvSpPr>
                  <p:nvPr/>
                </p:nvSpPr>
                <p:spPr bwMode="auto">
                  <a:xfrm>
                    <a:off x="10207" y="2743"/>
                    <a:ext cx="17" cy="0"/>
                  </a:xfrm>
                  <a:custGeom>
                    <a:avLst/>
                    <a:gdLst>
                      <a:gd name="T0" fmla="*/ 10 w 10"/>
                      <a:gd name="T1" fmla="*/ 0 h 3"/>
                      <a:gd name="T2" fmla="*/ 0 w 10"/>
                      <a:gd name="T3" fmla="*/ 3 h 3"/>
                      <a:gd name="T4" fmla="*/ 0 w 10"/>
                      <a:gd name="T5" fmla="*/ 3 h 3"/>
                      <a:gd name="T6" fmla="*/ 10 w 10"/>
                      <a:gd name="T7" fmla="*/ 0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3"/>
                        </a:lnTo>
                        <a:lnTo>
                          <a:pt x="0" y="3"/>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497" name="Freeform 1758"/>
                  <p:cNvSpPr>
                    <a:spLocks/>
                  </p:cNvSpPr>
                  <p:nvPr/>
                </p:nvSpPr>
                <p:spPr bwMode="auto">
                  <a:xfrm>
                    <a:off x="10182" y="2604"/>
                    <a:ext cx="17" cy="9"/>
                  </a:xfrm>
                  <a:custGeom>
                    <a:avLst/>
                    <a:gdLst>
                      <a:gd name="T0" fmla="*/ 16 w 16"/>
                      <a:gd name="T1" fmla="*/ 0 h 2"/>
                      <a:gd name="T2" fmla="*/ 0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0"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1498" name="Freeform 1759"/>
                  <p:cNvSpPr>
                    <a:spLocks/>
                  </p:cNvSpPr>
                  <p:nvPr/>
                </p:nvSpPr>
                <p:spPr bwMode="auto">
                  <a:xfrm>
                    <a:off x="10190" y="2299"/>
                    <a:ext cx="67" cy="26"/>
                  </a:xfrm>
                  <a:custGeom>
                    <a:avLst/>
                    <a:gdLst>
                      <a:gd name="T0" fmla="*/ 69 w 69"/>
                      <a:gd name="T1" fmla="*/ 24 h 26"/>
                      <a:gd name="T2" fmla="*/ 3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3"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1499" name="Freeform 1760"/>
                  <p:cNvSpPr>
                    <a:spLocks/>
                  </p:cNvSpPr>
                  <p:nvPr/>
                </p:nvSpPr>
                <p:spPr bwMode="auto">
                  <a:xfrm>
                    <a:off x="10257" y="2229"/>
                    <a:ext cx="17" cy="17"/>
                  </a:xfrm>
                  <a:custGeom>
                    <a:avLst/>
                    <a:gdLst>
                      <a:gd name="T0" fmla="*/ 16 w 16"/>
                      <a:gd name="T1" fmla="*/ 9 h 9"/>
                      <a:gd name="T2" fmla="*/ 0 w 16"/>
                      <a:gd name="T3" fmla="*/ 0 h 9"/>
                      <a:gd name="T4" fmla="*/ 0 w 16"/>
                      <a:gd name="T5" fmla="*/ 2 h 9"/>
                      <a:gd name="T6" fmla="*/ 16 w 16"/>
                      <a:gd name="T7" fmla="*/ 9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0" y="0"/>
                        </a:lnTo>
                        <a:lnTo>
                          <a:pt x="0" y="2"/>
                        </a:lnTo>
                        <a:lnTo>
                          <a:pt x="16" y="9"/>
                        </a:lnTo>
                        <a:lnTo>
                          <a:pt x="16" y="9"/>
                        </a:lnTo>
                        <a:close/>
                      </a:path>
                    </a:pathLst>
                  </a:custGeom>
                  <a:solidFill>
                    <a:srgbClr val="01AAE5"/>
                  </a:solidFill>
                  <a:ln>
                    <a:noFill/>
                  </a:ln>
                  <a:extLst/>
                </p:spPr>
                <p:txBody>
                  <a:bodyPr/>
                  <a:lstStyle/>
                  <a:p>
                    <a:pPr eaLnBrk="1" hangingPunct="1">
                      <a:defRPr/>
                    </a:pPr>
                    <a:endParaRPr lang="zh-CN" altLang="en-US" sz="1050"/>
                  </a:p>
                </p:txBody>
              </p:sp>
              <p:sp>
                <p:nvSpPr>
                  <p:cNvPr id="1500" name="Freeform 1761"/>
                  <p:cNvSpPr>
                    <a:spLocks/>
                  </p:cNvSpPr>
                  <p:nvPr/>
                </p:nvSpPr>
                <p:spPr bwMode="auto">
                  <a:xfrm>
                    <a:off x="10232" y="2255"/>
                    <a:ext cx="33" cy="9"/>
                  </a:xfrm>
                  <a:custGeom>
                    <a:avLst/>
                    <a:gdLst>
                      <a:gd name="T0" fmla="*/ 37 w 37"/>
                      <a:gd name="T1" fmla="*/ 17 h 17"/>
                      <a:gd name="T2" fmla="*/ 2 w 37"/>
                      <a:gd name="T3" fmla="*/ 0 h 17"/>
                      <a:gd name="T4" fmla="*/ 0 w 37"/>
                      <a:gd name="T5" fmla="*/ 3 h 17"/>
                      <a:gd name="T6" fmla="*/ 37 w 37"/>
                      <a:gd name="T7" fmla="*/ 17 h 17"/>
                      <a:gd name="T8" fmla="*/ 37 w 37"/>
                      <a:gd name="T9" fmla="*/ 17 h 17"/>
                    </a:gdLst>
                    <a:ahLst/>
                    <a:cxnLst>
                      <a:cxn ang="0">
                        <a:pos x="T0" y="T1"/>
                      </a:cxn>
                      <a:cxn ang="0">
                        <a:pos x="T2" y="T3"/>
                      </a:cxn>
                      <a:cxn ang="0">
                        <a:pos x="T4" y="T5"/>
                      </a:cxn>
                      <a:cxn ang="0">
                        <a:pos x="T6" y="T7"/>
                      </a:cxn>
                      <a:cxn ang="0">
                        <a:pos x="T8" y="T9"/>
                      </a:cxn>
                    </a:cxnLst>
                    <a:rect l="0" t="0" r="r" b="b"/>
                    <a:pathLst>
                      <a:path w="37" h="17">
                        <a:moveTo>
                          <a:pt x="37" y="17"/>
                        </a:moveTo>
                        <a:lnTo>
                          <a:pt x="2" y="0"/>
                        </a:lnTo>
                        <a:lnTo>
                          <a:pt x="0" y="3"/>
                        </a:lnTo>
                        <a:lnTo>
                          <a:pt x="37" y="17"/>
                        </a:lnTo>
                        <a:lnTo>
                          <a:pt x="37" y="17"/>
                        </a:lnTo>
                        <a:close/>
                      </a:path>
                    </a:pathLst>
                  </a:custGeom>
                  <a:solidFill>
                    <a:srgbClr val="01AAE5"/>
                  </a:solidFill>
                  <a:ln>
                    <a:noFill/>
                  </a:ln>
                  <a:extLst/>
                </p:spPr>
                <p:txBody>
                  <a:bodyPr/>
                  <a:lstStyle/>
                  <a:p>
                    <a:pPr eaLnBrk="1" hangingPunct="1">
                      <a:defRPr/>
                    </a:pPr>
                    <a:endParaRPr lang="zh-CN" altLang="en-US" sz="1050"/>
                  </a:p>
                </p:txBody>
              </p:sp>
              <p:sp>
                <p:nvSpPr>
                  <p:cNvPr id="1501" name="Freeform 1762"/>
                  <p:cNvSpPr>
                    <a:spLocks/>
                  </p:cNvSpPr>
                  <p:nvPr/>
                </p:nvSpPr>
                <p:spPr bwMode="auto">
                  <a:xfrm>
                    <a:off x="10232" y="2255"/>
                    <a:ext cx="33" cy="17"/>
                  </a:xfrm>
                  <a:custGeom>
                    <a:avLst/>
                    <a:gdLst>
                      <a:gd name="T0" fmla="*/ 38 w 38"/>
                      <a:gd name="T1" fmla="*/ 16 h 16"/>
                      <a:gd name="T2" fmla="*/ 0 w 38"/>
                      <a:gd name="T3" fmla="*/ 0 h 16"/>
                      <a:gd name="T4" fmla="*/ 0 w 38"/>
                      <a:gd name="T5" fmla="*/ 0 h 16"/>
                      <a:gd name="T6" fmla="*/ 38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0" y="0"/>
                        </a:lnTo>
                        <a:lnTo>
                          <a:pt x="0" y="0"/>
                        </a:lnTo>
                        <a:lnTo>
                          <a:pt x="38" y="16"/>
                        </a:lnTo>
                        <a:lnTo>
                          <a:pt x="38" y="16"/>
                        </a:lnTo>
                        <a:close/>
                      </a:path>
                    </a:pathLst>
                  </a:custGeom>
                  <a:solidFill>
                    <a:srgbClr val="01AAE5"/>
                  </a:solidFill>
                  <a:ln>
                    <a:noFill/>
                  </a:ln>
                  <a:extLst/>
                </p:spPr>
                <p:txBody>
                  <a:bodyPr/>
                  <a:lstStyle/>
                  <a:p>
                    <a:pPr eaLnBrk="1" hangingPunct="1">
                      <a:defRPr/>
                    </a:pPr>
                    <a:endParaRPr lang="zh-CN" altLang="en-US" sz="1050"/>
                  </a:p>
                </p:txBody>
              </p:sp>
              <p:sp>
                <p:nvSpPr>
                  <p:cNvPr id="1502" name="Freeform 1763"/>
                  <p:cNvSpPr>
                    <a:spLocks/>
                  </p:cNvSpPr>
                  <p:nvPr/>
                </p:nvSpPr>
                <p:spPr bwMode="auto">
                  <a:xfrm>
                    <a:off x="10249" y="2247"/>
                    <a:ext cx="17" cy="0"/>
                  </a:xfrm>
                  <a:custGeom>
                    <a:avLst/>
                    <a:gdLst>
                      <a:gd name="T0" fmla="*/ 24 w 24"/>
                      <a:gd name="T1" fmla="*/ 9 h 12"/>
                      <a:gd name="T2" fmla="*/ 3 w 24"/>
                      <a:gd name="T3" fmla="*/ 0 h 12"/>
                      <a:gd name="T4" fmla="*/ 0 w 24"/>
                      <a:gd name="T5" fmla="*/ 0 h 12"/>
                      <a:gd name="T6" fmla="*/ 24 w 24"/>
                      <a:gd name="T7" fmla="*/ 12 h 12"/>
                      <a:gd name="T8" fmla="*/ 24 w 24"/>
                      <a:gd name="T9" fmla="*/ 9 h 12"/>
                    </a:gdLst>
                    <a:ahLst/>
                    <a:cxnLst>
                      <a:cxn ang="0">
                        <a:pos x="T0" y="T1"/>
                      </a:cxn>
                      <a:cxn ang="0">
                        <a:pos x="T2" y="T3"/>
                      </a:cxn>
                      <a:cxn ang="0">
                        <a:pos x="T4" y="T5"/>
                      </a:cxn>
                      <a:cxn ang="0">
                        <a:pos x="T6" y="T7"/>
                      </a:cxn>
                      <a:cxn ang="0">
                        <a:pos x="T8" y="T9"/>
                      </a:cxn>
                    </a:cxnLst>
                    <a:rect l="0" t="0" r="r" b="b"/>
                    <a:pathLst>
                      <a:path w="24" h="12">
                        <a:moveTo>
                          <a:pt x="24" y="9"/>
                        </a:moveTo>
                        <a:lnTo>
                          <a:pt x="3" y="0"/>
                        </a:lnTo>
                        <a:lnTo>
                          <a:pt x="0" y="0"/>
                        </a:lnTo>
                        <a:lnTo>
                          <a:pt x="24" y="12"/>
                        </a:lnTo>
                        <a:lnTo>
                          <a:pt x="24" y="9"/>
                        </a:lnTo>
                        <a:close/>
                      </a:path>
                    </a:pathLst>
                  </a:custGeom>
                  <a:solidFill>
                    <a:srgbClr val="01AAE5"/>
                  </a:solidFill>
                  <a:ln>
                    <a:noFill/>
                  </a:ln>
                  <a:extLst/>
                </p:spPr>
                <p:txBody>
                  <a:bodyPr/>
                  <a:lstStyle/>
                  <a:p>
                    <a:pPr eaLnBrk="1" hangingPunct="1">
                      <a:defRPr/>
                    </a:pPr>
                    <a:endParaRPr lang="zh-CN" altLang="en-US" sz="1050"/>
                  </a:p>
                </p:txBody>
              </p:sp>
              <p:sp>
                <p:nvSpPr>
                  <p:cNvPr id="1503" name="Freeform 1764"/>
                  <p:cNvSpPr>
                    <a:spLocks/>
                  </p:cNvSpPr>
                  <p:nvPr/>
                </p:nvSpPr>
                <p:spPr bwMode="auto">
                  <a:xfrm>
                    <a:off x="10240" y="2247"/>
                    <a:ext cx="25" cy="9"/>
                  </a:xfrm>
                  <a:custGeom>
                    <a:avLst/>
                    <a:gdLst>
                      <a:gd name="T0" fmla="*/ 26 w 26"/>
                      <a:gd name="T1" fmla="*/ 12 h 15"/>
                      <a:gd name="T2" fmla="*/ 0 w 26"/>
                      <a:gd name="T3" fmla="*/ 0 h 15"/>
                      <a:gd name="T4" fmla="*/ 0 w 26"/>
                      <a:gd name="T5" fmla="*/ 3 h 15"/>
                      <a:gd name="T6" fmla="*/ 26 w 26"/>
                      <a:gd name="T7" fmla="*/ 15 h 15"/>
                      <a:gd name="T8" fmla="*/ 26 w 26"/>
                      <a:gd name="T9" fmla="*/ 12 h 15"/>
                    </a:gdLst>
                    <a:ahLst/>
                    <a:cxnLst>
                      <a:cxn ang="0">
                        <a:pos x="T0" y="T1"/>
                      </a:cxn>
                      <a:cxn ang="0">
                        <a:pos x="T2" y="T3"/>
                      </a:cxn>
                      <a:cxn ang="0">
                        <a:pos x="T4" y="T5"/>
                      </a:cxn>
                      <a:cxn ang="0">
                        <a:pos x="T6" y="T7"/>
                      </a:cxn>
                      <a:cxn ang="0">
                        <a:pos x="T8" y="T9"/>
                      </a:cxn>
                    </a:cxnLst>
                    <a:rect l="0" t="0" r="r" b="b"/>
                    <a:pathLst>
                      <a:path w="26" h="15">
                        <a:moveTo>
                          <a:pt x="26" y="12"/>
                        </a:moveTo>
                        <a:lnTo>
                          <a:pt x="0" y="0"/>
                        </a:lnTo>
                        <a:lnTo>
                          <a:pt x="0" y="3"/>
                        </a:lnTo>
                        <a:lnTo>
                          <a:pt x="26" y="15"/>
                        </a:lnTo>
                        <a:lnTo>
                          <a:pt x="26" y="12"/>
                        </a:lnTo>
                        <a:close/>
                      </a:path>
                    </a:pathLst>
                  </a:custGeom>
                  <a:solidFill>
                    <a:srgbClr val="01AAE5"/>
                  </a:solidFill>
                  <a:ln>
                    <a:noFill/>
                  </a:ln>
                  <a:extLst/>
                </p:spPr>
                <p:txBody>
                  <a:bodyPr/>
                  <a:lstStyle/>
                  <a:p>
                    <a:pPr eaLnBrk="1" hangingPunct="1">
                      <a:defRPr/>
                    </a:pPr>
                    <a:endParaRPr lang="zh-CN" altLang="en-US" sz="1050"/>
                  </a:p>
                </p:txBody>
              </p:sp>
              <p:sp>
                <p:nvSpPr>
                  <p:cNvPr id="1504" name="Freeform 1765"/>
                  <p:cNvSpPr>
                    <a:spLocks/>
                  </p:cNvSpPr>
                  <p:nvPr/>
                </p:nvSpPr>
                <p:spPr bwMode="auto">
                  <a:xfrm>
                    <a:off x="10249" y="2238"/>
                    <a:ext cx="25" cy="9"/>
                  </a:xfrm>
                  <a:custGeom>
                    <a:avLst/>
                    <a:gdLst>
                      <a:gd name="T0" fmla="*/ 21 w 21"/>
                      <a:gd name="T1" fmla="*/ 10 h 12"/>
                      <a:gd name="T2" fmla="*/ 2 w 21"/>
                      <a:gd name="T3" fmla="*/ 0 h 12"/>
                      <a:gd name="T4" fmla="*/ 0 w 21"/>
                      <a:gd name="T5" fmla="*/ 0 h 12"/>
                      <a:gd name="T6" fmla="*/ 21 w 21"/>
                      <a:gd name="T7" fmla="*/ 12 h 12"/>
                      <a:gd name="T8" fmla="*/ 21 w 21"/>
                      <a:gd name="T9" fmla="*/ 10 h 12"/>
                    </a:gdLst>
                    <a:ahLst/>
                    <a:cxnLst>
                      <a:cxn ang="0">
                        <a:pos x="T0" y="T1"/>
                      </a:cxn>
                      <a:cxn ang="0">
                        <a:pos x="T2" y="T3"/>
                      </a:cxn>
                      <a:cxn ang="0">
                        <a:pos x="T4" y="T5"/>
                      </a:cxn>
                      <a:cxn ang="0">
                        <a:pos x="T6" y="T7"/>
                      </a:cxn>
                      <a:cxn ang="0">
                        <a:pos x="T8" y="T9"/>
                      </a:cxn>
                    </a:cxnLst>
                    <a:rect l="0" t="0" r="r" b="b"/>
                    <a:pathLst>
                      <a:path w="21" h="12">
                        <a:moveTo>
                          <a:pt x="21" y="10"/>
                        </a:moveTo>
                        <a:lnTo>
                          <a:pt x="2" y="0"/>
                        </a:lnTo>
                        <a:lnTo>
                          <a:pt x="0" y="0"/>
                        </a:lnTo>
                        <a:lnTo>
                          <a:pt x="21" y="12"/>
                        </a:lnTo>
                        <a:lnTo>
                          <a:pt x="21" y="10"/>
                        </a:lnTo>
                        <a:close/>
                      </a:path>
                    </a:pathLst>
                  </a:custGeom>
                  <a:solidFill>
                    <a:srgbClr val="01AAE5"/>
                  </a:solidFill>
                  <a:ln>
                    <a:noFill/>
                  </a:ln>
                  <a:extLst/>
                </p:spPr>
                <p:txBody>
                  <a:bodyPr/>
                  <a:lstStyle/>
                  <a:p>
                    <a:pPr eaLnBrk="1" hangingPunct="1">
                      <a:defRPr/>
                    </a:pPr>
                    <a:endParaRPr lang="zh-CN" altLang="en-US" sz="1050"/>
                  </a:p>
                </p:txBody>
              </p:sp>
              <p:sp>
                <p:nvSpPr>
                  <p:cNvPr id="1505" name="Freeform 1766"/>
                  <p:cNvSpPr>
                    <a:spLocks/>
                  </p:cNvSpPr>
                  <p:nvPr/>
                </p:nvSpPr>
                <p:spPr bwMode="auto">
                  <a:xfrm>
                    <a:off x="10224" y="2264"/>
                    <a:ext cx="42" cy="17"/>
                  </a:xfrm>
                  <a:custGeom>
                    <a:avLst/>
                    <a:gdLst>
                      <a:gd name="T0" fmla="*/ 42 w 42"/>
                      <a:gd name="T1" fmla="*/ 16 h 19"/>
                      <a:gd name="T2" fmla="*/ 0 w 42"/>
                      <a:gd name="T3" fmla="*/ 0 h 19"/>
                      <a:gd name="T4" fmla="*/ 0 w 42"/>
                      <a:gd name="T5" fmla="*/ 0 h 19"/>
                      <a:gd name="T6" fmla="*/ 42 w 42"/>
                      <a:gd name="T7" fmla="*/ 19 h 19"/>
                      <a:gd name="T8" fmla="*/ 42 w 42"/>
                      <a:gd name="T9" fmla="*/ 16 h 19"/>
                    </a:gdLst>
                    <a:ahLst/>
                    <a:cxnLst>
                      <a:cxn ang="0">
                        <a:pos x="T0" y="T1"/>
                      </a:cxn>
                      <a:cxn ang="0">
                        <a:pos x="T2" y="T3"/>
                      </a:cxn>
                      <a:cxn ang="0">
                        <a:pos x="T4" y="T5"/>
                      </a:cxn>
                      <a:cxn ang="0">
                        <a:pos x="T6" y="T7"/>
                      </a:cxn>
                      <a:cxn ang="0">
                        <a:pos x="T8" y="T9"/>
                      </a:cxn>
                    </a:cxnLst>
                    <a:rect l="0" t="0" r="r" b="b"/>
                    <a:pathLst>
                      <a:path w="42" h="19">
                        <a:moveTo>
                          <a:pt x="42" y="16"/>
                        </a:moveTo>
                        <a:lnTo>
                          <a:pt x="0" y="0"/>
                        </a:lnTo>
                        <a:lnTo>
                          <a:pt x="0" y="0"/>
                        </a:lnTo>
                        <a:lnTo>
                          <a:pt x="42" y="19"/>
                        </a:lnTo>
                        <a:lnTo>
                          <a:pt x="42" y="16"/>
                        </a:lnTo>
                        <a:close/>
                      </a:path>
                    </a:pathLst>
                  </a:custGeom>
                  <a:solidFill>
                    <a:srgbClr val="01AAE5"/>
                  </a:solidFill>
                  <a:ln>
                    <a:noFill/>
                  </a:ln>
                  <a:extLst/>
                </p:spPr>
                <p:txBody>
                  <a:bodyPr/>
                  <a:lstStyle/>
                  <a:p>
                    <a:pPr eaLnBrk="1" hangingPunct="1">
                      <a:defRPr/>
                    </a:pPr>
                    <a:endParaRPr lang="zh-CN" altLang="en-US" sz="1050"/>
                  </a:p>
                </p:txBody>
              </p:sp>
              <p:sp>
                <p:nvSpPr>
                  <p:cNvPr id="1506" name="Freeform 1767"/>
                  <p:cNvSpPr>
                    <a:spLocks/>
                  </p:cNvSpPr>
                  <p:nvPr/>
                </p:nvSpPr>
                <p:spPr bwMode="auto">
                  <a:xfrm>
                    <a:off x="10232" y="2247"/>
                    <a:ext cx="33" cy="17"/>
                  </a:xfrm>
                  <a:custGeom>
                    <a:avLst/>
                    <a:gdLst>
                      <a:gd name="T0" fmla="*/ 33 w 33"/>
                      <a:gd name="T1" fmla="*/ 14 h 14"/>
                      <a:gd name="T2" fmla="*/ 3 w 33"/>
                      <a:gd name="T3" fmla="*/ 0 h 14"/>
                      <a:gd name="T4" fmla="*/ 0 w 33"/>
                      <a:gd name="T5" fmla="*/ 0 h 14"/>
                      <a:gd name="T6" fmla="*/ 33 w 33"/>
                      <a:gd name="T7" fmla="*/ 14 h 14"/>
                      <a:gd name="T8" fmla="*/ 33 w 33"/>
                      <a:gd name="T9" fmla="*/ 14 h 14"/>
                    </a:gdLst>
                    <a:ahLst/>
                    <a:cxnLst>
                      <a:cxn ang="0">
                        <a:pos x="T0" y="T1"/>
                      </a:cxn>
                      <a:cxn ang="0">
                        <a:pos x="T2" y="T3"/>
                      </a:cxn>
                      <a:cxn ang="0">
                        <a:pos x="T4" y="T5"/>
                      </a:cxn>
                      <a:cxn ang="0">
                        <a:pos x="T6" y="T7"/>
                      </a:cxn>
                      <a:cxn ang="0">
                        <a:pos x="T8" y="T9"/>
                      </a:cxn>
                    </a:cxnLst>
                    <a:rect l="0" t="0" r="r" b="b"/>
                    <a:pathLst>
                      <a:path w="33" h="14">
                        <a:moveTo>
                          <a:pt x="33" y="14"/>
                        </a:moveTo>
                        <a:lnTo>
                          <a:pt x="3" y="0"/>
                        </a:lnTo>
                        <a:lnTo>
                          <a:pt x="0" y="0"/>
                        </a:lnTo>
                        <a:lnTo>
                          <a:pt x="33" y="14"/>
                        </a:lnTo>
                        <a:lnTo>
                          <a:pt x="33" y="14"/>
                        </a:lnTo>
                        <a:close/>
                      </a:path>
                    </a:pathLst>
                  </a:custGeom>
                  <a:solidFill>
                    <a:srgbClr val="01AAE5"/>
                  </a:solidFill>
                  <a:ln>
                    <a:noFill/>
                  </a:ln>
                  <a:extLst/>
                </p:spPr>
                <p:txBody>
                  <a:bodyPr/>
                  <a:lstStyle/>
                  <a:p>
                    <a:pPr eaLnBrk="1" hangingPunct="1">
                      <a:defRPr/>
                    </a:pPr>
                    <a:endParaRPr lang="zh-CN" altLang="en-US" sz="1050"/>
                  </a:p>
                </p:txBody>
              </p:sp>
              <p:sp>
                <p:nvSpPr>
                  <p:cNvPr id="1507" name="Freeform 1768"/>
                  <p:cNvSpPr>
                    <a:spLocks/>
                  </p:cNvSpPr>
                  <p:nvPr/>
                </p:nvSpPr>
                <p:spPr bwMode="auto">
                  <a:xfrm>
                    <a:off x="10199" y="2281"/>
                    <a:ext cx="58" cy="17"/>
                  </a:xfrm>
                  <a:custGeom>
                    <a:avLst/>
                    <a:gdLst>
                      <a:gd name="T0" fmla="*/ 56 w 56"/>
                      <a:gd name="T1" fmla="*/ 23 h 23"/>
                      <a:gd name="T2" fmla="*/ 0 w 56"/>
                      <a:gd name="T3" fmla="*/ 0 h 23"/>
                      <a:gd name="T4" fmla="*/ 0 w 56"/>
                      <a:gd name="T5" fmla="*/ 2 h 23"/>
                      <a:gd name="T6" fmla="*/ 56 w 56"/>
                      <a:gd name="T7" fmla="*/ 23 h 23"/>
                      <a:gd name="T8" fmla="*/ 56 w 56"/>
                      <a:gd name="T9" fmla="*/ 23 h 23"/>
                    </a:gdLst>
                    <a:ahLst/>
                    <a:cxnLst>
                      <a:cxn ang="0">
                        <a:pos x="T0" y="T1"/>
                      </a:cxn>
                      <a:cxn ang="0">
                        <a:pos x="T2" y="T3"/>
                      </a:cxn>
                      <a:cxn ang="0">
                        <a:pos x="T4" y="T5"/>
                      </a:cxn>
                      <a:cxn ang="0">
                        <a:pos x="T6" y="T7"/>
                      </a:cxn>
                      <a:cxn ang="0">
                        <a:pos x="T8" y="T9"/>
                      </a:cxn>
                    </a:cxnLst>
                    <a:rect l="0" t="0" r="r" b="b"/>
                    <a:pathLst>
                      <a:path w="56" h="23">
                        <a:moveTo>
                          <a:pt x="56" y="23"/>
                        </a:moveTo>
                        <a:lnTo>
                          <a:pt x="0" y="0"/>
                        </a:lnTo>
                        <a:lnTo>
                          <a:pt x="0" y="2"/>
                        </a:lnTo>
                        <a:lnTo>
                          <a:pt x="56" y="23"/>
                        </a:lnTo>
                        <a:lnTo>
                          <a:pt x="56" y="23"/>
                        </a:lnTo>
                        <a:close/>
                      </a:path>
                    </a:pathLst>
                  </a:custGeom>
                  <a:solidFill>
                    <a:srgbClr val="01AAE5"/>
                  </a:solidFill>
                  <a:ln>
                    <a:noFill/>
                  </a:ln>
                  <a:extLst/>
                </p:spPr>
                <p:txBody>
                  <a:bodyPr/>
                  <a:lstStyle/>
                  <a:p>
                    <a:pPr eaLnBrk="1" hangingPunct="1">
                      <a:defRPr/>
                    </a:pPr>
                    <a:endParaRPr lang="zh-CN" altLang="en-US" sz="1050"/>
                  </a:p>
                </p:txBody>
              </p:sp>
              <p:sp>
                <p:nvSpPr>
                  <p:cNvPr id="1508" name="Freeform 1769"/>
                  <p:cNvSpPr>
                    <a:spLocks/>
                  </p:cNvSpPr>
                  <p:nvPr/>
                </p:nvSpPr>
                <p:spPr bwMode="auto">
                  <a:xfrm>
                    <a:off x="10215" y="2264"/>
                    <a:ext cx="50" cy="26"/>
                  </a:xfrm>
                  <a:custGeom>
                    <a:avLst/>
                    <a:gdLst>
                      <a:gd name="T0" fmla="*/ 47 w 47"/>
                      <a:gd name="T1" fmla="*/ 19 h 21"/>
                      <a:gd name="T2" fmla="*/ 2 w 47"/>
                      <a:gd name="T3" fmla="*/ 0 h 21"/>
                      <a:gd name="T4" fmla="*/ 0 w 47"/>
                      <a:gd name="T5" fmla="*/ 2 h 21"/>
                      <a:gd name="T6" fmla="*/ 47 w 47"/>
                      <a:gd name="T7" fmla="*/ 21 h 21"/>
                      <a:gd name="T8" fmla="*/ 47 w 47"/>
                      <a:gd name="T9" fmla="*/ 19 h 21"/>
                    </a:gdLst>
                    <a:ahLst/>
                    <a:cxnLst>
                      <a:cxn ang="0">
                        <a:pos x="T0" y="T1"/>
                      </a:cxn>
                      <a:cxn ang="0">
                        <a:pos x="T2" y="T3"/>
                      </a:cxn>
                      <a:cxn ang="0">
                        <a:pos x="T4" y="T5"/>
                      </a:cxn>
                      <a:cxn ang="0">
                        <a:pos x="T6" y="T7"/>
                      </a:cxn>
                      <a:cxn ang="0">
                        <a:pos x="T8" y="T9"/>
                      </a:cxn>
                    </a:cxnLst>
                    <a:rect l="0" t="0" r="r" b="b"/>
                    <a:pathLst>
                      <a:path w="47" h="21">
                        <a:moveTo>
                          <a:pt x="47" y="19"/>
                        </a:moveTo>
                        <a:lnTo>
                          <a:pt x="2" y="0"/>
                        </a:lnTo>
                        <a:lnTo>
                          <a:pt x="0" y="2"/>
                        </a:lnTo>
                        <a:lnTo>
                          <a:pt x="47" y="21"/>
                        </a:lnTo>
                        <a:lnTo>
                          <a:pt x="47" y="19"/>
                        </a:lnTo>
                        <a:close/>
                      </a:path>
                    </a:pathLst>
                  </a:custGeom>
                  <a:solidFill>
                    <a:srgbClr val="01AAE5"/>
                  </a:solidFill>
                  <a:ln>
                    <a:noFill/>
                  </a:ln>
                  <a:extLst/>
                </p:spPr>
                <p:txBody>
                  <a:bodyPr/>
                  <a:lstStyle/>
                  <a:p>
                    <a:pPr eaLnBrk="1" hangingPunct="1">
                      <a:defRPr/>
                    </a:pPr>
                    <a:endParaRPr lang="zh-CN" altLang="en-US" sz="1050"/>
                  </a:p>
                </p:txBody>
              </p:sp>
              <p:sp>
                <p:nvSpPr>
                  <p:cNvPr id="1509" name="Freeform 1770"/>
                  <p:cNvSpPr>
                    <a:spLocks/>
                  </p:cNvSpPr>
                  <p:nvPr/>
                </p:nvSpPr>
                <p:spPr bwMode="auto">
                  <a:xfrm>
                    <a:off x="10199" y="2290"/>
                    <a:ext cx="58" cy="17"/>
                  </a:xfrm>
                  <a:custGeom>
                    <a:avLst/>
                    <a:gdLst>
                      <a:gd name="T0" fmla="*/ 61 w 61"/>
                      <a:gd name="T1" fmla="*/ 24 h 24"/>
                      <a:gd name="T2" fmla="*/ 2 w 61"/>
                      <a:gd name="T3" fmla="*/ 0 h 24"/>
                      <a:gd name="T4" fmla="*/ 0 w 61"/>
                      <a:gd name="T5" fmla="*/ 3 h 24"/>
                      <a:gd name="T6" fmla="*/ 61 w 61"/>
                      <a:gd name="T7" fmla="*/ 24 h 24"/>
                      <a:gd name="T8" fmla="*/ 61 w 61"/>
                      <a:gd name="T9" fmla="*/ 24 h 24"/>
                    </a:gdLst>
                    <a:ahLst/>
                    <a:cxnLst>
                      <a:cxn ang="0">
                        <a:pos x="T0" y="T1"/>
                      </a:cxn>
                      <a:cxn ang="0">
                        <a:pos x="T2" y="T3"/>
                      </a:cxn>
                      <a:cxn ang="0">
                        <a:pos x="T4" y="T5"/>
                      </a:cxn>
                      <a:cxn ang="0">
                        <a:pos x="T6" y="T7"/>
                      </a:cxn>
                      <a:cxn ang="0">
                        <a:pos x="T8" y="T9"/>
                      </a:cxn>
                    </a:cxnLst>
                    <a:rect l="0" t="0" r="r" b="b"/>
                    <a:pathLst>
                      <a:path w="61" h="24">
                        <a:moveTo>
                          <a:pt x="61" y="24"/>
                        </a:moveTo>
                        <a:lnTo>
                          <a:pt x="2" y="0"/>
                        </a:lnTo>
                        <a:lnTo>
                          <a:pt x="0" y="3"/>
                        </a:lnTo>
                        <a:lnTo>
                          <a:pt x="61" y="24"/>
                        </a:lnTo>
                        <a:lnTo>
                          <a:pt x="61" y="24"/>
                        </a:lnTo>
                        <a:close/>
                      </a:path>
                    </a:pathLst>
                  </a:custGeom>
                  <a:solidFill>
                    <a:srgbClr val="01AAE5"/>
                  </a:solidFill>
                  <a:ln>
                    <a:noFill/>
                  </a:ln>
                  <a:extLst/>
                </p:spPr>
                <p:txBody>
                  <a:bodyPr/>
                  <a:lstStyle/>
                  <a:p>
                    <a:pPr eaLnBrk="1" hangingPunct="1">
                      <a:defRPr/>
                    </a:pPr>
                    <a:endParaRPr lang="zh-CN" altLang="en-US" sz="1050"/>
                  </a:p>
                </p:txBody>
              </p:sp>
              <p:sp>
                <p:nvSpPr>
                  <p:cNvPr id="1510" name="Freeform 1771"/>
                  <p:cNvSpPr>
                    <a:spLocks/>
                  </p:cNvSpPr>
                  <p:nvPr/>
                </p:nvSpPr>
                <p:spPr bwMode="auto">
                  <a:xfrm>
                    <a:off x="10190" y="2299"/>
                    <a:ext cx="67" cy="26"/>
                  </a:xfrm>
                  <a:custGeom>
                    <a:avLst/>
                    <a:gdLst>
                      <a:gd name="T0" fmla="*/ 64 w 64"/>
                      <a:gd name="T1" fmla="*/ 23 h 26"/>
                      <a:gd name="T2" fmla="*/ 0 w 64"/>
                      <a:gd name="T3" fmla="*/ 0 h 26"/>
                      <a:gd name="T4" fmla="*/ 0 w 64"/>
                      <a:gd name="T5" fmla="*/ 2 h 26"/>
                      <a:gd name="T6" fmla="*/ 64 w 64"/>
                      <a:gd name="T7" fmla="*/ 26 h 26"/>
                      <a:gd name="T8" fmla="*/ 64 w 64"/>
                      <a:gd name="T9" fmla="*/ 23 h 26"/>
                    </a:gdLst>
                    <a:ahLst/>
                    <a:cxnLst>
                      <a:cxn ang="0">
                        <a:pos x="T0" y="T1"/>
                      </a:cxn>
                      <a:cxn ang="0">
                        <a:pos x="T2" y="T3"/>
                      </a:cxn>
                      <a:cxn ang="0">
                        <a:pos x="T4" y="T5"/>
                      </a:cxn>
                      <a:cxn ang="0">
                        <a:pos x="T6" y="T7"/>
                      </a:cxn>
                      <a:cxn ang="0">
                        <a:pos x="T8" y="T9"/>
                      </a:cxn>
                    </a:cxnLst>
                    <a:rect l="0" t="0" r="r" b="b"/>
                    <a:pathLst>
                      <a:path w="64" h="26">
                        <a:moveTo>
                          <a:pt x="64" y="23"/>
                        </a:moveTo>
                        <a:lnTo>
                          <a:pt x="0" y="0"/>
                        </a:lnTo>
                        <a:lnTo>
                          <a:pt x="0" y="2"/>
                        </a:lnTo>
                        <a:lnTo>
                          <a:pt x="64" y="26"/>
                        </a:lnTo>
                        <a:lnTo>
                          <a:pt x="64" y="23"/>
                        </a:lnTo>
                        <a:close/>
                      </a:path>
                    </a:pathLst>
                  </a:custGeom>
                  <a:solidFill>
                    <a:srgbClr val="01AAE5"/>
                  </a:solidFill>
                  <a:ln>
                    <a:noFill/>
                  </a:ln>
                  <a:extLst/>
                </p:spPr>
                <p:txBody>
                  <a:bodyPr/>
                  <a:lstStyle/>
                  <a:p>
                    <a:pPr eaLnBrk="1" hangingPunct="1">
                      <a:defRPr/>
                    </a:pPr>
                    <a:endParaRPr lang="zh-CN" altLang="en-US" sz="1050"/>
                  </a:p>
                </p:txBody>
              </p:sp>
              <p:sp>
                <p:nvSpPr>
                  <p:cNvPr id="1511" name="Freeform 1772"/>
                  <p:cNvSpPr>
                    <a:spLocks/>
                  </p:cNvSpPr>
                  <p:nvPr/>
                </p:nvSpPr>
                <p:spPr bwMode="auto">
                  <a:xfrm>
                    <a:off x="10199" y="2290"/>
                    <a:ext cx="58" cy="26"/>
                  </a:xfrm>
                  <a:custGeom>
                    <a:avLst/>
                    <a:gdLst>
                      <a:gd name="T0" fmla="*/ 63 w 63"/>
                      <a:gd name="T1" fmla="*/ 24 h 24"/>
                      <a:gd name="T2" fmla="*/ 0 w 63"/>
                      <a:gd name="T3" fmla="*/ 0 h 24"/>
                      <a:gd name="T4" fmla="*/ 0 w 63"/>
                      <a:gd name="T5" fmla="*/ 2 h 24"/>
                      <a:gd name="T6" fmla="*/ 63 w 63"/>
                      <a:gd name="T7" fmla="*/ 24 h 24"/>
                      <a:gd name="T8" fmla="*/ 63 w 63"/>
                      <a:gd name="T9" fmla="*/ 24 h 24"/>
                    </a:gdLst>
                    <a:ahLst/>
                    <a:cxnLst>
                      <a:cxn ang="0">
                        <a:pos x="T0" y="T1"/>
                      </a:cxn>
                      <a:cxn ang="0">
                        <a:pos x="T2" y="T3"/>
                      </a:cxn>
                      <a:cxn ang="0">
                        <a:pos x="T4" y="T5"/>
                      </a:cxn>
                      <a:cxn ang="0">
                        <a:pos x="T6" y="T7"/>
                      </a:cxn>
                      <a:cxn ang="0">
                        <a:pos x="T8" y="T9"/>
                      </a:cxn>
                    </a:cxnLst>
                    <a:rect l="0" t="0" r="r" b="b"/>
                    <a:pathLst>
                      <a:path w="63" h="24">
                        <a:moveTo>
                          <a:pt x="63" y="24"/>
                        </a:moveTo>
                        <a:lnTo>
                          <a:pt x="0" y="0"/>
                        </a:lnTo>
                        <a:lnTo>
                          <a:pt x="0" y="2"/>
                        </a:lnTo>
                        <a:lnTo>
                          <a:pt x="63" y="24"/>
                        </a:lnTo>
                        <a:lnTo>
                          <a:pt x="63" y="24"/>
                        </a:lnTo>
                        <a:close/>
                      </a:path>
                    </a:pathLst>
                  </a:custGeom>
                  <a:solidFill>
                    <a:srgbClr val="01AAE5"/>
                  </a:solidFill>
                  <a:ln>
                    <a:noFill/>
                  </a:ln>
                  <a:extLst/>
                </p:spPr>
                <p:txBody>
                  <a:bodyPr/>
                  <a:lstStyle/>
                  <a:p>
                    <a:pPr eaLnBrk="1" hangingPunct="1">
                      <a:defRPr/>
                    </a:pPr>
                    <a:endParaRPr lang="zh-CN" altLang="en-US" sz="1050"/>
                  </a:p>
                </p:txBody>
              </p:sp>
              <p:sp>
                <p:nvSpPr>
                  <p:cNvPr id="1512" name="Freeform 1773"/>
                  <p:cNvSpPr>
                    <a:spLocks/>
                  </p:cNvSpPr>
                  <p:nvPr/>
                </p:nvSpPr>
                <p:spPr bwMode="auto">
                  <a:xfrm>
                    <a:off x="10199" y="2273"/>
                    <a:ext cx="58" cy="26"/>
                  </a:xfrm>
                  <a:custGeom>
                    <a:avLst/>
                    <a:gdLst>
                      <a:gd name="T0" fmla="*/ 57 w 57"/>
                      <a:gd name="T1" fmla="*/ 21 h 21"/>
                      <a:gd name="T2" fmla="*/ 2 w 57"/>
                      <a:gd name="T3" fmla="*/ 0 h 21"/>
                      <a:gd name="T4" fmla="*/ 0 w 57"/>
                      <a:gd name="T5" fmla="*/ 0 h 21"/>
                      <a:gd name="T6" fmla="*/ 57 w 57"/>
                      <a:gd name="T7" fmla="*/ 21 h 21"/>
                      <a:gd name="T8" fmla="*/ 57 w 57"/>
                      <a:gd name="T9" fmla="*/ 21 h 21"/>
                    </a:gdLst>
                    <a:ahLst/>
                    <a:cxnLst>
                      <a:cxn ang="0">
                        <a:pos x="T0" y="T1"/>
                      </a:cxn>
                      <a:cxn ang="0">
                        <a:pos x="T2" y="T3"/>
                      </a:cxn>
                      <a:cxn ang="0">
                        <a:pos x="T4" y="T5"/>
                      </a:cxn>
                      <a:cxn ang="0">
                        <a:pos x="T6" y="T7"/>
                      </a:cxn>
                      <a:cxn ang="0">
                        <a:pos x="T8" y="T9"/>
                      </a:cxn>
                    </a:cxnLst>
                    <a:rect l="0" t="0" r="r" b="b"/>
                    <a:pathLst>
                      <a:path w="57" h="21">
                        <a:moveTo>
                          <a:pt x="57" y="21"/>
                        </a:moveTo>
                        <a:lnTo>
                          <a:pt x="2" y="0"/>
                        </a:lnTo>
                        <a:lnTo>
                          <a:pt x="0" y="0"/>
                        </a:lnTo>
                        <a:lnTo>
                          <a:pt x="57" y="21"/>
                        </a:lnTo>
                        <a:lnTo>
                          <a:pt x="57" y="21"/>
                        </a:lnTo>
                        <a:close/>
                      </a:path>
                    </a:pathLst>
                  </a:custGeom>
                  <a:solidFill>
                    <a:srgbClr val="01AAE5"/>
                  </a:solidFill>
                  <a:ln>
                    <a:noFill/>
                  </a:ln>
                  <a:extLst/>
                </p:spPr>
                <p:txBody>
                  <a:bodyPr/>
                  <a:lstStyle/>
                  <a:p>
                    <a:pPr eaLnBrk="1" hangingPunct="1">
                      <a:defRPr/>
                    </a:pPr>
                    <a:endParaRPr lang="zh-CN" altLang="en-US" sz="1050"/>
                  </a:p>
                </p:txBody>
              </p:sp>
              <p:sp>
                <p:nvSpPr>
                  <p:cNvPr id="1513" name="Freeform 1774"/>
                  <p:cNvSpPr>
                    <a:spLocks/>
                  </p:cNvSpPr>
                  <p:nvPr/>
                </p:nvSpPr>
                <p:spPr bwMode="auto">
                  <a:xfrm>
                    <a:off x="10215" y="2273"/>
                    <a:ext cx="42" cy="17"/>
                  </a:xfrm>
                  <a:custGeom>
                    <a:avLst/>
                    <a:gdLst>
                      <a:gd name="T0" fmla="*/ 48 w 48"/>
                      <a:gd name="T1" fmla="*/ 19 h 21"/>
                      <a:gd name="T2" fmla="*/ 0 w 48"/>
                      <a:gd name="T3" fmla="*/ 0 h 21"/>
                      <a:gd name="T4" fmla="*/ 0 w 48"/>
                      <a:gd name="T5" fmla="*/ 2 h 21"/>
                      <a:gd name="T6" fmla="*/ 48 w 48"/>
                      <a:gd name="T7" fmla="*/ 21 h 21"/>
                      <a:gd name="T8" fmla="*/ 48 w 48"/>
                      <a:gd name="T9" fmla="*/ 19 h 21"/>
                    </a:gdLst>
                    <a:ahLst/>
                    <a:cxnLst>
                      <a:cxn ang="0">
                        <a:pos x="T0" y="T1"/>
                      </a:cxn>
                      <a:cxn ang="0">
                        <a:pos x="T2" y="T3"/>
                      </a:cxn>
                      <a:cxn ang="0">
                        <a:pos x="T4" y="T5"/>
                      </a:cxn>
                      <a:cxn ang="0">
                        <a:pos x="T6" y="T7"/>
                      </a:cxn>
                      <a:cxn ang="0">
                        <a:pos x="T8" y="T9"/>
                      </a:cxn>
                    </a:cxnLst>
                    <a:rect l="0" t="0" r="r" b="b"/>
                    <a:pathLst>
                      <a:path w="48" h="21">
                        <a:moveTo>
                          <a:pt x="48" y="19"/>
                        </a:moveTo>
                        <a:lnTo>
                          <a:pt x="0" y="0"/>
                        </a:lnTo>
                        <a:lnTo>
                          <a:pt x="0" y="2"/>
                        </a:lnTo>
                        <a:lnTo>
                          <a:pt x="48" y="21"/>
                        </a:lnTo>
                        <a:lnTo>
                          <a:pt x="48" y="19"/>
                        </a:lnTo>
                        <a:close/>
                      </a:path>
                    </a:pathLst>
                  </a:custGeom>
                  <a:solidFill>
                    <a:srgbClr val="01AAE5"/>
                  </a:solidFill>
                  <a:ln>
                    <a:noFill/>
                  </a:ln>
                  <a:extLst/>
                </p:spPr>
                <p:txBody>
                  <a:bodyPr/>
                  <a:lstStyle/>
                  <a:p>
                    <a:pPr eaLnBrk="1" hangingPunct="1">
                      <a:defRPr/>
                    </a:pPr>
                    <a:endParaRPr lang="zh-CN" altLang="en-US" sz="1050"/>
                  </a:p>
                </p:txBody>
              </p:sp>
              <p:sp>
                <p:nvSpPr>
                  <p:cNvPr id="1514" name="Freeform 1775"/>
                  <p:cNvSpPr>
                    <a:spLocks/>
                  </p:cNvSpPr>
                  <p:nvPr/>
                </p:nvSpPr>
                <p:spPr bwMode="auto">
                  <a:xfrm>
                    <a:off x="10207" y="2273"/>
                    <a:ext cx="50" cy="26"/>
                  </a:xfrm>
                  <a:custGeom>
                    <a:avLst/>
                    <a:gdLst>
                      <a:gd name="T0" fmla="*/ 52 w 52"/>
                      <a:gd name="T1" fmla="*/ 22 h 22"/>
                      <a:gd name="T2" fmla="*/ 0 w 52"/>
                      <a:gd name="T3" fmla="*/ 0 h 22"/>
                      <a:gd name="T4" fmla="*/ 0 w 52"/>
                      <a:gd name="T5" fmla="*/ 0 h 22"/>
                      <a:gd name="T6" fmla="*/ 52 w 52"/>
                      <a:gd name="T7" fmla="*/ 22 h 22"/>
                      <a:gd name="T8" fmla="*/ 52 w 52"/>
                      <a:gd name="T9" fmla="*/ 22 h 22"/>
                    </a:gdLst>
                    <a:ahLst/>
                    <a:cxnLst>
                      <a:cxn ang="0">
                        <a:pos x="T0" y="T1"/>
                      </a:cxn>
                      <a:cxn ang="0">
                        <a:pos x="T2" y="T3"/>
                      </a:cxn>
                      <a:cxn ang="0">
                        <a:pos x="T4" y="T5"/>
                      </a:cxn>
                      <a:cxn ang="0">
                        <a:pos x="T6" y="T7"/>
                      </a:cxn>
                      <a:cxn ang="0">
                        <a:pos x="T8" y="T9"/>
                      </a:cxn>
                    </a:cxnLst>
                    <a:rect l="0" t="0" r="r" b="b"/>
                    <a:pathLst>
                      <a:path w="52" h="22">
                        <a:moveTo>
                          <a:pt x="52" y="22"/>
                        </a:moveTo>
                        <a:lnTo>
                          <a:pt x="0" y="0"/>
                        </a:lnTo>
                        <a:lnTo>
                          <a:pt x="0" y="0"/>
                        </a:lnTo>
                        <a:lnTo>
                          <a:pt x="52" y="22"/>
                        </a:lnTo>
                        <a:lnTo>
                          <a:pt x="52" y="22"/>
                        </a:lnTo>
                        <a:close/>
                      </a:path>
                    </a:pathLst>
                  </a:custGeom>
                  <a:solidFill>
                    <a:srgbClr val="01AAE5"/>
                  </a:solidFill>
                  <a:ln>
                    <a:noFill/>
                  </a:ln>
                  <a:extLst/>
                </p:spPr>
                <p:txBody>
                  <a:bodyPr/>
                  <a:lstStyle/>
                  <a:p>
                    <a:pPr eaLnBrk="1" hangingPunct="1">
                      <a:defRPr/>
                    </a:pPr>
                    <a:endParaRPr lang="zh-CN" altLang="en-US" sz="1050"/>
                  </a:p>
                </p:txBody>
              </p:sp>
              <p:sp>
                <p:nvSpPr>
                  <p:cNvPr id="1515" name="Freeform 1776"/>
                  <p:cNvSpPr>
                    <a:spLocks/>
                  </p:cNvSpPr>
                  <p:nvPr/>
                </p:nvSpPr>
                <p:spPr bwMode="auto">
                  <a:xfrm>
                    <a:off x="10232" y="2247"/>
                    <a:ext cx="33" cy="17"/>
                  </a:xfrm>
                  <a:custGeom>
                    <a:avLst/>
                    <a:gdLst>
                      <a:gd name="T0" fmla="*/ 28 w 28"/>
                      <a:gd name="T1" fmla="*/ 12 h 14"/>
                      <a:gd name="T2" fmla="*/ 0 w 28"/>
                      <a:gd name="T3" fmla="*/ 0 h 14"/>
                      <a:gd name="T4" fmla="*/ 0 w 28"/>
                      <a:gd name="T5" fmla="*/ 0 h 14"/>
                      <a:gd name="T6" fmla="*/ 28 w 28"/>
                      <a:gd name="T7" fmla="*/ 14 h 14"/>
                      <a:gd name="T8" fmla="*/ 28 w 28"/>
                      <a:gd name="T9" fmla="*/ 12 h 14"/>
                    </a:gdLst>
                    <a:ahLst/>
                    <a:cxnLst>
                      <a:cxn ang="0">
                        <a:pos x="T0" y="T1"/>
                      </a:cxn>
                      <a:cxn ang="0">
                        <a:pos x="T2" y="T3"/>
                      </a:cxn>
                      <a:cxn ang="0">
                        <a:pos x="T4" y="T5"/>
                      </a:cxn>
                      <a:cxn ang="0">
                        <a:pos x="T6" y="T7"/>
                      </a:cxn>
                      <a:cxn ang="0">
                        <a:pos x="T8" y="T9"/>
                      </a:cxn>
                    </a:cxnLst>
                    <a:rect l="0" t="0" r="r" b="b"/>
                    <a:pathLst>
                      <a:path w="28" h="14">
                        <a:moveTo>
                          <a:pt x="28" y="12"/>
                        </a:moveTo>
                        <a:lnTo>
                          <a:pt x="0" y="0"/>
                        </a:lnTo>
                        <a:lnTo>
                          <a:pt x="0" y="0"/>
                        </a:lnTo>
                        <a:lnTo>
                          <a:pt x="28" y="14"/>
                        </a:lnTo>
                        <a:lnTo>
                          <a:pt x="28" y="12"/>
                        </a:lnTo>
                        <a:close/>
                      </a:path>
                    </a:pathLst>
                  </a:custGeom>
                  <a:solidFill>
                    <a:srgbClr val="01AAE5"/>
                  </a:solidFill>
                  <a:ln>
                    <a:noFill/>
                  </a:ln>
                  <a:extLst/>
                </p:spPr>
                <p:txBody>
                  <a:bodyPr/>
                  <a:lstStyle/>
                  <a:p>
                    <a:pPr eaLnBrk="1" hangingPunct="1">
                      <a:defRPr/>
                    </a:pPr>
                    <a:endParaRPr lang="zh-CN" altLang="en-US" sz="1050"/>
                  </a:p>
                </p:txBody>
              </p:sp>
              <p:sp>
                <p:nvSpPr>
                  <p:cNvPr id="1516" name="Freeform 1777"/>
                  <p:cNvSpPr>
                    <a:spLocks/>
                  </p:cNvSpPr>
                  <p:nvPr/>
                </p:nvSpPr>
                <p:spPr bwMode="auto">
                  <a:xfrm>
                    <a:off x="10290" y="2186"/>
                    <a:ext cx="8" cy="0"/>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1517" name="Freeform 1778"/>
                  <p:cNvSpPr>
                    <a:spLocks/>
                  </p:cNvSpPr>
                  <p:nvPr/>
                </p:nvSpPr>
                <p:spPr bwMode="auto">
                  <a:xfrm>
                    <a:off x="10282" y="2186"/>
                    <a:ext cx="8" cy="0"/>
                  </a:xfrm>
                  <a:custGeom>
                    <a:avLst/>
                    <a:gdLst>
                      <a:gd name="T0" fmla="*/ 7 w 7"/>
                      <a:gd name="T1" fmla="*/ 2 h 4"/>
                      <a:gd name="T2" fmla="*/ 0 w 7"/>
                      <a:gd name="T3" fmla="*/ 0 h 4"/>
                      <a:gd name="T4" fmla="*/ 0 w 7"/>
                      <a:gd name="T5" fmla="*/ 0 h 4"/>
                      <a:gd name="T6" fmla="*/ 7 w 7"/>
                      <a:gd name="T7" fmla="*/ 4 h 4"/>
                      <a:gd name="T8" fmla="*/ 7 w 7"/>
                      <a:gd name="T9" fmla="*/ 2 h 4"/>
                    </a:gdLst>
                    <a:ahLst/>
                    <a:cxnLst>
                      <a:cxn ang="0">
                        <a:pos x="T0" y="T1"/>
                      </a:cxn>
                      <a:cxn ang="0">
                        <a:pos x="T2" y="T3"/>
                      </a:cxn>
                      <a:cxn ang="0">
                        <a:pos x="T4" y="T5"/>
                      </a:cxn>
                      <a:cxn ang="0">
                        <a:pos x="T6" y="T7"/>
                      </a:cxn>
                      <a:cxn ang="0">
                        <a:pos x="T8" y="T9"/>
                      </a:cxn>
                    </a:cxnLst>
                    <a:rect l="0" t="0" r="r" b="b"/>
                    <a:pathLst>
                      <a:path w="7" h="4">
                        <a:moveTo>
                          <a:pt x="7" y="2"/>
                        </a:moveTo>
                        <a:lnTo>
                          <a:pt x="0" y="0"/>
                        </a:lnTo>
                        <a:lnTo>
                          <a:pt x="0" y="0"/>
                        </a:lnTo>
                        <a:lnTo>
                          <a:pt x="7" y="4"/>
                        </a:lnTo>
                        <a:lnTo>
                          <a:pt x="7" y="2"/>
                        </a:lnTo>
                        <a:close/>
                      </a:path>
                    </a:pathLst>
                  </a:custGeom>
                  <a:solidFill>
                    <a:srgbClr val="01AAE5"/>
                  </a:solidFill>
                  <a:ln>
                    <a:noFill/>
                  </a:ln>
                  <a:extLst/>
                </p:spPr>
                <p:txBody>
                  <a:bodyPr/>
                  <a:lstStyle/>
                  <a:p>
                    <a:pPr eaLnBrk="1" hangingPunct="1">
                      <a:defRPr/>
                    </a:pPr>
                    <a:endParaRPr lang="zh-CN" altLang="en-US" sz="1050"/>
                  </a:p>
                </p:txBody>
              </p:sp>
              <p:sp>
                <p:nvSpPr>
                  <p:cNvPr id="1518" name="Freeform 1779"/>
                  <p:cNvSpPr>
                    <a:spLocks/>
                  </p:cNvSpPr>
                  <p:nvPr/>
                </p:nvSpPr>
                <p:spPr bwMode="auto">
                  <a:xfrm>
                    <a:off x="10290" y="2177"/>
                    <a:ext cx="8" cy="9"/>
                  </a:xfrm>
                  <a:custGeom>
                    <a:avLst/>
                    <a:gdLst>
                      <a:gd name="T0" fmla="*/ 10 w 10"/>
                      <a:gd name="T1" fmla="*/ 5 h 5"/>
                      <a:gd name="T2" fmla="*/ 0 w 10"/>
                      <a:gd name="T3" fmla="*/ 0 h 5"/>
                      <a:gd name="T4" fmla="*/ 0 w 10"/>
                      <a:gd name="T5" fmla="*/ 0 h 5"/>
                      <a:gd name="T6" fmla="*/ 8 w 10"/>
                      <a:gd name="T7" fmla="*/ 5 h 5"/>
                      <a:gd name="T8" fmla="*/ 10 w 10"/>
                      <a:gd name="T9" fmla="*/ 5 h 5"/>
                    </a:gdLst>
                    <a:ahLst/>
                    <a:cxnLst>
                      <a:cxn ang="0">
                        <a:pos x="T0" y="T1"/>
                      </a:cxn>
                      <a:cxn ang="0">
                        <a:pos x="T2" y="T3"/>
                      </a:cxn>
                      <a:cxn ang="0">
                        <a:pos x="T4" y="T5"/>
                      </a:cxn>
                      <a:cxn ang="0">
                        <a:pos x="T6" y="T7"/>
                      </a:cxn>
                      <a:cxn ang="0">
                        <a:pos x="T8" y="T9"/>
                      </a:cxn>
                    </a:cxnLst>
                    <a:rect l="0" t="0" r="r" b="b"/>
                    <a:pathLst>
                      <a:path w="10" h="5">
                        <a:moveTo>
                          <a:pt x="10" y="5"/>
                        </a:moveTo>
                        <a:lnTo>
                          <a:pt x="0" y="0"/>
                        </a:lnTo>
                        <a:lnTo>
                          <a:pt x="0" y="0"/>
                        </a:lnTo>
                        <a:lnTo>
                          <a:pt x="8" y="5"/>
                        </a:lnTo>
                        <a:lnTo>
                          <a:pt x="10" y="5"/>
                        </a:lnTo>
                        <a:close/>
                      </a:path>
                    </a:pathLst>
                  </a:custGeom>
                  <a:solidFill>
                    <a:srgbClr val="01AAE5"/>
                  </a:solidFill>
                  <a:ln>
                    <a:noFill/>
                  </a:ln>
                  <a:extLst/>
                </p:spPr>
                <p:txBody>
                  <a:bodyPr/>
                  <a:lstStyle/>
                  <a:p>
                    <a:pPr eaLnBrk="1" hangingPunct="1">
                      <a:defRPr/>
                    </a:pPr>
                    <a:endParaRPr lang="zh-CN" altLang="en-US" sz="1050"/>
                  </a:p>
                </p:txBody>
              </p:sp>
              <p:sp>
                <p:nvSpPr>
                  <p:cNvPr id="1519" name="Freeform 1780"/>
                  <p:cNvSpPr>
                    <a:spLocks/>
                  </p:cNvSpPr>
                  <p:nvPr/>
                </p:nvSpPr>
                <p:spPr bwMode="auto">
                  <a:xfrm>
                    <a:off x="10282" y="2194"/>
                    <a:ext cx="8"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1520" name="Freeform 1781"/>
                  <p:cNvSpPr>
                    <a:spLocks/>
                  </p:cNvSpPr>
                  <p:nvPr/>
                </p:nvSpPr>
                <p:spPr bwMode="auto">
                  <a:xfrm>
                    <a:off x="10282" y="2186"/>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1521" name="Freeform 1782"/>
                  <p:cNvSpPr>
                    <a:spLocks/>
                  </p:cNvSpPr>
                  <p:nvPr/>
                </p:nvSpPr>
                <p:spPr bwMode="auto">
                  <a:xfrm>
                    <a:off x="10257" y="2229"/>
                    <a:ext cx="17" cy="9"/>
                  </a:xfrm>
                  <a:custGeom>
                    <a:avLst/>
                    <a:gdLst>
                      <a:gd name="T0" fmla="*/ 17 w 17"/>
                      <a:gd name="T1" fmla="*/ 7 h 7"/>
                      <a:gd name="T2" fmla="*/ 2 w 17"/>
                      <a:gd name="T3" fmla="*/ 0 h 7"/>
                      <a:gd name="T4" fmla="*/ 0 w 17"/>
                      <a:gd name="T5" fmla="*/ 0 h 7"/>
                      <a:gd name="T6" fmla="*/ 17 w 17"/>
                      <a:gd name="T7" fmla="*/ 7 h 7"/>
                      <a:gd name="T8" fmla="*/ 17 w 17"/>
                      <a:gd name="T9" fmla="*/ 7 h 7"/>
                    </a:gdLst>
                    <a:ahLst/>
                    <a:cxnLst>
                      <a:cxn ang="0">
                        <a:pos x="T0" y="T1"/>
                      </a:cxn>
                      <a:cxn ang="0">
                        <a:pos x="T2" y="T3"/>
                      </a:cxn>
                      <a:cxn ang="0">
                        <a:pos x="T4" y="T5"/>
                      </a:cxn>
                      <a:cxn ang="0">
                        <a:pos x="T6" y="T7"/>
                      </a:cxn>
                      <a:cxn ang="0">
                        <a:pos x="T8" y="T9"/>
                      </a:cxn>
                    </a:cxnLst>
                    <a:rect l="0" t="0" r="r" b="b"/>
                    <a:pathLst>
                      <a:path w="17" h="7">
                        <a:moveTo>
                          <a:pt x="17" y="7"/>
                        </a:moveTo>
                        <a:lnTo>
                          <a:pt x="2" y="0"/>
                        </a:lnTo>
                        <a:lnTo>
                          <a:pt x="0" y="0"/>
                        </a:lnTo>
                        <a:lnTo>
                          <a:pt x="17" y="7"/>
                        </a:lnTo>
                        <a:lnTo>
                          <a:pt x="17" y="7"/>
                        </a:lnTo>
                        <a:close/>
                      </a:path>
                    </a:pathLst>
                  </a:custGeom>
                  <a:solidFill>
                    <a:srgbClr val="01AAE5"/>
                  </a:solidFill>
                  <a:ln>
                    <a:noFill/>
                  </a:ln>
                  <a:extLst/>
                </p:spPr>
                <p:txBody>
                  <a:bodyPr/>
                  <a:lstStyle/>
                  <a:p>
                    <a:pPr eaLnBrk="1" hangingPunct="1">
                      <a:defRPr/>
                    </a:pPr>
                    <a:endParaRPr lang="zh-CN" altLang="en-US" sz="1050"/>
                  </a:p>
                </p:txBody>
              </p:sp>
              <p:sp>
                <p:nvSpPr>
                  <p:cNvPr id="1522" name="Freeform 1783"/>
                  <p:cNvSpPr>
                    <a:spLocks/>
                  </p:cNvSpPr>
                  <p:nvPr/>
                </p:nvSpPr>
                <p:spPr bwMode="auto">
                  <a:xfrm>
                    <a:off x="10290" y="2168"/>
                    <a:ext cx="17" cy="9"/>
                  </a:xfrm>
                  <a:custGeom>
                    <a:avLst/>
                    <a:gdLst>
                      <a:gd name="T0" fmla="*/ 9 w 9"/>
                      <a:gd name="T1" fmla="*/ 5 h 5"/>
                      <a:gd name="T2" fmla="*/ 2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1523" name="Freeform 1784"/>
                  <p:cNvSpPr>
                    <a:spLocks/>
                  </p:cNvSpPr>
                  <p:nvPr/>
                </p:nvSpPr>
                <p:spPr bwMode="auto">
                  <a:xfrm>
                    <a:off x="10299" y="2168"/>
                    <a:ext cx="8" cy="9"/>
                  </a:xfrm>
                  <a:custGeom>
                    <a:avLst/>
                    <a:gdLst>
                      <a:gd name="T0" fmla="*/ 10 w 10"/>
                      <a:gd name="T1" fmla="*/ 4 h 7"/>
                      <a:gd name="T2" fmla="*/ 3 w 10"/>
                      <a:gd name="T3" fmla="*/ 0 h 7"/>
                      <a:gd name="T4" fmla="*/ 0 w 10"/>
                      <a:gd name="T5" fmla="*/ 2 h 7"/>
                      <a:gd name="T6" fmla="*/ 10 w 10"/>
                      <a:gd name="T7" fmla="*/ 7 h 7"/>
                      <a:gd name="T8" fmla="*/ 10 w 10"/>
                      <a:gd name="T9" fmla="*/ 4 h 7"/>
                    </a:gdLst>
                    <a:ahLst/>
                    <a:cxnLst>
                      <a:cxn ang="0">
                        <a:pos x="T0" y="T1"/>
                      </a:cxn>
                      <a:cxn ang="0">
                        <a:pos x="T2" y="T3"/>
                      </a:cxn>
                      <a:cxn ang="0">
                        <a:pos x="T4" y="T5"/>
                      </a:cxn>
                      <a:cxn ang="0">
                        <a:pos x="T6" y="T7"/>
                      </a:cxn>
                      <a:cxn ang="0">
                        <a:pos x="T8" y="T9"/>
                      </a:cxn>
                    </a:cxnLst>
                    <a:rect l="0" t="0" r="r" b="b"/>
                    <a:pathLst>
                      <a:path w="10" h="7">
                        <a:moveTo>
                          <a:pt x="10" y="4"/>
                        </a:moveTo>
                        <a:lnTo>
                          <a:pt x="3" y="0"/>
                        </a:lnTo>
                        <a:lnTo>
                          <a:pt x="0" y="2"/>
                        </a:lnTo>
                        <a:lnTo>
                          <a:pt x="10" y="7"/>
                        </a:lnTo>
                        <a:lnTo>
                          <a:pt x="10" y="4"/>
                        </a:lnTo>
                        <a:close/>
                      </a:path>
                    </a:pathLst>
                  </a:custGeom>
                  <a:solidFill>
                    <a:srgbClr val="01AAE5"/>
                  </a:solidFill>
                  <a:ln>
                    <a:noFill/>
                  </a:ln>
                  <a:extLst/>
                </p:spPr>
                <p:txBody>
                  <a:bodyPr/>
                  <a:lstStyle/>
                  <a:p>
                    <a:pPr eaLnBrk="1" hangingPunct="1">
                      <a:defRPr/>
                    </a:pPr>
                    <a:endParaRPr lang="zh-CN" altLang="en-US" sz="1050"/>
                  </a:p>
                </p:txBody>
              </p:sp>
              <p:sp>
                <p:nvSpPr>
                  <p:cNvPr id="1524" name="Freeform 1785"/>
                  <p:cNvSpPr>
                    <a:spLocks/>
                  </p:cNvSpPr>
                  <p:nvPr/>
                </p:nvSpPr>
                <p:spPr bwMode="auto">
                  <a:xfrm>
                    <a:off x="10299" y="2159"/>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1525" name="Freeform 1786"/>
                  <p:cNvSpPr>
                    <a:spLocks/>
                  </p:cNvSpPr>
                  <p:nvPr/>
                </p:nvSpPr>
                <p:spPr bwMode="auto">
                  <a:xfrm>
                    <a:off x="10265" y="2212"/>
                    <a:ext cx="8" cy="9"/>
                  </a:xfrm>
                  <a:custGeom>
                    <a:avLst/>
                    <a:gdLst>
                      <a:gd name="T0" fmla="*/ 12 w 12"/>
                      <a:gd name="T1" fmla="*/ 7 h 7"/>
                      <a:gd name="T2" fmla="*/ 2 w 12"/>
                      <a:gd name="T3" fmla="*/ 0 h 7"/>
                      <a:gd name="T4" fmla="*/ 0 w 12"/>
                      <a:gd name="T5" fmla="*/ 2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2" y="0"/>
                        </a:lnTo>
                        <a:lnTo>
                          <a:pt x="0" y="2"/>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1526" name="Freeform 1787"/>
                  <p:cNvSpPr>
                    <a:spLocks/>
                  </p:cNvSpPr>
                  <p:nvPr/>
                </p:nvSpPr>
                <p:spPr bwMode="auto">
                  <a:xfrm>
                    <a:off x="10265" y="2212"/>
                    <a:ext cx="17" cy="9"/>
                  </a:xfrm>
                  <a:custGeom>
                    <a:avLst/>
                    <a:gdLst>
                      <a:gd name="T0" fmla="*/ 9 w 9"/>
                      <a:gd name="T1" fmla="*/ 5 h 5"/>
                      <a:gd name="T2" fmla="*/ 0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1527" name="Freeform 1788"/>
                  <p:cNvSpPr>
                    <a:spLocks/>
                  </p:cNvSpPr>
                  <p:nvPr/>
                </p:nvSpPr>
                <p:spPr bwMode="auto">
                  <a:xfrm>
                    <a:off x="10282" y="2194"/>
                    <a:ext cx="0" cy="9"/>
                  </a:xfrm>
                  <a:custGeom>
                    <a:avLst/>
                    <a:gdLst>
                      <a:gd name="T0" fmla="*/ 7 w 7"/>
                      <a:gd name="T1" fmla="*/ 5 h 8"/>
                      <a:gd name="T2" fmla="*/ 0 w 7"/>
                      <a:gd name="T3" fmla="*/ 0 h 8"/>
                      <a:gd name="T4" fmla="*/ 0 w 7"/>
                      <a:gd name="T5" fmla="*/ 3 h 8"/>
                      <a:gd name="T6" fmla="*/ 7 w 7"/>
                      <a:gd name="T7" fmla="*/ 8 h 8"/>
                      <a:gd name="T8" fmla="*/ 7 w 7"/>
                      <a:gd name="T9" fmla="*/ 5 h 8"/>
                    </a:gdLst>
                    <a:ahLst/>
                    <a:cxnLst>
                      <a:cxn ang="0">
                        <a:pos x="T0" y="T1"/>
                      </a:cxn>
                      <a:cxn ang="0">
                        <a:pos x="T2" y="T3"/>
                      </a:cxn>
                      <a:cxn ang="0">
                        <a:pos x="T4" y="T5"/>
                      </a:cxn>
                      <a:cxn ang="0">
                        <a:pos x="T6" y="T7"/>
                      </a:cxn>
                      <a:cxn ang="0">
                        <a:pos x="T8" y="T9"/>
                      </a:cxn>
                    </a:cxnLst>
                    <a:rect l="0" t="0" r="r" b="b"/>
                    <a:pathLst>
                      <a:path w="7" h="8">
                        <a:moveTo>
                          <a:pt x="7" y="5"/>
                        </a:moveTo>
                        <a:lnTo>
                          <a:pt x="0" y="0"/>
                        </a:lnTo>
                        <a:lnTo>
                          <a:pt x="0" y="3"/>
                        </a:lnTo>
                        <a:lnTo>
                          <a:pt x="7" y="8"/>
                        </a:lnTo>
                        <a:lnTo>
                          <a:pt x="7" y="5"/>
                        </a:lnTo>
                        <a:close/>
                      </a:path>
                    </a:pathLst>
                  </a:custGeom>
                  <a:solidFill>
                    <a:srgbClr val="01AAE5"/>
                  </a:solidFill>
                  <a:ln>
                    <a:noFill/>
                  </a:ln>
                  <a:extLst/>
                </p:spPr>
                <p:txBody>
                  <a:bodyPr/>
                  <a:lstStyle/>
                  <a:p>
                    <a:pPr eaLnBrk="1" hangingPunct="1">
                      <a:defRPr/>
                    </a:pPr>
                    <a:endParaRPr lang="zh-CN" altLang="en-US" sz="1050"/>
                  </a:p>
                </p:txBody>
              </p:sp>
              <p:sp>
                <p:nvSpPr>
                  <p:cNvPr id="1528" name="Freeform 1789"/>
                  <p:cNvSpPr>
                    <a:spLocks/>
                  </p:cNvSpPr>
                  <p:nvPr/>
                </p:nvSpPr>
                <p:spPr bwMode="auto">
                  <a:xfrm>
                    <a:off x="10257" y="2220"/>
                    <a:ext cx="17" cy="9"/>
                  </a:xfrm>
                  <a:custGeom>
                    <a:avLst/>
                    <a:gdLst>
                      <a:gd name="T0" fmla="*/ 14 w 14"/>
                      <a:gd name="T1" fmla="*/ 8 h 8"/>
                      <a:gd name="T2" fmla="*/ 0 w 14"/>
                      <a:gd name="T3" fmla="*/ 0 h 8"/>
                      <a:gd name="T4" fmla="*/ 0 w 14"/>
                      <a:gd name="T5" fmla="*/ 0 h 8"/>
                      <a:gd name="T6" fmla="*/ 14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lnTo>
                          <a:pt x="0" y="0"/>
                        </a:lnTo>
                        <a:lnTo>
                          <a:pt x="0" y="0"/>
                        </a:lnTo>
                        <a:lnTo>
                          <a:pt x="14" y="8"/>
                        </a:lnTo>
                        <a:lnTo>
                          <a:pt x="14" y="8"/>
                        </a:lnTo>
                        <a:close/>
                      </a:path>
                    </a:pathLst>
                  </a:custGeom>
                  <a:solidFill>
                    <a:srgbClr val="01AAE5"/>
                  </a:solidFill>
                  <a:ln>
                    <a:noFill/>
                  </a:ln>
                  <a:extLst/>
                </p:spPr>
                <p:txBody>
                  <a:bodyPr/>
                  <a:lstStyle/>
                  <a:p>
                    <a:pPr eaLnBrk="1" hangingPunct="1">
                      <a:defRPr/>
                    </a:pPr>
                    <a:endParaRPr lang="zh-CN" altLang="en-US" sz="1050"/>
                  </a:p>
                </p:txBody>
              </p:sp>
              <p:sp>
                <p:nvSpPr>
                  <p:cNvPr id="1529" name="Freeform 1790"/>
                  <p:cNvSpPr>
                    <a:spLocks/>
                  </p:cNvSpPr>
                  <p:nvPr/>
                </p:nvSpPr>
                <p:spPr bwMode="auto">
                  <a:xfrm>
                    <a:off x="10274" y="2212"/>
                    <a:ext cx="8" cy="0"/>
                  </a:xfrm>
                  <a:custGeom>
                    <a:avLst/>
                    <a:gdLst>
                      <a:gd name="T0" fmla="*/ 10 w 10"/>
                      <a:gd name="T1" fmla="*/ 4 h 4"/>
                      <a:gd name="T2" fmla="*/ 0 w 10"/>
                      <a:gd name="T3" fmla="*/ 0 h 4"/>
                      <a:gd name="T4" fmla="*/ 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0"/>
                        </a:lnTo>
                        <a:lnTo>
                          <a:pt x="0" y="0"/>
                        </a:lnTo>
                        <a:lnTo>
                          <a:pt x="10" y="4"/>
                        </a:lnTo>
                        <a:lnTo>
                          <a:pt x="10" y="4"/>
                        </a:lnTo>
                        <a:close/>
                      </a:path>
                    </a:pathLst>
                  </a:custGeom>
                  <a:solidFill>
                    <a:srgbClr val="01AAE5"/>
                  </a:solidFill>
                  <a:ln>
                    <a:noFill/>
                  </a:ln>
                  <a:extLst/>
                </p:spPr>
                <p:txBody>
                  <a:bodyPr/>
                  <a:lstStyle/>
                  <a:p>
                    <a:pPr eaLnBrk="1" hangingPunct="1">
                      <a:defRPr/>
                    </a:pPr>
                    <a:endParaRPr lang="zh-CN" altLang="en-US" sz="1050"/>
                  </a:p>
                </p:txBody>
              </p:sp>
              <p:sp>
                <p:nvSpPr>
                  <p:cNvPr id="1530" name="Freeform 1791"/>
                  <p:cNvSpPr>
                    <a:spLocks/>
                  </p:cNvSpPr>
                  <p:nvPr/>
                </p:nvSpPr>
                <p:spPr bwMode="auto">
                  <a:xfrm>
                    <a:off x="10274" y="2203"/>
                    <a:ext cx="17" cy="9"/>
                  </a:xfrm>
                  <a:custGeom>
                    <a:avLst/>
                    <a:gdLst>
                      <a:gd name="T0" fmla="*/ 9 w 9"/>
                      <a:gd name="T1" fmla="*/ 5 h 5"/>
                      <a:gd name="T2" fmla="*/ 9 w 9"/>
                      <a:gd name="T3" fmla="*/ 5 h 5"/>
                      <a:gd name="T4" fmla="*/ 2 w 9"/>
                      <a:gd name="T5" fmla="*/ 0 h 5"/>
                      <a:gd name="T6" fmla="*/ 0 w 9"/>
                      <a:gd name="T7" fmla="*/ 3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9" y="5"/>
                        </a:lnTo>
                        <a:lnTo>
                          <a:pt x="2" y="0"/>
                        </a:lnTo>
                        <a:lnTo>
                          <a:pt x="0" y="3"/>
                        </a:lnTo>
                        <a:lnTo>
                          <a:pt x="9" y="5"/>
                        </a:lnTo>
                        <a:close/>
                      </a:path>
                    </a:pathLst>
                  </a:custGeom>
                  <a:solidFill>
                    <a:srgbClr val="01AAE5"/>
                  </a:solidFill>
                  <a:ln>
                    <a:noFill/>
                  </a:ln>
                  <a:extLst/>
                </p:spPr>
                <p:txBody>
                  <a:bodyPr/>
                  <a:lstStyle/>
                  <a:p>
                    <a:pPr eaLnBrk="1" hangingPunct="1">
                      <a:defRPr/>
                    </a:pPr>
                    <a:endParaRPr lang="zh-CN" altLang="en-US" sz="1050"/>
                  </a:p>
                </p:txBody>
              </p:sp>
              <p:sp>
                <p:nvSpPr>
                  <p:cNvPr id="1531" name="Freeform 1792"/>
                  <p:cNvSpPr>
                    <a:spLocks/>
                  </p:cNvSpPr>
                  <p:nvPr/>
                </p:nvSpPr>
                <p:spPr bwMode="auto">
                  <a:xfrm>
                    <a:off x="10274" y="2212"/>
                    <a:ext cx="8" cy="0"/>
                  </a:xfrm>
                  <a:custGeom>
                    <a:avLst/>
                    <a:gdLst>
                      <a:gd name="T0" fmla="*/ 9 w 9"/>
                      <a:gd name="T1" fmla="*/ 5 h 5"/>
                      <a:gd name="T2" fmla="*/ 2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1532" name="Freeform 1793"/>
                  <p:cNvSpPr>
                    <a:spLocks/>
                  </p:cNvSpPr>
                  <p:nvPr/>
                </p:nvSpPr>
                <p:spPr bwMode="auto">
                  <a:xfrm>
                    <a:off x="10182" y="2421"/>
                    <a:ext cx="25" cy="9"/>
                  </a:xfrm>
                  <a:custGeom>
                    <a:avLst/>
                    <a:gdLst>
                      <a:gd name="T0" fmla="*/ 26 w 26"/>
                      <a:gd name="T1" fmla="*/ 4 h 7"/>
                      <a:gd name="T2" fmla="*/ 0 w 26"/>
                      <a:gd name="T3" fmla="*/ 0 h 7"/>
                      <a:gd name="T4" fmla="*/ 0 w 26"/>
                      <a:gd name="T5" fmla="*/ 2 h 7"/>
                      <a:gd name="T6" fmla="*/ 26 w 26"/>
                      <a:gd name="T7" fmla="*/ 7 h 7"/>
                      <a:gd name="T8" fmla="*/ 26 w 26"/>
                      <a:gd name="T9" fmla="*/ 4 h 7"/>
                    </a:gdLst>
                    <a:ahLst/>
                    <a:cxnLst>
                      <a:cxn ang="0">
                        <a:pos x="T0" y="T1"/>
                      </a:cxn>
                      <a:cxn ang="0">
                        <a:pos x="T2" y="T3"/>
                      </a:cxn>
                      <a:cxn ang="0">
                        <a:pos x="T4" y="T5"/>
                      </a:cxn>
                      <a:cxn ang="0">
                        <a:pos x="T6" y="T7"/>
                      </a:cxn>
                      <a:cxn ang="0">
                        <a:pos x="T8" y="T9"/>
                      </a:cxn>
                    </a:cxnLst>
                    <a:rect l="0" t="0" r="r" b="b"/>
                    <a:pathLst>
                      <a:path w="26" h="7">
                        <a:moveTo>
                          <a:pt x="26" y="4"/>
                        </a:moveTo>
                        <a:lnTo>
                          <a:pt x="0" y="0"/>
                        </a:lnTo>
                        <a:lnTo>
                          <a:pt x="0" y="2"/>
                        </a:lnTo>
                        <a:lnTo>
                          <a:pt x="26" y="7"/>
                        </a:lnTo>
                        <a:lnTo>
                          <a:pt x="26" y="4"/>
                        </a:lnTo>
                        <a:close/>
                      </a:path>
                    </a:pathLst>
                  </a:custGeom>
                  <a:solidFill>
                    <a:srgbClr val="01AAE5"/>
                  </a:solidFill>
                  <a:ln>
                    <a:noFill/>
                  </a:ln>
                  <a:extLst/>
                </p:spPr>
                <p:txBody>
                  <a:bodyPr/>
                  <a:lstStyle/>
                  <a:p>
                    <a:pPr eaLnBrk="1" hangingPunct="1">
                      <a:defRPr/>
                    </a:pPr>
                    <a:endParaRPr lang="zh-CN" altLang="en-US" sz="1050"/>
                  </a:p>
                </p:txBody>
              </p:sp>
              <p:sp>
                <p:nvSpPr>
                  <p:cNvPr id="1533" name="Freeform 1794"/>
                  <p:cNvSpPr>
                    <a:spLocks/>
                  </p:cNvSpPr>
                  <p:nvPr/>
                </p:nvSpPr>
                <p:spPr bwMode="auto">
                  <a:xfrm>
                    <a:off x="10190" y="2430"/>
                    <a:ext cx="17" cy="9"/>
                  </a:xfrm>
                  <a:custGeom>
                    <a:avLst/>
                    <a:gdLst>
                      <a:gd name="T0" fmla="*/ 22 w 22"/>
                      <a:gd name="T1" fmla="*/ 2 h 4"/>
                      <a:gd name="T2" fmla="*/ 0 w 22"/>
                      <a:gd name="T3" fmla="*/ 0 h 4"/>
                      <a:gd name="T4" fmla="*/ 0 w 22"/>
                      <a:gd name="T5" fmla="*/ 0 h 4"/>
                      <a:gd name="T6" fmla="*/ 22 w 22"/>
                      <a:gd name="T7" fmla="*/ 4 h 4"/>
                      <a:gd name="T8" fmla="*/ 22 w 22"/>
                      <a:gd name="T9" fmla="*/ 2 h 4"/>
                    </a:gdLst>
                    <a:ahLst/>
                    <a:cxnLst>
                      <a:cxn ang="0">
                        <a:pos x="T0" y="T1"/>
                      </a:cxn>
                      <a:cxn ang="0">
                        <a:pos x="T2" y="T3"/>
                      </a:cxn>
                      <a:cxn ang="0">
                        <a:pos x="T4" y="T5"/>
                      </a:cxn>
                      <a:cxn ang="0">
                        <a:pos x="T6" y="T7"/>
                      </a:cxn>
                      <a:cxn ang="0">
                        <a:pos x="T8" y="T9"/>
                      </a:cxn>
                    </a:cxnLst>
                    <a:rect l="0" t="0" r="r" b="b"/>
                    <a:pathLst>
                      <a:path w="22" h="4">
                        <a:moveTo>
                          <a:pt x="22" y="2"/>
                        </a:moveTo>
                        <a:lnTo>
                          <a:pt x="0" y="0"/>
                        </a:lnTo>
                        <a:lnTo>
                          <a:pt x="0" y="0"/>
                        </a:lnTo>
                        <a:lnTo>
                          <a:pt x="22" y="4"/>
                        </a:lnTo>
                        <a:lnTo>
                          <a:pt x="22" y="2"/>
                        </a:lnTo>
                        <a:close/>
                      </a:path>
                    </a:pathLst>
                  </a:custGeom>
                  <a:solidFill>
                    <a:srgbClr val="01AAE5"/>
                  </a:solidFill>
                  <a:ln>
                    <a:noFill/>
                  </a:ln>
                  <a:extLst/>
                </p:spPr>
                <p:txBody>
                  <a:bodyPr/>
                  <a:lstStyle/>
                  <a:p>
                    <a:pPr eaLnBrk="1" hangingPunct="1">
                      <a:defRPr/>
                    </a:pPr>
                    <a:endParaRPr lang="zh-CN" altLang="en-US" sz="1050"/>
                  </a:p>
                </p:txBody>
              </p:sp>
              <p:sp>
                <p:nvSpPr>
                  <p:cNvPr id="1534" name="Rectangle 1795"/>
                  <p:cNvSpPr>
                    <a:spLocks noChangeArrowheads="1"/>
                  </p:cNvSpPr>
                  <p:nvPr/>
                </p:nvSpPr>
                <p:spPr bwMode="auto">
                  <a:xfrm>
                    <a:off x="10190" y="2491"/>
                    <a:ext cx="8" cy="9"/>
                  </a:xfrm>
                  <a:prstGeom prst="rect">
                    <a:avLst/>
                  </a:prstGeom>
                  <a:solidFill>
                    <a:srgbClr val="01AAE5"/>
                  </a:solidFill>
                  <a:ln>
                    <a:noFill/>
                  </a:ln>
                  <a:extLst/>
                </p:spPr>
                <p:txBody>
                  <a:bodyPr/>
                  <a:lstStyle/>
                  <a:p>
                    <a:pPr eaLnBrk="1" hangingPunct="1">
                      <a:defRPr/>
                    </a:pPr>
                    <a:endParaRPr lang="zh-CN" altLang="en-US" sz="1050"/>
                  </a:p>
                </p:txBody>
              </p:sp>
              <p:sp>
                <p:nvSpPr>
                  <p:cNvPr id="1535" name="Freeform 1796"/>
                  <p:cNvSpPr>
                    <a:spLocks/>
                  </p:cNvSpPr>
                  <p:nvPr/>
                </p:nvSpPr>
                <p:spPr bwMode="auto">
                  <a:xfrm>
                    <a:off x="10190" y="2438"/>
                    <a:ext cx="17" cy="9"/>
                  </a:xfrm>
                  <a:custGeom>
                    <a:avLst/>
                    <a:gdLst>
                      <a:gd name="T0" fmla="*/ 19 w 19"/>
                      <a:gd name="T1" fmla="*/ 3 h 5"/>
                      <a:gd name="T2" fmla="*/ 0 w 19"/>
                      <a:gd name="T3" fmla="*/ 0 h 5"/>
                      <a:gd name="T4" fmla="*/ 0 w 19"/>
                      <a:gd name="T5" fmla="*/ 3 h 5"/>
                      <a:gd name="T6" fmla="*/ 19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0" y="3"/>
                        </a:lnTo>
                        <a:lnTo>
                          <a:pt x="19"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1536" name="Freeform 1797"/>
                  <p:cNvSpPr>
                    <a:spLocks/>
                  </p:cNvSpPr>
                  <p:nvPr/>
                </p:nvSpPr>
                <p:spPr bwMode="auto">
                  <a:xfrm>
                    <a:off x="10190" y="2447"/>
                    <a:ext cx="17" cy="0"/>
                  </a:xfrm>
                  <a:custGeom>
                    <a:avLst/>
                    <a:gdLst>
                      <a:gd name="T0" fmla="*/ 19 w 19"/>
                      <a:gd name="T1" fmla="*/ 3 h 5"/>
                      <a:gd name="T2" fmla="*/ 0 w 19"/>
                      <a:gd name="T3" fmla="*/ 0 h 5"/>
                      <a:gd name="T4" fmla="*/ 3 w 19"/>
                      <a:gd name="T5" fmla="*/ 3 h 5"/>
                      <a:gd name="T6" fmla="*/ 17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3" y="3"/>
                        </a:lnTo>
                        <a:lnTo>
                          <a:pt x="17"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1537" name="Freeform 1798"/>
                  <p:cNvSpPr>
                    <a:spLocks/>
                  </p:cNvSpPr>
                  <p:nvPr/>
                </p:nvSpPr>
                <p:spPr bwMode="auto">
                  <a:xfrm>
                    <a:off x="10182" y="2412"/>
                    <a:ext cx="42" cy="9"/>
                  </a:xfrm>
                  <a:custGeom>
                    <a:avLst/>
                    <a:gdLst>
                      <a:gd name="T0" fmla="*/ 35 w 35"/>
                      <a:gd name="T1" fmla="*/ 7 h 10"/>
                      <a:gd name="T2" fmla="*/ 0 w 35"/>
                      <a:gd name="T3" fmla="*/ 0 h 10"/>
                      <a:gd name="T4" fmla="*/ 0 w 35"/>
                      <a:gd name="T5" fmla="*/ 2 h 10"/>
                      <a:gd name="T6" fmla="*/ 33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2"/>
                        </a:lnTo>
                        <a:lnTo>
                          <a:pt x="33"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1538" name="Freeform 1799"/>
                  <p:cNvSpPr>
                    <a:spLocks/>
                  </p:cNvSpPr>
                  <p:nvPr/>
                </p:nvSpPr>
                <p:spPr bwMode="auto">
                  <a:xfrm>
                    <a:off x="10190" y="2447"/>
                    <a:ext cx="8" cy="0"/>
                  </a:xfrm>
                  <a:custGeom>
                    <a:avLst/>
                    <a:gdLst>
                      <a:gd name="T0" fmla="*/ 14 w 14"/>
                      <a:gd name="T1" fmla="*/ 2 h 5"/>
                      <a:gd name="T2" fmla="*/ 0 w 14"/>
                      <a:gd name="T3" fmla="*/ 0 h 5"/>
                      <a:gd name="T4" fmla="*/ 0 w 14"/>
                      <a:gd name="T5" fmla="*/ 2 h 5"/>
                      <a:gd name="T6" fmla="*/ 14 w 14"/>
                      <a:gd name="T7" fmla="*/ 5 h 5"/>
                      <a:gd name="T8" fmla="*/ 14 w 14"/>
                      <a:gd name="T9" fmla="*/ 2 h 5"/>
                    </a:gdLst>
                    <a:ahLst/>
                    <a:cxnLst>
                      <a:cxn ang="0">
                        <a:pos x="T0" y="T1"/>
                      </a:cxn>
                      <a:cxn ang="0">
                        <a:pos x="T2" y="T3"/>
                      </a:cxn>
                      <a:cxn ang="0">
                        <a:pos x="T4" y="T5"/>
                      </a:cxn>
                      <a:cxn ang="0">
                        <a:pos x="T6" y="T7"/>
                      </a:cxn>
                      <a:cxn ang="0">
                        <a:pos x="T8" y="T9"/>
                      </a:cxn>
                    </a:cxnLst>
                    <a:rect l="0" t="0" r="r" b="b"/>
                    <a:pathLst>
                      <a:path w="14" h="5">
                        <a:moveTo>
                          <a:pt x="14" y="2"/>
                        </a:moveTo>
                        <a:lnTo>
                          <a:pt x="0" y="0"/>
                        </a:lnTo>
                        <a:lnTo>
                          <a:pt x="0" y="2"/>
                        </a:lnTo>
                        <a:lnTo>
                          <a:pt x="14" y="5"/>
                        </a:lnTo>
                        <a:lnTo>
                          <a:pt x="14" y="2"/>
                        </a:lnTo>
                        <a:close/>
                      </a:path>
                    </a:pathLst>
                  </a:custGeom>
                  <a:solidFill>
                    <a:srgbClr val="01AAE5"/>
                  </a:solidFill>
                  <a:ln>
                    <a:noFill/>
                  </a:ln>
                  <a:extLst/>
                </p:spPr>
                <p:txBody>
                  <a:bodyPr/>
                  <a:lstStyle/>
                  <a:p>
                    <a:pPr eaLnBrk="1" hangingPunct="1">
                      <a:defRPr/>
                    </a:pPr>
                    <a:endParaRPr lang="zh-CN" altLang="en-US" sz="1050"/>
                  </a:p>
                </p:txBody>
              </p:sp>
              <p:sp>
                <p:nvSpPr>
                  <p:cNvPr id="1539" name="Freeform 1800"/>
                  <p:cNvSpPr>
                    <a:spLocks/>
                  </p:cNvSpPr>
                  <p:nvPr/>
                </p:nvSpPr>
                <p:spPr bwMode="auto">
                  <a:xfrm>
                    <a:off x="10182" y="2421"/>
                    <a:ext cx="33" cy="9"/>
                  </a:xfrm>
                  <a:custGeom>
                    <a:avLst/>
                    <a:gdLst>
                      <a:gd name="T0" fmla="*/ 28 w 28"/>
                      <a:gd name="T1" fmla="*/ 5 h 7"/>
                      <a:gd name="T2" fmla="*/ 0 w 28"/>
                      <a:gd name="T3" fmla="*/ 0 h 7"/>
                      <a:gd name="T4" fmla="*/ 0 w 28"/>
                      <a:gd name="T5" fmla="*/ 2 h 7"/>
                      <a:gd name="T6" fmla="*/ 28 w 28"/>
                      <a:gd name="T7" fmla="*/ 7 h 7"/>
                      <a:gd name="T8" fmla="*/ 28 w 28"/>
                      <a:gd name="T9" fmla="*/ 5 h 7"/>
                    </a:gdLst>
                    <a:ahLst/>
                    <a:cxnLst>
                      <a:cxn ang="0">
                        <a:pos x="T0" y="T1"/>
                      </a:cxn>
                      <a:cxn ang="0">
                        <a:pos x="T2" y="T3"/>
                      </a:cxn>
                      <a:cxn ang="0">
                        <a:pos x="T4" y="T5"/>
                      </a:cxn>
                      <a:cxn ang="0">
                        <a:pos x="T6" y="T7"/>
                      </a:cxn>
                      <a:cxn ang="0">
                        <a:pos x="T8" y="T9"/>
                      </a:cxn>
                    </a:cxnLst>
                    <a:rect l="0" t="0" r="r" b="b"/>
                    <a:pathLst>
                      <a:path w="28" h="7">
                        <a:moveTo>
                          <a:pt x="28" y="5"/>
                        </a:moveTo>
                        <a:lnTo>
                          <a:pt x="0" y="0"/>
                        </a:lnTo>
                        <a:lnTo>
                          <a:pt x="0" y="2"/>
                        </a:lnTo>
                        <a:lnTo>
                          <a:pt x="28" y="7"/>
                        </a:lnTo>
                        <a:lnTo>
                          <a:pt x="28" y="5"/>
                        </a:lnTo>
                        <a:close/>
                      </a:path>
                    </a:pathLst>
                  </a:custGeom>
                  <a:solidFill>
                    <a:srgbClr val="01AAE5"/>
                  </a:solidFill>
                  <a:ln>
                    <a:noFill/>
                  </a:ln>
                  <a:extLst/>
                </p:spPr>
                <p:txBody>
                  <a:bodyPr/>
                  <a:lstStyle/>
                  <a:p>
                    <a:pPr eaLnBrk="1" hangingPunct="1">
                      <a:defRPr/>
                    </a:pPr>
                    <a:endParaRPr lang="zh-CN" altLang="en-US" sz="1050"/>
                  </a:p>
                </p:txBody>
              </p:sp>
              <p:sp>
                <p:nvSpPr>
                  <p:cNvPr id="1540" name="Freeform 1801"/>
                  <p:cNvSpPr>
                    <a:spLocks/>
                  </p:cNvSpPr>
                  <p:nvPr/>
                </p:nvSpPr>
                <p:spPr bwMode="auto">
                  <a:xfrm>
                    <a:off x="10182" y="2421"/>
                    <a:ext cx="33" cy="0"/>
                  </a:xfrm>
                  <a:custGeom>
                    <a:avLst/>
                    <a:gdLst>
                      <a:gd name="T0" fmla="*/ 33 w 33"/>
                      <a:gd name="T1" fmla="*/ 5 h 7"/>
                      <a:gd name="T2" fmla="*/ 0 w 33"/>
                      <a:gd name="T3" fmla="*/ 0 h 7"/>
                      <a:gd name="T4" fmla="*/ 2 w 33"/>
                      <a:gd name="T5" fmla="*/ 0 h 7"/>
                      <a:gd name="T6" fmla="*/ 30 w 33"/>
                      <a:gd name="T7" fmla="*/ 7 h 7"/>
                      <a:gd name="T8" fmla="*/ 33 w 33"/>
                      <a:gd name="T9" fmla="*/ 5 h 7"/>
                    </a:gdLst>
                    <a:ahLst/>
                    <a:cxnLst>
                      <a:cxn ang="0">
                        <a:pos x="T0" y="T1"/>
                      </a:cxn>
                      <a:cxn ang="0">
                        <a:pos x="T2" y="T3"/>
                      </a:cxn>
                      <a:cxn ang="0">
                        <a:pos x="T4" y="T5"/>
                      </a:cxn>
                      <a:cxn ang="0">
                        <a:pos x="T6" y="T7"/>
                      </a:cxn>
                      <a:cxn ang="0">
                        <a:pos x="T8" y="T9"/>
                      </a:cxn>
                    </a:cxnLst>
                    <a:rect l="0" t="0" r="r" b="b"/>
                    <a:pathLst>
                      <a:path w="33" h="7">
                        <a:moveTo>
                          <a:pt x="33" y="5"/>
                        </a:moveTo>
                        <a:lnTo>
                          <a:pt x="0" y="0"/>
                        </a:lnTo>
                        <a:lnTo>
                          <a:pt x="2" y="0"/>
                        </a:lnTo>
                        <a:lnTo>
                          <a:pt x="30" y="7"/>
                        </a:lnTo>
                        <a:lnTo>
                          <a:pt x="33" y="5"/>
                        </a:lnTo>
                        <a:close/>
                      </a:path>
                    </a:pathLst>
                  </a:custGeom>
                  <a:solidFill>
                    <a:srgbClr val="01AAE5"/>
                  </a:solidFill>
                  <a:ln>
                    <a:noFill/>
                  </a:ln>
                  <a:extLst/>
                </p:spPr>
                <p:txBody>
                  <a:bodyPr/>
                  <a:lstStyle/>
                  <a:p>
                    <a:pPr eaLnBrk="1" hangingPunct="1">
                      <a:defRPr/>
                    </a:pPr>
                    <a:endParaRPr lang="zh-CN" altLang="en-US" sz="1050"/>
                  </a:p>
                </p:txBody>
              </p:sp>
              <p:sp>
                <p:nvSpPr>
                  <p:cNvPr id="1541" name="Rectangle 1802"/>
                  <p:cNvSpPr>
                    <a:spLocks noChangeArrowheads="1"/>
                  </p:cNvSpPr>
                  <p:nvPr/>
                </p:nvSpPr>
                <p:spPr bwMode="auto">
                  <a:xfrm>
                    <a:off x="10190" y="2482"/>
                    <a:ext cx="8" cy="0"/>
                  </a:xfrm>
                  <a:prstGeom prst="rect">
                    <a:avLst/>
                  </a:prstGeom>
                  <a:solidFill>
                    <a:srgbClr val="01AAE5"/>
                  </a:solidFill>
                  <a:ln>
                    <a:noFill/>
                  </a:ln>
                  <a:extLst/>
                </p:spPr>
                <p:txBody>
                  <a:bodyPr/>
                  <a:lstStyle/>
                  <a:p>
                    <a:pPr eaLnBrk="1" hangingPunct="1">
                      <a:defRPr/>
                    </a:pPr>
                    <a:endParaRPr lang="zh-CN" altLang="en-US" sz="1050"/>
                  </a:p>
                </p:txBody>
              </p:sp>
              <p:sp>
                <p:nvSpPr>
                  <p:cNvPr id="1542" name="Freeform 1803"/>
                  <p:cNvSpPr>
                    <a:spLocks/>
                  </p:cNvSpPr>
                  <p:nvPr/>
                </p:nvSpPr>
                <p:spPr bwMode="auto">
                  <a:xfrm>
                    <a:off x="10182" y="2403"/>
                    <a:ext cx="42" cy="9"/>
                  </a:xfrm>
                  <a:custGeom>
                    <a:avLst/>
                    <a:gdLst>
                      <a:gd name="T0" fmla="*/ 35 w 35"/>
                      <a:gd name="T1" fmla="*/ 7 h 10"/>
                      <a:gd name="T2" fmla="*/ 0 w 35"/>
                      <a:gd name="T3" fmla="*/ 0 h 10"/>
                      <a:gd name="T4" fmla="*/ 0 w 35"/>
                      <a:gd name="T5" fmla="*/ 3 h 10"/>
                      <a:gd name="T6" fmla="*/ 35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3"/>
                        </a:lnTo>
                        <a:lnTo>
                          <a:pt x="35"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1543" name="Freeform 1804"/>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544" name="Freeform 1805"/>
                  <p:cNvSpPr>
                    <a:spLocks/>
                  </p:cNvSpPr>
                  <p:nvPr/>
                </p:nvSpPr>
                <p:spPr bwMode="auto">
                  <a:xfrm>
                    <a:off x="10182" y="2299"/>
                    <a:ext cx="75" cy="35"/>
                  </a:xfrm>
                  <a:custGeom>
                    <a:avLst/>
                    <a:gdLst>
                      <a:gd name="T0" fmla="*/ 69 w 69"/>
                      <a:gd name="T1" fmla="*/ 24 h 26"/>
                      <a:gd name="T2" fmla="*/ 2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2"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1545" name="Rectangle 1806"/>
                  <p:cNvSpPr>
                    <a:spLocks noChangeArrowheads="1"/>
                  </p:cNvSpPr>
                  <p:nvPr/>
                </p:nvSpPr>
                <p:spPr bwMode="auto">
                  <a:xfrm>
                    <a:off x="10190" y="2491"/>
                    <a:ext cx="8" cy="0"/>
                  </a:xfrm>
                  <a:prstGeom prst="rect">
                    <a:avLst/>
                  </a:prstGeom>
                  <a:solidFill>
                    <a:srgbClr val="01AAE5"/>
                  </a:solidFill>
                  <a:ln>
                    <a:noFill/>
                  </a:ln>
                  <a:extLst/>
                </p:spPr>
                <p:txBody>
                  <a:bodyPr/>
                  <a:lstStyle/>
                  <a:p>
                    <a:pPr eaLnBrk="1" hangingPunct="1">
                      <a:defRPr/>
                    </a:pPr>
                    <a:endParaRPr lang="zh-CN" altLang="en-US" sz="1050"/>
                  </a:p>
                </p:txBody>
              </p:sp>
              <p:sp>
                <p:nvSpPr>
                  <p:cNvPr id="1546" name="Freeform 1807"/>
                  <p:cNvSpPr>
                    <a:spLocks/>
                  </p:cNvSpPr>
                  <p:nvPr/>
                </p:nvSpPr>
                <p:spPr bwMode="auto">
                  <a:xfrm>
                    <a:off x="10190" y="2464"/>
                    <a:ext cx="8" cy="0"/>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1547" name="Freeform 1808"/>
                  <p:cNvSpPr>
                    <a:spLocks/>
                  </p:cNvSpPr>
                  <p:nvPr/>
                </p:nvSpPr>
                <p:spPr bwMode="auto">
                  <a:xfrm>
                    <a:off x="10190" y="2456"/>
                    <a:ext cx="8" cy="0"/>
                  </a:xfrm>
                  <a:custGeom>
                    <a:avLst/>
                    <a:gdLst>
                      <a:gd name="T0" fmla="*/ 12 w 12"/>
                      <a:gd name="T1" fmla="*/ 2 h 2"/>
                      <a:gd name="T2" fmla="*/ 0 w 12"/>
                      <a:gd name="T3" fmla="*/ 0 h 2"/>
                      <a:gd name="T4" fmla="*/ 0 w 12"/>
                      <a:gd name="T5" fmla="*/ 0 h 2"/>
                      <a:gd name="T6" fmla="*/ 12 w 12"/>
                      <a:gd name="T7" fmla="*/ 2 h 2"/>
                      <a:gd name="T8" fmla="*/ 12 w 12"/>
                      <a:gd name="T9" fmla="*/ 2 h 2"/>
                    </a:gdLst>
                    <a:ahLst/>
                    <a:cxnLst>
                      <a:cxn ang="0">
                        <a:pos x="T0" y="T1"/>
                      </a:cxn>
                      <a:cxn ang="0">
                        <a:pos x="T2" y="T3"/>
                      </a:cxn>
                      <a:cxn ang="0">
                        <a:pos x="T4" y="T5"/>
                      </a:cxn>
                      <a:cxn ang="0">
                        <a:pos x="T6" y="T7"/>
                      </a:cxn>
                      <a:cxn ang="0">
                        <a:pos x="T8" y="T9"/>
                      </a:cxn>
                    </a:cxnLst>
                    <a:rect l="0" t="0" r="r" b="b"/>
                    <a:pathLst>
                      <a:path w="12" h="2">
                        <a:moveTo>
                          <a:pt x="12" y="2"/>
                        </a:moveTo>
                        <a:lnTo>
                          <a:pt x="0" y="0"/>
                        </a:lnTo>
                        <a:lnTo>
                          <a:pt x="0" y="0"/>
                        </a:lnTo>
                        <a:lnTo>
                          <a:pt x="12" y="2"/>
                        </a:lnTo>
                        <a:lnTo>
                          <a:pt x="12" y="2"/>
                        </a:lnTo>
                        <a:close/>
                      </a:path>
                    </a:pathLst>
                  </a:custGeom>
                  <a:solidFill>
                    <a:srgbClr val="01AAE5"/>
                  </a:solidFill>
                  <a:ln>
                    <a:noFill/>
                  </a:ln>
                  <a:extLst/>
                </p:spPr>
                <p:txBody>
                  <a:bodyPr/>
                  <a:lstStyle/>
                  <a:p>
                    <a:pPr eaLnBrk="1" hangingPunct="1">
                      <a:defRPr/>
                    </a:pPr>
                    <a:endParaRPr lang="zh-CN" altLang="en-US" sz="1050"/>
                  </a:p>
                </p:txBody>
              </p:sp>
              <p:sp>
                <p:nvSpPr>
                  <p:cNvPr id="1548" name="Freeform 1809"/>
                  <p:cNvSpPr>
                    <a:spLocks/>
                  </p:cNvSpPr>
                  <p:nvPr/>
                </p:nvSpPr>
                <p:spPr bwMode="auto">
                  <a:xfrm>
                    <a:off x="10190" y="2464"/>
                    <a:ext cx="8" cy="9"/>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1549" name="Freeform 1810"/>
                  <p:cNvSpPr>
                    <a:spLocks/>
                  </p:cNvSpPr>
                  <p:nvPr/>
                </p:nvSpPr>
                <p:spPr bwMode="auto">
                  <a:xfrm>
                    <a:off x="10190" y="2447"/>
                    <a:ext cx="8" cy="9"/>
                  </a:xfrm>
                  <a:custGeom>
                    <a:avLst/>
                    <a:gdLst>
                      <a:gd name="T0" fmla="*/ 12 w 12"/>
                      <a:gd name="T1" fmla="*/ 0 h 2"/>
                      <a:gd name="T2" fmla="*/ 0 w 12"/>
                      <a:gd name="T3" fmla="*/ 0 h 2"/>
                      <a:gd name="T4" fmla="*/ 0 w 12"/>
                      <a:gd name="T5" fmla="*/ 0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0"/>
                        </a:lnTo>
                        <a:lnTo>
                          <a:pt x="0" y="0"/>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550" name="Freeform 1811"/>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551" name="Freeform 1812"/>
                  <p:cNvSpPr>
                    <a:spLocks/>
                  </p:cNvSpPr>
                  <p:nvPr/>
                </p:nvSpPr>
                <p:spPr bwMode="auto">
                  <a:xfrm>
                    <a:off x="10174" y="2342"/>
                    <a:ext cx="75" cy="17"/>
                  </a:xfrm>
                  <a:custGeom>
                    <a:avLst/>
                    <a:gdLst>
                      <a:gd name="T0" fmla="*/ 68 w 68"/>
                      <a:gd name="T1" fmla="*/ 19 h 19"/>
                      <a:gd name="T2" fmla="*/ 0 w 68"/>
                      <a:gd name="T3" fmla="*/ 0 h 19"/>
                      <a:gd name="T4" fmla="*/ 0 w 68"/>
                      <a:gd name="T5" fmla="*/ 0 h 19"/>
                      <a:gd name="T6" fmla="*/ 68 w 68"/>
                      <a:gd name="T7" fmla="*/ 19 h 19"/>
                      <a:gd name="T8" fmla="*/ 68 w 68"/>
                      <a:gd name="T9" fmla="*/ 19 h 19"/>
                    </a:gdLst>
                    <a:ahLst/>
                    <a:cxnLst>
                      <a:cxn ang="0">
                        <a:pos x="T0" y="T1"/>
                      </a:cxn>
                      <a:cxn ang="0">
                        <a:pos x="T2" y="T3"/>
                      </a:cxn>
                      <a:cxn ang="0">
                        <a:pos x="T4" y="T5"/>
                      </a:cxn>
                      <a:cxn ang="0">
                        <a:pos x="T6" y="T7"/>
                      </a:cxn>
                      <a:cxn ang="0">
                        <a:pos x="T8" y="T9"/>
                      </a:cxn>
                    </a:cxnLst>
                    <a:rect l="0" t="0" r="r" b="b"/>
                    <a:pathLst>
                      <a:path w="68" h="19">
                        <a:moveTo>
                          <a:pt x="68" y="19"/>
                        </a:moveTo>
                        <a:lnTo>
                          <a:pt x="0" y="0"/>
                        </a:lnTo>
                        <a:lnTo>
                          <a:pt x="0" y="0"/>
                        </a:lnTo>
                        <a:lnTo>
                          <a:pt x="68" y="19"/>
                        </a:lnTo>
                        <a:lnTo>
                          <a:pt x="68" y="19"/>
                        </a:lnTo>
                        <a:close/>
                      </a:path>
                    </a:pathLst>
                  </a:custGeom>
                  <a:solidFill>
                    <a:srgbClr val="01AAE5"/>
                  </a:solidFill>
                  <a:ln>
                    <a:noFill/>
                  </a:ln>
                  <a:extLst/>
                </p:spPr>
                <p:txBody>
                  <a:bodyPr/>
                  <a:lstStyle/>
                  <a:p>
                    <a:pPr eaLnBrk="1" hangingPunct="1">
                      <a:defRPr/>
                    </a:pPr>
                    <a:endParaRPr lang="zh-CN" altLang="en-US" sz="1050"/>
                  </a:p>
                </p:txBody>
              </p:sp>
              <p:sp>
                <p:nvSpPr>
                  <p:cNvPr id="1552" name="Freeform 1813"/>
                  <p:cNvSpPr>
                    <a:spLocks/>
                  </p:cNvSpPr>
                  <p:nvPr/>
                </p:nvSpPr>
                <p:spPr bwMode="auto">
                  <a:xfrm>
                    <a:off x="10174" y="2334"/>
                    <a:ext cx="75" cy="26"/>
                  </a:xfrm>
                  <a:custGeom>
                    <a:avLst/>
                    <a:gdLst>
                      <a:gd name="T0" fmla="*/ 71 w 71"/>
                      <a:gd name="T1" fmla="*/ 21 h 23"/>
                      <a:gd name="T2" fmla="*/ 0 w 71"/>
                      <a:gd name="T3" fmla="*/ 0 h 23"/>
                      <a:gd name="T4" fmla="*/ 0 w 71"/>
                      <a:gd name="T5" fmla="*/ 2 h 23"/>
                      <a:gd name="T6" fmla="*/ 68 w 71"/>
                      <a:gd name="T7" fmla="*/ 23 h 23"/>
                      <a:gd name="T8" fmla="*/ 71 w 71"/>
                      <a:gd name="T9" fmla="*/ 21 h 23"/>
                    </a:gdLst>
                    <a:ahLst/>
                    <a:cxnLst>
                      <a:cxn ang="0">
                        <a:pos x="T0" y="T1"/>
                      </a:cxn>
                      <a:cxn ang="0">
                        <a:pos x="T2" y="T3"/>
                      </a:cxn>
                      <a:cxn ang="0">
                        <a:pos x="T4" y="T5"/>
                      </a:cxn>
                      <a:cxn ang="0">
                        <a:pos x="T6" y="T7"/>
                      </a:cxn>
                      <a:cxn ang="0">
                        <a:pos x="T8" y="T9"/>
                      </a:cxn>
                    </a:cxnLst>
                    <a:rect l="0" t="0" r="r" b="b"/>
                    <a:pathLst>
                      <a:path w="71" h="23">
                        <a:moveTo>
                          <a:pt x="71" y="21"/>
                        </a:moveTo>
                        <a:lnTo>
                          <a:pt x="0" y="0"/>
                        </a:lnTo>
                        <a:lnTo>
                          <a:pt x="0" y="2"/>
                        </a:lnTo>
                        <a:lnTo>
                          <a:pt x="68"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1553" name="Freeform 1814"/>
                  <p:cNvSpPr>
                    <a:spLocks/>
                  </p:cNvSpPr>
                  <p:nvPr/>
                </p:nvSpPr>
                <p:spPr bwMode="auto">
                  <a:xfrm>
                    <a:off x="10174" y="2351"/>
                    <a:ext cx="67" cy="17"/>
                  </a:xfrm>
                  <a:custGeom>
                    <a:avLst/>
                    <a:gdLst>
                      <a:gd name="T0" fmla="*/ 66 w 66"/>
                      <a:gd name="T1" fmla="*/ 19 h 19"/>
                      <a:gd name="T2" fmla="*/ 0 w 66"/>
                      <a:gd name="T3" fmla="*/ 0 h 19"/>
                      <a:gd name="T4" fmla="*/ 0 w 66"/>
                      <a:gd name="T5" fmla="*/ 2 h 19"/>
                      <a:gd name="T6" fmla="*/ 66 w 66"/>
                      <a:gd name="T7" fmla="*/ 19 h 19"/>
                      <a:gd name="T8" fmla="*/ 66 w 66"/>
                      <a:gd name="T9" fmla="*/ 19 h 19"/>
                    </a:gdLst>
                    <a:ahLst/>
                    <a:cxnLst>
                      <a:cxn ang="0">
                        <a:pos x="T0" y="T1"/>
                      </a:cxn>
                      <a:cxn ang="0">
                        <a:pos x="T2" y="T3"/>
                      </a:cxn>
                      <a:cxn ang="0">
                        <a:pos x="T4" y="T5"/>
                      </a:cxn>
                      <a:cxn ang="0">
                        <a:pos x="T6" y="T7"/>
                      </a:cxn>
                      <a:cxn ang="0">
                        <a:pos x="T8" y="T9"/>
                      </a:cxn>
                    </a:cxnLst>
                    <a:rect l="0" t="0" r="r" b="b"/>
                    <a:pathLst>
                      <a:path w="66" h="19">
                        <a:moveTo>
                          <a:pt x="66" y="19"/>
                        </a:moveTo>
                        <a:lnTo>
                          <a:pt x="0" y="0"/>
                        </a:lnTo>
                        <a:lnTo>
                          <a:pt x="0" y="2"/>
                        </a:lnTo>
                        <a:lnTo>
                          <a:pt x="66" y="19"/>
                        </a:lnTo>
                        <a:lnTo>
                          <a:pt x="66" y="19"/>
                        </a:lnTo>
                        <a:close/>
                      </a:path>
                    </a:pathLst>
                  </a:custGeom>
                  <a:solidFill>
                    <a:srgbClr val="01AAE5"/>
                  </a:solidFill>
                  <a:ln>
                    <a:noFill/>
                  </a:ln>
                  <a:extLst/>
                </p:spPr>
                <p:txBody>
                  <a:bodyPr/>
                  <a:lstStyle/>
                  <a:p>
                    <a:pPr eaLnBrk="1" hangingPunct="1">
                      <a:defRPr/>
                    </a:pPr>
                    <a:endParaRPr lang="zh-CN" altLang="en-US" sz="1050"/>
                  </a:p>
                </p:txBody>
              </p:sp>
              <p:sp>
                <p:nvSpPr>
                  <p:cNvPr id="1554" name="Freeform 1815"/>
                  <p:cNvSpPr>
                    <a:spLocks/>
                  </p:cNvSpPr>
                  <p:nvPr/>
                </p:nvSpPr>
                <p:spPr bwMode="auto">
                  <a:xfrm>
                    <a:off x="10174" y="2334"/>
                    <a:ext cx="75" cy="26"/>
                  </a:xfrm>
                  <a:custGeom>
                    <a:avLst/>
                    <a:gdLst>
                      <a:gd name="T0" fmla="*/ 69 w 69"/>
                      <a:gd name="T1" fmla="*/ 21 h 24"/>
                      <a:gd name="T2" fmla="*/ 0 w 69"/>
                      <a:gd name="T3" fmla="*/ 0 h 24"/>
                      <a:gd name="T4" fmla="*/ 0 w 69"/>
                      <a:gd name="T5" fmla="*/ 2 h 24"/>
                      <a:gd name="T6" fmla="*/ 69 w 69"/>
                      <a:gd name="T7" fmla="*/ 24 h 24"/>
                      <a:gd name="T8" fmla="*/ 69 w 69"/>
                      <a:gd name="T9" fmla="*/ 21 h 24"/>
                    </a:gdLst>
                    <a:ahLst/>
                    <a:cxnLst>
                      <a:cxn ang="0">
                        <a:pos x="T0" y="T1"/>
                      </a:cxn>
                      <a:cxn ang="0">
                        <a:pos x="T2" y="T3"/>
                      </a:cxn>
                      <a:cxn ang="0">
                        <a:pos x="T4" y="T5"/>
                      </a:cxn>
                      <a:cxn ang="0">
                        <a:pos x="T6" y="T7"/>
                      </a:cxn>
                      <a:cxn ang="0">
                        <a:pos x="T8" y="T9"/>
                      </a:cxn>
                    </a:cxnLst>
                    <a:rect l="0" t="0" r="r" b="b"/>
                    <a:pathLst>
                      <a:path w="69" h="24">
                        <a:moveTo>
                          <a:pt x="69" y="21"/>
                        </a:moveTo>
                        <a:lnTo>
                          <a:pt x="0" y="0"/>
                        </a:lnTo>
                        <a:lnTo>
                          <a:pt x="0" y="2"/>
                        </a:lnTo>
                        <a:lnTo>
                          <a:pt x="69" y="24"/>
                        </a:lnTo>
                        <a:lnTo>
                          <a:pt x="69" y="21"/>
                        </a:lnTo>
                        <a:close/>
                      </a:path>
                    </a:pathLst>
                  </a:custGeom>
                  <a:solidFill>
                    <a:srgbClr val="01AAE5"/>
                  </a:solidFill>
                  <a:ln>
                    <a:noFill/>
                  </a:ln>
                  <a:extLst/>
                </p:spPr>
                <p:txBody>
                  <a:bodyPr/>
                  <a:lstStyle/>
                  <a:p>
                    <a:pPr eaLnBrk="1" hangingPunct="1">
                      <a:defRPr/>
                    </a:pPr>
                    <a:endParaRPr lang="zh-CN" altLang="en-US" sz="1050"/>
                  </a:p>
                </p:txBody>
              </p:sp>
              <p:sp>
                <p:nvSpPr>
                  <p:cNvPr id="1555" name="Freeform 1816"/>
                  <p:cNvSpPr>
                    <a:spLocks/>
                  </p:cNvSpPr>
                  <p:nvPr/>
                </p:nvSpPr>
                <p:spPr bwMode="auto">
                  <a:xfrm>
                    <a:off x="10182" y="2308"/>
                    <a:ext cx="75" cy="26"/>
                  </a:xfrm>
                  <a:custGeom>
                    <a:avLst/>
                    <a:gdLst>
                      <a:gd name="T0" fmla="*/ 71 w 71"/>
                      <a:gd name="T1" fmla="*/ 23 h 26"/>
                      <a:gd name="T2" fmla="*/ 2 w 71"/>
                      <a:gd name="T3" fmla="*/ 0 h 26"/>
                      <a:gd name="T4" fmla="*/ 0 w 71"/>
                      <a:gd name="T5" fmla="*/ 2 h 26"/>
                      <a:gd name="T6" fmla="*/ 71 w 71"/>
                      <a:gd name="T7" fmla="*/ 26 h 26"/>
                      <a:gd name="T8" fmla="*/ 71 w 71"/>
                      <a:gd name="T9" fmla="*/ 23 h 26"/>
                    </a:gdLst>
                    <a:ahLst/>
                    <a:cxnLst>
                      <a:cxn ang="0">
                        <a:pos x="T0" y="T1"/>
                      </a:cxn>
                      <a:cxn ang="0">
                        <a:pos x="T2" y="T3"/>
                      </a:cxn>
                      <a:cxn ang="0">
                        <a:pos x="T4" y="T5"/>
                      </a:cxn>
                      <a:cxn ang="0">
                        <a:pos x="T6" y="T7"/>
                      </a:cxn>
                      <a:cxn ang="0">
                        <a:pos x="T8" y="T9"/>
                      </a:cxn>
                    </a:cxnLst>
                    <a:rect l="0" t="0" r="r" b="b"/>
                    <a:pathLst>
                      <a:path w="71" h="26">
                        <a:moveTo>
                          <a:pt x="71" y="23"/>
                        </a:moveTo>
                        <a:lnTo>
                          <a:pt x="2" y="0"/>
                        </a:lnTo>
                        <a:lnTo>
                          <a:pt x="0" y="2"/>
                        </a:lnTo>
                        <a:lnTo>
                          <a:pt x="71" y="26"/>
                        </a:lnTo>
                        <a:lnTo>
                          <a:pt x="71" y="23"/>
                        </a:lnTo>
                        <a:close/>
                      </a:path>
                    </a:pathLst>
                  </a:custGeom>
                  <a:solidFill>
                    <a:srgbClr val="01AAE5"/>
                  </a:solidFill>
                  <a:ln>
                    <a:noFill/>
                  </a:ln>
                  <a:extLst/>
                </p:spPr>
                <p:txBody>
                  <a:bodyPr/>
                  <a:lstStyle/>
                  <a:p>
                    <a:pPr eaLnBrk="1" hangingPunct="1">
                      <a:defRPr/>
                    </a:pPr>
                    <a:endParaRPr lang="zh-CN" altLang="en-US" sz="1050"/>
                  </a:p>
                </p:txBody>
              </p:sp>
              <p:sp>
                <p:nvSpPr>
                  <p:cNvPr id="1556" name="Freeform 1817"/>
                  <p:cNvSpPr>
                    <a:spLocks/>
                  </p:cNvSpPr>
                  <p:nvPr/>
                </p:nvSpPr>
                <p:spPr bwMode="auto">
                  <a:xfrm>
                    <a:off x="10174" y="2351"/>
                    <a:ext cx="67" cy="17"/>
                  </a:xfrm>
                  <a:custGeom>
                    <a:avLst/>
                    <a:gdLst>
                      <a:gd name="T0" fmla="*/ 63 w 63"/>
                      <a:gd name="T1" fmla="*/ 19 h 19"/>
                      <a:gd name="T2" fmla="*/ 0 w 63"/>
                      <a:gd name="T3" fmla="*/ 0 h 19"/>
                      <a:gd name="T4" fmla="*/ 0 w 63"/>
                      <a:gd name="T5" fmla="*/ 3 h 19"/>
                      <a:gd name="T6" fmla="*/ 63 w 63"/>
                      <a:gd name="T7" fmla="*/ 19 h 19"/>
                      <a:gd name="T8" fmla="*/ 63 w 63"/>
                      <a:gd name="T9" fmla="*/ 19 h 19"/>
                    </a:gdLst>
                    <a:ahLst/>
                    <a:cxnLst>
                      <a:cxn ang="0">
                        <a:pos x="T0" y="T1"/>
                      </a:cxn>
                      <a:cxn ang="0">
                        <a:pos x="T2" y="T3"/>
                      </a:cxn>
                      <a:cxn ang="0">
                        <a:pos x="T4" y="T5"/>
                      </a:cxn>
                      <a:cxn ang="0">
                        <a:pos x="T6" y="T7"/>
                      </a:cxn>
                      <a:cxn ang="0">
                        <a:pos x="T8" y="T9"/>
                      </a:cxn>
                    </a:cxnLst>
                    <a:rect l="0" t="0" r="r" b="b"/>
                    <a:pathLst>
                      <a:path w="63" h="19">
                        <a:moveTo>
                          <a:pt x="63" y="19"/>
                        </a:moveTo>
                        <a:lnTo>
                          <a:pt x="0" y="0"/>
                        </a:lnTo>
                        <a:lnTo>
                          <a:pt x="0" y="3"/>
                        </a:lnTo>
                        <a:lnTo>
                          <a:pt x="63" y="19"/>
                        </a:lnTo>
                        <a:lnTo>
                          <a:pt x="63" y="19"/>
                        </a:lnTo>
                        <a:close/>
                      </a:path>
                    </a:pathLst>
                  </a:custGeom>
                  <a:solidFill>
                    <a:srgbClr val="01AAE5"/>
                  </a:solidFill>
                  <a:ln>
                    <a:noFill/>
                  </a:ln>
                  <a:extLst/>
                </p:spPr>
                <p:txBody>
                  <a:bodyPr/>
                  <a:lstStyle/>
                  <a:p>
                    <a:pPr eaLnBrk="1" hangingPunct="1">
                      <a:defRPr/>
                    </a:pPr>
                    <a:endParaRPr lang="zh-CN" altLang="en-US" sz="1050"/>
                  </a:p>
                </p:txBody>
              </p:sp>
              <p:sp>
                <p:nvSpPr>
                  <p:cNvPr id="1557" name="Freeform 1818"/>
                  <p:cNvSpPr>
                    <a:spLocks/>
                  </p:cNvSpPr>
                  <p:nvPr/>
                </p:nvSpPr>
                <p:spPr bwMode="auto">
                  <a:xfrm>
                    <a:off x="10182" y="2316"/>
                    <a:ext cx="75" cy="26"/>
                  </a:xfrm>
                  <a:custGeom>
                    <a:avLst/>
                    <a:gdLst>
                      <a:gd name="T0" fmla="*/ 68 w 68"/>
                      <a:gd name="T1" fmla="*/ 23 h 26"/>
                      <a:gd name="T2" fmla="*/ 0 w 68"/>
                      <a:gd name="T3" fmla="*/ 0 h 26"/>
                      <a:gd name="T4" fmla="*/ 0 w 68"/>
                      <a:gd name="T5" fmla="*/ 2 h 26"/>
                      <a:gd name="T6" fmla="*/ 68 w 68"/>
                      <a:gd name="T7" fmla="*/ 26 h 26"/>
                      <a:gd name="T8" fmla="*/ 68 w 68"/>
                      <a:gd name="T9" fmla="*/ 23 h 26"/>
                    </a:gdLst>
                    <a:ahLst/>
                    <a:cxnLst>
                      <a:cxn ang="0">
                        <a:pos x="T0" y="T1"/>
                      </a:cxn>
                      <a:cxn ang="0">
                        <a:pos x="T2" y="T3"/>
                      </a:cxn>
                      <a:cxn ang="0">
                        <a:pos x="T4" y="T5"/>
                      </a:cxn>
                      <a:cxn ang="0">
                        <a:pos x="T6" y="T7"/>
                      </a:cxn>
                      <a:cxn ang="0">
                        <a:pos x="T8" y="T9"/>
                      </a:cxn>
                    </a:cxnLst>
                    <a:rect l="0" t="0" r="r" b="b"/>
                    <a:pathLst>
                      <a:path w="68" h="26">
                        <a:moveTo>
                          <a:pt x="68" y="23"/>
                        </a:moveTo>
                        <a:lnTo>
                          <a:pt x="0" y="0"/>
                        </a:lnTo>
                        <a:lnTo>
                          <a:pt x="0" y="2"/>
                        </a:lnTo>
                        <a:lnTo>
                          <a:pt x="68" y="26"/>
                        </a:lnTo>
                        <a:lnTo>
                          <a:pt x="68" y="23"/>
                        </a:lnTo>
                        <a:close/>
                      </a:path>
                    </a:pathLst>
                  </a:custGeom>
                  <a:solidFill>
                    <a:srgbClr val="01AAE5"/>
                  </a:solidFill>
                  <a:ln>
                    <a:noFill/>
                  </a:ln>
                  <a:extLst/>
                </p:spPr>
                <p:txBody>
                  <a:bodyPr/>
                  <a:lstStyle/>
                  <a:p>
                    <a:pPr eaLnBrk="1" hangingPunct="1">
                      <a:defRPr/>
                    </a:pPr>
                    <a:endParaRPr lang="zh-CN" altLang="en-US" sz="1050"/>
                  </a:p>
                </p:txBody>
              </p:sp>
              <p:sp>
                <p:nvSpPr>
                  <p:cNvPr id="1558" name="Freeform 1819"/>
                  <p:cNvSpPr>
                    <a:spLocks/>
                  </p:cNvSpPr>
                  <p:nvPr/>
                </p:nvSpPr>
                <p:spPr bwMode="auto">
                  <a:xfrm>
                    <a:off x="10182" y="2395"/>
                    <a:ext cx="42" cy="17"/>
                  </a:xfrm>
                  <a:custGeom>
                    <a:avLst/>
                    <a:gdLst>
                      <a:gd name="T0" fmla="*/ 41 w 41"/>
                      <a:gd name="T1" fmla="*/ 7 h 9"/>
                      <a:gd name="T2" fmla="*/ 0 w 41"/>
                      <a:gd name="T3" fmla="*/ 0 h 9"/>
                      <a:gd name="T4" fmla="*/ 0 w 41"/>
                      <a:gd name="T5" fmla="*/ 0 h 9"/>
                      <a:gd name="T6" fmla="*/ 41 w 41"/>
                      <a:gd name="T7" fmla="*/ 9 h 9"/>
                      <a:gd name="T8" fmla="*/ 41 w 41"/>
                      <a:gd name="T9" fmla="*/ 7 h 9"/>
                    </a:gdLst>
                    <a:ahLst/>
                    <a:cxnLst>
                      <a:cxn ang="0">
                        <a:pos x="T0" y="T1"/>
                      </a:cxn>
                      <a:cxn ang="0">
                        <a:pos x="T2" y="T3"/>
                      </a:cxn>
                      <a:cxn ang="0">
                        <a:pos x="T4" y="T5"/>
                      </a:cxn>
                      <a:cxn ang="0">
                        <a:pos x="T6" y="T7"/>
                      </a:cxn>
                      <a:cxn ang="0">
                        <a:pos x="T8" y="T9"/>
                      </a:cxn>
                    </a:cxnLst>
                    <a:rect l="0" t="0" r="r" b="b"/>
                    <a:pathLst>
                      <a:path w="41" h="9">
                        <a:moveTo>
                          <a:pt x="41" y="7"/>
                        </a:moveTo>
                        <a:lnTo>
                          <a:pt x="0" y="0"/>
                        </a:lnTo>
                        <a:lnTo>
                          <a:pt x="0" y="0"/>
                        </a:lnTo>
                        <a:lnTo>
                          <a:pt x="41" y="9"/>
                        </a:lnTo>
                        <a:lnTo>
                          <a:pt x="41" y="7"/>
                        </a:lnTo>
                        <a:close/>
                      </a:path>
                    </a:pathLst>
                  </a:custGeom>
                  <a:solidFill>
                    <a:srgbClr val="01AAE5"/>
                  </a:solidFill>
                  <a:ln>
                    <a:noFill/>
                  </a:ln>
                  <a:extLst/>
                </p:spPr>
                <p:txBody>
                  <a:bodyPr/>
                  <a:lstStyle/>
                  <a:p>
                    <a:pPr eaLnBrk="1" hangingPunct="1">
                      <a:defRPr/>
                    </a:pPr>
                    <a:endParaRPr lang="zh-CN" altLang="en-US" sz="1050"/>
                  </a:p>
                </p:txBody>
              </p:sp>
              <p:sp>
                <p:nvSpPr>
                  <p:cNvPr id="1559" name="Freeform 1820"/>
                  <p:cNvSpPr>
                    <a:spLocks/>
                  </p:cNvSpPr>
                  <p:nvPr/>
                </p:nvSpPr>
                <p:spPr bwMode="auto">
                  <a:xfrm>
                    <a:off x="10174" y="2325"/>
                    <a:ext cx="75" cy="26"/>
                  </a:xfrm>
                  <a:custGeom>
                    <a:avLst/>
                    <a:gdLst>
                      <a:gd name="T0" fmla="*/ 71 w 71"/>
                      <a:gd name="T1" fmla="*/ 22 h 24"/>
                      <a:gd name="T2" fmla="*/ 0 w 71"/>
                      <a:gd name="T3" fmla="*/ 0 h 24"/>
                      <a:gd name="T4" fmla="*/ 0 w 71"/>
                      <a:gd name="T5" fmla="*/ 0 h 24"/>
                      <a:gd name="T6" fmla="*/ 71 w 71"/>
                      <a:gd name="T7" fmla="*/ 24 h 24"/>
                      <a:gd name="T8" fmla="*/ 71 w 71"/>
                      <a:gd name="T9" fmla="*/ 22 h 24"/>
                    </a:gdLst>
                    <a:ahLst/>
                    <a:cxnLst>
                      <a:cxn ang="0">
                        <a:pos x="T0" y="T1"/>
                      </a:cxn>
                      <a:cxn ang="0">
                        <a:pos x="T2" y="T3"/>
                      </a:cxn>
                      <a:cxn ang="0">
                        <a:pos x="T4" y="T5"/>
                      </a:cxn>
                      <a:cxn ang="0">
                        <a:pos x="T6" y="T7"/>
                      </a:cxn>
                      <a:cxn ang="0">
                        <a:pos x="T8" y="T9"/>
                      </a:cxn>
                    </a:cxnLst>
                    <a:rect l="0" t="0" r="r" b="b"/>
                    <a:pathLst>
                      <a:path w="71" h="24">
                        <a:moveTo>
                          <a:pt x="71" y="22"/>
                        </a:moveTo>
                        <a:lnTo>
                          <a:pt x="0" y="0"/>
                        </a:lnTo>
                        <a:lnTo>
                          <a:pt x="0" y="0"/>
                        </a:lnTo>
                        <a:lnTo>
                          <a:pt x="71" y="24"/>
                        </a:lnTo>
                        <a:lnTo>
                          <a:pt x="71" y="22"/>
                        </a:lnTo>
                        <a:close/>
                      </a:path>
                    </a:pathLst>
                  </a:custGeom>
                  <a:solidFill>
                    <a:srgbClr val="01AAE5"/>
                  </a:solidFill>
                  <a:ln>
                    <a:noFill/>
                  </a:ln>
                  <a:extLst/>
                </p:spPr>
                <p:txBody>
                  <a:bodyPr/>
                  <a:lstStyle/>
                  <a:p>
                    <a:pPr eaLnBrk="1" hangingPunct="1">
                      <a:defRPr/>
                    </a:pPr>
                    <a:endParaRPr lang="zh-CN" altLang="en-US" sz="1050"/>
                  </a:p>
                </p:txBody>
              </p:sp>
              <p:sp>
                <p:nvSpPr>
                  <p:cNvPr id="1560" name="Freeform 1821"/>
                  <p:cNvSpPr>
                    <a:spLocks/>
                  </p:cNvSpPr>
                  <p:nvPr/>
                </p:nvSpPr>
                <p:spPr bwMode="auto">
                  <a:xfrm>
                    <a:off x="10174" y="2386"/>
                    <a:ext cx="50" cy="9"/>
                  </a:xfrm>
                  <a:custGeom>
                    <a:avLst/>
                    <a:gdLst>
                      <a:gd name="T0" fmla="*/ 50 w 50"/>
                      <a:gd name="T1" fmla="*/ 12 h 14"/>
                      <a:gd name="T2" fmla="*/ 0 w 50"/>
                      <a:gd name="T3" fmla="*/ 0 h 14"/>
                      <a:gd name="T4" fmla="*/ 0 w 50"/>
                      <a:gd name="T5" fmla="*/ 2 h 14"/>
                      <a:gd name="T6" fmla="*/ 50 w 50"/>
                      <a:gd name="T7" fmla="*/ 14 h 14"/>
                      <a:gd name="T8" fmla="*/ 50 w 50"/>
                      <a:gd name="T9" fmla="*/ 12 h 14"/>
                    </a:gdLst>
                    <a:ahLst/>
                    <a:cxnLst>
                      <a:cxn ang="0">
                        <a:pos x="T0" y="T1"/>
                      </a:cxn>
                      <a:cxn ang="0">
                        <a:pos x="T2" y="T3"/>
                      </a:cxn>
                      <a:cxn ang="0">
                        <a:pos x="T4" y="T5"/>
                      </a:cxn>
                      <a:cxn ang="0">
                        <a:pos x="T6" y="T7"/>
                      </a:cxn>
                      <a:cxn ang="0">
                        <a:pos x="T8" y="T9"/>
                      </a:cxn>
                    </a:cxnLst>
                    <a:rect l="0" t="0" r="r" b="b"/>
                    <a:pathLst>
                      <a:path w="50" h="14">
                        <a:moveTo>
                          <a:pt x="50" y="12"/>
                        </a:moveTo>
                        <a:lnTo>
                          <a:pt x="0" y="0"/>
                        </a:lnTo>
                        <a:lnTo>
                          <a:pt x="0" y="2"/>
                        </a:lnTo>
                        <a:lnTo>
                          <a:pt x="50" y="14"/>
                        </a:lnTo>
                        <a:lnTo>
                          <a:pt x="50" y="12"/>
                        </a:lnTo>
                        <a:close/>
                      </a:path>
                    </a:pathLst>
                  </a:custGeom>
                  <a:solidFill>
                    <a:srgbClr val="01AAE5"/>
                  </a:solidFill>
                  <a:ln>
                    <a:noFill/>
                  </a:ln>
                  <a:extLst/>
                </p:spPr>
                <p:txBody>
                  <a:bodyPr/>
                  <a:lstStyle/>
                  <a:p>
                    <a:pPr eaLnBrk="1" hangingPunct="1">
                      <a:defRPr/>
                    </a:pPr>
                    <a:endParaRPr lang="zh-CN" altLang="en-US" sz="1050"/>
                  </a:p>
                </p:txBody>
              </p:sp>
              <p:sp>
                <p:nvSpPr>
                  <p:cNvPr id="1561" name="Freeform 1822"/>
                  <p:cNvSpPr>
                    <a:spLocks/>
                  </p:cNvSpPr>
                  <p:nvPr/>
                </p:nvSpPr>
                <p:spPr bwMode="auto">
                  <a:xfrm>
                    <a:off x="10174" y="2386"/>
                    <a:ext cx="50" cy="9"/>
                  </a:xfrm>
                  <a:custGeom>
                    <a:avLst/>
                    <a:gdLst>
                      <a:gd name="T0" fmla="*/ 47 w 47"/>
                      <a:gd name="T1" fmla="*/ 9 h 12"/>
                      <a:gd name="T2" fmla="*/ 0 w 47"/>
                      <a:gd name="T3" fmla="*/ 0 h 12"/>
                      <a:gd name="T4" fmla="*/ 0 w 47"/>
                      <a:gd name="T5" fmla="*/ 0 h 12"/>
                      <a:gd name="T6" fmla="*/ 47 w 47"/>
                      <a:gd name="T7" fmla="*/ 12 h 12"/>
                      <a:gd name="T8" fmla="*/ 47 w 47"/>
                      <a:gd name="T9" fmla="*/ 9 h 12"/>
                    </a:gdLst>
                    <a:ahLst/>
                    <a:cxnLst>
                      <a:cxn ang="0">
                        <a:pos x="T0" y="T1"/>
                      </a:cxn>
                      <a:cxn ang="0">
                        <a:pos x="T2" y="T3"/>
                      </a:cxn>
                      <a:cxn ang="0">
                        <a:pos x="T4" y="T5"/>
                      </a:cxn>
                      <a:cxn ang="0">
                        <a:pos x="T6" y="T7"/>
                      </a:cxn>
                      <a:cxn ang="0">
                        <a:pos x="T8" y="T9"/>
                      </a:cxn>
                    </a:cxnLst>
                    <a:rect l="0" t="0" r="r" b="b"/>
                    <a:pathLst>
                      <a:path w="47" h="12">
                        <a:moveTo>
                          <a:pt x="47" y="9"/>
                        </a:moveTo>
                        <a:lnTo>
                          <a:pt x="0" y="0"/>
                        </a:lnTo>
                        <a:lnTo>
                          <a:pt x="0" y="0"/>
                        </a:lnTo>
                        <a:lnTo>
                          <a:pt x="47" y="12"/>
                        </a:lnTo>
                        <a:lnTo>
                          <a:pt x="47" y="9"/>
                        </a:lnTo>
                        <a:close/>
                      </a:path>
                    </a:pathLst>
                  </a:custGeom>
                  <a:solidFill>
                    <a:srgbClr val="01AAE5"/>
                  </a:solidFill>
                  <a:ln>
                    <a:noFill/>
                  </a:ln>
                  <a:extLst/>
                </p:spPr>
                <p:txBody>
                  <a:bodyPr/>
                  <a:lstStyle/>
                  <a:p>
                    <a:pPr eaLnBrk="1" hangingPunct="1">
                      <a:defRPr/>
                    </a:pPr>
                    <a:endParaRPr lang="zh-CN" altLang="en-US" sz="1050"/>
                  </a:p>
                </p:txBody>
              </p:sp>
              <p:sp>
                <p:nvSpPr>
                  <p:cNvPr id="1562" name="Freeform 1823"/>
                  <p:cNvSpPr>
                    <a:spLocks/>
                  </p:cNvSpPr>
                  <p:nvPr/>
                </p:nvSpPr>
                <p:spPr bwMode="auto">
                  <a:xfrm>
                    <a:off x="10182" y="2386"/>
                    <a:ext cx="42" cy="17"/>
                  </a:xfrm>
                  <a:custGeom>
                    <a:avLst/>
                    <a:gdLst>
                      <a:gd name="T0" fmla="*/ 43 w 43"/>
                      <a:gd name="T1" fmla="*/ 9 h 11"/>
                      <a:gd name="T2" fmla="*/ 0 w 43"/>
                      <a:gd name="T3" fmla="*/ 0 h 11"/>
                      <a:gd name="T4" fmla="*/ 0 w 43"/>
                      <a:gd name="T5" fmla="*/ 2 h 11"/>
                      <a:gd name="T6" fmla="*/ 43 w 43"/>
                      <a:gd name="T7" fmla="*/ 11 h 11"/>
                      <a:gd name="T8" fmla="*/ 43 w 43"/>
                      <a:gd name="T9" fmla="*/ 9 h 11"/>
                    </a:gdLst>
                    <a:ahLst/>
                    <a:cxnLst>
                      <a:cxn ang="0">
                        <a:pos x="T0" y="T1"/>
                      </a:cxn>
                      <a:cxn ang="0">
                        <a:pos x="T2" y="T3"/>
                      </a:cxn>
                      <a:cxn ang="0">
                        <a:pos x="T4" y="T5"/>
                      </a:cxn>
                      <a:cxn ang="0">
                        <a:pos x="T6" y="T7"/>
                      </a:cxn>
                      <a:cxn ang="0">
                        <a:pos x="T8" y="T9"/>
                      </a:cxn>
                    </a:cxnLst>
                    <a:rect l="0" t="0" r="r" b="b"/>
                    <a:pathLst>
                      <a:path w="43" h="11">
                        <a:moveTo>
                          <a:pt x="43" y="9"/>
                        </a:moveTo>
                        <a:lnTo>
                          <a:pt x="0" y="0"/>
                        </a:lnTo>
                        <a:lnTo>
                          <a:pt x="0" y="2"/>
                        </a:lnTo>
                        <a:lnTo>
                          <a:pt x="43" y="11"/>
                        </a:lnTo>
                        <a:lnTo>
                          <a:pt x="43" y="9"/>
                        </a:lnTo>
                        <a:close/>
                      </a:path>
                    </a:pathLst>
                  </a:custGeom>
                  <a:solidFill>
                    <a:srgbClr val="01AAE5"/>
                  </a:solidFill>
                  <a:ln>
                    <a:noFill/>
                  </a:ln>
                  <a:extLst/>
                </p:spPr>
                <p:txBody>
                  <a:bodyPr/>
                  <a:lstStyle/>
                  <a:p>
                    <a:pPr eaLnBrk="1" hangingPunct="1">
                      <a:defRPr/>
                    </a:pPr>
                    <a:endParaRPr lang="zh-CN" altLang="en-US" sz="1050"/>
                  </a:p>
                </p:txBody>
              </p:sp>
              <p:sp>
                <p:nvSpPr>
                  <p:cNvPr id="1563" name="Freeform 1824"/>
                  <p:cNvSpPr>
                    <a:spLocks/>
                  </p:cNvSpPr>
                  <p:nvPr/>
                </p:nvSpPr>
                <p:spPr bwMode="auto">
                  <a:xfrm>
                    <a:off x="10174" y="2360"/>
                    <a:ext cx="58" cy="17"/>
                  </a:xfrm>
                  <a:custGeom>
                    <a:avLst/>
                    <a:gdLst>
                      <a:gd name="T0" fmla="*/ 61 w 61"/>
                      <a:gd name="T1" fmla="*/ 17 h 17"/>
                      <a:gd name="T2" fmla="*/ 0 w 61"/>
                      <a:gd name="T3" fmla="*/ 0 h 17"/>
                      <a:gd name="T4" fmla="*/ 0 w 61"/>
                      <a:gd name="T5" fmla="*/ 0 h 17"/>
                      <a:gd name="T6" fmla="*/ 61 w 61"/>
                      <a:gd name="T7" fmla="*/ 17 h 17"/>
                      <a:gd name="T8" fmla="*/ 61 w 61"/>
                      <a:gd name="T9" fmla="*/ 17 h 17"/>
                    </a:gdLst>
                    <a:ahLst/>
                    <a:cxnLst>
                      <a:cxn ang="0">
                        <a:pos x="T0" y="T1"/>
                      </a:cxn>
                      <a:cxn ang="0">
                        <a:pos x="T2" y="T3"/>
                      </a:cxn>
                      <a:cxn ang="0">
                        <a:pos x="T4" y="T5"/>
                      </a:cxn>
                      <a:cxn ang="0">
                        <a:pos x="T6" y="T7"/>
                      </a:cxn>
                      <a:cxn ang="0">
                        <a:pos x="T8" y="T9"/>
                      </a:cxn>
                    </a:cxnLst>
                    <a:rect l="0" t="0" r="r" b="b"/>
                    <a:pathLst>
                      <a:path w="61" h="17">
                        <a:moveTo>
                          <a:pt x="61" y="17"/>
                        </a:moveTo>
                        <a:lnTo>
                          <a:pt x="0" y="0"/>
                        </a:lnTo>
                        <a:lnTo>
                          <a:pt x="0" y="0"/>
                        </a:lnTo>
                        <a:lnTo>
                          <a:pt x="61" y="17"/>
                        </a:lnTo>
                        <a:lnTo>
                          <a:pt x="61" y="17"/>
                        </a:lnTo>
                        <a:close/>
                      </a:path>
                    </a:pathLst>
                  </a:custGeom>
                  <a:solidFill>
                    <a:srgbClr val="01AAE5"/>
                  </a:solidFill>
                  <a:ln>
                    <a:noFill/>
                  </a:ln>
                  <a:extLst/>
                </p:spPr>
                <p:txBody>
                  <a:bodyPr/>
                  <a:lstStyle/>
                  <a:p>
                    <a:pPr eaLnBrk="1" hangingPunct="1">
                      <a:defRPr/>
                    </a:pPr>
                    <a:endParaRPr lang="zh-CN" altLang="en-US" sz="1050"/>
                  </a:p>
                </p:txBody>
              </p:sp>
              <p:sp>
                <p:nvSpPr>
                  <p:cNvPr id="1564" name="Freeform 1825"/>
                  <p:cNvSpPr>
                    <a:spLocks/>
                  </p:cNvSpPr>
                  <p:nvPr/>
                </p:nvSpPr>
                <p:spPr bwMode="auto">
                  <a:xfrm>
                    <a:off x="10174" y="2360"/>
                    <a:ext cx="58" cy="26"/>
                  </a:xfrm>
                  <a:custGeom>
                    <a:avLst/>
                    <a:gdLst>
                      <a:gd name="T0" fmla="*/ 59 w 59"/>
                      <a:gd name="T1" fmla="*/ 17 h 17"/>
                      <a:gd name="T2" fmla="*/ 0 w 59"/>
                      <a:gd name="T3" fmla="*/ 0 h 17"/>
                      <a:gd name="T4" fmla="*/ 0 w 59"/>
                      <a:gd name="T5" fmla="*/ 3 h 17"/>
                      <a:gd name="T6" fmla="*/ 59 w 59"/>
                      <a:gd name="T7" fmla="*/ 17 h 17"/>
                      <a:gd name="T8" fmla="*/ 59 w 59"/>
                      <a:gd name="T9" fmla="*/ 17 h 17"/>
                    </a:gdLst>
                    <a:ahLst/>
                    <a:cxnLst>
                      <a:cxn ang="0">
                        <a:pos x="T0" y="T1"/>
                      </a:cxn>
                      <a:cxn ang="0">
                        <a:pos x="T2" y="T3"/>
                      </a:cxn>
                      <a:cxn ang="0">
                        <a:pos x="T4" y="T5"/>
                      </a:cxn>
                      <a:cxn ang="0">
                        <a:pos x="T6" y="T7"/>
                      </a:cxn>
                      <a:cxn ang="0">
                        <a:pos x="T8" y="T9"/>
                      </a:cxn>
                    </a:cxnLst>
                    <a:rect l="0" t="0" r="r" b="b"/>
                    <a:pathLst>
                      <a:path w="59" h="17">
                        <a:moveTo>
                          <a:pt x="59" y="17"/>
                        </a:moveTo>
                        <a:lnTo>
                          <a:pt x="0" y="0"/>
                        </a:lnTo>
                        <a:lnTo>
                          <a:pt x="0" y="3"/>
                        </a:lnTo>
                        <a:lnTo>
                          <a:pt x="59" y="17"/>
                        </a:lnTo>
                        <a:lnTo>
                          <a:pt x="59" y="17"/>
                        </a:lnTo>
                        <a:close/>
                      </a:path>
                    </a:pathLst>
                  </a:custGeom>
                  <a:solidFill>
                    <a:srgbClr val="01AAE5"/>
                  </a:solidFill>
                  <a:ln>
                    <a:noFill/>
                  </a:ln>
                  <a:extLst/>
                </p:spPr>
                <p:txBody>
                  <a:bodyPr/>
                  <a:lstStyle/>
                  <a:p>
                    <a:pPr eaLnBrk="1" hangingPunct="1">
                      <a:defRPr/>
                    </a:pPr>
                    <a:endParaRPr lang="zh-CN" altLang="en-US" sz="1050"/>
                  </a:p>
                </p:txBody>
              </p:sp>
              <p:sp>
                <p:nvSpPr>
                  <p:cNvPr id="1565" name="Freeform 1826"/>
                  <p:cNvSpPr>
                    <a:spLocks/>
                  </p:cNvSpPr>
                  <p:nvPr/>
                </p:nvSpPr>
                <p:spPr bwMode="auto">
                  <a:xfrm>
                    <a:off x="10174" y="2377"/>
                    <a:ext cx="50" cy="9"/>
                  </a:xfrm>
                  <a:custGeom>
                    <a:avLst/>
                    <a:gdLst>
                      <a:gd name="T0" fmla="*/ 52 w 52"/>
                      <a:gd name="T1" fmla="*/ 12 h 14"/>
                      <a:gd name="T2" fmla="*/ 0 w 52"/>
                      <a:gd name="T3" fmla="*/ 0 h 14"/>
                      <a:gd name="T4" fmla="*/ 0 w 52"/>
                      <a:gd name="T5" fmla="*/ 2 h 14"/>
                      <a:gd name="T6" fmla="*/ 52 w 52"/>
                      <a:gd name="T7" fmla="*/ 14 h 14"/>
                      <a:gd name="T8" fmla="*/ 52 w 52"/>
                      <a:gd name="T9" fmla="*/ 12 h 14"/>
                    </a:gdLst>
                    <a:ahLst/>
                    <a:cxnLst>
                      <a:cxn ang="0">
                        <a:pos x="T0" y="T1"/>
                      </a:cxn>
                      <a:cxn ang="0">
                        <a:pos x="T2" y="T3"/>
                      </a:cxn>
                      <a:cxn ang="0">
                        <a:pos x="T4" y="T5"/>
                      </a:cxn>
                      <a:cxn ang="0">
                        <a:pos x="T6" y="T7"/>
                      </a:cxn>
                      <a:cxn ang="0">
                        <a:pos x="T8" y="T9"/>
                      </a:cxn>
                    </a:cxnLst>
                    <a:rect l="0" t="0" r="r" b="b"/>
                    <a:pathLst>
                      <a:path w="52" h="14">
                        <a:moveTo>
                          <a:pt x="52" y="12"/>
                        </a:moveTo>
                        <a:lnTo>
                          <a:pt x="0" y="0"/>
                        </a:lnTo>
                        <a:lnTo>
                          <a:pt x="0" y="2"/>
                        </a:lnTo>
                        <a:lnTo>
                          <a:pt x="52" y="14"/>
                        </a:lnTo>
                        <a:lnTo>
                          <a:pt x="52" y="12"/>
                        </a:lnTo>
                        <a:close/>
                      </a:path>
                    </a:pathLst>
                  </a:custGeom>
                  <a:solidFill>
                    <a:srgbClr val="01AAE5"/>
                  </a:solidFill>
                  <a:ln>
                    <a:noFill/>
                  </a:ln>
                  <a:extLst/>
                </p:spPr>
                <p:txBody>
                  <a:bodyPr/>
                  <a:lstStyle/>
                  <a:p>
                    <a:pPr eaLnBrk="1" hangingPunct="1">
                      <a:defRPr/>
                    </a:pPr>
                    <a:endParaRPr lang="zh-CN" altLang="en-US" sz="1050"/>
                  </a:p>
                </p:txBody>
              </p:sp>
              <p:sp>
                <p:nvSpPr>
                  <p:cNvPr id="1566" name="Freeform 1827"/>
                  <p:cNvSpPr>
                    <a:spLocks/>
                  </p:cNvSpPr>
                  <p:nvPr/>
                </p:nvSpPr>
                <p:spPr bwMode="auto">
                  <a:xfrm>
                    <a:off x="10174" y="2369"/>
                    <a:ext cx="58" cy="17"/>
                  </a:xfrm>
                  <a:custGeom>
                    <a:avLst/>
                    <a:gdLst>
                      <a:gd name="T0" fmla="*/ 56 w 56"/>
                      <a:gd name="T1" fmla="*/ 14 h 14"/>
                      <a:gd name="T2" fmla="*/ 0 w 56"/>
                      <a:gd name="T3" fmla="*/ 0 h 14"/>
                      <a:gd name="T4" fmla="*/ 0 w 56"/>
                      <a:gd name="T5" fmla="*/ 0 h 14"/>
                      <a:gd name="T6" fmla="*/ 56 w 56"/>
                      <a:gd name="T7" fmla="*/ 14 h 14"/>
                      <a:gd name="T8" fmla="*/ 56 w 56"/>
                      <a:gd name="T9" fmla="*/ 14 h 14"/>
                    </a:gdLst>
                    <a:ahLst/>
                    <a:cxnLst>
                      <a:cxn ang="0">
                        <a:pos x="T0" y="T1"/>
                      </a:cxn>
                      <a:cxn ang="0">
                        <a:pos x="T2" y="T3"/>
                      </a:cxn>
                      <a:cxn ang="0">
                        <a:pos x="T4" y="T5"/>
                      </a:cxn>
                      <a:cxn ang="0">
                        <a:pos x="T6" y="T7"/>
                      </a:cxn>
                      <a:cxn ang="0">
                        <a:pos x="T8" y="T9"/>
                      </a:cxn>
                    </a:cxnLst>
                    <a:rect l="0" t="0" r="r" b="b"/>
                    <a:pathLst>
                      <a:path w="56" h="14">
                        <a:moveTo>
                          <a:pt x="56" y="14"/>
                        </a:moveTo>
                        <a:lnTo>
                          <a:pt x="0" y="0"/>
                        </a:lnTo>
                        <a:lnTo>
                          <a:pt x="0" y="0"/>
                        </a:lnTo>
                        <a:lnTo>
                          <a:pt x="56" y="14"/>
                        </a:lnTo>
                        <a:lnTo>
                          <a:pt x="56" y="14"/>
                        </a:lnTo>
                        <a:close/>
                      </a:path>
                    </a:pathLst>
                  </a:custGeom>
                  <a:solidFill>
                    <a:srgbClr val="01AAE5"/>
                  </a:solidFill>
                  <a:ln>
                    <a:noFill/>
                  </a:ln>
                  <a:extLst/>
                </p:spPr>
                <p:txBody>
                  <a:bodyPr/>
                  <a:lstStyle/>
                  <a:p>
                    <a:pPr eaLnBrk="1" hangingPunct="1">
                      <a:defRPr/>
                    </a:pPr>
                    <a:endParaRPr lang="zh-CN" altLang="en-US" sz="1050"/>
                  </a:p>
                </p:txBody>
              </p:sp>
              <p:sp>
                <p:nvSpPr>
                  <p:cNvPr id="1567" name="Freeform 1828"/>
                  <p:cNvSpPr>
                    <a:spLocks/>
                  </p:cNvSpPr>
                  <p:nvPr/>
                </p:nvSpPr>
                <p:spPr bwMode="auto">
                  <a:xfrm>
                    <a:off x="10748"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68" name="Freeform 1829"/>
                  <p:cNvSpPr>
                    <a:spLocks/>
                  </p:cNvSpPr>
                  <p:nvPr/>
                </p:nvSpPr>
                <p:spPr bwMode="auto">
                  <a:xfrm>
                    <a:off x="10781" y="3240"/>
                    <a:ext cx="0" cy="17"/>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69" name="Freeform 1830"/>
                  <p:cNvSpPr>
                    <a:spLocks/>
                  </p:cNvSpPr>
                  <p:nvPr/>
                </p:nvSpPr>
                <p:spPr bwMode="auto">
                  <a:xfrm>
                    <a:off x="10756"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0" name="Freeform 1831"/>
                  <p:cNvSpPr>
                    <a:spLocks/>
                  </p:cNvSpPr>
                  <p:nvPr/>
                </p:nvSpPr>
                <p:spPr bwMode="auto">
                  <a:xfrm>
                    <a:off x="10723" y="3240"/>
                    <a:ext cx="8" cy="0"/>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1" name="Freeform 1832"/>
                  <p:cNvSpPr>
                    <a:spLocks/>
                  </p:cNvSpPr>
                  <p:nvPr/>
                </p:nvSpPr>
                <p:spPr bwMode="auto">
                  <a:xfrm>
                    <a:off x="10781" y="3240"/>
                    <a:ext cx="0" cy="17"/>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1572" name="Freeform 1833"/>
                  <p:cNvSpPr>
                    <a:spLocks/>
                  </p:cNvSpPr>
                  <p:nvPr/>
                </p:nvSpPr>
                <p:spPr bwMode="auto">
                  <a:xfrm>
                    <a:off x="10731" y="3240"/>
                    <a:ext cx="8" cy="9"/>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3" name="Freeform 1834"/>
                  <p:cNvSpPr>
                    <a:spLocks/>
                  </p:cNvSpPr>
                  <p:nvPr/>
                </p:nvSpPr>
                <p:spPr bwMode="auto">
                  <a:xfrm>
                    <a:off x="10739" y="3240"/>
                    <a:ext cx="8" cy="9"/>
                  </a:xfrm>
                  <a:custGeom>
                    <a:avLst/>
                    <a:gdLst>
                      <a:gd name="T0" fmla="*/ 5 w 5"/>
                      <a:gd name="T1" fmla="*/ 0 h 12"/>
                      <a:gd name="T2" fmla="*/ 0 w 5"/>
                      <a:gd name="T3" fmla="*/ 12 h 12"/>
                      <a:gd name="T4" fmla="*/ 2 w 5"/>
                      <a:gd name="T5" fmla="*/ 12 h 12"/>
                      <a:gd name="T6" fmla="*/ 5 w 5"/>
                      <a:gd name="T7" fmla="*/ 2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2"/>
                        </a:lnTo>
                        <a:lnTo>
                          <a:pt x="2" y="12"/>
                        </a:lnTo>
                        <a:lnTo>
                          <a:pt x="5" y="2"/>
                        </a:lnTo>
                        <a:lnTo>
                          <a:pt x="5" y="0"/>
                        </a:lnTo>
                        <a:close/>
                      </a:path>
                    </a:pathLst>
                  </a:custGeom>
                  <a:solidFill>
                    <a:srgbClr val="01AAE5"/>
                  </a:solidFill>
                  <a:ln>
                    <a:noFill/>
                  </a:ln>
                  <a:extLst/>
                </p:spPr>
                <p:txBody>
                  <a:bodyPr/>
                  <a:lstStyle/>
                  <a:p>
                    <a:pPr eaLnBrk="1" hangingPunct="1">
                      <a:defRPr/>
                    </a:pPr>
                    <a:endParaRPr lang="zh-CN" altLang="en-US" sz="1050"/>
                  </a:p>
                </p:txBody>
              </p:sp>
              <p:sp>
                <p:nvSpPr>
                  <p:cNvPr id="1574" name="Rectangle 1835"/>
                  <p:cNvSpPr>
                    <a:spLocks noChangeArrowheads="1"/>
                  </p:cNvSpPr>
                  <p:nvPr/>
                </p:nvSpPr>
                <p:spPr bwMode="auto">
                  <a:xfrm>
                    <a:off x="10839"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1575" name="Freeform 1836"/>
                  <p:cNvSpPr>
                    <a:spLocks/>
                  </p:cNvSpPr>
                  <p:nvPr/>
                </p:nvSpPr>
                <p:spPr bwMode="auto">
                  <a:xfrm>
                    <a:off x="10839" y="3249"/>
                    <a:ext cx="0" cy="17"/>
                  </a:xfrm>
                  <a:custGeom>
                    <a:avLst/>
                    <a:gdLst>
                      <a:gd name="T0" fmla="*/ 3 w 3"/>
                      <a:gd name="T1" fmla="*/ 0 h 12"/>
                      <a:gd name="T2" fmla="*/ 0 w 3"/>
                      <a:gd name="T3" fmla="*/ 12 h 12"/>
                      <a:gd name="T4" fmla="*/ 3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3"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6" name="Freeform 1837"/>
                  <p:cNvSpPr>
                    <a:spLocks/>
                  </p:cNvSpPr>
                  <p:nvPr/>
                </p:nvSpPr>
                <p:spPr bwMode="auto">
                  <a:xfrm>
                    <a:off x="10839" y="3249"/>
                    <a:ext cx="0" cy="17"/>
                  </a:xfrm>
                  <a:custGeom>
                    <a:avLst/>
                    <a:gdLst>
                      <a:gd name="T0" fmla="*/ 3 w 5"/>
                      <a:gd name="T1" fmla="*/ 0 h 12"/>
                      <a:gd name="T2" fmla="*/ 0 w 5"/>
                      <a:gd name="T3" fmla="*/ 12 h 12"/>
                      <a:gd name="T4" fmla="*/ 3 w 5"/>
                      <a:gd name="T5" fmla="*/ 12 h 12"/>
                      <a:gd name="T6" fmla="*/ 5 w 5"/>
                      <a:gd name="T7" fmla="*/ 2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7" name="Freeform 1838"/>
                  <p:cNvSpPr>
                    <a:spLocks/>
                  </p:cNvSpPr>
                  <p:nvPr/>
                </p:nvSpPr>
                <p:spPr bwMode="auto">
                  <a:xfrm>
                    <a:off x="10814" y="3249"/>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78" name="Freeform 1839"/>
                  <p:cNvSpPr>
                    <a:spLocks/>
                  </p:cNvSpPr>
                  <p:nvPr/>
                </p:nvSpPr>
                <p:spPr bwMode="auto">
                  <a:xfrm>
                    <a:off x="10806" y="3249"/>
                    <a:ext cx="0" cy="17"/>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579" name="Freeform 1840"/>
                  <p:cNvSpPr>
                    <a:spLocks/>
                  </p:cNvSpPr>
                  <p:nvPr/>
                </p:nvSpPr>
                <p:spPr bwMode="auto">
                  <a:xfrm>
                    <a:off x="10839" y="3249"/>
                    <a:ext cx="0" cy="17"/>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1580" name="Freeform 1841"/>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81" name="Freeform 1842"/>
                  <p:cNvSpPr>
                    <a:spLocks/>
                  </p:cNvSpPr>
                  <p:nvPr/>
                </p:nvSpPr>
                <p:spPr bwMode="auto">
                  <a:xfrm>
                    <a:off x="10789" y="3240"/>
                    <a:ext cx="0" cy="17"/>
                  </a:xfrm>
                  <a:custGeom>
                    <a:avLst/>
                    <a:gdLst>
                      <a:gd name="T0" fmla="*/ 3 w 5"/>
                      <a:gd name="T1" fmla="*/ 0 h 12"/>
                      <a:gd name="T2" fmla="*/ 0 w 5"/>
                      <a:gd name="T3" fmla="*/ 12 h 12"/>
                      <a:gd name="T4" fmla="*/ 3 w 5"/>
                      <a:gd name="T5" fmla="*/ 12 h 12"/>
                      <a:gd name="T6" fmla="*/ 5 w 5"/>
                      <a:gd name="T7" fmla="*/ 3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3"/>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82" name="Freeform 1843"/>
                  <p:cNvSpPr>
                    <a:spLocks/>
                  </p:cNvSpPr>
                  <p:nvPr/>
                </p:nvSpPr>
                <p:spPr bwMode="auto">
                  <a:xfrm>
                    <a:off x="10781" y="3240"/>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83" name="Freeform 1844"/>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84" name="Freeform 1845"/>
                  <p:cNvSpPr>
                    <a:spLocks/>
                  </p:cNvSpPr>
                  <p:nvPr/>
                </p:nvSpPr>
                <p:spPr bwMode="auto">
                  <a:xfrm>
                    <a:off x="10748" y="3240"/>
                    <a:ext cx="0" cy="9"/>
                  </a:xfrm>
                  <a:custGeom>
                    <a:avLst/>
                    <a:gdLst>
                      <a:gd name="T0" fmla="*/ 2 w 5"/>
                      <a:gd name="T1" fmla="*/ 0 h 12"/>
                      <a:gd name="T2" fmla="*/ 0 w 5"/>
                      <a:gd name="T3" fmla="*/ 12 h 12"/>
                      <a:gd name="T4" fmla="*/ 2 w 5"/>
                      <a:gd name="T5" fmla="*/ 12 h 12"/>
                      <a:gd name="T6" fmla="*/ 5 w 5"/>
                      <a:gd name="T7" fmla="*/ 0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1585" name="Freeform 1846"/>
                  <p:cNvSpPr>
                    <a:spLocks/>
                  </p:cNvSpPr>
                  <p:nvPr/>
                </p:nvSpPr>
                <p:spPr bwMode="auto">
                  <a:xfrm>
                    <a:off x="10631" y="3196"/>
                    <a:ext cx="17" cy="44"/>
                  </a:xfrm>
                  <a:custGeom>
                    <a:avLst/>
                    <a:gdLst>
                      <a:gd name="T0" fmla="*/ 19 w 19"/>
                      <a:gd name="T1" fmla="*/ 0 h 43"/>
                      <a:gd name="T2" fmla="*/ 0 w 19"/>
                      <a:gd name="T3" fmla="*/ 43 h 43"/>
                      <a:gd name="T4" fmla="*/ 2 w 19"/>
                      <a:gd name="T5" fmla="*/ 43 h 43"/>
                      <a:gd name="T6" fmla="*/ 19 w 19"/>
                      <a:gd name="T7" fmla="*/ 0 h 43"/>
                      <a:gd name="T8" fmla="*/ 19 w 19"/>
                      <a:gd name="T9" fmla="*/ 0 h 43"/>
                    </a:gdLst>
                    <a:ahLst/>
                    <a:cxnLst>
                      <a:cxn ang="0">
                        <a:pos x="T0" y="T1"/>
                      </a:cxn>
                      <a:cxn ang="0">
                        <a:pos x="T2" y="T3"/>
                      </a:cxn>
                      <a:cxn ang="0">
                        <a:pos x="T4" y="T5"/>
                      </a:cxn>
                      <a:cxn ang="0">
                        <a:pos x="T6" y="T7"/>
                      </a:cxn>
                      <a:cxn ang="0">
                        <a:pos x="T8" y="T9"/>
                      </a:cxn>
                    </a:cxnLst>
                    <a:rect l="0" t="0" r="r" b="b"/>
                    <a:pathLst>
                      <a:path w="19" h="43">
                        <a:moveTo>
                          <a:pt x="19" y="0"/>
                        </a:moveTo>
                        <a:lnTo>
                          <a:pt x="0" y="43"/>
                        </a:lnTo>
                        <a:lnTo>
                          <a:pt x="2" y="4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586" name="Freeform 1847"/>
                  <p:cNvSpPr>
                    <a:spLocks/>
                  </p:cNvSpPr>
                  <p:nvPr/>
                </p:nvSpPr>
                <p:spPr bwMode="auto">
                  <a:xfrm>
                    <a:off x="10640" y="3205"/>
                    <a:ext cx="17" cy="35"/>
                  </a:xfrm>
                  <a:custGeom>
                    <a:avLst/>
                    <a:gdLst>
                      <a:gd name="T0" fmla="*/ 14 w 17"/>
                      <a:gd name="T1" fmla="*/ 0 h 36"/>
                      <a:gd name="T2" fmla="*/ 0 w 17"/>
                      <a:gd name="T3" fmla="*/ 36 h 36"/>
                      <a:gd name="T4" fmla="*/ 3 w 17"/>
                      <a:gd name="T5" fmla="*/ 36 h 36"/>
                      <a:gd name="T6" fmla="*/ 17 w 17"/>
                      <a:gd name="T7" fmla="*/ 0 h 36"/>
                      <a:gd name="T8" fmla="*/ 14 w 17"/>
                      <a:gd name="T9" fmla="*/ 0 h 36"/>
                    </a:gdLst>
                    <a:ahLst/>
                    <a:cxnLst>
                      <a:cxn ang="0">
                        <a:pos x="T0" y="T1"/>
                      </a:cxn>
                      <a:cxn ang="0">
                        <a:pos x="T2" y="T3"/>
                      </a:cxn>
                      <a:cxn ang="0">
                        <a:pos x="T4" y="T5"/>
                      </a:cxn>
                      <a:cxn ang="0">
                        <a:pos x="T6" y="T7"/>
                      </a:cxn>
                      <a:cxn ang="0">
                        <a:pos x="T8" y="T9"/>
                      </a:cxn>
                    </a:cxnLst>
                    <a:rect l="0" t="0" r="r" b="b"/>
                    <a:pathLst>
                      <a:path w="17" h="36">
                        <a:moveTo>
                          <a:pt x="14" y="0"/>
                        </a:moveTo>
                        <a:lnTo>
                          <a:pt x="0" y="36"/>
                        </a:lnTo>
                        <a:lnTo>
                          <a:pt x="3" y="36"/>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587" name="Freeform 1848"/>
                  <p:cNvSpPr>
                    <a:spLocks/>
                  </p:cNvSpPr>
                  <p:nvPr/>
                </p:nvSpPr>
                <p:spPr bwMode="auto">
                  <a:xfrm>
                    <a:off x="10631" y="3196"/>
                    <a:ext cx="25" cy="44"/>
                  </a:xfrm>
                  <a:custGeom>
                    <a:avLst/>
                    <a:gdLst>
                      <a:gd name="T0" fmla="*/ 17 w 19"/>
                      <a:gd name="T1" fmla="*/ 0 h 40"/>
                      <a:gd name="T2" fmla="*/ 0 w 19"/>
                      <a:gd name="T3" fmla="*/ 40 h 40"/>
                      <a:gd name="T4" fmla="*/ 2 w 19"/>
                      <a:gd name="T5" fmla="*/ 40 h 40"/>
                      <a:gd name="T6" fmla="*/ 19 w 19"/>
                      <a:gd name="T7" fmla="*/ 2 h 40"/>
                      <a:gd name="T8" fmla="*/ 17 w 19"/>
                      <a:gd name="T9" fmla="*/ 0 h 40"/>
                    </a:gdLst>
                    <a:ahLst/>
                    <a:cxnLst>
                      <a:cxn ang="0">
                        <a:pos x="T0" y="T1"/>
                      </a:cxn>
                      <a:cxn ang="0">
                        <a:pos x="T2" y="T3"/>
                      </a:cxn>
                      <a:cxn ang="0">
                        <a:pos x="T4" y="T5"/>
                      </a:cxn>
                      <a:cxn ang="0">
                        <a:pos x="T6" y="T7"/>
                      </a:cxn>
                      <a:cxn ang="0">
                        <a:pos x="T8" y="T9"/>
                      </a:cxn>
                    </a:cxnLst>
                    <a:rect l="0" t="0" r="r" b="b"/>
                    <a:pathLst>
                      <a:path w="19" h="40">
                        <a:moveTo>
                          <a:pt x="17" y="0"/>
                        </a:moveTo>
                        <a:lnTo>
                          <a:pt x="0" y="40"/>
                        </a:lnTo>
                        <a:lnTo>
                          <a:pt x="2" y="40"/>
                        </a:lnTo>
                        <a:lnTo>
                          <a:pt x="19" y="2"/>
                        </a:lnTo>
                        <a:lnTo>
                          <a:pt x="17" y="0"/>
                        </a:lnTo>
                        <a:close/>
                      </a:path>
                    </a:pathLst>
                  </a:custGeom>
                  <a:solidFill>
                    <a:srgbClr val="01AAE5"/>
                  </a:solidFill>
                  <a:ln>
                    <a:noFill/>
                  </a:ln>
                  <a:extLst/>
                </p:spPr>
                <p:txBody>
                  <a:bodyPr/>
                  <a:lstStyle/>
                  <a:p>
                    <a:pPr eaLnBrk="1" hangingPunct="1">
                      <a:defRPr/>
                    </a:pPr>
                    <a:endParaRPr lang="zh-CN" altLang="en-US" sz="1050"/>
                  </a:p>
                </p:txBody>
              </p:sp>
              <p:sp>
                <p:nvSpPr>
                  <p:cNvPr id="1588" name="Freeform 1849"/>
                  <p:cNvSpPr>
                    <a:spLocks/>
                  </p:cNvSpPr>
                  <p:nvPr/>
                </p:nvSpPr>
                <p:spPr bwMode="auto">
                  <a:xfrm>
                    <a:off x="10656" y="3205"/>
                    <a:ext cx="0" cy="35"/>
                  </a:xfrm>
                  <a:custGeom>
                    <a:avLst/>
                    <a:gdLst>
                      <a:gd name="T0" fmla="*/ 11 w 11"/>
                      <a:gd name="T1" fmla="*/ 0 h 33"/>
                      <a:gd name="T2" fmla="*/ 0 w 11"/>
                      <a:gd name="T3" fmla="*/ 33 h 33"/>
                      <a:gd name="T4" fmla="*/ 0 w 11"/>
                      <a:gd name="T5" fmla="*/ 33 h 33"/>
                      <a:gd name="T6" fmla="*/ 11 w 11"/>
                      <a:gd name="T7" fmla="*/ 2 h 33"/>
                      <a:gd name="T8" fmla="*/ 11 w 11"/>
                      <a:gd name="T9" fmla="*/ 0 h 33"/>
                    </a:gdLst>
                    <a:ahLst/>
                    <a:cxnLst>
                      <a:cxn ang="0">
                        <a:pos x="T0" y="T1"/>
                      </a:cxn>
                      <a:cxn ang="0">
                        <a:pos x="T2" y="T3"/>
                      </a:cxn>
                      <a:cxn ang="0">
                        <a:pos x="T4" y="T5"/>
                      </a:cxn>
                      <a:cxn ang="0">
                        <a:pos x="T6" y="T7"/>
                      </a:cxn>
                      <a:cxn ang="0">
                        <a:pos x="T8" y="T9"/>
                      </a:cxn>
                    </a:cxnLst>
                    <a:rect l="0" t="0" r="r" b="b"/>
                    <a:pathLst>
                      <a:path w="11" h="33">
                        <a:moveTo>
                          <a:pt x="11" y="0"/>
                        </a:moveTo>
                        <a:lnTo>
                          <a:pt x="0" y="33"/>
                        </a:lnTo>
                        <a:lnTo>
                          <a:pt x="0" y="33"/>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1589" name="Freeform 1850"/>
                  <p:cNvSpPr>
                    <a:spLocks/>
                  </p:cNvSpPr>
                  <p:nvPr/>
                </p:nvSpPr>
                <p:spPr bwMode="auto">
                  <a:xfrm>
                    <a:off x="10615" y="3179"/>
                    <a:ext cx="17" cy="61"/>
                  </a:xfrm>
                  <a:custGeom>
                    <a:avLst/>
                    <a:gdLst>
                      <a:gd name="T0" fmla="*/ 21 w 21"/>
                      <a:gd name="T1" fmla="*/ 0 h 52"/>
                      <a:gd name="T2" fmla="*/ 0 w 21"/>
                      <a:gd name="T3" fmla="*/ 49 h 52"/>
                      <a:gd name="T4" fmla="*/ 2 w 21"/>
                      <a:gd name="T5" fmla="*/ 52 h 52"/>
                      <a:gd name="T6" fmla="*/ 21 w 21"/>
                      <a:gd name="T7" fmla="*/ 2 h 52"/>
                      <a:gd name="T8" fmla="*/ 21 w 21"/>
                      <a:gd name="T9" fmla="*/ 0 h 52"/>
                    </a:gdLst>
                    <a:ahLst/>
                    <a:cxnLst>
                      <a:cxn ang="0">
                        <a:pos x="T0" y="T1"/>
                      </a:cxn>
                      <a:cxn ang="0">
                        <a:pos x="T2" y="T3"/>
                      </a:cxn>
                      <a:cxn ang="0">
                        <a:pos x="T4" y="T5"/>
                      </a:cxn>
                      <a:cxn ang="0">
                        <a:pos x="T6" y="T7"/>
                      </a:cxn>
                      <a:cxn ang="0">
                        <a:pos x="T8" y="T9"/>
                      </a:cxn>
                    </a:cxnLst>
                    <a:rect l="0" t="0" r="r" b="b"/>
                    <a:pathLst>
                      <a:path w="21" h="52">
                        <a:moveTo>
                          <a:pt x="21" y="0"/>
                        </a:moveTo>
                        <a:lnTo>
                          <a:pt x="0" y="49"/>
                        </a:lnTo>
                        <a:lnTo>
                          <a:pt x="2" y="52"/>
                        </a:lnTo>
                        <a:lnTo>
                          <a:pt x="21"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590" name="Freeform 1851"/>
                  <p:cNvSpPr>
                    <a:spLocks/>
                  </p:cNvSpPr>
                  <p:nvPr/>
                </p:nvSpPr>
                <p:spPr bwMode="auto">
                  <a:xfrm>
                    <a:off x="10606" y="3179"/>
                    <a:ext cx="25" cy="61"/>
                  </a:xfrm>
                  <a:custGeom>
                    <a:avLst/>
                    <a:gdLst>
                      <a:gd name="T0" fmla="*/ 23 w 23"/>
                      <a:gd name="T1" fmla="*/ 0 h 52"/>
                      <a:gd name="T2" fmla="*/ 0 w 23"/>
                      <a:gd name="T3" fmla="*/ 52 h 52"/>
                      <a:gd name="T4" fmla="*/ 2 w 23"/>
                      <a:gd name="T5" fmla="*/ 52 h 52"/>
                      <a:gd name="T6" fmla="*/ 23 w 23"/>
                      <a:gd name="T7" fmla="*/ 0 h 52"/>
                      <a:gd name="T8" fmla="*/ 23 w 23"/>
                      <a:gd name="T9" fmla="*/ 0 h 52"/>
                    </a:gdLst>
                    <a:ahLst/>
                    <a:cxnLst>
                      <a:cxn ang="0">
                        <a:pos x="T0" y="T1"/>
                      </a:cxn>
                      <a:cxn ang="0">
                        <a:pos x="T2" y="T3"/>
                      </a:cxn>
                      <a:cxn ang="0">
                        <a:pos x="T4" y="T5"/>
                      </a:cxn>
                      <a:cxn ang="0">
                        <a:pos x="T6" y="T7"/>
                      </a:cxn>
                      <a:cxn ang="0">
                        <a:pos x="T8" y="T9"/>
                      </a:cxn>
                    </a:cxnLst>
                    <a:rect l="0" t="0" r="r" b="b"/>
                    <a:pathLst>
                      <a:path w="23" h="52">
                        <a:moveTo>
                          <a:pt x="23" y="0"/>
                        </a:moveTo>
                        <a:lnTo>
                          <a:pt x="0" y="52"/>
                        </a:lnTo>
                        <a:lnTo>
                          <a:pt x="2" y="52"/>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1591" name="Freeform 1852"/>
                  <p:cNvSpPr>
                    <a:spLocks/>
                  </p:cNvSpPr>
                  <p:nvPr/>
                </p:nvSpPr>
                <p:spPr bwMode="auto">
                  <a:xfrm>
                    <a:off x="10623" y="3188"/>
                    <a:ext cx="17" cy="52"/>
                  </a:xfrm>
                  <a:custGeom>
                    <a:avLst/>
                    <a:gdLst>
                      <a:gd name="T0" fmla="*/ 19 w 21"/>
                      <a:gd name="T1" fmla="*/ 0 h 47"/>
                      <a:gd name="T2" fmla="*/ 0 w 21"/>
                      <a:gd name="T3" fmla="*/ 47 h 47"/>
                      <a:gd name="T4" fmla="*/ 2 w 21"/>
                      <a:gd name="T5" fmla="*/ 47 h 47"/>
                      <a:gd name="T6" fmla="*/ 21 w 21"/>
                      <a:gd name="T7" fmla="*/ 0 h 47"/>
                      <a:gd name="T8" fmla="*/ 19 w 21"/>
                      <a:gd name="T9" fmla="*/ 0 h 47"/>
                    </a:gdLst>
                    <a:ahLst/>
                    <a:cxnLst>
                      <a:cxn ang="0">
                        <a:pos x="T0" y="T1"/>
                      </a:cxn>
                      <a:cxn ang="0">
                        <a:pos x="T2" y="T3"/>
                      </a:cxn>
                      <a:cxn ang="0">
                        <a:pos x="T4" y="T5"/>
                      </a:cxn>
                      <a:cxn ang="0">
                        <a:pos x="T6" y="T7"/>
                      </a:cxn>
                      <a:cxn ang="0">
                        <a:pos x="T8" y="T9"/>
                      </a:cxn>
                    </a:cxnLst>
                    <a:rect l="0" t="0" r="r" b="b"/>
                    <a:pathLst>
                      <a:path w="21" h="47">
                        <a:moveTo>
                          <a:pt x="19" y="0"/>
                        </a:moveTo>
                        <a:lnTo>
                          <a:pt x="0" y="47"/>
                        </a:lnTo>
                        <a:lnTo>
                          <a:pt x="2" y="47"/>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592" name="Freeform 1853"/>
                  <p:cNvSpPr>
                    <a:spLocks/>
                  </p:cNvSpPr>
                  <p:nvPr/>
                </p:nvSpPr>
                <p:spPr bwMode="auto">
                  <a:xfrm>
                    <a:off x="10656" y="3214"/>
                    <a:ext cx="17" cy="26"/>
                  </a:xfrm>
                  <a:custGeom>
                    <a:avLst/>
                    <a:gdLst>
                      <a:gd name="T0" fmla="*/ 9 w 12"/>
                      <a:gd name="T1" fmla="*/ 0 h 29"/>
                      <a:gd name="T2" fmla="*/ 0 w 12"/>
                      <a:gd name="T3" fmla="*/ 29 h 29"/>
                      <a:gd name="T4" fmla="*/ 0 w 12"/>
                      <a:gd name="T5" fmla="*/ 29 h 29"/>
                      <a:gd name="T6" fmla="*/ 12 w 12"/>
                      <a:gd name="T7" fmla="*/ 0 h 29"/>
                      <a:gd name="T8" fmla="*/ 9 w 12"/>
                      <a:gd name="T9" fmla="*/ 0 h 29"/>
                    </a:gdLst>
                    <a:ahLst/>
                    <a:cxnLst>
                      <a:cxn ang="0">
                        <a:pos x="T0" y="T1"/>
                      </a:cxn>
                      <a:cxn ang="0">
                        <a:pos x="T2" y="T3"/>
                      </a:cxn>
                      <a:cxn ang="0">
                        <a:pos x="T4" y="T5"/>
                      </a:cxn>
                      <a:cxn ang="0">
                        <a:pos x="T6" y="T7"/>
                      </a:cxn>
                      <a:cxn ang="0">
                        <a:pos x="T8" y="T9"/>
                      </a:cxn>
                    </a:cxnLst>
                    <a:rect l="0" t="0" r="r" b="b"/>
                    <a:pathLst>
                      <a:path w="12" h="29">
                        <a:moveTo>
                          <a:pt x="9" y="0"/>
                        </a:moveTo>
                        <a:lnTo>
                          <a:pt x="0" y="29"/>
                        </a:lnTo>
                        <a:lnTo>
                          <a:pt x="0" y="29"/>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593" name="Freeform 1854"/>
                  <p:cNvSpPr>
                    <a:spLocks/>
                  </p:cNvSpPr>
                  <p:nvPr/>
                </p:nvSpPr>
                <p:spPr bwMode="auto">
                  <a:xfrm>
                    <a:off x="10673" y="3214"/>
                    <a:ext cx="8" cy="26"/>
                  </a:xfrm>
                  <a:custGeom>
                    <a:avLst/>
                    <a:gdLst>
                      <a:gd name="T0" fmla="*/ 7 w 9"/>
                      <a:gd name="T1" fmla="*/ 0 h 21"/>
                      <a:gd name="T2" fmla="*/ 0 w 9"/>
                      <a:gd name="T3" fmla="*/ 21 h 21"/>
                      <a:gd name="T4" fmla="*/ 2 w 9"/>
                      <a:gd name="T5" fmla="*/ 21 h 21"/>
                      <a:gd name="T6" fmla="*/ 9 w 9"/>
                      <a:gd name="T7" fmla="*/ 0 h 21"/>
                      <a:gd name="T8" fmla="*/ 7 w 9"/>
                      <a:gd name="T9" fmla="*/ 0 h 21"/>
                    </a:gdLst>
                    <a:ahLst/>
                    <a:cxnLst>
                      <a:cxn ang="0">
                        <a:pos x="T0" y="T1"/>
                      </a:cxn>
                      <a:cxn ang="0">
                        <a:pos x="T2" y="T3"/>
                      </a:cxn>
                      <a:cxn ang="0">
                        <a:pos x="T4" y="T5"/>
                      </a:cxn>
                      <a:cxn ang="0">
                        <a:pos x="T6" y="T7"/>
                      </a:cxn>
                      <a:cxn ang="0">
                        <a:pos x="T8" y="T9"/>
                      </a:cxn>
                    </a:cxnLst>
                    <a:rect l="0" t="0" r="r" b="b"/>
                    <a:pathLst>
                      <a:path w="9" h="21">
                        <a:moveTo>
                          <a:pt x="7" y="0"/>
                        </a:moveTo>
                        <a:lnTo>
                          <a:pt x="0" y="21"/>
                        </a:lnTo>
                        <a:lnTo>
                          <a:pt x="2" y="21"/>
                        </a:lnTo>
                        <a:lnTo>
                          <a:pt x="9"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1594" name="Freeform 1855"/>
                  <p:cNvSpPr>
                    <a:spLocks/>
                  </p:cNvSpPr>
                  <p:nvPr/>
                </p:nvSpPr>
                <p:spPr bwMode="auto">
                  <a:xfrm>
                    <a:off x="10606" y="3179"/>
                    <a:ext cx="25" cy="61"/>
                  </a:xfrm>
                  <a:custGeom>
                    <a:avLst/>
                    <a:gdLst>
                      <a:gd name="T0" fmla="*/ 23 w 26"/>
                      <a:gd name="T1" fmla="*/ 0 h 56"/>
                      <a:gd name="T2" fmla="*/ 0 w 26"/>
                      <a:gd name="T3" fmla="*/ 54 h 56"/>
                      <a:gd name="T4" fmla="*/ 2 w 26"/>
                      <a:gd name="T5" fmla="*/ 56 h 56"/>
                      <a:gd name="T6" fmla="*/ 26 w 26"/>
                      <a:gd name="T7" fmla="*/ 2 h 56"/>
                      <a:gd name="T8" fmla="*/ 23 w 26"/>
                      <a:gd name="T9" fmla="*/ 0 h 56"/>
                    </a:gdLst>
                    <a:ahLst/>
                    <a:cxnLst>
                      <a:cxn ang="0">
                        <a:pos x="T0" y="T1"/>
                      </a:cxn>
                      <a:cxn ang="0">
                        <a:pos x="T2" y="T3"/>
                      </a:cxn>
                      <a:cxn ang="0">
                        <a:pos x="T4" y="T5"/>
                      </a:cxn>
                      <a:cxn ang="0">
                        <a:pos x="T6" y="T7"/>
                      </a:cxn>
                      <a:cxn ang="0">
                        <a:pos x="T8" y="T9"/>
                      </a:cxn>
                    </a:cxnLst>
                    <a:rect l="0" t="0" r="r" b="b"/>
                    <a:pathLst>
                      <a:path w="26" h="56">
                        <a:moveTo>
                          <a:pt x="23" y="0"/>
                        </a:moveTo>
                        <a:lnTo>
                          <a:pt x="0" y="54"/>
                        </a:lnTo>
                        <a:lnTo>
                          <a:pt x="2" y="56"/>
                        </a:lnTo>
                        <a:lnTo>
                          <a:pt x="26" y="2"/>
                        </a:lnTo>
                        <a:lnTo>
                          <a:pt x="23" y="0"/>
                        </a:lnTo>
                        <a:close/>
                      </a:path>
                    </a:pathLst>
                  </a:custGeom>
                  <a:solidFill>
                    <a:srgbClr val="01AAE5"/>
                  </a:solidFill>
                  <a:ln>
                    <a:noFill/>
                  </a:ln>
                  <a:extLst/>
                </p:spPr>
                <p:txBody>
                  <a:bodyPr/>
                  <a:lstStyle/>
                  <a:p>
                    <a:pPr eaLnBrk="1" hangingPunct="1">
                      <a:defRPr/>
                    </a:pPr>
                    <a:endParaRPr lang="zh-CN" altLang="en-US" sz="1050"/>
                  </a:p>
                </p:txBody>
              </p:sp>
              <p:sp>
                <p:nvSpPr>
                  <p:cNvPr id="1595" name="Freeform 1856"/>
                  <p:cNvSpPr>
                    <a:spLocks/>
                  </p:cNvSpPr>
                  <p:nvPr/>
                </p:nvSpPr>
                <p:spPr bwMode="auto">
                  <a:xfrm>
                    <a:off x="10665" y="3214"/>
                    <a:ext cx="8" cy="26"/>
                  </a:xfrm>
                  <a:custGeom>
                    <a:avLst/>
                    <a:gdLst>
                      <a:gd name="T0" fmla="*/ 9 w 9"/>
                      <a:gd name="T1" fmla="*/ 0 h 26"/>
                      <a:gd name="T2" fmla="*/ 0 w 9"/>
                      <a:gd name="T3" fmla="*/ 26 h 26"/>
                      <a:gd name="T4" fmla="*/ 0 w 9"/>
                      <a:gd name="T5" fmla="*/ 26 h 26"/>
                      <a:gd name="T6" fmla="*/ 9 w 9"/>
                      <a:gd name="T7" fmla="*/ 2 h 26"/>
                      <a:gd name="T8" fmla="*/ 9 w 9"/>
                      <a:gd name="T9" fmla="*/ 0 h 26"/>
                    </a:gdLst>
                    <a:ahLst/>
                    <a:cxnLst>
                      <a:cxn ang="0">
                        <a:pos x="T0" y="T1"/>
                      </a:cxn>
                      <a:cxn ang="0">
                        <a:pos x="T2" y="T3"/>
                      </a:cxn>
                      <a:cxn ang="0">
                        <a:pos x="T4" y="T5"/>
                      </a:cxn>
                      <a:cxn ang="0">
                        <a:pos x="T6" y="T7"/>
                      </a:cxn>
                      <a:cxn ang="0">
                        <a:pos x="T8" y="T9"/>
                      </a:cxn>
                    </a:cxnLst>
                    <a:rect l="0" t="0" r="r" b="b"/>
                    <a:pathLst>
                      <a:path w="9" h="26">
                        <a:moveTo>
                          <a:pt x="9" y="0"/>
                        </a:moveTo>
                        <a:lnTo>
                          <a:pt x="0" y="26"/>
                        </a:lnTo>
                        <a:lnTo>
                          <a:pt x="0" y="26"/>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596" name="Freeform 1857"/>
                  <p:cNvSpPr>
                    <a:spLocks/>
                  </p:cNvSpPr>
                  <p:nvPr/>
                </p:nvSpPr>
                <p:spPr bwMode="auto">
                  <a:xfrm>
                    <a:off x="10698"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97" name="Freeform 1858"/>
                  <p:cNvSpPr>
                    <a:spLocks/>
                  </p:cNvSpPr>
                  <p:nvPr/>
                </p:nvSpPr>
                <p:spPr bwMode="auto">
                  <a:xfrm>
                    <a:off x="10714" y="3231"/>
                    <a:ext cx="0" cy="9"/>
                  </a:xfrm>
                  <a:custGeom>
                    <a:avLst/>
                    <a:gdLst>
                      <a:gd name="T0" fmla="*/ 5 w 5"/>
                      <a:gd name="T1" fmla="*/ 0 h 12"/>
                      <a:gd name="T2" fmla="*/ 0 w 5"/>
                      <a:gd name="T3" fmla="*/ 10 h 12"/>
                      <a:gd name="T4" fmla="*/ 2 w 5"/>
                      <a:gd name="T5" fmla="*/ 12 h 12"/>
                      <a:gd name="T6" fmla="*/ 5 w 5"/>
                      <a:gd name="T7" fmla="*/ 0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0"/>
                        </a:lnTo>
                        <a:lnTo>
                          <a:pt x="2" y="12"/>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1598" name="Freeform 1859"/>
                  <p:cNvSpPr>
                    <a:spLocks/>
                  </p:cNvSpPr>
                  <p:nvPr/>
                </p:nvSpPr>
                <p:spPr bwMode="auto">
                  <a:xfrm>
                    <a:off x="10706"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1599" name="Freeform 1860"/>
                  <p:cNvSpPr>
                    <a:spLocks/>
                  </p:cNvSpPr>
                  <p:nvPr/>
                </p:nvSpPr>
                <p:spPr bwMode="auto">
                  <a:xfrm>
                    <a:off x="10690" y="3222"/>
                    <a:ext cx="0" cy="17"/>
                  </a:xfrm>
                  <a:custGeom>
                    <a:avLst/>
                    <a:gdLst>
                      <a:gd name="T0" fmla="*/ 5 w 7"/>
                      <a:gd name="T1" fmla="*/ 0 h 16"/>
                      <a:gd name="T2" fmla="*/ 0 w 7"/>
                      <a:gd name="T3" fmla="*/ 14 h 16"/>
                      <a:gd name="T4" fmla="*/ 2 w 7"/>
                      <a:gd name="T5" fmla="*/ 16 h 16"/>
                      <a:gd name="T6" fmla="*/ 7 w 7"/>
                      <a:gd name="T7" fmla="*/ 0 h 16"/>
                      <a:gd name="T8" fmla="*/ 5 w 7"/>
                      <a:gd name="T9" fmla="*/ 0 h 16"/>
                    </a:gdLst>
                    <a:ahLst/>
                    <a:cxnLst>
                      <a:cxn ang="0">
                        <a:pos x="T0" y="T1"/>
                      </a:cxn>
                      <a:cxn ang="0">
                        <a:pos x="T2" y="T3"/>
                      </a:cxn>
                      <a:cxn ang="0">
                        <a:pos x="T4" y="T5"/>
                      </a:cxn>
                      <a:cxn ang="0">
                        <a:pos x="T6" y="T7"/>
                      </a:cxn>
                      <a:cxn ang="0">
                        <a:pos x="T8" y="T9"/>
                      </a:cxn>
                    </a:cxnLst>
                    <a:rect l="0" t="0" r="r" b="b"/>
                    <a:pathLst>
                      <a:path w="7" h="16">
                        <a:moveTo>
                          <a:pt x="5" y="0"/>
                        </a:moveTo>
                        <a:lnTo>
                          <a:pt x="0" y="14"/>
                        </a:lnTo>
                        <a:lnTo>
                          <a:pt x="2" y="16"/>
                        </a:lnTo>
                        <a:lnTo>
                          <a:pt x="7"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1600" name="Freeform 1861"/>
                  <p:cNvSpPr>
                    <a:spLocks/>
                  </p:cNvSpPr>
                  <p:nvPr/>
                </p:nvSpPr>
                <p:spPr bwMode="auto">
                  <a:xfrm>
                    <a:off x="10714" y="3231"/>
                    <a:ext cx="8" cy="9"/>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1601" name="Freeform 1862"/>
                  <p:cNvSpPr>
                    <a:spLocks/>
                  </p:cNvSpPr>
                  <p:nvPr/>
                </p:nvSpPr>
                <p:spPr bwMode="auto">
                  <a:xfrm>
                    <a:off x="10681" y="3214"/>
                    <a:ext cx="8" cy="26"/>
                  </a:xfrm>
                  <a:custGeom>
                    <a:avLst/>
                    <a:gdLst>
                      <a:gd name="T0" fmla="*/ 7 w 7"/>
                      <a:gd name="T1" fmla="*/ 0 h 19"/>
                      <a:gd name="T2" fmla="*/ 0 w 7"/>
                      <a:gd name="T3" fmla="*/ 19 h 19"/>
                      <a:gd name="T4" fmla="*/ 2 w 7"/>
                      <a:gd name="T5" fmla="*/ 19 h 19"/>
                      <a:gd name="T6" fmla="*/ 7 w 7"/>
                      <a:gd name="T7" fmla="*/ 2 h 19"/>
                      <a:gd name="T8" fmla="*/ 7 w 7"/>
                      <a:gd name="T9" fmla="*/ 0 h 19"/>
                    </a:gdLst>
                    <a:ahLst/>
                    <a:cxnLst>
                      <a:cxn ang="0">
                        <a:pos x="T0" y="T1"/>
                      </a:cxn>
                      <a:cxn ang="0">
                        <a:pos x="T2" y="T3"/>
                      </a:cxn>
                      <a:cxn ang="0">
                        <a:pos x="T4" y="T5"/>
                      </a:cxn>
                      <a:cxn ang="0">
                        <a:pos x="T6" y="T7"/>
                      </a:cxn>
                      <a:cxn ang="0">
                        <a:pos x="T8" y="T9"/>
                      </a:cxn>
                    </a:cxnLst>
                    <a:rect l="0" t="0" r="r" b="b"/>
                    <a:pathLst>
                      <a:path w="7" h="19">
                        <a:moveTo>
                          <a:pt x="7" y="0"/>
                        </a:moveTo>
                        <a:lnTo>
                          <a:pt x="0" y="19"/>
                        </a:lnTo>
                        <a:lnTo>
                          <a:pt x="2" y="19"/>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602" name="Freeform 1863"/>
                  <p:cNvSpPr>
                    <a:spLocks/>
                  </p:cNvSpPr>
                  <p:nvPr/>
                </p:nvSpPr>
                <p:spPr bwMode="auto">
                  <a:xfrm>
                    <a:off x="10690" y="3222"/>
                    <a:ext cx="8" cy="17"/>
                  </a:xfrm>
                  <a:custGeom>
                    <a:avLst/>
                    <a:gdLst>
                      <a:gd name="T0" fmla="*/ 5 w 5"/>
                      <a:gd name="T1" fmla="*/ 0 h 14"/>
                      <a:gd name="T2" fmla="*/ 0 w 5"/>
                      <a:gd name="T3" fmla="*/ 14 h 14"/>
                      <a:gd name="T4" fmla="*/ 2 w 5"/>
                      <a:gd name="T5" fmla="*/ 14 h 14"/>
                      <a:gd name="T6" fmla="*/ 5 w 5"/>
                      <a:gd name="T7" fmla="*/ 0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lnTo>
                          <a:pt x="0" y="14"/>
                        </a:lnTo>
                        <a:lnTo>
                          <a:pt x="2" y="14"/>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1603" name="Freeform 1864"/>
                  <p:cNvSpPr>
                    <a:spLocks/>
                  </p:cNvSpPr>
                  <p:nvPr/>
                </p:nvSpPr>
                <p:spPr bwMode="auto">
                  <a:xfrm>
                    <a:off x="11031" y="3249"/>
                    <a:ext cx="8" cy="17"/>
                  </a:xfrm>
                  <a:custGeom>
                    <a:avLst/>
                    <a:gdLst>
                      <a:gd name="T0" fmla="*/ 0 w 5"/>
                      <a:gd name="T1" fmla="*/ 0 h 19"/>
                      <a:gd name="T2" fmla="*/ 3 w 5"/>
                      <a:gd name="T3" fmla="*/ 19 h 19"/>
                      <a:gd name="T4" fmla="*/ 5 w 5"/>
                      <a:gd name="T5" fmla="*/ 19 h 19"/>
                      <a:gd name="T6" fmla="*/ 3 w 5"/>
                      <a:gd name="T7" fmla="*/ 0 h 19"/>
                      <a:gd name="T8" fmla="*/ 0 w 5"/>
                      <a:gd name="T9" fmla="*/ 0 h 19"/>
                    </a:gdLst>
                    <a:ahLst/>
                    <a:cxnLst>
                      <a:cxn ang="0">
                        <a:pos x="T0" y="T1"/>
                      </a:cxn>
                      <a:cxn ang="0">
                        <a:pos x="T2" y="T3"/>
                      </a:cxn>
                      <a:cxn ang="0">
                        <a:pos x="T4" y="T5"/>
                      </a:cxn>
                      <a:cxn ang="0">
                        <a:pos x="T6" y="T7"/>
                      </a:cxn>
                      <a:cxn ang="0">
                        <a:pos x="T8" y="T9"/>
                      </a:cxn>
                    </a:cxnLst>
                    <a:rect l="0" t="0" r="r" b="b"/>
                    <a:pathLst>
                      <a:path w="5" h="19">
                        <a:moveTo>
                          <a:pt x="0" y="0"/>
                        </a:moveTo>
                        <a:lnTo>
                          <a:pt x="3" y="19"/>
                        </a:lnTo>
                        <a:lnTo>
                          <a:pt x="5" y="19"/>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4" name="Freeform 1865"/>
                  <p:cNvSpPr>
                    <a:spLocks/>
                  </p:cNvSpPr>
                  <p:nvPr/>
                </p:nvSpPr>
                <p:spPr bwMode="auto">
                  <a:xfrm>
                    <a:off x="11039" y="3249"/>
                    <a:ext cx="0" cy="17"/>
                  </a:xfrm>
                  <a:custGeom>
                    <a:avLst/>
                    <a:gdLst>
                      <a:gd name="T0" fmla="*/ 0 w 5"/>
                      <a:gd name="T1" fmla="*/ 0 h 16"/>
                      <a:gd name="T2" fmla="*/ 3 w 5"/>
                      <a:gd name="T3" fmla="*/ 16 h 16"/>
                      <a:gd name="T4" fmla="*/ 5 w 5"/>
                      <a:gd name="T5" fmla="*/ 16 h 16"/>
                      <a:gd name="T6" fmla="*/ 3 w 5"/>
                      <a:gd name="T7" fmla="*/ 0 h 16"/>
                      <a:gd name="T8" fmla="*/ 0 w 5"/>
                      <a:gd name="T9" fmla="*/ 0 h 16"/>
                    </a:gdLst>
                    <a:ahLst/>
                    <a:cxnLst>
                      <a:cxn ang="0">
                        <a:pos x="T0" y="T1"/>
                      </a:cxn>
                      <a:cxn ang="0">
                        <a:pos x="T2" y="T3"/>
                      </a:cxn>
                      <a:cxn ang="0">
                        <a:pos x="T4" y="T5"/>
                      </a:cxn>
                      <a:cxn ang="0">
                        <a:pos x="T6" y="T7"/>
                      </a:cxn>
                      <a:cxn ang="0">
                        <a:pos x="T8" y="T9"/>
                      </a:cxn>
                    </a:cxnLst>
                    <a:rect l="0" t="0" r="r" b="b"/>
                    <a:pathLst>
                      <a:path w="5" h="16">
                        <a:moveTo>
                          <a:pt x="0" y="0"/>
                        </a:moveTo>
                        <a:lnTo>
                          <a:pt x="3" y="16"/>
                        </a:lnTo>
                        <a:lnTo>
                          <a:pt x="5" y="1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5" name="Freeform 1866"/>
                  <p:cNvSpPr>
                    <a:spLocks/>
                  </p:cNvSpPr>
                  <p:nvPr/>
                </p:nvSpPr>
                <p:spPr bwMode="auto">
                  <a:xfrm>
                    <a:off x="11047" y="3249"/>
                    <a:ext cx="0" cy="17"/>
                  </a:xfrm>
                  <a:custGeom>
                    <a:avLst/>
                    <a:gdLst>
                      <a:gd name="T0" fmla="*/ 0 w 3"/>
                      <a:gd name="T1" fmla="*/ 0 h 14"/>
                      <a:gd name="T2" fmla="*/ 3 w 3"/>
                      <a:gd name="T3" fmla="*/ 14 h 14"/>
                      <a:gd name="T4" fmla="*/ 3 w 3"/>
                      <a:gd name="T5" fmla="*/ 14 h 14"/>
                      <a:gd name="T6" fmla="*/ 3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6" name="Freeform 1867"/>
                  <p:cNvSpPr>
                    <a:spLocks/>
                  </p:cNvSpPr>
                  <p:nvPr/>
                </p:nvSpPr>
                <p:spPr bwMode="auto">
                  <a:xfrm>
                    <a:off x="11022" y="3240"/>
                    <a:ext cx="0" cy="26"/>
                  </a:xfrm>
                  <a:custGeom>
                    <a:avLst/>
                    <a:gdLst>
                      <a:gd name="T0" fmla="*/ 0 w 5"/>
                      <a:gd name="T1" fmla="*/ 0 h 26"/>
                      <a:gd name="T2" fmla="*/ 2 w 5"/>
                      <a:gd name="T3" fmla="*/ 26 h 26"/>
                      <a:gd name="T4" fmla="*/ 5 w 5"/>
                      <a:gd name="T5" fmla="*/ 24 h 26"/>
                      <a:gd name="T6" fmla="*/ 2 w 5"/>
                      <a:gd name="T7" fmla="*/ 0 h 26"/>
                      <a:gd name="T8" fmla="*/ 0 w 5"/>
                      <a:gd name="T9" fmla="*/ 0 h 26"/>
                    </a:gdLst>
                    <a:ahLst/>
                    <a:cxnLst>
                      <a:cxn ang="0">
                        <a:pos x="T0" y="T1"/>
                      </a:cxn>
                      <a:cxn ang="0">
                        <a:pos x="T2" y="T3"/>
                      </a:cxn>
                      <a:cxn ang="0">
                        <a:pos x="T4" y="T5"/>
                      </a:cxn>
                      <a:cxn ang="0">
                        <a:pos x="T6" y="T7"/>
                      </a:cxn>
                      <a:cxn ang="0">
                        <a:pos x="T8" y="T9"/>
                      </a:cxn>
                    </a:cxnLst>
                    <a:rect l="0" t="0" r="r" b="b"/>
                    <a:pathLst>
                      <a:path w="5" h="26">
                        <a:moveTo>
                          <a:pt x="0" y="0"/>
                        </a:moveTo>
                        <a:lnTo>
                          <a:pt x="2" y="26"/>
                        </a:lnTo>
                        <a:lnTo>
                          <a:pt x="5"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7" name="Freeform 1868"/>
                  <p:cNvSpPr>
                    <a:spLocks/>
                  </p:cNvSpPr>
                  <p:nvPr/>
                </p:nvSpPr>
                <p:spPr bwMode="auto">
                  <a:xfrm>
                    <a:off x="11014" y="3240"/>
                    <a:ext cx="0" cy="35"/>
                  </a:xfrm>
                  <a:custGeom>
                    <a:avLst/>
                    <a:gdLst>
                      <a:gd name="T0" fmla="*/ 0 w 5"/>
                      <a:gd name="T1" fmla="*/ 0 h 29"/>
                      <a:gd name="T2" fmla="*/ 5 w 5"/>
                      <a:gd name="T3" fmla="*/ 29 h 29"/>
                      <a:gd name="T4" fmla="*/ 5 w 5"/>
                      <a:gd name="T5" fmla="*/ 26 h 29"/>
                      <a:gd name="T6" fmla="*/ 2 w 5"/>
                      <a:gd name="T7" fmla="*/ 0 h 29"/>
                      <a:gd name="T8" fmla="*/ 0 w 5"/>
                      <a:gd name="T9" fmla="*/ 0 h 29"/>
                    </a:gdLst>
                    <a:ahLst/>
                    <a:cxnLst>
                      <a:cxn ang="0">
                        <a:pos x="T0" y="T1"/>
                      </a:cxn>
                      <a:cxn ang="0">
                        <a:pos x="T2" y="T3"/>
                      </a:cxn>
                      <a:cxn ang="0">
                        <a:pos x="T4" y="T5"/>
                      </a:cxn>
                      <a:cxn ang="0">
                        <a:pos x="T6" y="T7"/>
                      </a:cxn>
                      <a:cxn ang="0">
                        <a:pos x="T8" y="T9"/>
                      </a:cxn>
                    </a:cxnLst>
                    <a:rect l="0" t="0" r="r" b="b"/>
                    <a:pathLst>
                      <a:path w="5" h="29">
                        <a:moveTo>
                          <a:pt x="0" y="0"/>
                        </a:moveTo>
                        <a:lnTo>
                          <a:pt x="5" y="29"/>
                        </a:lnTo>
                        <a:lnTo>
                          <a:pt x="5"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8" name="Freeform 1869"/>
                  <p:cNvSpPr>
                    <a:spLocks/>
                  </p:cNvSpPr>
                  <p:nvPr/>
                </p:nvSpPr>
                <p:spPr bwMode="auto">
                  <a:xfrm>
                    <a:off x="11006" y="3240"/>
                    <a:ext cx="8" cy="35"/>
                  </a:xfrm>
                  <a:custGeom>
                    <a:avLst/>
                    <a:gdLst>
                      <a:gd name="T0" fmla="*/ 0 w 5"/>
                      <a:gd name="T1" fmla="*/ 0 h 35"/>
                      <a:gd name="T2" fmla="*/ 3 w 5"/>
                      <a:gd name="T3" fmla="*/ 35 h 35"/>
                      <a:gd name="T4" fmla="*/ 5 w 5"/>
                      <a:gd name="T5" fmla="*/ 33 h 35"/>
                      <a:gd name="T6" fmla="*/ 0 w 5"/>
                      <a:gd name="T7" fmla="*/ 0 h 35"/>
                      <a:gd name="T8" fmla="*/ 0 w 5"/>
                      <a:gd name="T9" fmla="*/ 0 h 35"/>
                    </a:gdLst>
                    <a:ahLst/>
                    <a:cxnLst>
                      <a:cxn ang="0">
                        <a:pos x="T0" y="T1"/>
                      </a:cxn>
                      <a:cxn ang="0">
                        <a:pos x="T2" y="T3"/>
                      </a:cxn>
                      <a:cxn ang="0">
                        <a:pos x="T4" y="T5"/>
                      </a:cxn>
                      <a:cxn ang="0">
                        <a:pos x="T6" y="T7"/>
                      </a:cxn>
                      <a:cxn ang="0">
                        <a:pos x="T8" y="T9"/>
                      </a:cxn>
                    </a:cxnLst>
                    <a:rect l="0" t="0" r="r" b="b"/>
                    <a:pathLst>
                      <a:path w="5" h="35">
                        <a:moveTo>
                          <a:pt x="0" y="0"/>
                        </a:moveTo>
                        <a:lnTo>
                          <a:pt x="3" y="35"/>
                        </a:lnTo>
                        <a:lnTo>
                          <a:pt x="5" y="3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09" name="Freeform 1870"/>
                  <p:cNvSpPr>
                    <a:spLocks/>
                  </p:cNvSpPr>
                  <p:nvPr/>
                </p:nvSpPr>
                <p:spPr bwMode="auto">
                  <a:xfrm>
                    <a:off x="11014" y="3240"/>
                    <a:ext cx="0" cy="35"/>
                  </a:xfrm>
                  <a:custGeom>
                    <a:avLst/>
                    <a:gdLst>
                      <a:gd name="T0" fmla="*/ 0 w 3"/>
                      <a:gd name="T1" fmla="*/ 0 h 31"/>
                      <a:gd name="T2" fmla="*/ 3 w 3"/>
                      <a:gd name="T3" fmla="*/ 31 h 31"/>
                      <a:gd name="T4" fmla="*/ 3 w 3"/>
                      <a:gd name="T5" fmla="*/ 29 h 31"/>
                      <a:gd name="T6" fmla="*/ 0 w 3"/>
                      <a:gd name="T7" fmla="*/ 0 h 31"/>
                      <a:gd name="T8" fmla="*/ 0 w 3"/>
                      <a:gd name="T9" fmla="*/ 0 h 31"/>
                    </a:gdLst>
                    <a:ahLst/>
                    <a:cxnLst>
                      <a:cxn ang="0">
                        <a:pos x="T0" y="T1"/>
                      </a:cxn>
                      <a:cxn ang="0">
                        <a:pos x="T2" y="T3"/>
                      </a:cxn>
                      <a:cxn ang="0">
                        <a:pos x="T4" y="T5"/>
                      </a:cxn>
                      <a:cxn ang="0">
                        <a:pos x="T6" y="T7"/>
                      </a:cxn>
                      <a:cxn ang="0">
                        <a:pos x="T8" y="T9"/>
                      </a:cxn>
                    </a:cxnLst>
                    <a:rect l="0" t="0" r="r" b="b"/>
                    <a:pathLst>
                      <a:path w="3" h="31">
                        <a:moveTo>
                          <a:pt x="0" y="0"/>
                        </a:moveTo>
                        <a:lnTo>
                          <a:pt x="3" y="31"/>
                        </a:lnTo>
                        <a:lnTo>
                          <a:pt x="3" y="2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0" name="Freeform 1871"/>
                  <p:cNvSpPr>
                    <a:spLocks/>
                  </p:cNvSpPr>
                  <p:nvPr/>
                </p:nvSpPr>
                <p:spPr bwMode="auto">
                  <a:xfrm>
                    <a:off x="11047" y="3249"/>
                    <a:ext cx="8" cy="17"/>
                  </a:xfrm>
                  <a:custGeom>
                    <a:avLst/>
                    <a:gdLst>
                      <a:gd name="T0" fmla="*/ 0 w 3"/>
                      <a:gd name="T1" fmla="*/ 0 h 14"/>
                      <a:gd name="T2" fmla="*/ 3 w 3"/>
                      <a:gd name="T3" fmla="*/ 14 h 14"/>
                      <a:gd name="T4" fmla="*/ 3 w 3"/>
                      <a:gd name="T5" fmla="*/ 11 h 14"/>
                      <a:gd name="T6" fmla="*/ 0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1" name="Freeform 1872"/>
                  <p:cNvSpPr>
                    <a:spLocks/>
                  </p:cNvSpPr>
                  <p:nvPr/>
                </p:nvSpPr>
                <p:spPr bwMode="auto">
                  <a:xfrm>
                    <a:off x="11064"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2" name="Freeform 1873"/>
                  <p:cNvSpPr>
                    <a:spLocks/>
                  </p:cNvSpPr>
                  <p:nvPr/>
                </p:nvSpPr>
                <p:spPr bwMode="auto">
                  <a:xfrm>
                    <a:off x="11081" y="3240"/>
                    <a:ext cx="8" cy="17"/>
                  </a:xfrm>
                  <a:custGeom>
                    <a:avLst/>
                    <a:gdLst>
                      <a:gd name="T0" fmla="*/ 0 w 2"/>
                      <a:gd name="T1" fmla="*/ 0 h 12"/>
                      <a:gd name="T2" fmla="*/ 2 w 2"/>
                      <a:gd name="T3" fmla="*/ 12 h 12"/>
                      <a:gd name="T4" fmla="*/ 2 w 2"/>
                      <a:gd name="T5" fmla="*/ 9 h 12"/>
                      <a:gd name="T6" fmla="*/ 0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2" y="12"/>
                        </a:lnTo>
                        <a:lnTo>
                          <a:pt x="2" y="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3" name="Freeform 1874"/>
                  <p:cNvSpPr>
                    <a:spLocks/>
                  </p:cNvSpPr>
                  <p:nvPr/>
                </p:nvSpPr>
                <p:spPr bwMode="auto">
                  <a:xfrm>
                    <a:off x="11097" y="3240"/>
                    <a:ext cx="0" cy="9"/>
                  </a:xfrm>
                  <a:custGeom>
                    <a:avLst/>
                    <a:gdLst>
                      <a:gd name="T0" fmla="*/ 0 w 5"/>
                      <a:gd name="T1" fmla="*/ 3 h 12"/>
                      <a:gd name="T2" fmla="*/ 3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3"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614" name="Freeform 1875"/>
                  <p:cNvSpPr>
                    <a:spLocks/>
                  </p:cNvSpPr>
                  <p:nvPr/>
                </p:nvSpPr>
                <p:spPr bwMode="auto">
                  <a:xfrm>
                    <a:off x="11089" y="3240"/>
                    <a:ext cx="8" cy="9"/>
                  </a:xfrm>
                  <a:custGeom>
                    <a:avLst/>
                    <a:gdLst>
                      <a:gd name="T0" fmla="*/ 0 w 5"/>
                      <a:gd name="T1" fmla="*/ 0 h 11"/>
                      <a:gd name="T2" fmla="*/ 3 w 5"/>
                      <a:gd name="T3" fmla="*/ 11 h 11"/>
                      <a:gd name="T4" fmla="*/ 5 w 5"/>
                      <a:gd name="T5" fmla="*/ 11 h 11"/>
                      <a:gd name="T6" fmla="*/ 3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3" y="11"/>
                        </a:lnTo>
                        <a:lnTo>
                          <a:pt x="5"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5" name="Freeform 1876"/>
                  <p:cNvSpPr>
                    <a:spLocks/>
                  </p:cNvSpPr>
                  <p:nvPr/>
                </p:nvSpPr>
                <p:spPr bwMode="auto">
                  <a:xfrm>
                    <a:off x="11105" y="3240"/>
                    <a:ext cx="0"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6" name="Freeform 1877"/>
                  <p:cNvSpPr>
                    <a:spLocks/>
                  </p:cNvSpPr>
                  <p:nvPr/>
                </p:nvSpPr>
                <p:spPr bwMode="auto">
                  <a:xfrm>
                    <a:off x="11072"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7" name="Freeform 1878"/>
                  <p:cNvSpPr>
                    <a:spLocks/>
                  </p:cNvSpPr>
                  <p:nvPr/>
                </p:nvSpPr>
                <p:spPr bwMode="auto">
                  <a:xfrm>
                    <a:off x="11056" y="3249"/>
                    <a:ext cx="8" cy="9"/>
                  </a:xfrm>
                  <a:custGeom>
                    <a:avLst/>
                    <a:gdLst>
                      <a:gd name="T0" fmla="*/ 0 w 2"/>
                      <a:gd name="T1" fmla="*/ 0 h 11"/>
                      <a:gd name="T2" fmla="*/ 0 w 2"/>
                      <a:gd name="T3" fmla="*/ 11 h 11"/>
                      <a:gd name="T4" fmla="*/ 2 w 2"/>
                      <a:gd name="T5" fmla="*/ 11 h 11"/>
                      <a:gd name="T6" fmla="*/ 0 w 2"/>
                      <a:gd name="T7" fmla="*/ 0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1"/>
                        </a:lnTo>
                        <a:lnTo>
                          <a:pt x="2"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8" name="Freeform 1879"/>
                  <p:cNvSpPr>
                    <a:spLocks/>
                  </p:cNvSpPr>
                  <p:nvPr/>
                </p:nvSpPr>
                <p:spPr bwMode="auto">
                  <a:xfrm>
                    <a:off x="10997" y="3240"/>
                    <a:ext cx="0" cy="44"/>
                  </a:xfrm>
                  <a:custGeom>
                    <a:avLst/>
                    <a:gdLst>
                      <a:gd name="T0" fmla="*/ 0 w 5"/>
                      <a:gd name="T1" fmla="*/ 0 h 38"/>
                      <a:gd name="T2" fmla="*/ 2 w 5"/>
                      <a:gd name="T3" fmla="*/ 38 h 38"/>
                      <a:gd name="T4" fmla="*/ 5 w 5"/>
                      <a:gd name="T5" fmla="*/ 35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19" name="Freeform 1880"/>
                  <p:cNvSpPr>
                    <a:spLocks/>
                  </p:cNvSpPr>
                  <p:nvPr/>
                </p:nvSpPr>
                <p:spPr bwMode="auto">
                  <a:xfrm>
                    <a:off x="11072" y="3240"/>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20" name="Rectangle 1881"/>
                  <p:cNvSpPr>
                    <a:spLocks noChangeArrowheads="1"/>
                  </p:cNvSpPr>
                  <p:nvPr/>
                </p:nvSpPr>
                <p:spPr bwMode="auto">
                  <a:xfrm>
                    <a:off x="10956"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1621" name="Rectangle 1882"/>
                  <p:cNvSpPr>
                    <a:spLocks noChangeArrowheads="1"/>
                  </p:cNvSpPr>
                  <p:nvPr/>
                </p:nvSpPr>
                <p:spPr bwMode="auto">
                  <a:xfrm>
                    <a:off x="10897" y="3257"/>
                    <a:ext cx="0" cy="9"/>
                  </a:xfrm>
                  <a:prstGeom prst="rect">
                    <a:avLst/>
                  </a:prstGeom>
                  <a:solidFill>
                    <a:srgbClr val="01AAE5"/>
                  </a:solidFill>
                  <a:ln>
                    <a:noFill/>
                  </a:ln>
                  <a:extLst/>
                </p:spPr>
                <p:txBody>
                  <a:bodyPr/>
                  <a:lstStyle/>
                  <a:p>
                    <a:pPr eaLnBrk="1" hangingPunct="1">
                      <a:defRPr/>
                    </a:pPr>
                    <a:endParaRPr lang="zh-CN" altLang="en-US" sz="1050"/>
                  </a:p>
                </p:txBody>
              </p:sp>
              <p:sp>
                <p:nvSpPr>
                  <p:cNvPr id="1622" name="Freeform 1883"/>
                  <p:cNvSpPr>
                    <a:spLocks/>
                  </p:cNvSpPr>
                  <p:nvPr/>
                </p:nvSpPr>
                <p:spPr bwMode="auto">
                  <a:xfrm>
                    <a:off x="10897" y="3257"/>
                    <a:ext cx="0" cy="9"/>
                  </a:xfrm>
                  <a:custGeom>
                    <a:avLst/>
                    <a:gdLst>
                      <a:gd name="T0" fmla="*/ 2 w 2"/>
                      <a:gd name="T1" fmla="*/ 0 h 14"/>
                      <a:gd name="T2" fmla="*/ 0 w 2"/>
                      <a:gd name="T3" fmla="*/ 12 h 14"/>
                      <a:gd name="T4" fmla="*/ 2 w 2"/>
                      <a:gd name="T5" fmla="*/ 14 h 14"/>
                      <a:gd name="T6" fmla="*/ 2 w 2"/>
                      <a:gd name="T7" fmla="*/ 0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lnTo>
                          <a:pt x="0" y="12"/>
                        </a:lnTo>
                        <a:lnTo>
                          <a:pt x="2" y="14"/>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1623" name="Freeform 1884"/>
                  <p:cNvSpPr>
                    <a:spLocks/>
                  </p:cNvSpPr>
                  <p:nvPr/>
                </p:nvSpPr>
                <p:spPr bwMode="auto">
                  <a:xfrm>
                    <a:off x="10989" y="3240"/>
                    <a:ext cx="0" cy="44"/>
                  </a:xfrm>
                  <a:custGeom>
                    <a:avLst/>
                    <a:gdLst>
                      <a:gd name="T0" fmla="*/ 0 w 5"/>
                      <a:gd name="T1" fmla="*/ 0 h 38"/>
                      <a:gd name="T2" fmla="*/ 2 w 5"/>
                      <a:gd name="T3" fmla="*/ 38 h 38"/>
                      <a:gd name="T4" fmla="*/ 5 w 5"/>
                      <a:gd name="T5" fmla="*/ 38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24" name="Rectangle 1885"/>
                  <p:cNvSpPr>
                    <a:spLocks noChangeArrowheads="1"/>
                  </p:cNvSpPr>
                  <p:nvPr/>
                </p:nvSpPr>
                <p:spPr bwMode="auto">
                  <a:xfrm>
                    <a:off x="1089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1625" name="Freeform 1886"/>
                  <p:cNvSpPr>
                    <a:spLocks/>
                  </p:cNvSpPr>
                  <p:nvPr/>
                </p:nvSpPr>
                <p:spPr bwMode="auto">
                  <a:xfrm>
                    <a:off x="10889"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26" name="Freeform 1887"/>
                  <p:cNvSpPr>
                    <a:spLocks/>
                  </p:cNvSpPr>
                  <p:nvPr/>
                </p:nvSpPr>
                <p:spPr bwMode="auto">
                  <a:xfrm>
                    <a:off x="10897" y="3257"/>
                    <a:ext cx="0" cy="9"/>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1627" name="Freeform 1888"/>
                  <p:cNvSpPr>
                    <a:spLocks/>
                  </p:cNvSpPr>
                  <p:nvPr/>
                </p:nvSpPr>
                <p:spPr bwMode="auto">
                  <a:xfrm>
                    <a:off x="10939" y="3249"/>
                    <a:ext cx="0" cy="26"/>
                  </a:xfrm>
                  <a:custGeom>
                    <a:avLst/>
                    <a:gdLst>
                      <a:gd name="T0" fmla="*/ 0 w 2"/>
                      <a:gd name="T1" fmla="*/ 0 h 26"/>
                      <a:gd name="T2" fmla="*/ 0 w 2"/>
                      <a:gd name="T3" fmla="*/ 26 h 26"/>
                      <a:gd name="T4" fmla="*/ 0 w 2"/>
                      <a:gd name="T5" fmla="*/ 26 h 26"/>
                      <a:gd name="T6" fmla="*/ 2 w 2"/>
                      <a:gd name="T7" fmla="*/ 0 h 26"/>
                      <a:gd name="T8" fmla="*/ 0 w 2"/>
                      <a:gd name="T9" fmla="*/ 0 h 26"/>
                    </a:gdLst>
                    <a:ahLst/>
                    <a:cxnLst>
                      <a:cxn ang="0">
                        <a:pos x="T0" y="T1"/>
                      </a:cxn>
                      <a:cxn ang="0">
                        <a:pos x="T2" y="T3"/>
                      </a:cxn>
                      <a:cxn ang="0">
                        <a:pos x="T4" y="T5"/>
                      </a:cxn>
                      <a:cxn ang="0">
                        <a:pos x="T6" y="T7"/>
                      </a:cxn>
                      <a:cxn ang="0">
                        <a:pos x="T8" y="T9"/>
                      </a:cxn>
                    </a:cxnLst>
                    <a:rect l="0" t="0" r="r" b="b"/>
                    <a:pathLst>
                      <a:path w="2" h="26">
                        <a:moveTo>
                          <a:pt x="0" y="0"/>
                        </a:moveTo>
                        <a:lnTo>
                          <a:pt x="0" y="26"/>
                        </a:lnTo>
                        <a:lnTo>
                          <a:pt x="0"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28" name="Freeform 1889"/>
                  <p:cNvSpPr>
                    <a:spLocks/>
                  </p:cNvSpPr>
                  <p:nvPr/>
                </p:nvSpPr>
                <p:spPr bwMode="auto">
                  <a:xfrm>
                    <a:off x="10897"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29" name="Rectangle 1890"/>
                  <p:cNvSpPr>
                    <a:spLocks noChangeArrowheads="1"/>
                  </p:cNvSpPr>
                  <p:nvPr/>
                </p:nvSpPr>
                <p:spPr bwMode="auto">
                  <a:xfrm>
                    <a:off x="10897"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1630" name="Freeform 1891"/>
                  <p:cNvSpPr>
                    <a:spLocks/>
                  </p:cNvSpPr>
                  <p:nvPr/>
                </p:nvSpPr>
                <p:spPr bwMode="auto">
                  <a:xfrm>
                    <a:off x="10981" y="3240"/>
                    <a:ext cx="0" cy="44"/>
                  </a:xfrm>
                  <a:custGeom>
                    <a:avLst/>
                    <a:gdLst>
                      <a:gd name="T0" fmla="*/ 0 w 3"/>
                      <a:gd name="T1" fmla="*/ 0 h 40"/>
                      <a:gd name="T2" fmla="*/ 0 w 3"/>
                      <a:gd name="T3" fmla="*/ 40 h 40"/>
                      <a:gd name="T4" fmla="*/ 3 w 3"/>
                      <a:gd name="T5" fmla="*/ 40 h 40"/>
                      <a:gd name="T6" fmla="*/ 0 w 3"/>
                      <a:gd name="T7" fmla="*/ 0 h 40"/>
                      <a:gd name="T8" fmla="*/ 0 w 3"/>
                      <a:gd name="T9" fmla="*/ 0 h 40"/>
                    </a:gdLst>
                    <a:ahLst/>
                    <a:cxnLst>
                      <a:cxn ang="0">
                        <a:pos x="T0" y="T1"/>
                      </a:cxn>
                      <a:cxn ang="0">
                        <a:pos x="T2" y="T3"/>
                      </a:cxn>
                      <a:cxn ang="0">
                        <a:pos x="T4" y="T5"/>
                      </a:cxn>
                      <a:cxn ang="0">
                        <a:pos x="T6" y="T7"/>
                      </a:cxn>
                      <a:cxn ang="0">
                        <a:pos x="T8" y="T9"/>
                      </a:cxn>
                    </a:cxnLst>
                    <a:rect l="0" t="0" r="r" b="b"/>
                    <a:pathLst>
                      <a:path w="3" h="40">
                        <a:moveTo>
                          <a:pt x="0" y="0"/>
                        </a:moveTo>
                        <a:lnTo>
                          <a:pt x="0" y="40"/>
                        </a:lnTo>
                        <a:lnTo>
                          <a:pt x="3"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31" name="Freeform 1892"/>
                  <p:cNvSpPr>
                    <a:spLocks/>
                  </p:cNvSpPr>
                  <p:nvPr/>
                </p:nvSpPr>
                <p:spPr bwMode="auto">
                  <a:xfrm>
                    <a:off x="10972" y="3240"/>
                    <a:ext cx="0" cy="44"/>
                  </a:xfrm>
                  <a:custGeom>
                    <a:avLst/>
                    <a:gdLst>
                      <a:gd name="T0" fmla="*/ 0 w 2"/>
                      <a:gd name="T1" fmla="*/ 0 h 40"/>
                      <a:gd name="T2" fmla="*/ 0 w 2"/>
                      <a:gd name="T3" fmla="*/ 40 h 40"/>
                      <a:gd name="T4" fmla="*/ 2 w 2"/>
                      <a:gd name="T5" fmla="*/ 40 h 40"/>
                      <a:gd name="T6" fmla="*/ 0 w 2"/>
                      <a:gd name="T7" fmla="*/ 0 h 40"/>
                      <a:gd name="T8" fmla="*/ 0 w 2"/>
                      <a:gd name="T9" fmla="*/ 0 h 40"/>
                    </a:gdLst>
                    <a:ahLst/>
                    <a:cxnLst>
                      <a:cxn ang="0">
                        <a:pos x="T0" y="T1"/>
                      </a:cxn>
                      <a:cxn ang="0">
                        <a:pos x="T2" y="T3"/>
                      </a:cxn>
                      <a:cxn ang="0">
                        <a:pos x="T4" y="T5"/>
                      </a:cxn>
                      <a:cxn ang="0">
                        <a:pos x="T6" y="T7"/>
                      </a:cxn>
                      <a:cxn ang="0">
                        <a:pos x="T8" y="T9"/>
                      </a:cxn>
                    </a:cxnLst>
                    <a:rect l="0" t="0" r="r" b="b"/>
                    <a:pathLst>
                      <a:path w="2" h="40">
                        <a:moveTo>
                          <a:pt x="0" y="0"/>
                        </a:moveTo>
                        <a:lnTo>
                          <a:pt x="0" y="40"/>
                        </a:lnTo>
                        <a:lnTo>
                          <a:pt x="2"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32" name="Freeform 1893"/>
                  <p:cNvSpPr>
                    <a:spLocks/>
                  </p:cNvSpPr>
                  <p:nvPr/>
                </p:nvSpPr>
                <p:spPr bwMode="auto">
                  <a:xfrm>
                    <a:off x="11105" y="3240"/>
                    <a:ext cx="8"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33" name="Rectangle 1894"/>
                  <p:cNvSpPr>
                    <a:spLocks noChangeArrowheads="1"/>
                  </p:cNvSpPr>
                  <p:nvPr/>
                </p:nvSpPr>
                <p:spPr bwMode="auto">
                  <a:xfrm>
                    <a:off x="1094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1634" name="Freeform 1895"/>
                  <p:cNvSpPr>
                    <a:spLocks/>
                  </p:cNvSpPr>
                  <p:nvPr/>
                </p:nvSpPr>
                <p:spPr bwMode="auto">
                  <a:xfrm>
                    <a:off x="10947" y="3249"/>
                    <a:ext cx="0" cy="35"/>
                  </a:xfrm>
                  <a:custGeom>
                    <a:avLst/>
                    <a:gdLst>
                      <a:gd name="T0" fmla="*/ 0 w 2"/>
                      <a:gd name="T1" fmla="*/ 0 h 33"/>
                      <a:gd name="T2" fmla="*/ 2 w 2"/>
                      <a:gd name="T3" fmla="*/ 30 h 33"/>
                      <a:gd name="T4" fmla="*/ 2 w 2"/>
                      <a:gd name="T5" fmla="*/ 33 h 33"/>
                      <a:gd name="T6" fmla="*/ 2 w 2"/>
                      <a:gd name="T7" fmla="*/ 0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2" y="30"/>
                        </a:lnTo>
                        <a:lnTo>
                          <a:pt x="2"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35" name="Rectangle 1896"/>
                  <p:cNvSpPr>
                    <a:spLocks noChangeArrowheads="1"/>
                  </p:cNvSpPr>
                  <p:nvPr/>
                </p:nvSpPr>
                <p:spPr bwMode="auto">
                  <a:xfrm>
                    <a:off x="10881" y="3257"/>
                    <a:ext cx="0" cy="9"/>
                  </a:xfrm>
                  <a:prstGeom prst="rect">
                    <a:avLst/>
                  </a:prstGeom>
                  <a:solidFill>
                    <a:srgbClr val="01AAE5"/>
                  </a:solidFill>
                  <a:ln>
                    <a:noFill/>
                  </a:ln>
                  <a:extLst/>
                </p:spPr>
                <p:txBody>
                  <a:bodyPr/>
                  <a:lstStyle/>
                  <a:p>
                    <a:pPr eaLnBrk="1" hangingPunct="1">
                      <a:defRPr/>
                    </a:pPr>
                    <a:endParaRPr lang="zh-CN" altLang="en-US" sz="1050"/>
                  </a:p>
                </p:txBody>
              </p:sp>
              <p:sp>
                <p:nvSpPr>
                  <p:cNvPr id="1636" name="Rectangle 1897"/>
                  <p:cNvSpPr>
                    <a:spLocks noChangeArrowheads="1"/>
                  </p:cNvSpPr>
                  <p:nvPr/>
                </p:nvSpPr>
                <p:spPr bwMode="auto">
                  <a:xfrm>
                    <a:off x="10964"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1637" name="Freeform 1898"/>
                  <p:cNvSpPr>
                    <a:spLocks/>
                  </p:cNvSpPr>
                  <p:nvPr/>
                </p:nvSpPr>
                <p:spPr bwMode="auto">
                  <a:xfrm>
                    <a:off x="10989" y="3240"/>
                    <a:ext cx="0" cy="44"/>
                  </a:xfrm>
                  <a:custGeom>
                    <a:avLst/>
                    <a:gdLst>
                      <a:gd name="T0" fmla="*/ 0 w 5"/>
                      <a:gd name="T1" fmla="*/ 0 h 40"/>
                      <a:gd name="T2" fmla="*/ 2 w 5"/>
                      <a:gd name="T3" fmla="*/ 40 h 40"/>
                      <a:gd name="T4" fmla="*/ 5 w 5"/>
                      <a:gd name="T5" fmla="*/ 40 h 40"/>
                      <a:gd name="T6" fmla="*/ 2 w 5"/>
                      <a:gd name="T7" fmla="*/ 0 h 40"/>
                      <a:gd name="T8" fmla="*/ 0 w 5"/>
                      <a:gd name="T9" fmla="*/ 0 h 40"/>
                    </a:gdLst>
                    <a:ahLst/>
                    <a:cxnLst>
                      <a:cxn ang="0">
                        <a:pos x="T0" y="T1"/>
                      </a:cxn>
                      <a:cxn ang="0">
                        <a:pos x="T2" y="T3"/>
                      </a:cxn>
                      <a:cxn ang="0">
                        <a:pos x="T4" y="T5"/>
                      </a:cxn>
                      <a:cxn ang="0">
                        <a:pos x="T6" y="T7"/>
                      </a:cxn>
                      <a:cxn ang="0">
                        <a:pos x="T8" y="T9"/>
                      </a:cxn>
                    </a:cxnLst>
                    <a:rect l="0" t="0" r="r" b="b"/>
                    <a:pathLst>
                      <a:path w="5" h="40">
                        <a:moveTo>
                          <a:pt x="0" y="0"/>
                        </a:moveTo>
                        <a:lnTo>
                          <a:pt x="2" y="40"/>
                        </a:lnTo>
                        <a:lnTo>
                          <a:pt x="5" y="4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638" name="Freeform 1899"/>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1639" name="Freeform 1900"/>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path>
                    </a:pathLst>
                  </a:custGeom>
                  <a:noFill/>
                  <a:ln>
                    <a:noFill/>
                  </a:ln>
                  <a:extLst/>
                </p:spPr>
                <p:txBody>
                  <a:bodyPr/>
                  <a:lstStyle/>
                  <a:p>
                    <a:pPr eaLnBrk="1" hangingPunct="1">
                      <a:defRPr/>
                    </a:pPr>
                    <a:endParaRPr lang="zh-CN" altLang="en-US" sz="1050"/>
                  </a:p>
                </p:txBody>
              </p:sp>
              <p:sp>
                <p:nvSpPr>
                  <p:cNvPr id="1640" name="Freeform 1901"/>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1641" name="Freeform 1902"/>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path>
                    </a:pathLst>
                  </a:custGeom>
                  <a:noFill/>
                  <a:ln>
                    <a:noFill/>
                  </a:ln>
                  <a:extLst/>
                </p:spPr>
                <p:txBody>
                  <a:bodyPr/>
                  <a:lstStyle/>
                  <a:p>
                    <a:pPr eaLnBrk="1" hangingPunct="1">
                      <a:defRPr/>
                    </a:pPr>
                    <a:endParaRPr lang="zh-CN" altLang="en-US" sz="1050"/>
                  </a:p>
                </p:txBody>
              </p:sp>
              <p:sp>
                <p:nvSpPr>
                  <p:cNvPr id="1642" name="Freeform 1903"/>
                  <p:cNvSpPr>
                    <a:spLocks/>
                  </p:cNvSpPr>
                  <p:nvPr/>
                </p:nvSpPr>
                <p:spPr bwMode="auto">
                  <a:xfrm>
                    <a:off x="10340" y="2996"/>
                    <a:ext cx="33" cy="9"/>
                  </a:xfrm>
                  <a:custGeom>
                    <a:avLst/>
                    <a:gdLst>
                      <a:gd name="T0" fmla="*/ 22 w 24"/>
                      <a:gd name="T1" fmla="*/ 0 h 19"/>
                      <a:gd name="T2" fmla="*/ 0 w 24"/>
                      <a:gd name="T3" fmla="*/ 19 h 19"/>
                      <a:gd name="T4" fmla="*/ 0 w 24"/>
                      <a:gd name="T5" fmla="*/ 19 h 19"/>
                      <a:gd name="T6" fmla="*/ 24 w 24"/>
                      <a:gd name="T7" fmla="*/ 2 h 19"/>
                      <a:gd name="T8" fmla="*/ 22 w 24"/>
                      <a:gd name="T9" fmla="*/ 0 h 19"/>
                    </a:gdLst>
                    <a:ahLst/>
                    <a:cxnLst>
                      <a:cxn ang="0">
                        <a:pos x="T0" y="T1"/>
                      </a:cxn>
                      <a:cxn ang="0">
                        <a:pos x="T2" y="T3"/>
                      </a:cxn>
                      <a:cxn ang="0">
                        <a:pos x="T4" y="T5"/>
                      </a:cxn>
                      <a:cxn ang="0">
                        <a:pos x="T6" y="T7"/>
                      </a:cxn>
                      <a:cxn ang="0">
                        <a:pos x="T8" y="T9"/>
                      </a:cxn>
                    </a:cxnLst>
                    <a:rect l="0" t="0" r="r" b="b"/>
                    <a:pathLst>
                      <a:path w="24" h="19">
                        <a:moveTo>
                          <a:pt x="22" y="0"/>
                        </a:moveTo>
                        <a:lnTo>
                          <a:pt x="0" y="19"/>
                        </a:lnTo>
                        <a:lnTo>
                          <a:pt x="0" y="19"/>
                        </a:lnTo>
                        <a:lnTo>
                          <a:pt x="24" y="2"/>
                        </a:lnTo>
                        <a:lnTo>
                          <a:pt x="22" y="0"/>
                        </a:lnTo>
                        <a:close/>
                      </a:path>
                    </a:pathLst>
                  </a:custGeom>
                  <a:solidFill>
                    <a:srgbClr val="01AAE5"/>
                  </a:solidFill>
                  <a:ln>
                    <a:noFill/>
                  </a:ln>
                  <a:extLst/>
                </p:spPr>
                <p:txBody>
                  <a:bodyPr/>
                  <a:lstStyle/>
                  <a:p>
                    <a:pPr eaLnBrk="1" hangingPunct="1">
                      <a:defRPr/>
                    </a:pPr>
                    <a:endParaRPr lang="zh-CN" altLang="en-US" sz="1050"/>
                  </a:p>
                </p:txBody>
              </p:sp>
              <p:sp>
                <p:nvSpPr>
                  <p:cNvPr id="1643" name="Freeform 1904"/>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644" name="Freeform 1905"/>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path>
                    </a:pathLst>
                  </a:custGeom>
                  <a:noFill/>
                  <a:ln>
                    <a:noFill/>
                  </a:ln>
                  <a:extLst/>
                </p:spPr>
                <p:txBody>
                  <a:bodyPr/>
                  <a:lstStyle/>
                  <a:p>
                    <a:pPr eaLnBrk="1" hangingPunct="1">
                      <a:defRPr/>
                    </a:pPr>
                    <a:endParaRPr lang="zh-CN" altLang="en-US" sz="1050"/>
                  </a:p>
                </p:txBody>
              </p:sp>
              <p:sp>
                <p:nvSpPr>
                  <p:cNvPr id="1645" name="Freeform 1906"/>
                  <p:cNvSpPr>
                    <a:spLocks/>
                  </p:cNvSpPr>
                  <p:nvPr/>
                </p:nvSpPr>
                <p:spPr bwMode="auto">
                  <a:xfrm>
                    <a:off x="10340" y="2987"/>
                    <a:ext cx="25" cy="17"/>
                  </a:xfrm>
                  <a:custGeom>
                    <a:avLst/>
                    <a:gdLst>
                      <a:gd name="T0" fmla="*/ 21 w 21"/>
                      <a:gd name="T1" fmla="*/ 0 h 19"/>
                      <a:gd name="T2" fmla="*/ 0 w 21"/>
                      <a:gd name="T3" fmla="*/ 17 h 19"/>
                      <a:gd name="T4" fmla="*/ 2 w 21"/>
                      <a:gd name="T5" fmla="*/ 19 h 19"/>
                      <a:gd name="T6" fmla="*/ 21 w 21"/>
                      <a:gd name="T7" fmla="*/ 3 h 19"/>
                      <a:gd name="T8" fmla="*/ 21 w 21"/>
                      <a:gd name="T9" fmla="*/ 0 h 19"/>
                    </a:gdLst>
                    <a:ahLst/>
                    <a:cxnLst>
                      <a:cxn ang="0">
                        <a:pos x="T0" y="T1"/>
                      </a:cxn>
                      <a:cxn ang="0">
                        <a:pos x="T2" y="T3"/>
                      </a:cxn>
                      <a:cxn ang="0">
                        <a:pos x="T4" y="T5"/>
                      </a:cxn>
                      <a:cxn ang="0">
                        <a:pos x="T6" y="T7"/>
                      </a:cxn>
                      <a:cxn ang="0">
                        <a:pos x="T8" y="T9"/>
                      </a:cxn>
                    </a:cxnLst>
                    <a:rect l="0" t="0" r="r" b="b"/>
                    <a:pathLst>
                      <a:path w="21" h="19">
                        <a:moveTo>
                          <a:pt x="21" y="0"/>
                        </a:moveTo>
                        <a:lnTo>
                          <a:pt x="0" y="17"/>
                        </a:lnTo>
                        <a:lnTo>
                          <a:pt x="2" y="19"/>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646" name="Freeform 1907"/>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647" name="Freeform 1908"/>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path>
                    </a:pathLst>
                  </a:custGeom>
                  <a:noFill/>
                  <a:ln>
                    <a:noFill/>
                  </a:ln>
                  <a:extLst/>
                </p:spPr>
                <p:txBody>
                  <a:bodyPr/>
                  <a:lstStyle/>
                  <a:p>
                    <a:pPr eaLnBrk="1" hangingPunct="1">
                      <a:defRPr/>
                    </a:pPr>
                    <a:endParaRPr lang="zh-CN" altLang="en-US" sz="1050"/>
                  </a:p>
                </p:txBody>
              </p:sp>
              <p:sp>
                <p:nvSpPr>
                  <p:cNvPr id="1648" name="Freeform 1909"/>
                  <p:cNvSpPr>
                    <a:spLocks/>
                  </p:cNvSpPr>
                  <p:nvPr/>
                </p:nvSpPr>
                <p:spPr bwMode="auto">
                  <a:xfrm>
                    <a:off x="10340" y="2979"/>
                    <a:ext cx="8" cy="17"/>
                  </a:xfrm>
                  <a:custGeom>
                    <a:avLst/>
                    <a:gdLst>
                      <a:gd name="T0" fmla="*/ 17 w 17"/>
                      <a:gd name="T1" fmla="*/ 0 h 12"/>
                      <a:gd name="T2" fmla="*/ 0 w 17"/>
                      <a:gd name="T3" fmla="*/ 12 h 12"/>
                      <a:gd name="T4" fmla="*/ 0 w 17"/>
                      <a:gd name="T5" fmla="*/ 12 h 12"/>
                      <a:gd name="T6" fmla="*/ 17 w 17"/>
                      <a:gd name="T7" fmla="*/ 0 h 12"/>
                      <a:gd name="T8" fmla="*/ 17 w 17"/>
                      <a:gd name="T9" fmla="*/ 0 h 12"/>
                    </a:gdLst>
                    <a:ahLst/>
                    <a:cxnLst>
                      <a:cxn ang="0">
                        <a:pos x="T0" y="T1"/>
                      </a:cxn>
                      <a:cxn ang="0">
                        <a:pos x="T2" y="T3"/>
                      </a:cxn>
                      <a:cxn ang="0">
                        <a:pos x="T4" y="T5"/>
                      </a:cxn>
                      <a:cxn ang="0">
                        <a:pos x="T6" y="T7"/>
                      </a:cxn>
                      <a:cxn ang="0">
                        <a:pos x="T8" y="T9"/>
                      </a:cxn>
                    </a:cxnLst>
                    <a:rect l="0" t="0" r="r" b="b"/>
                    <a:pathLst>
                      <a:path w="17" h="12">
                        <a:moveTo>
                          <a:pt x="17" y="0"/>
                        </a:moveTo>
                        <a:lnTo>
                          <a:pt x="0" y="12"/>
                        </a:lnTo>
                        <a:lnTo>
                          <a:pt x="0" y="12"/>
                        </a:lnTo>
                        <a:lnTo>
                          <a:pt x="17" y="0"/>
                        </a:lnTo>
                        <a:lnTo>
                          <a:pt x="17" y="0"/>
                        </a:lnTo>
                        <a:close/>
                      </a:path>
                    </a:pathLst>
                  </a:custGeom>
                  <a:solidFill>
                    <a:srgbClr val="01AAE5"/>
                  </a:solidFill>
                  <a:ln>
                    <a:noFill/>
                  </a:ln>
                  <a:extLst/>
                </p:spPr>
                <p:txBody>
                  <a:bodyPr/>
                  <a:lstStyle/>
                  <a:p>
                    <a:pPr eaLnBrk="1" hangingPunct="1">
                      <a:defRPr/>
                    </a:pPr>
                    <a:endParaRPr lang="zh-CN" altLang="en-US" sz="1050"/>
                  </a:p>
                </p:txBody>
              </p:sp>
              <p:sp>
                <p:nvSpPr>
                  <p:cNvPr id="1649" name="Freeform 1910"/>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650" name="Freeform 1911"/>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path>
                    </a:pathLst>
                  </a:custGeom>
                  <a:noFill/>
                  <a:ln>
                    <a:noFill/>
                  </a:ln>
                  <a:extLst/>
                </p:spPr>
                <p:txBody>
                  <a:bodyPr/>
                  <a:lstStyle/>
                  <a:p>
                    <a:pPr eaLnBrk="1" hangingPunct="1">
                      <a:defRPr/>
                    </a:pPr>
                    <a:endParaRPr lang="zh-CN" altLang="en-US" sz="1050"/>
                  </a:p>
                </p:txBody>
              </p:sp>
              <p:sp>
                <p:nvSpPr>
                  <p:cNvPr id="1651" name="Freeform 1912"/>
                  <p:cNvSpPr>
                    <a:spLocks/>
                  </p:cNvSpPr>
                  <p:nvPr/>
                </p:nvSpPr>
                <p:spPr bwMode="auto">
                  <a:xfrm>
                    <a:off x="10398" y="3048"/>
                    <a:ext cx="25" cy="26"/>
                  </a:xfrm>
                  <a:custGeom>
                    <a:avLst/>
                    <a:gdLst>
                      <a:gd name="T0" fmla="*/ 26 w 26"/>
                      <a:gd name="T1" fmla="*/ 0 h 26"/>
                      <a:gd name="T2" fmla="*/ 0 w 26"/>
                      <a:gd name="T3" fmla="*/ 23 h 26"/>
                      <a:gd name="T4" fmla="*/ 3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3"/>
                        </a:lnTo>
                        <a:lnTo>
                          <a:pt x="3"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grpSp>
            <p:grpSp>
              <p:nvGrpSpPr>
                <p:cNvPr id="10" name="Group 2114"/>
                <p:cNvGrpSpPr>
                  <a:grpSpLocks/>
                </p:cNvGrpSpPr>
                <p:nvPr/>
              </p:nvGrpSpPr>
              <p:grpSpPr bwMode="auto">
                <a:xfrm>
                  <a:off x="16309976" y="4051300"/>
                  <a:ext cx="2141538" cy="1106488"/>
                  <a:chOff x="10274" y="2552"/>
                  <a:chExt cx="1349" cy="697"/>
                </a:xfrm>
              </p:grpSpPr>
              <p:sp>
                <p:nvSpPr>
                  <p:cNvPr id="1252" name="Freeform 1914"/>
                  <p:cNvSpPr>
                    <a:spLocks/>
                  </p:cNvSpPr>
                  <p:nvPr/>
                </p:nvSpPr>
                <p:spPr bwMode="auto">
                  <a:xfrm>
                    <a:off x="10415" y="3039"/>
                    <a:ext cx="33" cy="35"/>
                  </a:xfrm>
                  <a:custGeom>
                    <a:avLst/>
                    <a:gdLst>
                      <a:gd name="T0" fmla="*/ 26 w 26"/>
                      <a:gd name="T1" fmla="*/ 0 h 26"/>
                      <a:gd name="T2" fmla="*/ 0 w 26"/>
                      <a:gd name="T3" fmla="*/ 26 h 26"/>
                      <a:gd name="T4" fmla="*/ 2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6"/>
                        </a:lnTo>
                        <a:lnTo>
                          <a:pt x="2"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53" name="Freeform 1915"/>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54" name="Freeform 1916"/>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path>
                    </a:pathLst>
                  </a:custGeom>
                  <a:noFill/>
                  <a:ln>
                    <a:noFill/>
                  </a:ln>
                  <a:extLst/>
                </p:spPr>
                <p:txBody>
                  <a:bodyPr/>
                  <a:lstStyle/>
                  <a:p>
                    <a:pPr eaLnBrk="1" hangingPunct="1">
                      <a:defRPr/>
                    </a:pPr>
                    <a:endParaRPr lang="zh-CN" altLang="en-US" sz="1050"/>
                  </a:p>
                </p:txBody>
              </p:sp>
              <p:sp>
                <p:nvSpPr>
                  <p:cNvPr id="1255" name="Freeform 1917"/>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56" name="Freeform 1918"/>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path>
                    </a:pathLst>
                  </a:custGeom>
                  <a:noFill/>
                  <a:ln>
                    <a:noFill/>
                  </a:ln>
                  <a:extLst/>
                </p:spPr>
                <p:txBody>
                  <a:bodyPr/>
                  <a:lstStyle/>
                  <a:p>
                    <a:pPr eaLnBrk="1" hangingPunct="1">
                      <a:defRPr/>
                    </a:pPr>
                    <a:endParaRPr lang="zh-CN" altLang="en-US" sz="1050"/>
                  </a:p>
                </p:txBody>
              </p:sp>
              <p:sp>
                <p:nvSpPr>
                  <p:cNvPr id="1257" name="Freeform 1919"/>
                  <p:cNvSpPr>
                    <a:spLocks/>
                  </p:cNvSpPr>
                  <p:nvPr/>
                </p:nvSpPr>
                <p:spPr bwMode="auto">
                  <a:xfrm>
                    <a:off x="10365" y="2979"/>
                    <a:ext cx="8" cy="9"/>
                  </a:xfrm>
                  <a:custGeom>
                    <a:avLst/>
                    <a:gdLst>
                      <a:gd name="T0" fmla="*/ 14 w 17"/>
                      <a:gd name="T1" fmla="*/ 0 h 11"/>
                      <a:gd name="T2" fmla="*/ 0 w 17"/>
                      <a:gd name="T3" fmla="*/ 9 h 11"/>
                      <a:gd name="T4" fmla="*/ 3 w 17"/>
                      <a:gd name="T5" fmla="*/ 11 h 11"/>
                      <a:gd name="T6" fmla="*/ 17 w 17"/>
                      <a:gd name="T7" fmla="*/ 0 h 11"/>
                      <a:gd name="T8" fmla="*/ 14 w 17"/>
                      <a:gd name="T9" fmla="*/ 0 h 11"/>
                    </a:gdLst>
                    <a:ahLst/>
                    <a:cxnLst>
                      <a:cxn ang="0">
                        <a:pos x="T0" y="T1"/>
                      </a:cxn>
                      <a:cxn ang="0">
                        <a:pos x="T2" y="T3"/>
                      </a:cxn>
                      <a:cxn ang="0">
                        <a:pos x="T4" y="T5"/>
                      </a:cxn>
                      <a:cxn ang="0">
                        <a:pos x="T6" y="T7"/>
                      </a:cxn>
                      <a:cxn ang="0">
                        <a:pos x="T8" y="T9"/>
                      </a:cxn>
                    </a:cxnLst>
                    <a:rect l="0" t="0" r="r" b="b"/>
                    <a:pathLst>
                      <a:path w="17" h="11">
                        <a:moveTo>
                          <a:pt x="14" y="0"/>
                        </a:moveTo>
                        <a:lnTo>
                          <a:pt x="0" y="9"/>
                        </a:lnTo>
                        <a:lnTo>
                          <a:pt x="3" y="11"/>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258" name="Freeform 1920"/>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close/>
                      </a:path>
                    </a:pathLst>
                  </a:custGeom>
                  <a:solidFill>
                    <a:srgbClr val="01AAE5"/>
                  </a:solidFill>
                  <a:ln>
                    <a:noFill/>
                  </a:ln>
                  <a:extLst/>
                </p:spPr>
                <p:txBody>
                  <a:bodyPr/>
                  <a:lstStyle/>
                  <a:p>
                    <a:pPr eaLnBrk="1" hangingPunct="1">
                      <a:defRPr/>
                    </a:pPr>
                    <a:endParaRPr lang="zh-CN" altLang="en-US" sz="1050"/>
                  </a:p>
                </p:txBody>
              </p:sp>
              <p:sp>
                <p:nvSpPr>
                  <p:cNvPr id="1259" name="Freeform 1921"/>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path>
                    </a:pathLst>
                  </a:custGeom>
                  <a:noFill/>
                  <a:ln>
                    <a:noFill/>
                  </a:ln>
                  <a:extLst/>
                </p:spPr>
                <p:txBody>
                  <a:bodyPr/>
                  <a:lstStyle/>
                  <a:p>
                    <a:pPr eaLnBrk="1" hangingPunct="1">
                      <a:defRPr/>
                    </a:pPr>
                    <a:endParaRPr lang="zh-CN" altLang="en-US" sz="1050"/>
                  </a:p>
                </p:txBody>
              </p:sp>
              <p:sp>
                <p:nvSpPr>
                  <p:cNvPr id="1260" name="Freeform 1922"/>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261" name="Freeform 1923"/>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1262" name="Freeform 1924"/>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263" name="Freeform 1925"/>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1264" name="Freeform 1926"/>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265" name="Freeform 1927"/>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1266" name="Freeform 1928"/>
                  <p:cNvSpPr>
                    <a:spLocks/>
                  </p:cNvSpPr>
                  <p:nvPr/>
                </p:nvSpPr>
                <p:spPr bwMode="auto">
                  <a:xfrm>
                    <a:off x="10332" y="2926"/>
                    <a:ext cx="0" cy="0"/>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67" name="Freeform 1929"/>
                  <p:cNvSpPr>
                    <a:spLocks/>
                  </p:cNvSpPr>
                  <p:nvPr/>
                </p:nvSpPr>
                <p:spPr bwMode="auto">
                  <a:xfrm>
                    <a:off x="10365" y="2970"/>
                    <a:ext cx="8" cy="9"/>
                  </a:xfrm>
                  <a:custGeom>
                    <a:avLst/>
                    <a:gdLst>
                      <a:gd name="T0" fmla="*/ 12 w 14"/>
                      <a:gd name="T1" fmla="*/ 0 h 9"/>
                      <a:gd name="T2" fmla="*/ 0 w 14"/>
                      <a:gd name="T3" fmla="*/ 9 h 9"/>
                      <a:gd name="T4" fmla="*/ 0 w 14"/>
                      <a:gd name="T5" fmla="*/ 9 h 9"/>
                      <a:gd name="T6" fmla="*/ 14 w 14"/>
                      <a:gd name="T7" fmla="*/ 0 h 9"/>
                      <a:gd name="T8" fmla="*/ 12 w 14"/>
                      <a:gd name="T9" fmla="*/ 0 h 9"/>
                    </a:gdLst>
                    <a:ahLst/>
                    <a:cxnLst>
                      <a:cxn ang="0">
                        <a:pos x="T0" y="T1"/>
                      </a:cxn>
                      <a:cxn ang="0">
                        <a:pos x="T2" y="T3"/>
                      </a:cxn>
                      <a:cxn ang="0">
                        <a:pos x="T4" y="T5"/>
                      </a:cxn>
                      <a:cxn ang="0">
                        <a:pos x="T6" y="T7"/>
                      </a:cxn>
                      <a:cxn ang="0">
                        <a:pos x="T8" y="T9"/>
                      </a:cxn>
                    </a:cxnLst>
                    <a:rect l="0" t="0" r="r" b="b"/>
                    <a:pathLst>
                      <a:path w="14" h="9">
                        <a:moveTo>
                          <a:pt x="12" y="0"/>
                        </a:moveTo>
                        <a:lnTo>
                          <a:pt x="0" y="9"/>
                        </a:lnTo>
                        <a:lnTo>
                          <a:pt x="0" y="9"/>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268" name="Freeform 1930"/>
                  <p:cNvSpPr>
                    <a:spLocks/>
                  </p:cNvSpPr>
                  <p:nvPr/>
                </p:nvSpPr>
                <p:spPr bwMode="auto">
                  <a:xfrm>
                    <a:off x="10323" y="2909"/>
                    <a:ext cx="0" cy="9"/>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69" name="Freeform 1931"/>
                  <p:cNvSpPr>
                    <a:spLocks/>
                  </p:cNvSpPr>
                  <p:nvPr/>
                </p:nvSpPr>
                <p:spPr bwMode="auto">
                  <a:xfrm>
                    <a:off x="10415" y="3048"/>
                    <a:ext cx="17" cy="26"/>
                  </a:xfrm>
                  <a:custGeom>
                    <a:avLst/>
                    <a:gdLst>
                      <a:gd name="T0" fmla="*/ 23 w 23"/>
                      <a:gd name="T1" fmla="*/ 0 h 25"/>
                      <a:gd name="T2" fmla="*/ 0 w 23"/>
                      <a:gd name="T3" fmla="*/ 23 h 25"/>
                      <a:gd name="T4" fmla="*/ 0 w 23"/>
                      <a:gd name="T5" fmla="*/ 25 h 25"/>
                      <a:gd name="T6" fmla="*/ 23 w 23"/>
                      <a:gd name="T7" fmla="*/ 0 h 25"/>
                      <a:gd name="T8" fmla="*/ 23 w 23"/>
                      <a:gd name="T9" fmla="*/ 0 h 25"/>
                    </a:gdLst>
                    <a:ahLst/>
                    <a:cxnLst>
                      <a:cxn ang="0">
                        <a:pos x="T0" y="T1"/>
                      </a:cxn>
                      <a:cxn ang="0">
                        <a:pos x="T2" y="T3"/>
                      </a:cxn>
                      <a:cxn ang="0">
                        <a:pos x="T4" y="T5"/>
                      </a:cxn>
                      <a:cxn ang="0">
                        <a:pos x="T6" y="T7"/>
                      </a:cxn>
                      <a:cxn ang="0">
                        <a:pos x="T8" y="T9"/>
                      </a:cxn>
                    </a:cxnLst>
                    <a:rect l="0" t="0" r="r" b="b"/>
                    <a:pathLst>
                      <a:path w="23" h="25">
                        <a:moveTo>
                          <a:pt x="23" y="0"/>
                        </a:moveTo>
                        <a:lnTo>
                          <a:pt x="0" y="23"/>
                        </a:lnTo>
                        <a:lnTo>
                          <a:pt x="0" y="25"/>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1270" name="Freeform 1932"/>
                  <p:cNvSpPr>
                    <a:spLocks/>
                  </p:cNvSpPr>
                  <p:nvPr/>
                </p:nvSpPr>
                <p:spPr bwMode="auto">
                  <a:xfrm>
                    <a:off x="10315" y="2900"/>
                    <a:ext cx="17" cy="9"/>
                  </a:xfrm>
                  <a:custGeom>
                    <a:avLst/>
                    <a:gdLst>
                      <a:gd name="T0" fmla="*/ 10 w 10"/>
                      <a:gd name="T1" fmla="*/ 0 h 7"/>
                      <a:gd name="T2" fmla="*/ 0 w 10"/>
                      <a:gd name="T3" fmla="*/ 4 h 7"/>
                      <a:gd name="T4" fmla="*/ 0 w 10"/>
                      <a:gd name="T5" fmla="*/ 7 h 7"/>
                      <a:gd name="T6" fmla="*/ 10 w 10"/>
                      <a:gd name="T7" fmla="*/ 0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4"/>
                        </a:lnTo>
                        <a:lnTo>
                          <a:pt x="0" y="7"/>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271" name="Freeform 1933"/>
                  <p:cNvSpPr>
                    <a:spLocks/>
                  </p:cNvSpPr>
                  <p:nvPr/>
                </p:nvSpPr>
                <p:spPr bwMode="auto">
                  <a:xfrm>
                    <a:off x="10332" y="2926"/>
                    <a:ext cx="8" cy="9"/>
                  </a:xfrm>
                  <a:custGeom>
                    <a:avLst/>
                    <a:gdLst>
                      <a:gd name="T0" fmla="*/ 9 w 9"/>
                      <a:gd name="T1" fmla="*/ 0 h 7"/>
                      <a:gd name="T2" fmla="*/ 0 w 9"/>
                      <a:gd name="T3" fmla="*/ 5 h 7"/>
                      <a:gd name="T4" fmla="*/ 0 w 9"/>
                      <a:gd name="T5" fmla="*/ 7 h 7"/>
                      <a:gd name="T6" fmla="*/ 9 w 9"/>
                      <a:gd name="T7" fmla="*/ 0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5"/>
                        </a:lnTo>
                        <a:lnTo>
                          <a:pt x="0" y="7"/>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72" name="Freeform 1934"/>
                  <p:cNvSpPr>
                    <a:spLocks/>
                  </p:cNvSpPr>
                  <p:nvPr/>
                </p:nvSpPr>
                <p:spPr bwMode="auto">
                  <a:xfrm>
                    <a:off x="11289" y="3100"/>
                    <a:ext cx="58" cy="87"/>
                  </a:xfrm>
                  <a:custGeom>
                    <a:avLst/>
                    <a:gdLst>
                      <a:gd name="T0" fmla="*/ 0 w 57"/>
                      <a:gd name="T1" fmla="*/ 0 h 81"/>
                      <a:gd name="T2" fmla="*/ 0 w 57"/>
                      <a:gd name="T3" fmla="*/ 0 h 81"/>
                      <a:gd name="T4" fmla="*/ 57 w 57"/>
                      <a:gd name="T5" fmla="*/ 81 h 81"/>
                      <a:gd name="T6" fmla="*/ 57 w 57"/>
                      <a:gd name="T7" fmla="*/ 81 h 81"/>
                      <a:gd name="T8" fmla="*/ 2 w 57"/>
                      <a:gd name="T9" fmla="*/ 0 h 81"/>
                      <a:gd name="T10" fmla="*/ 0 w 57"/>
                      <a:gd name="T11" fmla="*/ 0 h 81"/>
                    </a:gdLst>
                    <a:ahLst/>
                    <a:cxnLst>
                      <a:cxn ang="0">
                        <a:pos x="T0" y="T1"/>
                      </a:cxn>
                      <a:cxn ang="0">
                        <a:pos x="T2" y="T3"/>
                      </a:cxn>
                      <a:cxn ang="0">
                        <a:pos x="T4" y="T5"/>
                      </a:cxn>
                      <a:cxn ang="0">
                        <a:pos x="T6" y="T7"/>
                      </a:cxn>
                      <a:cxn ang="0">
                        <a:pos x="T8" y="T9"/>
                      </a:cxn>
                      <a:cxn ang="0">
                        <a:pos x="T10" y="T11"/>
                      </a:cxn>
                    </a:cxnLst>
                    <a:rect l="0" t="0" r="r" b="b"/>
                    <a:pathLst>
                      <a:path w="57" h="81">
                        <a:moveTo>
                          <a:pt x="0" y="0"/>
                        </a:moveTo>
                        <a:lnTo>
                          <a:pt x="0" y="0"/>
                        </a:lnTo>
                        <a:lnTo>
                          <a:pt x="57" y="81"/>
                        </a:lnTo>
                        <a:lnTo>
                          <a:pt x="57" y="8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273" name="Freeform 1935"/>
                  <p:cNvSpPr>
                    <a:spLocks/>
                  </p:cNvSpPr>
                  <p:nvPr/>
                </p:nvSpPr>
                <p:spPr bwMode="auto">
                  <a:xfrm>
                    <a:off x="10307" y="2891"/>
                    <a:ext cx="17" cy="9"/>
                  </a:xfrm>
                  <a:custGeom>
                    <a:avLst/>
                    <a:gdLst>
                      <a:gd name="T0" fmla="*/ 9 w 11"/>
                      <a:gd name="T1" fmla="*/ 0 h 7"/>
                      <a:gd name="T2" fmla="*/ 0 w 11"/>
                      <a:gd name="T3" fmla="*/ 7 h 7"/>
                      <a:gd name="T4" fmla="*/ 2 w 11"/>
                      <a:gd name="T5" fmla="*/ 7 h 7"/>
                      <a:gd name="T6" fmla="*/ 11 w 11"/>
                      <a:gd name="T7" fmla="*/ 2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lnTo>
                          <a:pt x="0" y="7"/>
                        </a:lnTo>
                        <a:lnTo>
                          <a:pt x="2" y="7"/>
                        </a:lnTo>
                        <a:lnTo>
                          <a:pt x="11"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74" name="Freeform 1936"/>
                  <p:cNvSpPr>
                    <a:spLocks/>
                  </p:cNvSpPr>
                  <p:nvPr/>
                </p:nvSpPr>
                <p:spPr bwMode="auto">
                  <a:xfrm>
                    <a:off x="10307" y="2891"/>
                    <a:ext cx="17" cy="9"/>
                  </a:xfrm>
                  <a:custGeom>
                    <a:avLst/>
                    <a:gdLst>
                      <a:gd name="T0" fmla="*/ 10 w 10"/>
                      <a:gd name="T1" fmla="*/ 0 h 7"/>
                      <a:gd name="T2" fmla="*/ 0 w 10"/>
                      <a:gd name="T3" fmla="*/ 5 h 7"/>
                      <a:gd name="T4" fmla="*/ 0 w 10"/>
                      <a:gd name="T5" fmla="*/ 7 h 7"/>
                      <a:gd name="T6" fmla="*/ 10 w 10"/>
                      <a:gd name="T7" fmla="*/ 2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5"/>
                        </a:lnTo>
                        <a:lnTo>
                          <a:pt x="0" y="7"/>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275" name="Freeform 1937"/>
                  <p:cNvSpPr>
                    <a:spLocks/>
                  </p:cNvSpPr>
                  <p:nvPr/>
                </p:nvSpPr>
                <p:spPr bwMode="auto">
                  <a:xfrm>
                    <a:off x="10323" y="2918"/>
                    <a:ext cx="8" cy="9"/>
                  </a:xfrm>
                  <a:custGeom>
                    <a:avLst/>
                    <a:gdLst>
                      <a:gd name="T0" fmla="*/ 10 w 10"/>
                      <a:gd name="T1" fmla="*/ 0 h 8"/>
                      <a:gd name="T2" fmla="*/ 0 w 10"/>
                      <a:gd name="T3" fmla="*/ 5 h 8"/>
                      <a:gd name="T4" fmla="*/ 0 w 10"/>
                      <a:gd name="T5" fmla="*/ 8 h 8"/>
                      <a:gd name="T6" fmla="*/ 10 w 10"/>
                      <a:gd name="T7" fmla="*/ 0 h 8"/>
                      <a:gd name="T8" fmla="*/ 10 w 10"/>
                      <a:gd name="T9" fmla="*/ 0 h 8"/>
                    </a:gdLst>
                    <a:ahLst/>
                    <a:cxnLst>
                      <a:cxn ang="0">
                        <a:pos x="T0" y="T1"/>
                      </a:cxn>
                      <a:cxn ang="0">
                        <a:pos x="T2" y="T3"/>
                      </a:cxn>
                      <a:cxn ang="0">
                        <a:pos x="T4" y="T5"/>
                      </a:cxn>
                      <a:cxn ang="0">
                        <a:pos x="T6" y="T7"/>
                      </a:cxn>
                      <a:cxn ang="0">
                        <a:pos x="T8" y="T9"/>
                      </a:cxn>
                    </a:cxnLst>
                    <a:rect l="0" t="0" r="r" b="b"/>
                    <a:pathLst>
                      <a:path w="10" h="8">
                        <a:moveTo>
                          <a:pt x="10" y="0"/>
                        </a:moveTo>
                        <a:lnTo>
                          <a:pt x="0" y="5"/>
                        </a:lnTo>
                        <a:lnTo>
                          <a:pt x="0" y="8"/>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276" name="Freeform 1938"/>
                  <p:cNvSpPr>
                    <a:spLocks/>
                  </p:cNvSpPr>
                  <p:nvPr/>
                </p:nvSpPr>
                <p:spPr bwMode="auto">
                  <a:xfrm>
                    <a:off x="10357" y="2952"/>
                    <a:ext cx="8" cy="17"/>
                  </a:xfrm>
                  <a:custGeom>
                    <a:avLst/>
                    <a:gdLst>
                      <a:gd name="T0" fmla="*/ 9 w 12"/>
                      <a:gd name="T1" fmla="*/ 0 h 9"/>
                      <a:gd name="T2" fmla="*/ 0 w 12"/>
                      <a:gd name="T3" fmla="*/ 9 h 9"/>
                      <a:gd name="T4" fmla="*/ 0 w 12"/>
                      <a:gd name="T5" fmla="*/ 9 h 9"/>
                      <a:gd name="T6" fmla="*/ 12 w 12"/>
                      <a:gd name="T7" fmla="*/ 2 h 9"/>
                      <a:gd name="T8" fmla="*/ 9 w 12"/>
                      <a:gd name="T9" fmla="*/ 0 h 9"/>
                    </a:gdLst>
                    <a:ahLst/>
                    <a:cxnLst>
                      <a:cxn ang="0">
                        <a:pos x="T0" y="T1"/>
                      </a:cxn>
                      <a:cxn ang="0">
                        <a:pos x="T2" y="T3"/>
                      </a:cxn>
                      <a:cxn ang="0">
                        <a:pos x="T4" y="T5"/>
                      </a:cxn>
                      <a:cxn ang="0">
                        <a:pos x="T6" y="T7"/>
                      </a:cxn>
                      <a:cxn ang="0">
                        <a:pos x="T8" y="T9"/>
                      </a:cxn>
                    </a:cxnLst>
                    <a:rect l="0" t="0" r="r" b="b"/>
                    <a:pathLst>
                      <a:path w="12" h="9">
                        <a:moveTo>
                          <a:pt x="9" y="0"/>
                        </a:moveTo>
                        <a:lnTo>
                          <a:pt x="0" y="9"/>
                        </a:lnTo>
                        <a:lnTo>
                          <a:pt x="0" y="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77" name="Freeform 1939"/>
                  <p:cNvSpPr>
                    <a:spLocks/>
                  </p:cNvSpPr>
                  <p:nvPr/>
                </p:nvSpPr>
                <p:spPr bwMode="auto">
                  <a:xfrm>
                    <a:off x="10332" y="2935"/>
                    <a:ext cx="17" cy="9"/>
                  </a:xfrm>
                  <a:custGeom>
                    <a:avLst/>
                    <a:gdLst>
                      <a:gd name="T0" fmla="*/ 9 w 12"/>
                      <a:gd name="T1" fmla="*/ 0 h 7"/>
                      <a:gd name="T2" fmla="*/ 0 w 12"/>
                      <a:gd name="T3" fmla="*/ 7 h 7"/>
                      <a:gd name="T4" fmla="*/ 2 w 12"/>
                      <a:gd name="T5" fmla="*/ 7 h 7"/>
                      <a:gd name="T6" fmla="*/ 12 w 12"/>
                      <a:gd name="T7" fmla="*/ 2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2" y="7"/>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78" name="Freeform 1940"/>
                  <p:cNvSpPr>
                    <a:spLocks/>
                  </p:cNvSpPr>
                  <p:nvPr/>
                </p:nvSpPr>
                <p:spPr bwMode="auto">
                  <a:xfrm>
                    <a:off x="10357" y="2961"/>
                    <a:ext cx="8" cy="17"/>
                  </a:xfrm>
                  <a:custGeom>
                    <a:avLst/>
                    <a:gdLst>
                      <a:gd name="T0" fmla="*/ 12 w 14"/>
                      <a:gd name="T1" fmla="*/ 0 h 10"/>
                      <a:gd name="T2" fmla="*/ 0 w 14"/>
                      <a:gd name="T3" fmla="*/ 7 h 10"/>
                      <a:gd name="T4" fmla="*/ 3 w 14"/>
                      <a:gd name="T5" fmla="*/ 10 h 10"/>
                      <a:gd name="T6" fmla="*/ 14 w 14"/>
                      <a:gd name="T7" fmla="*/ 0 h 10"/>
                      <a:gd name="T8" fmla="*/ 12 w 14"/>
                      <a:gd name="T9" fmla="*/ 0 h 10"/>
                    </a:gdLst>
                    <a:ahLst/>
                    <a:cxnLst>
                      <a:cxn ang="0">
                        <a:pos x="T0" y="T1"/>
                      </a:cxn>
                      <a:cxn ang="0">
                        <a:pos x="T2" y="T3"/>
                      </a:cxn>
                      <a:cxn ang="0">
                        <a:pos x="T4" y="T5"/>
                      </a:cxn>
                      <a:cxn ang="0">
                        <a:pos x="T6" y="T7"/>
                      </a:cxn>
                      <a:cxn ang="0">
                        <a:pos x="T8" y="T9"/>
                      </a:cxn>
                    </a:cxnLst>
                    <a:rect l="0" t="0" r="r" b="b"/>
                    <a:pathLst>
                      <a:path w="14" h="10">
                        <a:moveTo>
                          <a:pt x="12" y="0"/>
                        </a:moveTo>
                        <a:lnTo>
                          <a:pt x="0" y="7"/>
                        </a:lnTo>
                        <a:lnTo>
                          <a:pt x="3" y="10"/>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279" name="Freeform 1941"/>
                  <p:cNvSpPr>
                    <a:spLocks/>
                  </p:cNvSpPr>
                  <p:nvPr/>
                </p:nvSpPr>
                <p:spPr bwMode="auto">
                  <a:xfrm>
                    <a:off x="10348" y="2952"/>
                    <a:ext cx="17" cy="9"/>
                  </a:xfrm>
                  <a:custGeom>
                    <a:avLst/>
                    <a:gdLst>
                      <a:gd name="T0" fmla="*/ 12 w 12"/>
                      <a:gd name="T1" fmla="*/ 0 h 10"/>
                      <a:gd name="T2" fmla="*/ 0 w 12"/>
                      <a:gd name="T3" fmla="*/ 7 h 10"/>
                      <a:gd name="T4" fmla="*/ 2 w 12"/>
                      <a:gd name="T5" fmla="*/ 10 h 10"/>
                      <a:gd name="T6" fmla="*/ 12 w 12"/>
                      <a:gd name="T7" fmla="*/ 3 h 10"/>
                      <a:gd name="T8" fmla="*/ 12 w 12"/>
                      <a:gd name="T9" fmla="*/ 0 h 10"/>
                    </a:gdLst>
                    <a:ahLst/>
                    <a:cxnLst>
                      <a:cxn ang="0">
                        <a:pos x="T0" y="T1"/>
                      </a:cxn>
                      <a:cxn ang="0">
                        <a:pos x="T2" y="T3"/>
                      </a:cxn>
                      <a:cxn ang="0">
                        <a:pos x="T4" y="T5"/>
                      </a:cxn>
                      <a:cxn ang="0">
                        <a:pos x="T6" y="T7"/>
                      </a:cxn>
                      <a:cxn ang="0">
                        <a:pos x="T8" y="T9"/>
                      </a:cxn>
                    </a:cxnLst>
                    <a:rect l="0" t="0" r="r" b="b"/>
                    <a:pathLst>
                      <a:path w="12" h="10">
                        <a:moveTo>
                          <a:pt x="12" y="0"/>
                        </a:moveTo>
                        <a:lnTo>
                          <a:pt x="0" y="7"/>
                        </a:lnTo>
                        <a:lnTo>
                          <a:pt x="2" y="10"/>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280" name="Freeform 1942"/>
                  <p:cNvSpPr>
                    <a:spLocks/>
                  </p:cNvSpPr>
                  <p:nvPr/>
                </p:nvSpPr>
                <p:spPr bwMode="auto">
                  <a:xfrm>
                    <a:off x="10332" y="2935"/>
                    <a:ext cx="17" cy="17"/>
                  </a:xfrm>
                  <a:custGeom>
                    <a:avLst/>
                    <a:gdLst>
                      <a:gd name="T0" fmla="*/ 9 w 9"/>
                      <a:gd name="T1" fmla="*/ 0 h 9"/>
                      <a:gd name="T2" fmla="*/ 0 w 9"/>
                      <a:gd name="T3" fmla="*/ 7 h 9"/>
                      <a:gd name="T4" fmla="*/ 0 w 9"/>
                      <a:gd name="T5" fmla="*/ 9 h 9"/>
                      <a:gd name="T6" fmla="*/ 9 w 9"/>
                      <a:gd name="T7" fmla="*/ 2 h 9"/>
                      <a:gd name="T8" fmla="*/ 9 w 9"/>
                      <a:gd name="T9" fmla="*/ 0 h 9"/>
                    </a:gdLst>
                    <a:ahLst/>
                    <a:cxnLst>
                      <a:cxn ang="0">
                        <a:pos x="T0" y="T1"/>
                      </a:cxn>
                      <a:cxn ang="0">
                        <a:pos x="T2" y="T3"/>
                      </a:cxn>
                      <a:cxn ang="0">
                        <a:pos x="T4" y="T5"/>
                      </a:cxn>
                      <a:cxn ang="0">
                        <a:pos x="T6" y="T7"/>
                      </a:cxn>
                      <a:cxn ang="0">
                        <a:pos x="T8" y="T9"/>
                      </a:cxn>
                    </a:cxnLst>
                    <a:rect l="0" t="0" r="r" b="b"/>
                    <a:pathLst>
                      <a:path w="9" h="9">
                        <a:moveTo>
                          <a:pt x="9" y="0"/>
                        </a:moveTo>
                        <a:lnTo>
                          <a:pt x="0" y="7"/>
                        </a:lnTo>
                        <a:lnTo>
                          <a:pt x="0" y="9"/>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81" name="Freeform 1943"/>
                  <p:cNvSpPr>
                    <a:spLocks/>
                  </p:cNvSpPr>
                  <p:nvPr/>
                </p:nvSpPr>
                <p:spPr bwMode="auto">
                  <a:xfrm>
                    <a:off x="10348" y="2952"/>
                    <a:ext cx="0" cy="0"/>
                  </a:xfrm>
                  <a:custGeom>
                    <a:avLst/>
                    <a:gdLst>
                      <a:gd name="T0" fmla="*/ 9 w 9"/>
                      <a:gd name="T1" fmla="*/ 0 h 7"/>
                      <a:gd name="T2" fmla="*/ 0 w 9"/>
                      <a:gd name="T3" fmla="*/ 7 h 7"/>
                      <a:gd name="T4" fmla="*/ 0 w 9"/>
                      <a:gd name="T5" fmla="*/ 7 h 7"/>
                      <a:gd name="T6" fmla="*/ 9 w 9"/>
                      <a:gd name="T7" fmla="*/ 2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7"/>
                        </a:lnTo>
                        <a:lnTo>
                          <a:pt x="0" y="7"/>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82" name="Freeform 1944"/>
                  <p:cNvSpPr>
                    <a:spLocks/>
                  </p:cNvSpPr>
                  <p:nvPr/>
                </p:nvSpPr>
                <p:spPr bwMode="auto">
                  <a:xfrm>
                    <a:off x="10340" y="2944"/>
                    <a:ext cx="17" cy="9"/>
                  </a:xfrm>
                  <a:custGeom>
                    <a:avLst/>
                    <a:gdLst>
                      <a:gd name="T0" fmla="*/ 9 w 12"/>
                      <a:gd name="T1" fmla="*/ 0 h 7"/>
                      <a:gd name="T2" fmla="*/ 0 w 12"/>
                      <a:gd name="T3" fmla="*/ 5 h 7"/>
                      <a:gd name="T4" fmla="*/ 2 w 12"/>
                      <a:gd name="T5" fmla="*/ 7 h 7"/>
                      <a:gd name="T6" fmla="*/ 12 w 12"/>
                      <a:gd name="T7" fmla="*/ 0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5"/>
                        </a:lnTo>
                        <a:lnTo>
                          <a:pt x="2" y="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283" name="Freeform 1945"/>
                  <p:cNvSpPr>
                    <a:spLocks/>
                  </p:cNvSpPr>
                  <p:nvPr/>
                </p:nvSpPr>
                <p:spPr bwMode="auto">
                  <a:xfrm>
                    <a:off x="10448" y="3092"/>
                    <a:ext cx="17" cy="17"/>
                  </a:xfrm>
                  <a:custGeom>
                    <a:avLst/>
                    <a:gdLst>
                      <a:gd name="T0" fmla="*/ 12 w 15"/>
                      <a:gd name="T1" fmla="*/ 0 h 16"/>
                      <a:gd name="T2" fmla="*/ 0 w 15"/>
                      <a:gd name="T3" fmla="*/ 14 h 16"/>
                      <a:gd name="T4" fmla="*/ 3 w 15"/>
                      <a:gd name="T5" fmla="*/ 16 h 16"/>
                      <a:gd name="T6" fmla="*/ 15 w 15"/>
                      <a:gd name="T7" fmla="*/ 2 h 16"/>
                      <a:gd name="T8" fmla="*/ 12 w 15"/>
                      <a:gd name="T9" fmla="*/ 0 h 16"/>
                    </a:gdLst>
                    <a:ahLst/>
                    <a:cxnLst>
                      <a:cxn ang="0">
                        <a:pos x="T0" y="T1"/>
                      </a:cxn>
                      <a:cxn ang="0">
                        <a:pos x="T2" y="T3"/>
                      </a:cxn>
                      <a:cxn ang="0">
                        <a:pos x="T4" y="T5"/>
                      </a:cxn>
                      <a:cxn ang="0">
                        <a:pos x="T6" y="T7"/>
                      </a:cxn>
                      <a:cxn ang="0">
                        <a:pos x="T8" y="T9"/>
                      </a:cxn>
                    </a:cxnLst>
                    <a:rect l="0" t="0" r="r" b="b"/>
                    <a:pathLst>
                      <a:path w="15" h="16">
                        <a:moveTo>
                          <a:pt x="12" y="0"/>
                        </a:moveTo>
                        <a:lnTo>
                          <a:pt x="0" y="14"/>
                        </a:lnTo>
                        <a:lnTo>
                          <a:pt x="3" y="16"/>
                        </a:lnTo>
                        <a:lnTo>
                          <a:pt x="15"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284" name="Freeform 1946"/>
                  <p:cNvSpPr>
                    <a:spLocks/>
                  </p:cNvSpPr>
                  <p:nvPr/>
                </p:nvSpPr>
                <p:spPr bwMode="auto">
                  <a:xfrm>
                    <a:off x="10548" y="3153"/>
                    <a:ext cx="8" cy="35"/>
                  </a:xfrm>
                  <a:custGeom>
                    <a:avLst/>
                    <a:gdLst>
                      <a:gd name="T0" fmla="*/ 21 w 23"/>
                      <a:gd name="T1" fmla="*/ 0 h 40"/>
                      <a:gd name="T2" fmla="*/ 0 w 23"/>
                      <a:gd name="T3" fmla="*/ 38 h 40"/>
                      <a:gd name="T4" fmla="*/ 2 w 23"/>
                      <a:gd name="T5" fmla="*/ 40 h 40"/>
                      <a:gd name="T6" fmla="*/ 23 w 23"/>
                      <a:gd name="T7" fmla="*/ 0 h 40"/>
                      <a:gd name="T8" fmla="*/ 21 w 23"/>
                      <a:gd name="T9" fmla="*/ 0 h 40"/>
                    </a:gdLst>
                    <a:ahLst/>
                    <a:cxnLst>
                      <a:cxn ang="0">
                        <a:pos x="T0" y="T1"/>
                      </a:cxn>
                      <a:cxn ang="0">
                        <a:pos x="T2" y="T3"/>
                      </a:cxn>
                      <a:cxn ang="0">
                        <a:pos x="T4" y="T5"/>
                      </a:cxn>
                      <a:cxn ang="0">
                        <a:pos x="T6" y="T7"/>
                      </a:cxn>
                      <a:cxn ang="0">
                        <a:pos x="T8" y="T9"/>
                      </a:cxn>
                    </a:cxnLst>
                    <a:rect l="0" t="0" r="r" b="b"/>
                    <a:pathLst>
                      <a:path w="23" h="40">
                        <a:moveTo>
                          <a:pt x="21" y="0"/>
                        </a:moveTo>
                        <a:lnTo>
                          <a:pt x="0" y="38"/>
                        </a:lnTo>
                        <a:lnTo>
                          <a:pt x="2" y="40"/>
                        </a:lnTo>
                        <a:lnTo>
                          <a:pt x="23"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285" name="Freeform 1947"/>
                  <p:cNvSpPr>
                    <a:spLocks/>
                  </p:cNvSpPr>
                  <p:nvPr/>
                </p:nvSpPr>
                <p:spPr bwMode="auto">
                  <a:xfrm>
                    <a:off x="10523" y="3144"/>
                    <a:ext cx="17" cy="35"/>
                  </a:xfrm>
                  <a:custGeom>
                    <a:avLst/>
                    <a:gdLst>
                      <a:gd name="T0" fmla="*/ 19 w 19"/>
                      <a:gd name="T1" fmla="*/ 0 h 31"/>
                      <a:gd name="T2" fmla="*/ 0 w 19"/>
                      <a:gd name="T3" fmla="*/ 31 h 31"/>
                      <a:gd name="T4" fmla="*/ 0 w 19"/>
                      <a:gd name="T5" fmla="*/ 31 h 31"/>
                      <a:gd name="T6" fmla="*/ 19 w 19"/>
                      <a:gd name="T7" fmla="*/ 0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lnTo>
                          <a:pt x="0" y="31"/>
                        </a:lnTo>
                        <a:lnTo>
                          <a:pt x="0" y="3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286" name="Freeform 1948"/>
                  <p:cNvSpPr>
                    <a:spLocks/>
                  </p:cNvSpPr>
                  <p:nvPr/>
                </p:nvSpPr>
                <p:spPr bwMode="auto">
                  <a:xfrm>
                    <a:off x="10531" y="3153"/>
                    <a:ext cx="17" cy="35"/>
                  </a:xfrm>
                  <a:custGeom>
                    <a:avLst/>
                    <a:gdLst>
                      <a:gd name="T0" fmla="*/ 19 w 21"/>
                      <a:gd name="T1" fmla="*/ 0 h 33"/>
                      <a:gd name="T2" fmla="*/ 0 w 21"/>
                      <a:gd name="T3" fmla="*/ 33 h 33"/>
                      <a:gd name="T4" fmla="*/ 0 w 21"/>
                      <a:gd name="T5" fmla="*/ 33 h 33"/>
                      <a:gd name="T6" fmla="*/ 21 w 21"/>
                      <a:gd name="T7" fmla="*/ 0 h 33"/>
                      <a:gd name="T8" fmla="*/ 19 w 21"/>
                      <a:gd name="T9" fmla="*/ 0 h 33"/>
                    </a:gdLst>
                    <a:ahLst/>
                    <a:cxnLst>
                      <a:cxn ang="0">
                        <a:pos x="T0" y="T1"/>
                      </a:cxn>
                      <a:cxn ang="0">
                        <a:pos x="T2" y="T3"/>
                      </a:cxn>
                      <a:cxn ang="0">
                        <a:pos x="T4" y="T5"/>
                      </a:cxn>
                      <a:cxn ang="0">
                        <a:pos x="T6" y="T7"/>
                      </a:cxn>
                      <a:cxn ang="0">
                        <a:pos x="T8" y="T9"/>
                      </a:cxn>
                    </a:cxnLst>
                    <a:rect l="0" t="0" r="r" b="b"/>
                    <a:pathLst>
                      <a:path w="21" h="33">
                        <a:moveTo>
                          <a:pt x="19" y="0"/>
                        </a:moveTo>
                        <a:lnTo>
                          <a:pt x="0" y="33"/>
                        </a:lnTo>
                        <a:lnTo>
                          <a:pt x="0" y="33"/>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287" name="Freeform 1949"/>
                  <p:cNvSpPr>
                    <a:spLocks/>
                  </p:cNvSpPr>
                  <p:nvPr/>
                </p:nvSpPr>
                <p:spPr bwMode="auto">
                  <a:xfrm>
                    <a:off x="10531" y="3153"/>
                    <a:ext cx="25" cy="35"/>
                  </a:xfrm>
                  <a:custGeom>
                    <a:avLst/>
                    <a:gdLst>
                      <a:gd name="T0" fmla="*/ 21 w 21"/>
                      <a:gd name="T1" fmla="*/ 0 h 38"/>
                      <a:gd name="T2" fmla="*/ 0 w 21"/>
                      <a:gd name="T3" fmla="*/ 35 h 38"/>
                      <a:gd name="T4" fmla="*/ 2 w 21"/>
                      <a:gd name="T5" fmla="*/ 38 h 38"/>
                      <a:gd name="T6" fmla="*/ 21 w 21"/>
                      <a:gd name="T7" fmla="*/ 0 h 38"/>
                      <a:gd name="T8" fmla="*/ 21 w 21"/>
                      <a:gd name="T9" fmla="*/ 0 h 38"/>
                    </a:gdLst>
                    <a:ahLst/>
                    <a:cxnLst>
                      <a:cxn ang="0">
                        <a:pos x="T0" y="T1"/>
                      </a:cxn>
                      <a:cxn ang="0">
                        <a:pos x="T2" y="T3"/>
                      </a:cxn>
                      <a:cxn ang="0">
                        <a:pos x="T4" y="T5"/>
                      </a:cxn>
                      <a:cxn ang="0">
                        <a:pos x="T6" y="T7"/>
                      </a:cxn>
                      <a:cxn ang="0">
                        <a:pos x="T8" y="T9"/>
                      </a:cxn>
                    </a:cxnLst>
                    <a:rect l="0" t="0" r="r" b="b"/>
                    <a:pathLst>
                      <a:path w="21" h="38">
                        <a:moveTo>
                          <a:pt x="21" y="0"/>
                        </a:moveTo>
                        <a:lnTo>
                          <a:pt x="0" y="35"/>
                        </a:lnTo>
                        <a:lnTo>
                          <a:pt x="2" y="38"/>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288" name="Freeform 1950"/>
                  <p:cNvSpPr>
                    <a:spLocks/>
                  </p:cNvSpPr>
                  <p:nvPr/>
                </p:nvSpPr>
                <p:spPr bwMode="auto">
                  <a:xfrm>
                    <a:off x="10523" y="3144"/>
                    <a:ext cx="17" cy="26"/>
                  </a:xfrm>
                  <a:custGeom>
                    <a:avLst/>
                    <a:gdLst>
                      <a:gd name="T0" fmla="*/ 16 w 19"/>
                      <a:gd name="T1" fmla="*/ 0 h 28"/>
                      <a:gd name="T2" fmla="*/ 0 w 19"/>
                      <a:gd name="T3" fmla="*/ 26 h 28"/>
                      <a:gd name="T4" fmla="*/ 0 w 19"/>
                      <a:gd name="T5" fmla="*/ 28 h 28"/>
                      <a:gd name="T6" fmla="*/ 19 w 19"/>
                      <a:gd name="T7" fmla="*/ 0 h 28"/>
                      <a:gd name="T8" fmla="*/ 16 w 19"/>
                      <a:gd name="T9" fmla="*/ 0 h 28"/>
                    </a:gdLst>
                    <a:ahLst/>
                    <a:cxnLst>
                      <a:cxn ang="0">
                        <a:pos x="T0" y="T1"/>
                      </a:cxn>
                      <a:cxn ang="0">
                        <a:pos x="T2" y="T3"/>
                      </a:cxn>
                      <a:cxn ang="0">
                        <a:pos x="T4" y="T5"/>
                      </a:cxn>
                      <a:cxn ang="0">
                        <a:pos x="T6" y="T7"/>
                      </a:cxn>
                      <a:cxn ang="0">
                        <a:pos x="T8" y="T9"/>
                      </a:cxn>
                    </a:cxnLst>
                    <a:rect l="0" t="0" r="r" b="b"/>
                    <a:pathLst>
                      <a:path w="19" h="28">
                        <a:moveTo>
                          <a:pt x="16" y="0"/>
                        </a:moveTo>
                        <a:lnTo>
                          <a:pt x="0" y="26"/>
                        </a:lnTo>
                        <a:lnTo>
                          <a:pt x="0" y="28"/>
                        </a:lnTo>
                        <a:lnTo>
                          <a:pt x="19"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1289" name="Freeform 1951"/>
                  <p:cNvSpPr>
                    <a:spLocks/>
                  </p:cNvSpPr>
                  <p:nvPr/>
                </p:nvSpPr>
                <p:spPr bwMode="auto">
                  <a:xfrm>
                    <a:off x="10506" y="3135"/>
                    <a:ext cx="17" cy="26"/>
                  </a:xfrm>
                  <a:custGeom>
                    <a:avLst/>
                    <a:gdLst>
                      <a:gd name="T0" fmla="*/ 12 w 15"/>
                      <a:gd name="T1" fmla="*/ 0 h 18"/>
                      <a:gd name="T2" fmla="*/ 0 w 15"/>
                      <a:gd name="T3" fmla="*/ 18 h 18"/>
                      <a:gd name="T4" fmla="*/ 0 w 15"/>
                      <a:gd name="T5" fmla="*/ 18 h 18"/>
                      <a:gd name="T6" fmla="*/ 15 w 15"/>
                      <a:gd name="T7" fmla="*/ 0 h 18"/>
                      <a:gd name="T8" fmla="*/ 12 w 15"/>
                      <a:gd name="T9" fmla="*/ 0 h 18"/>
                    </a:gdLst>
                    <a:ahLst/>
                    <a:cxnLst>
                      <a:cxn ang="0">
                        <a:pos x="T0" y="T1"/>
                      </a:cxn>
                      <a:cxn ang="0">
                        <a:pos x="T2" y="T3"/>
                      </a:cxn>
                      <a:cxn ang="0">
                        <a:pos x="T4" y="T5"/>
                      </a:cxn>
                      <a:cxn ang="0">
                        <a:pos x="T6" y="T7"/>
                      </a:cxn>
                      <a:cxn ang="0">
                        <a:pos x="T8" y="T9"/>
                      </a:cxn>
                    </a:cxnLst>
                    <a:rect l="0" t="0" r="r" b="b"/>
                    <a:pathLst>
                      <a:path w="15" h="18">
                        <a:moveTo>
                          <a:pt x="12" y="0"/>
                        </a:moveTo>
                        <a:lnTo>
                          <a:pt x="0" y="18"/>
                        </a:lnTo>
                        <a:lnTo>
                          <a:pt x="0" y="18"/>
                        </a:lnTo>
                        <a:lnTo>
                          <a:pt x="15"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290" name="Freeform 1952"/>
                  <p:cNvSpPr>
                    <a:spLocks/>
                  </p:cNvSpPr>
                  <p:nvPr/>
                </p:nvSpPr>
                <p:spPr bwMode="auto">
                  <a:xfrm>
                    <a:off x="10515" y="3144"/>
                    <a:ext cx="17" cy="17"/>
                  </a:xfrm>
                  <a:custGeom>
                    <a:avLst/>
                    <a:gdLst>
                      <a:gd name="T0" fmla="*/ 14 w 16"/>
                      <a:gd name="T1" fmla="*/ 0 h 26"/>
                      <a:gd name="T2" fmla="*/ 0 w 16"/>
                      <a:gd name="T3" fmla="*/ 24 h 26"/>
                      <a:gd name="T4" fmla="*/ 0 w 16"/>
                      <a:gd name="T5" fmla="*/ 26 h 26"/>
                      <a:gd name="T6" fmla="*/ 16 w 16"/>
                      <a:gd name="T7" fmla="*/ 0 h 26"/>
                      <a:gd name="T8" fmla="*/ 14 w 16"/>
                      <a:gd name="T9" fmla="*/ 0 h 26"/>
                    </a:gdLst>
                    <a:ahLst/>
                    <a:cxnLst>
                      <a:cxn ang="0">
                        <a:pos x="T0" y="T1"/>
                      </a:cxn>
                      <a:cxn ang="0">
                        <a:pos x="T2" y="T3"/>
                      </a:cxn>
                      <a:cxn ang="0">
                        <a:pos x="T4" y="T5"/>
                      </a:cxn>
                      <a:cxn ang="0">
                        <a:pos x="T6" y="T7"/>
                      </a:cxn>
                      <a:cxn ang="0">
                        <a:pos x="T8" y="T9"/>
                      </a:cxn>
                    </a:cxnLst>
                    <a:rect l="0" t="0" r="r" b="b"/>
                    <a:pathLst>
                      <a:path w="16" h="26">
                        <a:moveTo>
                          <a:pt x="14" y="0"/>
                        </a:moveTo>
                        <a:lnTo>
                          <a:pt x="0" y="24"/>
                        </a:lnTo>
                        <a:lnTo>
                          <a:pt x="0" y="26"/>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291" name="Freeform 1953"/>
                  <p:cNvSpPr>
                    <a:spLocks/>
                  </p:cNvSpPr>
                  <p:nvPr/>
                </p:nvSpPr>
                <p:spPr bwMode="auto">
                  <a:xfrm>
                    <a:off x="10515" y="3135"/>
                    <a:ext cx="17" cy="26"/>
                  </a:xfrm>
                  <a:custGeom>
                    <a:avLst/>
                    <a:gdLst>
                      <a:gd name="T0" fmla="*/ 14 w 14"/>
                      <a:gd name="T1" fmla="*/ 0 h 21"/>
                      <a:gd name="T2" fmla="*/ 0 w 14"/>
                      <a:gd name="T3" fmla="*/ 21 h 21"/>
                      <a:gd name="T4" fmla="*/ 0 w 14"/>
                      <a:gd name="T5" fmla="*/ 21 h 21"/>
                      <a:gd name="T6" fmla="*/ 14 w 14"/>
                      <a:gd name="T7" fmla="*/ 0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0" y="21"/>
                        </a:lnTo>
                        <a:lnTo>
                          <a:pt x="0" y="21"/>
                        </a:lnTo>
                        <a:lnTo>
                          <a:pt x="14"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292" name="Freeform 1954"/>
                  <p:cNvSpPr>
                    <a:spLocks/>
                  </p:cNvSpPr>
                  <p:nvPr/>
                </p:nvSpPr>
                <p:spPr bwMode="auto">
                  <a:xfrm>
                    <a:off x="10548" y="3161"/>
                    <a:ext cx="25" cy="35"/>
                  </a:xfrm>
                  <a:custGeom>
                    <a:avLst/>
                    <a:gdLst>
                      <a:gd name="T0" fmla="*/ 24 w 26"/>
                      <a:gd name="T1" fmla="*/ 0 h 43"/>
                      <a:gd name="T2" fmla="*/ 0 w 26"/>
                      <a:gd name="T3" fmla="*/ 41 h 43"/>
                      <a:gd name="T4" fmla="*/ 3 w 26"/>
                      <a:gd name="T5" fmla="*/ 43 h 43"/>
                      <a:gd name="T6" fmla="*/ 26 w 26"/>
                      <a:gd name="T7" fmla="*/ 0 h 43"/>
                      <a:gd name="T8" fmla="*/ 24 w 26"/>
                      <a:gd name="T9" fmla="*/ 0 h 43"/>
                    </a:gdLst>
                    <a:ahLst/>
                    <a:cxnLst>
                      <a:cxn ang="0">
                        <a:pos x="T0" y="T1"/>
                      </a:cxn>
                      <a:cxn ang="0">
                        <a:pos x="T2" y="T3"/>
                      </a:cxn>
                      <a:cxn ang="0">
                        <a:pos x="T4" y="T5"/>
                      </a:cxn>
                      <a:cxn ang="0">
                        <a:pos x="T6" y="T7"/>
                      </a:cxn>
                      <a:cxn ang="0">
                        <a:pos x="T8" y="T9"/>
                      </a:cxn>
                    </a:cxnLst>
                    <a:rect l="0" t="0" r="r" b="b"/>
                    <a:pathLst>
                      <a:path w="26" h="43">
                        <a:moveTo>
                          <a:pt x="24" y="0"/>
                        </a:moveTo>
                        <a:lnTo>
                          <a:pt x="0" y="41"/>
                        </a:lnTo>
                        <a:lnTo>
                          <a:pt x="3" y="43"/>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1293" name="Freeform 1955"/>
                  <p:cNvSpPr>
                    <a:spLocks/>
                  </p:cNvSpPr>
                  <p:nvPr/>
                </p:nvSpPr>
                <p:spPr bwMode="auto">
                  <a:xfrm>
                    <a:off x="10573" y="3170"/>
                    <a:ext cx="33" cy="52"/>
                  </a:xfrm>
                  <a:custGeom>
                    <a:avLst/>
                    <a:gdLst>
                      <a:gd name="T0" fmla="*/ 29 w 29"/>
                      <a:gd name="T1" fmla="*/ 0 h 54"/>
                      <a:gd name="T2" fmla="*/ 0 w 29"/>
                      <a:gd name="T3" fmla="*/ 54 h 54"/>
                      <a:gd name="T4" fmla="*/ 3 w 29"/>
                      <a:gd name="T5" fmla="*/ 54 h 54"/>
                      <a:gd name="T6" fmla="*/ 29 w 29"/>
                      <a:gd name="T7" fmla="*/ 0 h 54"/>
                      <a:gd name="T8" fmla="*/ 29 w 29"/>
                      <a:gd name="T9" fmla="*/ 0 h 54"/>
                    </a:gdLst>
                    <a:ahLst/>
                    <a:cxnLst>
                      <a:cxn ang="0">
                        <a:pos x="T0" y="T1"/>
                      </a:cxn>
                      <a:cxn ang="0">
                        <a:pos x="T2" y="T3"/>
                      </a:cxn>
                      <a:cxn ang="0">
                        <a:pos x="T4" y="T5"/>
                      </a:cxn>
                      <a:cxn ang="0">
                        <a:pos x="T6" y="T7"/>
                      </a:cxn>
                      <a:cxn ang="0">
                        <a:pos x="T8" y="T9"/>
                      </a:cxn>
                    </a:cxnLst>
                    <a:rect l="0" t="0" r="r" b="b"/>
                    <a:pathLst>
                      <a:path w="29" h="54">
                        <a:moveTo>
                          <a:pt x="29" y="0"/>
                        </a:moveTo>
                        <a:lnTo>
                          <a:pt x="0" y="54"/>
                        </a:lnTo>
                        <a:lnTo>
                          <a:pt x="3" y="54"/>
                        </a:lnTo>
                        <a:lnTo>
                          <a:pt x="29" y="0"/>
                        </a:lnTo>
                        <a:lnTo>
                          <a:pt x="29" y="0"/>
                        </a:lnTo>
                        <a:close/>
                      </a:path>
                    </a:pathLst>
                  </a:custGeom>
                  <a:solidFill>
                    <a:srgbClr val="01AAE5"/>
                  </a:solidFill>
                  <a:ln>
                    <a:noFill/>
                  </a:ln>
                  <a:extLst/>
                </p:spPr>
                <p:txBody>
                  <a:bodyPr/>
                  <a:lstStyle/>
                  <a:p>
                    <a:pPr eaLnBrk="1" hangingPunct="1">
                      <a:defRPr/>
                    </a:pPr>
                    <a:endParaRPr lang="zh-CN" altLang="en-US" sz="1050"/>
                  </a:p>
                </p:txBody>
              </p:sp>
              <p:sp>
                <p:nvSpPr>
                  <p:cNvPr id="1294" name="Freeform 1956"/>
                  <p:cNvSpPr>
                    <a:spLocks/>
                  </p:cNvSpPr>
                  <p:nvPr/>
                </p:nvSpPr>
                <p:spPr bwMode="auto">
                  <a:xfrm>
                    <a:off x="10573" y="3161"/>
                    <a:ext cx="33" cy="61"/>
                  </a:xfrm>
                  <a:custGeom>
                    <a:avLst/>
                    <a:gdLst>
                      <a:gd name="T0" fmla="*/ 26 w 28"/>
                      <a:gd name="T1" fmla="*/ 0 h 55"/>
                      <a:gd name="T2" fmla="*/ 0 w 28"/>
                      <a:gd name="T3" fmla="*/ 52 h 55"/>
                      <a:gd name="T4" fmla="*/ 2 w 28"/>
                      <a:gd name="T5" fmla="*/ 55 h 55"/>
                      <a:gd name="T6" fmla="*/ 28 w 28"/>
                      <a:gd name="T7" fmla="*/ 0 h 55"/>
                      <a:gd name="T8" fmla="*/ 26 w 28"/>
                      <a:gd name="T9" fmla="*/ 0 h 55"/>
                    </a:gdLst>
                    <a:ahLst/>
                    <a:cxnLst>
                      <a:cxn ang="0">
                        <a:pos x="T0" y="T1"/>
                      </a:cxn>
                      <a:cxn ang="0">
                        <a:pos x="T2" y="T3"/>
                      </a:cxn>
                      <a:cxn ang="0">
                        <a:pos x="T4" y="T5"/>
                      </a:cxn>
                      <a:cxn ang="0">
                        <a:pos x="T6" y="T7"/>
                      </a:cxn>
                      <a:cxn ang="0">
                        <a:pos x="T8" y="T9"/>
                      </a:cxn>
                    </a:cxnLst>
                    <a:rect l="0" t="0" r="r" b="b"/>
                    <a:pathLst>
                      <a:path w="28" h="55">
                        <a:moveTo>
                          <a:pt x="26" y="0"/>
                        </a:moveTo>
                        <a:lnTo>
                          <a:pt x="0" y="52"/>
                        </a:lnTo>
                        <a:lnTo>
                          <a:pt x="2" y="55"/>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95" name="Freeform 1957"/>
                  <p:cNvSpPr>
                    <a:spLocks/>
                  </p:cNvSpPr>
                  <p:nvPr/>
                </p:nvSpPr>
                <p:spPr bwMode="auto">
                  <a:xfrm>
                    <a:off x="10565" y="3161"/>
                    <a:ext cx="25" cy="61"/>
                  </a:xfrm>
                  <a:custGeom>
                    <a:avLst/>
                    <a:gdLst>
                      <a:gd name="T0" fmla="*/ 28 w 28"/>
                      <a:gd name="T1" fmla="*/ 0 h 52"/>
                      <a:gd name="T2" fmla="*/ 0 w 28"/>
                      <a:gd name="T3" fmla="*/ 52 h 52"/>
                      <a:gd name="T4" fmla="*/ 2 w 28"/>
                      <a:gd name="T5" fmla="*/ 52 h 52"/>
                      <a:gd name="T6" fmla="*/ 28 w 28"/>
                      <a:gd name="T7" fmla="*/ 0 h 52"/>
                      <a:gd name="T8" fmla="*/ 28 w 28"/>
                      <a:gd name="T9" fmla="*/ 0 h 52"/>
                    </a:gdLst>
                    <a:ahLst/>
                    <a:cxnLst>
                      <a:cxn ang="0">
                        <a:pos x="T0" y="T1"/>
                      </a:cxn>
                      <a:cxn ang="0">
                        <a:pos x="T2" y="T3"/>
                      </a:cxn>
                      <a:cxn ang="0">
                        <a:pos x="T4" y="T5"/>
                      </a:cxn>
                      <a:cxn ang="0">
                        <a:pos x="T6" y="T7"/>
                      </a:cxn>
                      <a:cxn ang="0">
                        <a:pos x="T8" y="T9"/>
                      </a:cxn>
                    </a:cxnLst>
                    <a:rect l="0" t="0" r="r" b="b"/>
                    <a:pathLst>
                      <a:path w="28" h="52">
                        <a:moveTo>
                          <a:pt x="28" y="0"/>
                        </a:moveTo>
                        <a:lnTo>
                          <a:pt x="0" y="52"/>
                        </a:lnTo>
                        <a:lnTo>
                          <a:pt x="2" y="52"/>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1296" name="Freeform 1958"/>
                  <p:cNvSpPr>
                    <a:spLocks/>
                  </p:cNvSpPr>
                  <p:nvPr/>
                </p:nvSpPr>
                <p:spPr bwMode="auto">
                  <a:xfrm>
                    <a:off x="10590" y="3170"/>
                    <a:ext cx="25" cy="61"/>
                  </a:xfrm>
                  <a:custGeom>
                    <a:avLst/>
                    <a:gdLst>
                      <a:gd name="T0" fmla="*/ 26 w 29"/>
                      <a:gd name="T1" fmla="*/ 0 h 57"/>
                      <a:gd name="T2" fmla="*/ 0 w 29"/>
                      <a:gd name="T3" fmla="*/ 57 h 57"/>
                      <a:gd name="T4" fmla="*/ 3 w 29"/>
                      <a:gd name="T5" fmla="*/ 57 h 57"/>
                      <a:gd name="T6" fmla="*/ 29 w 29"/>
                      <a:gd name="T7" fmla="*/ 0 h 57"/>
                      <a:gd name="T8" fmla="*/ 26 w 29"/>
                      <a:gd name="T9" fmla="*/ 0 h 57"/>
                    </a:gdLst>
                    <a:ahLst/>
                    <a:cxnLst>
                      <a:cxn ang="0">
                        <a:pos x="T0" y="T1"/>
                      </a:cxn>
                      <a:cxn ang="0">
                        <a:pos x="T2" y="T3"/>
                      </a:cxn>
                      <a:cxn ang="0">
                        <a:pos x="T4" y="T5"/>
                      </a:cxn>
                      <a:cxn ang="0">
                        <a:pos x="T6" y="T7"/>
                      </a:cxn>
                      <a:cxn ang="0">
                        <a:pos x="T8" y="T9"/>
                      </a:cxn>
                    </a:cxnLst>
                    <a:rect l="0" t="0" r="r" b="b"/>
                    <a:pathLst>
                      <a:path w="29" h="57">
                        <a:moveTo>
                          <a:pt x="26" y="0"/>
                        </a:moveTo>
                        <a:lnTo>
                          <a:pt x="0" y="57"/>
                        </a:lnTo>
                        <a:lnTo>
                          <a:pt x="3" y="57"/>
                        </a:lnTo>
                        <a:lnTo>
                          <a:pt x="29"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97" name="Freeform 1959"/>
                  <p:cNvSpPr>
                    <a:spLocks/>
                  </p:cNvSpPr>
                  <p:nvPr/>
                </p:nvSpPr>
                <p:spPr bwMode="auto">
                  <a:xfrm>
                    <a:off x="10556" y="3161"/>
                    <a:ext cx="33" cy="52"/>
                  </a:xfrm>
                  <a:custGeom>
                    <a:avLst/>
                    <a:gdLst>
                      <a:gd name="T0" fmla="*/ 26 w 28"/>
                      <a:gd name="T1" fmla="*/ 0 h 49"/>
                      <a:gd name="T2" fmla="*/ 0 w 28"/>
                      <a:gd name="T3" fmla="*/ 49 h 49"/>
                      <a:gd name="T4" fmla="*/ 2 w 28"/>
                      <a:gd name="T5" fmla="*/ 49 h 49"/>
                      <a:gd name="T6" fmla="*/ 28 w 28"/>
                      <a:gd name="T7" fmla="*/ 0 h 49"/>
                      <a:gd name="T8" fmla="*/ 26 w 28"/>
                      <a:gd name="T9" fmla="*/ 0 h 49"/>
                    </a:gdLst>
                    <a:ahLst/>
                    <a:cxnLst>
                      <a:cxn ang="0">
                        <a:pos x="T0" y="T1"/>
                      </a:cxn>
                      <a:cxn ang="0">
                        <a:pos x="T2" y="T3"/>
                      </a:cxn>
                      <a:cxn ang="0">
                        <a:pos x="T4" y="T5"/>
                      </a:cxn>
                      <a:cxn ang="0">
                        <a:pos x="T6" y="T7"/>
                      </a:cxn>
                      <a:cxn ang="0">
                        <a:pos x="T8" y="T9"/>
                      </a:cxn>
                    </a:cxnLst>
                    <a:rect l="0" t="0" r="r" b="b"/>
                    <a:pathLst>
                      <a:path w="28" h="49">
                        <a:moveTo>
                          <a:pt x="26" y="0"/>
                        </a:moveTo>
                        <a:lnTo>
                          <a:pt x="0" y="49"/>
                        </a:lnTo>
                        <a:lnTo>
                          <a:pt x="2" y="49"/>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298" name="Freeform 1960"/>
                  <p:cNvSpPr>
                    <a:spLocks/>
                  </p:cNvSpPr>
                  <p:nvPr/>
                </p:nvSpPr>
                <p:spPr bwMode="auto">
                  <a:xfrm>
                    <a:off x="10548" y="3161"/>
                    <a:ext cx="25" cy="44"/>
                  </a:xfrm>
                  <a:custGeom>
                    <a:avLst/>
                    <a:gdLst>
                      <a:gd name="T0" fmla="*/ 24 w 24"/>
                      <a:gd name="T1" fmla="*/ 0 h 45"/>
                      <a:gd name="T2" fmla="*/ 0 w 24"/>
                      <a:gd name="T3" fmla="*/ 45 h 45"/>
                      <a:gd name="T4" fmla="*/ 0 w 24"/>
                      <a:gd name="T5" fmla="*/ 45 h 45"/>
                      <a:gd name="T6" fmla="*/ 24 w 24"/>
                      <a:gd name="T7" fmla="*/ 0 h 45"/>
                      <a:gd name="T8" fmla="*/ 24 w 24"/>
                      <a:gd name="T9" fmla="*/ 0 h 45"/>
                    </a:gdLst>
                    <a:ahLst/>
                    <a:cxnLst>
                      <a:cxn ang="0">
                        <a:pos x="T0" y="T1"/>
                      </a:cxn>
                      <a:cxn ang="0">
                        <a:pos x="T2" y="T3"/>
                      </a:cxn>
                      <a:cxn ang="0">
                        <a:pos x="T4" y="T5"/>
                      </a:cxn>
                      <a:cxn ang="0">
                        <a:pos x="T6" y="T7"/>
                      </a:cxn>
                      <a:cxn ang="0">
                        <a:pos x="T8" y="T9"/>
                      </a:cxn>
                    </a:cxnLst>
                    <a:rect l="0" t="0" r="r" b="b"/>
                    <a:pathLst>
                      <a:path w="24" h="45">
                        <a:moveTo>
                          <a:pt x="24" y="0"/>
                        </a:moveTo>
                        <a:lnTo>
                          <a:pt x="0" y="45"/>
                        </a:lnTo>
                        <a:lnTo>
                          <a:pt x="0" y="45"/>
                        </a:lnTo>
                        <a:lnTo>
                          <a:pt x="24"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1299" name="Freeform 1961"/>
                  <p:cNvSpPr>
                    <a:spLocks/>
                  </p:cNvSpPr>
                  <p:nvPr/>
                </p:nvSpPr>
                <p:spPr bwMode="auto">
                  <a:xfrm>
                    <a:off x="10556" y="3161"/>
                    <a:ext cx="33" cy="44"/>
                  </a:xfrm>
                  <a:custGeom>
                    <a:avLst/>
                    <a:gdLst>
                      <a:gd name="T0" fmla="*/ 24 w 26"/>
                      <a:gd name="T1" fmla="*/ 0 h 47"/>
                      <a:gd name="T2" fmla="*/ 0 w 26"/>
                      <a:gd name="T3" fmla="*/ 47 h 47"/>
                      <a:gd name="T4" fmla="*/ 0 w 26"/>
                      <a:gd name="T5" fmla="*/ 47 h 47"/>
                      <a:gd name="T6" fmla="*/ 26 w 26"/>
                      <a:gd name="T7" fmla="*/ 0 h 47"/>
                      <a:gd name="T8" fmla="*/ 24 w 26"/>
                      <a:gd name="T9" fmla="*/ 0 h 47"/>
                    </a:gdLst>
                    <a:ahLst/>
                    <a:cxnLst>
                      <a:cxn ang="0">
                        <a:pos x="T0" y="T1"/>
                      </a:cxn>
                      <a:cxn ang="0">
                        <a:pos x="T2" y="T3"/>
                      </a:cxn>
                      <a:cxn ang="0">
                        <a:pos x="T4" y="T5"/>
                      </a:cxn>
                      <a:cxn ang="0">
                        <a:pos x="T6" y="T7"/>
                      </a:cxn>
                      <a:cxn ang="0">
                        <a:pos x="T8" y="T9"/>
                      </a:cxn>
                    </a:cxnLst>
                    <a:rect l="0" t="0" r="r" b="b"/>
                    <a:pathLst>
                      <a:path w="26" h="47">
                        <a:moveTo>
                          <a:pt x="24" y="0"/>
                        </a:moveTo>
                        <a:lnTo>
                          <a:pt x="0" y="47"/>
                        </a:lnTo>
                        <a:lnTo>
                          <a:pt x="0" y="47"/>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1300" name="Freeform 1962"/>
                  <p:cNvSpPr>
                    <a:spLocks/>
                  </p:cNvSpPr>
                  <p:nvPr/>
                </p:nvSpPr>
                <p:spPr bwMode="auto">
                  <a:xfrm>
                    <a:off x="10506" y="3135"/>
                    <a:ext cx="8" cy="17"/>
                  </a:xfrm>
                  <a:custGeom>
                    <a:avLst/>
                    <a:gdLst>
                      <a:gd name="T0" fmla="*/ 9 w 12"/>
                      <a:gd name="T1" fmla="*/ 0 h 19"/>
                      <a:gd name="T2" fmla="*/ 0 w 12"/>
                      <a:gd name="T3" fmla="*/ 16 h 19"/>
                      <a:gd name="T4" fmla="*/ 0 w 12"/>
                      <a:gd name="T5" fmla="*/ 19 h 19"/>
                      <a:gd name="T6" fmla="*/ 12 w 12"/>
                      <a:gd name="T7" fmla="*/ 2 h 19"/>
                      <a:gd name="T8" fmla="*/ 9 w 12"/>
                      <a:gd name="T9" fmla="*/ 0 h 19"/>
                    </a:gdLst>
                    <a:ahLst/>
                    <a:cxnLst>
                      <a:cxn ang="0">
                        <a:pos x="T0" y="T1"/>
                      </a:cxn>
                      <a:cxn ang="0">
                        <a:pos x="T2" y="T3"/>
                      </a:cxn>
                      <a:cxn ang="0">
                        <a:pos x="T4" y="T5"/>
                      </a:cxn>
                      <a:cxn ang="0">
                        <a:pos x="T6" y="T7"/>
                      </a:cxn>
                      <a:cxn ang="0">
                        <a:pos x="T8" y="T9"/>
                      </a:cxn>
                    </a:cxnLst>
                    <a:rect l="0" t="0" r="r" b="b"/>
                    <a:pathLst>
                      <a:path w="12" h="19">
                        <a:moveTo>
                          <a:pt x="9" y="0"/>
                        </a:moveTo>
                        <a:lnTo>
                          <a:pt x="0" y="16"/>
                        </a:lnTo>
                        <a:lnTo>
                          <a:pt x="0" y="1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301" name="Freeform 1963"/>
                  <p:cNvSpPr>
                    <a:spLocks/>
                  </p:cNvSpPr>
                  <p:nvPr/>
                </p:nvSpPr>
                <p:spPr bwMode="auto">
                  <a:xfrm>
                    <a:off x="10490" y="3127"/>
                    <a:ext cx="8" cy="9"/>
                  </a:xfrm>
                  <a:custGeom>
                    <a:avLst/>
                    <a:gdLst>
                      <a:gd name="T0" fmla="*/ 7 w 9"/>
                      <a:gd name="T1" fmla="*/ 0 h 12"/>
                      <a:gd name="T2" fmla="*/ 0 w 9"/>
                      <a:gd name="T3" fmla="*/ 12 h 12"/>
                      <a:gd name="T4" fmla="*/ 0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2"/>
                        </a:lnTo>
                        <a:lnTo>
                          <a:pt x="0"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302" name="Freeform 1964"/>
                  <p:cNvSpPr>
                    <a:spLocks/>
                  </p:cNvSpPr>
                  <p:nvPr/>
                </p:nvSpPr>
                <p:spPr bwMode="auto">
                  <a:xfrm>
                    <a:off x="10448" y="3083"/>
                    <a:ext cx="17" cy="17"/>
                  </a:xfrm>
                  <a:custGeom>
                    <a:avLst/>
                    <a:gdLst>
                      <a:gd name="T0" fmla="*/ 14 w 16"/>
                      <a:gd name="T1" fmla="*/ 0 h 19"/>
                      <a:gd name="T2" fmla="*/ 0 w 16"/>
                      <a:gd name="T3" fmla="*/ 17 h 19"/>
                      <a:gd name="T4" fmla="*/ 2 w 16"/>
                      <a:gd name="T5" fmla="*/ 19 h 19"/>
                      <a:gd name="T6" fmla="*/ 16 w 16"/>
                      <a:gd name="T7" fmla="*/ 0 h 19"/>
                      <a:gd name="T8" fmla="*/ 14 w 16"/>
                      <a:gd name="T9" fmla="*/ 0 h 19"/>
                    </a:gdLst>
                    <a:ahLst/>
                    <a:cxnLst>
                      <a:cxn ang="0">
                        <a:pos x="T0" y="T1"/>
                      </a:cxn>
                      <a:cxn ang="0">
                        <a:pos x="T2" y="T3"/>
                      </a:cxn>
                      <a:cxn ang="0">
                        <a:pos x="T4" y="T5"/>
                      </a:cxn>
                      <a:cxn ang="0">
                        <a:pos x="T6" y="T7"/>
                      </a:cxn>
                      <a:cxn ang="0">
                        <a:pos x="T8" y="T9"/>
                      </a:cxn>
                    </a:cxnLst>
                    <a:rect l="0" t="0" r="r" b="b"/>
                    <a:pathLst>
                      <a:path w="16" h="19">
                        <a:moveTo>
                          <a:pt x="14" y="0"/>
                        </a:moveTo>
                        <a:lnTo>
                          <a:pt x="0" y="17"/>
                        </a:lnTo>
                        <a:lnTo>
                          <a:pt x="2" y="19"/>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1303" name="Freeform 1965"/>
                  <p:cNvSpPr>
                    <a:spLocks/>
                  </p:cNvSpPr>
                  <p:nvPr/>
                </p:nvSpPr>
                <p:spPr bwMode="auto">
                  <a:xfrm>
                    <a:off x="10448" y="3092"/>
                    <a:ext cx="17" cy="9"/>
                  </a:xfrm>
                  <a:custGeom>
                    <a:avLst/>
                    <a:gdLst>
                      <a:gd name="T0" fmla="*/ 11 w 14"/>
                      <a:gd name="T1" fmla="*/ 0 h 16"/>
                      <a:gd name="T2" fmla="*/ 0 w 14"/>
                      <a:gd name="T3" fmla="*/ 16 h 16"/>
                      <a:gd name="T4" fmla="*/ 0 w 14"/>
                      <a:gd name="T5" fmla="*/ 16 h 16"/>
                      <a:gd name="T6" fmla="*/ 14 w 14"/>
                      <a:gd name="T7" fmla="*/ 2 h 16"/>
                      <a:gd name="T8" fmla="*/ 11 w 14"/>
                      <a:gd name="T9" fmla="*/ 0 h 16"/>
                    </a:gdLst>
                    <a:ahLst/>
                    <a:cxnLst>
                      <a:cxn ang="0">
                        <a:pos x="T0" y="T1"/>
                      </a:cxn>
                      <a:cxn ang="0">
                        <a:pos x="T2" y="T3"/>
                      </a:cxn>
                      <a:cxn ang="0">
                        <a:pos x="T4" y="T5"/>
                      </a:cxn>
                      <a:cxn ang="0">
                        <a:pos x="T6" y="T7"/>
                      </a:cxn>
                      <a:cxn ang="0">
                        <a:pos x="T8" y="T9"/>
                      </a:cxn>
                    </a:cxnLst>
                    <a:rect l="0" t="0" r="r" b="b"/>
                    <a:pathLst>
                      <a:path w="14" h="16">
                        <a:moveTo>
                          <a:pt x="11" y="0"/>
                        </a:moveTo>
                        <a:lnTo>
                          <a:pt x="0" y="16"/>
                        </a:lnTo>
                        <a:lnTo>
                          <a:pt x="0" y="16"/>
                        </a:lnTo>
                        <a:lnTo>
                          <a:pt x="14"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1304" name="Freeform 1966"/>
                  <p:cNvSpPr>
                    <a:spLocks/>
                  </p:cNvSpPr>
                  <p:nvPr/>
                </p:nvSpPr>
                <p:spPr bwMode="auto">
                  <a:xfrm>
                    <a:off x="10590" y="3179"/>
                    <a:ext cx="25" cy="52"/>
                  </a:xfrm>
                  <a:custGeom>
                    <a:avLst/>
                    <a:gdLst>
                      <a:gd name="T0" fmla="*/ 26 w 26"/>
                      <a:gd name="T1" fmla="*/ 0 h 57"/>
                      <a:gd name="T2" fmla="*/ 0 w 26"/>
                      <a:gd name="T3" fmla="*/ 57 h 57"/>
                      <a:gd name="T4" fmla="*/ 2 w 26"/>
                      <a:gd name="T5" fmla="*/ 57 h 57"/>
                      <a:gd name="T6" fmla="*/ 26 w 26"/>
                      <a:gd name="T7" fmla="*/ 0 h 57"/>
                      <a:gd name="T8" fmla="*/ 26 w 26"/>
                      <a:gd name="T9" fmla="*/ 0 h 57"/>
                    </a:gdLst>
                    <a:ahLst/>
                    <a:cxnLst>
                      <a:cxn ang="0">
                        <a:pos x="T0" y="T1"/>
                      </a:cxn>
                      <a:cxn ang="0">
                        <a:pos x="T2" y="T3"/>
                      </a:cxn>
                      <a:cxn ang="0">
                        <a:pos x="T4" y="T5"/>
                      </a:cxn>
                      <a:cxn ang="0">
                        <a:pos x="T6" y="T7"/>
                      </a:cxn>
                      <a:cxn ang="0">
                        <a:pos x="T8" y="T9"/>
                      </a:cxn>
                    </a:cxnLst>
                    <a:rect l="0" t="0" r="r" b="b"/>
                    <a:pathLst>
                      <a:path w="26" h="57">
                        <a:moveTo>
                          <a:pt x="26" y="0"/>
                        </a:moveTo>
                        <a:lnTo>
                          <a:pt x="0" y="57"/>
                        </a:lnTo>
                        <a:lnTo>
                          <a:pt x="2" y="57"/>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1305" name="Freeform 1967"/>
                  <p:cNvSpPr>
                    <a:spLocks/>
                  </p:cNvSpPr>
                  <p:nvPr/>
                </p:nvSpPr>
                <p:spPr bwMode="auto">
                  <a:xfrm>
                    <a:off x="10432" y="3074"/>
                    <a:ext cx="17" cy="26"/>
                  </a:xfrm>
                  <a:custGeom>
                    <a:avLst/>
                    <a:gdLst>
                      <a:gd name="T0" fmla="*/ 16 w 16"/>
                      <a:gd name="T1" fmla="*/ 0 h 19"/>
                      <a:gd name="T2" fmla="*/ 0 w 16"/>
                      <a:gd name="T3" fmla="*/ 19 h 19"/>
                      <a:gd name="T4" fmla="*/ 0 w 16"/>
                      <a:gd name="T5" fmla="*/ 19 h 19"/>
                      <a:gd name="T6" fmla="*/ 16 w 16"/>
                      <a:gd name="T7" fmla="*/ 0 h 19"/>
                      <a:gd name="T8" fmla="*/ 16 w 16"/>
                      <a:gd name="T9" fmla="*/ 0 h 19"/>
                    </a:gdLst>
                    <a:ahLst/>
                    <a:cxnLst>
                      <a:cxn ang="0">
                        <a:pos x="T0" y="T1"/>
                      </a:cxn>
                      <a:cxn ang="0">
                        <a:pos x="T2" y="T3"/>
                      </a:cxn>
                      <a:cxn ang="0">
                        <a:pos x="T4" y="T5"/>
                      </a:cxn>
                      <a:cxn ang="0">
                        <a:pos x="T6" y="T7"/>
                      </a:cxn>
                      <a:cxn ang="0">
                        <a:pos x="T8" y="T9"/>
                      </a:cxn>
                    </a:cxnLst>
                    <a:rect l="0" t="0" r="r" b="b"/>
                    <a:pathLst>
                      <a:path w="16" h="19">
                        <a:moveTo>
                          <a:pt x="16" y="0"/>
                        </a:moveTo>
                        <a:lnTo>
                          <a:pt x="0" y="19"/>
                        </a:lnTo>
                        <a:lnTo>
                          <a:pt x="0" y="19"/>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1306" name="Freeform 1968"/>
                  <p:cNvSpPr>
                    <a:spLocks/>
                  </p:cNvSpPr>
                  <p:nvPr/>
                </p:nvSpPr>
                <p:spPr bwMode="auto">
                  <a:xfrm>
                    <a:off x="10465" y="3100"/>
                    <a:ext cx="8" cy="9"/>
                  </a:xfrm>
                  <a:custGeom>
                    <a:avLst/>
                    <a:gdLst>
                      <a:gd name="T0" fmla="*/ 12 w 12"/>
                      <a:gd name="T1" fmla="*/ 0 h 15"/>
                      <a:gd name="T2" fmla="*/ 0 w 12"/>
                      <a:gd name="T3" fmla="*/ 15 h 15"/>
                      <a:gd name="T4" fmla="*/ 2 w 12"/>
                      <a:gd name="T5" fmla="*/ 15 h 15"/>
                      <a:gd name="T6" fmla="*/ 12 w 12"/>
                      <a:gd name="T7" fmla="*/ 3 h 15"/>
                      <a:gd name="T8" fmla="*/ 12 w 12"/>
                      <a:gd name="T9" fmla="*/ 0 h 15"/>
                    </a:gdLst>
                    <a:ahLst/>
                    <a:cxnLst>
                      <a:cxn ang="0">
                        <a:pos x="T0" y="T1"/>
                      </a:cxn>
                      <a:cxn ang="0">
                        <a:pos x="T2" y="T3"/>
                      </a:cxn>
                      <a:cxn ang="0">
                        <a:pos x="T4" y="T5"/>
                      </a:cxn>
                      <a:cxn ang="0">
                        <a:pos x="T6" y="T7"/>
                      </a:cxn>
                      <a:cxn ang="0">
                        <a:pos x="T8" y="T9"/>
                      </a:cxn>
                    </a:cxnLst>
                    <a:rect l="0" t="0" r="r" b="b"/>
                    <a:pathLst>
                      <a:path w="12" h="15">
                        <a:moveTo>
                          <a:pt x="12" y="0"/>
                        </a:moveTo>
                        <a:lnTo>
                          <a:pt x="0" y="15"/>
                        </a:lnTo>
                        <a:lnTo>
                          <a:pt x="2" y="15"/>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1307" name="Freeform 1969"/>
                  <p:cNvSpPr>
                    <a:spLocks/>
                  </p:cNvSpPr>
                  <p:nvPr/>
                </p:nvSpPr>
                <p:spPr bwMode="auto">
                  <a:xfrm>
                    <a:off x="10415" y="3066"/>
                    <a:ext cx="33" cy="17"/>
                  </a:xfrm>
                  <a:custGeom>
                    <a:avLst/>
                    <a:gdLst>
                      <a:gd name="T0" fmla="*/ 21 w 24"/>
                      <a:gd name="T1" fmla="*/ 0 h 24"/>
                      <a:gd name="T2" fmla="*/ 0 w 24"/>
                      <a:gd name="T3" fmla="*/ 24 h 24"/>
                      <a:gd name="T4" fmla="*/ 2 w 24"/>
                      <a:gd name="T5" fmla="*/ 24 h 24"/>
                      <a:gd name="T6" fmla="*/ 24 w 24"/>
                      <a:gd name="T7" fmla="*/ 2 h 24"/>
                      <a:gd name="T8" fmla="*/ 21 w 24"/>
                      <a:gd name="T9" fmla="*/ 0 h 24"/>
                    </a:gdLst>
                    <a:ahLst/>
                    <a:cxnLst>
                      <a:cxn ang="0">
                        <a:pos x="T0" y="T1"/>
                      </a:cxn>
                      <a:cxn ang="0">
                        <a:pos x="T2" y="T3"/>
                      </a:cxn>
                      <a:cxn ang="0">
                        <a:pos x="T4" y="T5"/>
                      </a:cxn>
                      <a:cxn ang="0">
                        <a:pos x="T6" y="T7"/>
                      </a:cxn>
                      <a:cxn ang="0">
                        <a:pos x="T8" y="T9"/>
                      </a:cxn>
                    </a:cxnLst>
                    <a:rect l="0" t="0" r="r" b="b"/>
                    <a:pathLst>
                      <a:path w="24" h="24">
                        <a:moveTo>
                          <a:pt x="21" y="0"/>
                        </a:moveTo>
                        <a:lnTo>
                          <a:pt x="0" y="24"/>
                        </a:lnTo>
                        <a:lnTo>
                          <a:pt x="2" y="24"/>
                        </a:lnTo>
                        <a:lnTo>
                          <a:pt x="24"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1308" name="Freeform 1970"/>
                  <p:cNvSpPr>
                    <a:spLocks/>
                  </p:cNvSpPr>
                  <p:nvPr/>
                </p:nvSpPr>
                <p:spPr bwMode="auto">
                  <a:xfrm>
                    <a:off x="10415" y="3074"/>
                    <a:ext cx="25" cy="17"/>
                  </a:xfrm>
                  <a:custGeom>
                    <a:avLst/>
                    <a:gdLst>
                      <a:gd name="T0" fmla="*/ 19 w 19"/>
                      <a:gd name="T1" fmla="*/ 0 h 23"/>
                      <a:gd name="T2" fmla="*/ 0 w 19"/>
                      <a:gd name="T3" fmla="*/ 21 h 23"/>
                      <a:gd name="T4" fmla="*/ 0 w 19"/>
                      <a:gd name="T5" fmla="*/ 23 h 23"/>
                      <a:gd name="T6" fmla="*/ 19 w 19"/>
                      <a:gd name="T7" fmla="*/ 2 h 23"/>
                      <a:gd name="T8" fmla="*/ 19 w 19"/>
                      <a:gd name="T9" fmla="*/ 0 h 23"/>
                    </a:gdLst>
                    <a:ahLst/>
                    <a:cxnLst>
                      <a:cxn ang="0">
                        <a:pos x="T0" y="T1"/>
                      </a:cxn>
                      <a:cxn ang="0">
                        <a:pos x="T2" y="T3"/>
                      </a:cxn>
                      <a:cxn ang="0">
                        <a:pos x="T4" y="T5"/>
                      </a:cxn>
                      <a:cxn ang="0">
                        <a:pos x="T6" y="T7"/>
                      </a:cxn>
                      <a:cxn ang="0">
                        <a:pos x="T8" y="T9"/>
                      </a:cxn>
                    </a:cxnLst>
                    <a:rect l="0" t="0" r="r" b="b"/>
                    <a:pathLst>
                      <a:path w="19" h="23">
                        <a:moveTo>
                          <a:pt x="19" y="0"/>
                        </a:moveTo>
                        <a:lnTo>
                          <a:pt x="0" y="21"/>
                        </a:lnTo>
                        <a:lnTo>
                          <a:pt x="0" y="23"/>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309" name="Freeform 1971"/>
                  <p:cNvSpPr>
                    <a:spLocks/>
                  </p:cNvSpPr>
                  <p:nvPr/>
                </p:nvSpPr>
                <p:spPr bwMode="auto">
                  <a:xfrm>
                    <a:off x="10432" y="3074"/>
                    <a:ext cx="17" cy="26"/>
                  </a:xfrm>
                  <a:custGeom>
                    <a:avLst/>
                    <a:gdLst>
                      <a:gd name="T0" fmla="*/ 19 w 19"/>
                      <a:gd name="T1" fmla="*/ 0 h 21"/>
                      <a:gd name="T2" fmla="*/ 0 w 19"/>
                      <a:gd name="T3" fmla="*/ 19 h 21"/>
                      <a:gd name="T4" fmla="*/ 2 w 19"/>
                      <a:gd name="T5" fmla="*/ 21 h 21"/>
                      <a:gd name="T6" fmla="*/ 19 w 19"/>
                      <a:gd name="T7" fmla="*/ 0 h 21"/>
                      <a:gd name="T8" fmla="*/ 19 w 19"/>
                      <a:gd name="T9" fmla="*/ 0 h 21"/>
                    </a:gdLst>
                    <a:ahLst/>
                    <a:cxnLst>
                      <a:cxn ang="0">
                        <a:pos x="T0" y="T1"/>
                      </a:cxn>
                      <a:cxn ang="0">
                        <a:pos x="T2" y="T3"/>
                      </a:cxn>
                      <a:cxn ang="0">
                        <a:pos x="T4" y="T5"/>
                      </a:cxn>
                      <a:cxn ang="0">
                        <a:pos x="T6" y="T7"/>
                      </a:cxn>
                      <a:cxn ang="0">
                        <a:pos x="T8" y="T9"/>
                      </a:cxn>
                    </a:cxnLst>
                    <a:rect l="0" t="0" r="r" b="b"/>
                    <a:pathLst>
                      <a:path w="19" h="21">
                        <a:moveTo>
                          <a:pt x="19" y="0"/>
                        </a:moveTo>
                        <a:lnTo>
                          <a:pt x="0" y="19"/>
                        </a:lnTo>
                        <a:lnTo>
                          <a:pt x="2" y="2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1310" name="Freeform 1972"/>
                  <p:cNvSpPr>
                    <a:spLocks/>
                  </p:cNvSpPr>
                  <p:nvPr/>
                </p:nvSpPr>
                <p:spPr bwMode="auto">
                  <a:xfrm>
                    <a:off x="10465" y="3100"/>
                    <a:ext cx="8" cy="17"/>
                  </a:xfrm>
                  <a:custGeom>
                    <a:avLst/>
                    <a:gdLst>
                      <a:gd name="T0" fmla="*/ 10 w 10"/>
                      <a:gd name="T1" fmla="*/ 0 h 14"/>
                      <a:gd name="T2" fmla="*/ 0 w 10"/>
                      <a:gd name="T3" fmla="*/ 12 h 14"/>
                      <a:gd name="T4" fmla="*/ 3 w 10"/>
                      <a:gd name="T5" fmla="*/ 14 h 14"/>
                      <a:gd name="T6" fmla="*/ 10 w 10"/>
                      <a:gd name="T7" fmla="*/ 2 h 14"/>
                      <a:gd name="T8" fmla="*/ 10 w 10"/>
                      <a:gd name="T9" fmla="*/ 0 h 14"/>
                    </a:gdLst>
                    <a:ahLst/>
                    <a:cxnLst>
                      <a:cxn ang="0">
                        <a:pos x="T0" y="T1"/>
                      </a:cxn>
                      <a:cxn ang="0">
                        <a:pos x="T2" y="T3"/>
                      </a:cxn>
                      <a:cxn ang="0">
                        <a:pos x="T4" y="T5"/>
                      </a:cxn>
                      <a:cxn ang="0">
                        <a:pos x="T6" y="T7"/>
                      </a:cxn>
                      <a:cxn ang="0">
                        <a:pos x="T8" y="T9"/>
                      </a:cxn>
                    </a:cxnLst>
                    <a:rect l="0" t="0" r="r" b="b"/>
                    <a:pathLst>
                      <a:path w="10" h="14">
                        <a:moveTo>
                          <a:pt x="10" y="0"/>
                        </a:moveTo>
                        <a:lnTo>
                          <a:pt x="0" y="12"/>
                        </a:lnTo>
                        <a:lnTo>
                          <a:pt x="3" y="1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1311" name="Freeform 1973"/>
                  <p:cNvSpPr>
                    <a:spLocks/>
                  </p:cNvSpPr>
                  <p:nvPr/>
                </p:nvSpPr>
                <p:spPr bwMode="auto">
                  <a:xfrm>
                    <a:off x="10415" y="3057"/>
                    <a:ext cx="33" cy="26"/>
                  </a:xfrm>
                  <a:custGeom>
                    <a:avLst/>
                    <a:gdLst>
                      <a:gd name="T0" fmla="*/ 22 w 24"/>
                      <a:gd name="T1" fmla="*/ 0 h 24"/>
                      <a:gd name="T2" fmla="*/ 0 w 24"/>
                      <a:gd name="T3" fmla="*/ 24 h 24"/>
                      <a:gd name="T4" fmla="*/ 3 w 24"/>
                      <a:gd name="T5" fmla="*/ 24 h 24"/>
                      <a:gd name="T6" fmla="*/ 24 w 24"/>
                      <a:gd name="T7" fmla="*/ 3 h 24"/>
                      <a:gd name="T8" fmla="*/ 22 w 24"/>
                      <a:gd name="T9" fmla="*/ 0 h 24"/>
                    </a:gdLst>
                    <a:ahLst/>
                    <a:cxnLst>
                      <a:cxn ang="0">
                        <a:pos x="T0" y="T1"/>
                      </a:cxn>
                      <a:cxn ang="0">
                        <a:pos x="T2" y="T3"/>
                      </a:cxn>
                      <a:cxn ang="0">
                        <a:pos x="T4" y="T5"/>
                      </a:cxn>
                      <a:cxn ang="0">
                        <a:pos x="T6" y="T7"/>
                      </a:cxn>
                      <a:cxn ang="0">
                        <a:pos x="T8" y="T9"/>
                      </a:cxn>
                    </a:cxnLst>
                    <a:rect l="0" t="0" r="r" b="b"/>
                    <a:pathLst>
                      <a:path w="24" h="24">
                        <a:moveTo>
                          <a:pt x="22" y="0"/>
                        </a:moveTo>
                        <a:lnTo>
                          <a:pt x="0" y="24"/>
                        </a:lnTo>
                        <a:lnTo>
                          <a:pt x="3" y="24"/>
                        </a:lnTo>
                        <a:lnTo>
                          <a:pt x="24" y="3"/>
                        </a:lnTo>
                        <a:lnTo>
                          <a:pt x="22" y="0"/>
                        </a:lnTo>
                        <a:close/>
                      </a:path>
                    </a:pathLst>
                  </a:custGeom>
                  <a:solidFill>
                    <a:srgbClr val="01AAE5"/>
                  </a:solidFill>
                  <a:ln>
                    <a:noFill/>
                  </a:ln>
                  <a:extLst/>
                </p:spPr>
                <p:txBody>
                  <a:bodyPr/>
                  <a:lstStyle/>
                  <a:p>
                    <a:pPr eaLnBrk="1" hangingPunct="1">
                      <a:defRPr/>
                    </a:pPr>
                    <a:endParaRPr lang="zh-CN" altLang="en-US" sz="1050"/>
                  </a:p>
                </p:txBody>
              </p:sp>
              <p:sp>
                <p:nvSpPr>
                  <p:cNvPr id="1312" name="Freeform 1974"/>
                  <p:cNvSpPr>
                    <a:spLocks/>
                  </p:cNvSpPr>
                  <p:nvPr/>
                </p:nvSpPr>
                <p:spPr bwMode="auto">
                  <a:xfrm>
                    <a:off x="10490" y="3127"/>
                    <a:ext cx="0" cy="9"/>
                  </a:xfrm>
                  <a:custGeom>
                    <a:avLst/>
                    <a:gdLst>
                      <a:gd name="T0" fmla="*/ 7 w 7"/>
                      <a:gd name="T1" fmla="*/ 0 h 9"/>
                      <a:gd name="T2" fmla="*/ 0 w 7"/>
                      <a:gd name="T3" fmla="*/ 9 h 9"/>
                      <a:gd name="T4" fmla="*/ 0 w 7"/>
                      <a:gd name="T5" fmla="*/ 9 h 9"/>
                      <a:gd name="T6" fmla="*/ 7 w 7"/>
                      <a:gd name="T7" fmla="*/ 0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0" y="9"/>
                        </a:lnTo>
                        <a:lnTo>
                          <a:pt x="0" y="9"/>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1313" name="Freeform 1975"/>
                  <p:cNvSpPr>
                    <a:spLocks/>
                  </p:cNvSpPr>
                  <p:nvPr/>
                </p:nvSpPr>
                <p:spPr bwMode="auto">
                  <a:xfrm>
                    <a:off x="10490" y="3135"/>
                    <a:ext cx="17" cy="0"/>
                  </a:xfrm>
                  <a:custGeom>
                    <a:avLst/>
                    <a:gdLst>
                      <a:gd name="T0" fmla="*/ 7 w 10"/>
                      <a:gd name="T1" fmla="*/ 0 h 12"/>
                      <a:gd name="T2" fmla="*/ 0 w 10"/>
                      <a:gd name="T3" fmla="*/ 12 h 12"/>
                      <a:gd name="T4" fmla="*/ 0 w 10"/>
                      <a:gd name="T5" fmla="*/ 12 h 12"/>
                      <a:gd name="T6" fmla="*/ 10 w 10"/>
                      <a:gd name="T7" fmla="*/ 0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lnTo>
                          <a:pt x="0" y="12"/>
                        </a:lnTo>
                        <a:lnTo>
                          <a:pt x="0" y="12"/>
                        </a:lnTo>
                        <a:lnTo>
                          <a:pt x="10"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1314" name="Freeform 1976"/>
                  <p:cNvSpPr>
                    <a:spLocks/>
                  </p:cNvSpPr>
                  <p:nvPr/>
                </p:nvSpPr>
                <p:spPr bwMode="auto">
                  <a:xfrm>
                    <a:off x="10506" y="3135"/>
                    <a:ext cx="8" cy="9"/>
                  </a:xfrm>
                  <a:custGeom>
                    <a:avLst/>
                    <a:gdLst>
                      <a:gd name="T0" fmla="*/ 9 w 12"/>
                      <a:gd name="T1" fmla="*/ 0 h 17"/>
                      <a:gd name="T2" fmla="*/ 0 w 12"/>
                      <a:gd name="T3" fmla="*/ 15 h 17"/>
                      <a:gd name="T4" fmla="*/ 0 w 12"/>
                      <a:gd name="T5" fmla="*/ 17 h 17"/>
                      <a:gd name="T6" fmla="*/ 12 w 12"/>
                      <a:gd name="T7" fmla="*/ 0 h 17"/>
                      <a:gd name="T8" fmla="*/ 9 w 12"/>
                      <a:gd name="T9" fmla="*/ 0 h 17"/>
                    </a:gdLst>
                    <a:ahLst/>
                    <a:cxnLst>
                      <a:cxn ang="0">
                        <a:pos x="T0" y="T1"/>
                      </a:cxn>
                      <a:cxn ang="0">
                        <a:pos x="T2" y="T3"/>
                      </a:cxn>
                      <a:cxn ang="0">
                        <a:pos x="T4" y="T5"/>
                      </a:cxn>
                      <a:cxn ang="0">
                        <a:pos x="T6" y="T7"/>
                      </a:cxn>
                      <a:cxn ang="0">
                        <a:pos x="T8" y="T9"/>
                      </a:cxn>
                    </a:cxnLst>
                    <a:rect l="0" t="0" r="r" b="b"/>
                    <a:pathLst>
                      <a:path w="12" h="17">
                        <a:moveTo>
                          <a:pt x="9" y="0"/>
                        </a:moveTo>
                        <a:lnTo>
                          <a:pt x="0" y="15"/>
                        </a:lnTo>
                        <a:lnTo>
                          <a:pt x="0" y="1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1315" name="Freeform 1977"/>
                  <p:cNvSpPr>
                    <a:spLocks/>
                  </p:cNvSpPr>
                  <p:nvPr/>
                </p:nvSpPr>
                <p:spPr bwMode="auto">
                  <a:xfrm>
                    <a:off x="10465" y="3100"/>
                    <a:ext cx="8" cy="17"/>
                  </a:xfrm>
                  <a:custGeom>
                    <a:avLst/>
                    <a:gdLst>
                      <a:gd name="T0" fmla="*/ 9 w 9"/>
                      <a:gd name="T1" fmla="*/ 0 h 12"/>
                      <a:gd name="T2" fmla="*/ 0 w 9"/>
                      <a:gd name="T3" fmla="*/ 12 h 12"/>
                      <a:gd name="T4" fmla="*/ 2 w 9"/>
                      <a:gd name="T5" fmla="*/ 12 h 12"/>
                      <a:gd name="T6" fmla="*/ 9 w 9"/>
                      <a:gd name="T7" fmla="*/ 2 h 12"/>
                      <a:gd name="T8" fmla="*/ 9 w 9"/>
                      <a:gd name="T9" fmla="*/ 0 h 12"/>
                    </a:gdLst>
                    <a:ahLst/>
                    <a:cxnLst>
                      <a:cxn ang="0">
                        <a:pos x="T0" y="T1"/>
                      </a:cxn>
                      <a:cxn ang="0">
                        <a:pos x="T2" y="T3"/>
                      </a:cxn>
                      <a:cxn ang="0">
                        <a:pos x="T4" y="T5"/>
                      </a:cxn>
                      <a:cxn ang="0">
                        <a:pos x="T6" y="T7"/>
                      </a:cxn>
                      <a:cxn ang="0">
                        <a:pos x="T8" y="T9"/>
                      </a:cxn>
                    </a:cxnLst>
                    <a:rect l="0" t="0" r="r" b="b"/>
                    <a:pathLst>
                      <a:path w="9" h="12">
                        <a:moveTo>
                          <a:pt x="9" y="0"/>
                        </a:moveTo>
                        <a:lnTo>
                          <a:pt x="0" y="12"/>
                        </a:lnTo>
                        <a:lnTo>
                          <a:pt x="2" y="12"/>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1316" name="Freeform 1978"/>
                  <p:cNvSpPr>
                    <a:spLocks/>
                  </p:cNvSpPr>
                  <p:nvPr/>
                </p:nvSpPr>
                <p:spPr bwMode="auto">
                  <a:xfrm>
                    <a:off x="10473" y="3118"/>
                    <a:ext cx="8" cy="17"/>
                  </a:xfrm>
                  <a:custGeom>
                    <a:avLst/>
                    <a:gdLst>
                      <a:gd name="T0" fmla="*/ 7 w 9"/>
                      <a:gd name="T1" fmla="*/ 0 h 12"/>
                      <a:gd name="T2" fmla="*/ 0 w 9"/>
                      <a:gd name="T3" fmla="*/ 10 h 12"/>
                      <a:gd name="T4" fmla="*/ 2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0"/>
                        </a:lnTo>
                        <a:lnTo>
                          <a:pt x="2"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1317" name="Freeform 1979"/>
                  <p:cNvSpPr>
                    <a:spLocks/>
                  </p:cNvSpPr>
                  <p:nvPr/>
                </p:nvSpPr>
                <p:spPr bwMode="auto">
                  <a:xfrm>
                    <a:off x="10473" y="3109"/>
                    <a:ext cx="0" cy="17"/>
                  </a:xfrm>
                  <a:custGeom>
                    <a:avLst/>
                    <a:gdLst>
                      <a:gd name="T0" fmla="*/ 7 w 9"/>
                      <a:gd name="T1" fmla="*/ 0 h 11"/>
                      <a:gd name="T2" fmla="*/ 0 w 9"/>
                      <a:gd name="T3" fmla="*/ 11 h 11"/>
                      <a:gd name="T4" fmla="*/ 0 w 9"/>
                      <a:gd name="T5" fmla="*/ 11 h 11"/>
                      <a:gd name="T6" fmla="*/ 9 w 9"/>
                      <a:gd name="T7" fmla="*/ 2 h 11"/>
                      <a:gd name="T8" fmla="*/ 7 w 9"/>
                      <a:gd name="T9" fmla="*/ 0 h 11"/>
                    </a:gdLst>
                    <a:ahLst/>
                    <a:cxnLst>
                      <a:cxn ang="0">
                        <a:pos x="T0" y="T1"/>
                      </a:cxn>
                      <a:cxn ang="0">
                        <a:pos x="T2" y="T3"/>
                      </a:cxn>
                      <a:cxn ang="0">
                        <a:pos x="T4" y="T5"/>
                      </a:cxn>
                      <a:cxn ang="0">
                        <a:pos x="T6" y="T7"/>
                      </a:cxn>
                      <a:cxn ang="0">
                        <a:pos x="T8" y="T9"/>
                      </a:cxn>
                    </a:cxnLst>
                    <a:rect l="0" t="0" r="r" b="b"/>
                    <a:pathLst>
                      <a:path w="9" h="11">
                        <a:moveTo>
                          <a:pt x="7" y="0"/>
                        </a:moveTo>
                        <a:lnTo>
                          <a:pt x="0" y="11"/>
                        </a:lnTo>
                        <a:lnTo>
                          <a:pt x="0" y="11"/>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1318" name="Freeform 1980"/>
                  <p:cNvSpPr>
                    <a:spLocks/>
                  </p:cNvSpPr>
                  <p:nvPr/>
                </p:nvSpPr>
                <p:spPr bwMode="auto">
                  <a:xfrm>
                    <a:off x="11588" y="2708"/>
                    <a:ext cx="17" cy="9"/>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19" name="Freeform 1981"/>
                  <p:cNvSpPr>
                    <a:spLocks/>
                  </p:cNvSpPr>
                  <p:nvPr/>
                </p:nvSpPr>
                <p:spPr bwMode="auto">
                  <a:xfrm>
                    <a:off x="11538" y="2848"/>
                    <a:ext cx="25" cy="9"/>
                  </a:xfrm>
                  <a:custGeom>
                    <a:avLst/>
                    <a:gdLst>
                      <a:gd name="T0" fmla="*/ 0 w 26"/>
                      <a:gd name="T1" fmla="*/ 0 h 11"/>
                      <a:gd name="T2" fmla="*/ 24 w 26"/>
                      <a:gd name="T3" fmla="*/ 11 h 11"/>
                      <a:gd name="T4" fmla="*/ 26 w 26"/>
                      <a:gd name="T5" fmla="*/ 11 h 11"/>
                      <a:gd name="T6" fmla="*/ 0 w 26"/>
                      <a:gd name="T7" fmla="*/ 0 h 11"/>
                      <a:gd name="T8" fmla="*/ 0 w 26"/>
                      <a:gd name="T9" fmla="*/ 0 h 11"/>
                    </a:gdLst>
                    <a:ahLst/>
                    <a:cxnLst>
                      <a:cxn ang="0">
                        <a:pos x="T0" y="T1"/>
                      </a:cxn>
                      <a:cxn ang="0">
                        <a:pos x="T2" y="T3"/>
                      </a:cxn>
                      <a:cxn ang="0">
                        <a:pos x="T4" y="T5"/>
                      </a:cxn>
                      <a:cxn ang="0">
                        <a:pos x="T6" y="T7"/>
                      </a:cxn>
                      <a:cxn ang="0">
                        <a:pos x="T8" y="T9"/>
                      </a:cxn>
                    </a:cxnLst>
                    <a:rect l="0" t="0" r="r" b="b"/>
                    <a:pathLst>
                      <a:path w="26" h="11">
                        <a:moveTo>
                          <a:pt x="0" y="0"/>
                        </a:moveTo>
                        <a:lnTo>
                          <a:pt x="24" y="11"/>
                        </a:lnTo>
                        <a:lnTo>
                          <a:pt x="26"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20" name="Freeform 1982"/>
                  <p:cNvSpPr>
                    <a:spLocks/>
                  </p:cNvSpPr>
                  <p:nvPr/>
                </p:nvSpPr>
                <p:spPr bwMode="auto">
                  <a:xfrm>
                    <a:off x="11463" y="2987"/>
                    <a:ext cx="8" cy="0"/>
                  </a:xfrm>
                  <a:custGeom>
                    <a:avLst/>
                    <a:gdLst>
                      <a:gd name="T0" fmla="*/ 0 w 10"/>
                      <a:gd name="T1" fmla="*/ 0 h 7"/>
                      <a:gd name="T2" fmla="*/ 10 w 10"/>
                      <a:gd name="T3" fmla="*/ 7 h 7"/>
                      <a:gd name="T4" fmla="*/ 10 w 10"/>
                      <a:gd name="T5" fmla="*/ 7 h 7"/>
                      <a:gd name="T6" fmla="*/ 2 w 10"/>
                      <a:gd name="T7" fmla="*/ 0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lnTo>
                          <a:pt x="10" y="7"/>
                        </a:lnTo>
                        <a:lnTo>
                          <a:pt x="10"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21" name="Freeform 1983"/>
                  <p:cNvSpPr>
                    <a:spLocks/>
                  </p:cNvSpPr>
                  <p:nvPr/>
                </p:nvSpPr>
                <p:spPr bwMode="auto">
                  <a:xfrm>
                    <a:off x="11538" y="2848"/>
                    <a:ext cx="17" cy="17"/>
                  </a:xfrm>
                  <a:custGeom>
                    <a:avLst/>
                    <a:gdLst>
                      <a:gd name="T0" fmla="*/ 0 w 24"/>
                      <a:gd name="T1" fmla="*/ 3 h 14"/>
                      <a:gd name="T2" fmla="*/ 24 w 24"/>
                      <a:gd name="T3" fmla="*/ 14 h 14"/>
                      <a:gd name="T4" fmla="*/ 24 w 24"/>
                      <a:gd name="T5" fmla="*/ 12 h 14"/>
                      <a:gd name="T6" fmla="*/ 2 w 24"/>
                      <a:gd name="T7" fmla="*/ 0 h 14"/>
                      <a:gd name="T8" fmla="*/ 0 w 24"/>
                      <a:gd name="T9" fmla="*/ 3 h 14"/>
                    </a:gdLst>
                    <a:ahLst/>
                    <a:cxnLst>
                      <a:cxn ang="0">
                        <a:pos x="T0" y="T1"/>
                      </a:cxn>
                      <a:cxn ang="0">
                        <a:pos x="T2" y="T3"/>
                      </a:cxn>
                      <a:cxn ang="0">
                        <a:pos x="T4" y="T5"/>
                      </a:cxn>
                      <a:cxn ang="0">
                        <a:pos x="T6" y="T7"/>
                      </a:cxn>
                      <a:cxn ang="0">
                        <a:pos x="T8" y="T9"/>
                      </a:cxn>
                    </a:cxnLst>
                    <a:rect l="0" t="0" r="r" b="b"/>
                    <a:pathLst>
                      <a:path w="24" h="14">
                        <a:moveTo>
                          <a:pt x="0" y="3"/>
                        </a:moveTo>
                        <a:lnTo>
                          <a:pt x="24" y="14"/>
                        </a:lnTo>
                        <a:lnTo>
                          <a:pt x="24" y="12"/>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22" name="Freeform 1984"/>
                  <p:cNvSpPr>
                    <a:spLocks/>
                  </p:cNvSpPr>
                  <p:nvPr/>
                </p:nvSpPr>
                <p:spPr bwMode="auto">
                  <a:xfrm>
                    <a:off x="11538" y="2839"/>
                    <a:ext cx="25" cy="17"/>
                  </a:xfrm>
                  <a:custGeom>
                    <a:avLst/>
                    <a:gdLst>
                      <a:gd name="T0" fmla="*/ 0 w 26"/>
                      <a:gd name="T1" fmla="*/ 3 h 15"/>
                      <a:gd name="T2" fmla="*/ 26 w 26"/>
                      <a:gd name="T3" fmla="*/ 15 h 15"/>
                      <a:gd name="T4" fmla="*/ 26 w 26"/>
                      <a:gd name="T5" fmla="*/ 12 h 15"/>
                      <a:gd name="T6" fmla="*/ 0 w 26"/>
                      <a:gd name="T7" fmla="*/ 0 h 15"/>
                      <a:gd name="T8" fmla="*/ 0 w 26"/>
                      <a:gd name="T9" fmla="*/ 3 h 15"/>
                    </a:gdLst>
                    <a:ahLst/>
                    <a:cxnLst>
                      <a:cxn ang="0">
                        <a:pos x="T0" y="T1"/>
                      </a:cxn>
                      <a:cxn ang="0">
                        <a:pos x="T2" y="T3"/>
                      </a:cxn>
                      <a:cxn ang="0">
                        <a:pos x="T4" y="T5"/>
                      </a:cxn>
                      <a:cxn ang="0">
                        <a:pos x="T6" y="T7"/>
                      </a:cxn>
                      <a:cxn ang="0">
                        <a:pos x="T8" y="T9"/>
                      </a:cxn>
                    </a:cxnLst>
                    <a:rect l="0" t="0" r="r" b="b"/>
                    <a:pathLst>
                      <a:path w="26" h="15">
                        <a:moveTo>
                          <a:pt x="0" y="3"/>
                        </a:moveTo>
                        <a:lnTo>
                          <a:pt x="26" y="15"/>
                        </a:lnTo>
                        <a:lnTo>
                          <a:pt x="26" y="12"/>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23" name="Freeform 1985"/>
                  <p:cNvSpPr>
                    <a:spLocks/>
                  </p:cNvSpPr>
                  <p:nvPr/>
                </p:nvSpPr>
                <p:spPr bwMode="auto">
                  <a:xfrm>
                    <a:off x="11072" y="3231"/>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24" name="Freeform 1986"/>
                  <p:cNvSpPr>
                    <a:spLocks/>
                  </p:cNvSpPr>
                  <p:nvPr/>
                </p:nvSpPr>
                <p:spPr bwMode="auto">
                  <a:xfrm>
                    <a:off x="11521" y="2874"/>
                    <a:ext cx="25" cy="17"/>
                  </a:xfrm>
                  <a:custGeom>
                    <a:avLst/>
                    <a:gdLst>
                      <a:gd name="T0" fmla="*/ 0 w 14"/>
                      <a:gd name="T1" fmla="*/ 3 h 10"/>
                      <a:gd name="T2" fmla="*/ 14 w 14"/>
                      <a:gd name="T3" fmla="*/ 10 h 10"/>
                      <a:gd name="T4" fmla="*/ 14 w 14"/>
                      <a:gd name="T5" fmla="*/ 7 h 10"/>
                      <a:gd name="T6" fmla="*/ 0 w 14"/>
                      <a:gd name="T7" fmla="*/ 0 h 10"/>
                      <a:gd name="T8" fmla="*/ 0 w 14"/>
                      <a:gd name="T9" fmla="*/ 3 h 10"/>
                    </a:gdLst>
                    <a:ahLst/>
                    <a:cxnLst>
                      <a:cxn ang="0">
                        <a:pos x="T0" y="T1"/>
                      </a:cxn>
                      <a:cxn ang="0">
                        <a:pos x="T2" y="T3"/>
                      </a:cxn>
                      <a:cxn ang="0">
                        <a:pos x="T4" y="T5"/>
                      </a:cxn>
                      <a:cxn ang="0">
                        <a:pos x="T6" y="T7"/>
                      </a:cxn>
                      <a:cxn ang="0">
                        <a:pos x="T8" y="T9"/>
                      </a:cxn>
                    </a:cxnLst>
                    <a:rect l="0" t="0" r="r" b="b"/>
                    <a:pathLst>
                      <a:path w="14" h="10">
                        <a:moveTo>
                          <a:pt x="0" y="3"/>
                        </a:moveTo>
                        <a:lnTo>
                          <a:pt x="14" y="10"/>
                        </a:lnTo>
                        <a:lnTo>
                          <a:pt x="14"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25" name="Freeform 1987"/>
                  <p:cNvSpPr>
                    <a:spLocks/>
                  </p:cNvSpPr>
                  <p:nvPr/>
                </p:nvSpPr>
                <p:spPr bwMode="auto">
                  <a:xfrm>
                    <a:off x="11530" y="2874"/>
                    <a:ext cx="17" cy="9"/>
                  </a:xfrm>
                  <a:custGeom>
                    <a:avLst/>
                    <a:gdLst>
                      <a:gd name="T0" fmla="*/ 0 w 17"/>
                      <a:gd name="T1" fmla="*/ 0 h 9"/>
                      <a:gd name="T2" fmla="*/ 14 w 17"/>
                      <a:gd name="T3" fmla="*/ 9 h 9"/>
                      <a:gd name="T4" fmla="*/ 17 w 17"/>
                      <a:gd name="T5" fmla="*/ 7 h 9"/>
                      <a:gd name="T6" fmla="*/ 0 w 17"/>
                      <a:gd name="T7" fmla="*/ 0 h 9"/>
                      <a:gd name="T8" fmla="*/ 0 w 17"/>
                      <a:gd name="T9" fmla="*/ 0 h 9"/>
                    </a:gdLst>
                    <a:ahLst/>
                    <a:cxnLst>
                      <a:cxn ang="0">
                        <a:pos x="T0" y="T1"/>
                      </a:cxn>
                      <a:cxn ang="0">
                        <a:pos x="T2" y="T3"/>
                      </a:cxn>
                      <a:cxn ang="0">
                        <a:pos x="T4" y="T5"/>
                      </a:cxn>
                      <a:cxn ang="0">
                        <a:pos x="T6" y="T7"/>
                      </a:cxn>
                      <a:cxn ang="0">
                        <a:pos x="T8" y="T9"/>
                      </a:cxn>
                    </a:cxnLst>
                    <a:rect l="0" t="0" r="r" b="b"/>
                    <a:pathLst>
                      <a:path w="17" h="9">
                        <a:moveTo>
                          <a:pt x="0" y="0"/>
                        </a:moveTo>
                        <a:lnTo>
                          <a:pt x="14" y="9"/>
                        </a:lnTo>
                        <a:lnTo>
                          <a:pt x="17"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26" name="Freeform 1988"/>
                  <p:cNvSpPr>
                    <a:spLocks/>
                  </p:cNvSpPr>
                  <p:nvPr/>
                </p:nvSpPr>
                <p:spPr bwMode="auto">
                  <a:xfrm>
                    <a:off x="11530" y="2865"/>
                    <a:ext cx="17" cy="9"/>
                  </a:xfrm>
                  <a:custGeom>
                    <a:avLst/>
                    <a:gdLst>
                      <a:gd name="T0" fmla="*/ 0 w 19"/>
                      <a:gd name="T1" fmla="*/ 3 h 10"/>
                      <a:gd name="T2" fmla="*/ 16 w 19"/>
                      <a:gd name="T3" fmla="*/ 10 h 10"/>
                      <a:gd name="T4" fmla="*/ 19 w 19"/>
                      <a:gd name="T5" fmla="*/ 10 h 10"/>
                      <a:gd name="T6" fmla="*/ 0 w 19"/>
                      <a:gd name="T7" fmla="*/ 0 h 10"/>
                      <a:gd name="T8" fmla="*/ 0 w 19"/>
                      <a:gd name="T9" fmla="*/ 3 h 10"/>
                    </a:gdLst>
                    <a:ahLst/>
                    <a:cxnLst>
                      <a:cxn ang="0">
                        <a:pos x="T0" y="T1"/>
                      </a:cxn>
                      <a:cxn ang="0">
                        <a:pos x="T2" y="T3"/>
                      </a:cxn>
                      <a:cxn ang="0">
                        <a:pos x="T4" y="T5"/>
                      </a:cxn>
                      <a:cxn ang="0">
                        <a:pos x="T6" y="T7"/>
                      </a:cxn>
                      <a:cxn ang="0">
                        <a:pos x="T8" y="T9"/>
                      </a:cxn>
                    </a:cxnLst>
                    <a:rect l="0" t="0" r="r" b="b"/>
                    <a:pathLst>
                      <a:path w="19" h="10">
                        <a:moveTo>
                          <a:pt x="0" y="3"/>
                        </a:moveTo>
                        <a:lnTo>
                          <a:pt x="16" y="10"/>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27" name="Freeform 1989"/>
                  <p:cNvSpPr>
                    <a:spLocks/>
                  </p:cNvSpPr>
                  <p:nvPr/>
                </p:nvSpPr>
                <p:spPr bwMode="auto">
                  <a:xfrm>
                    <a:off x="11555" y="2778"/>
                    <a:ext cx="42" cy="26"/>
                  </a:xfrm>
                  <a:custGeom>
                    <a:avLst/>
                    <a:gdLst>
                      <a:gd name="T0" fmla="*/ 0 w 40"/>
                      <a:gd name="T1" fmla="*/ 0 h 16"/>
                      <a:gd name="T2" fmla="*/ 0 w 40"/>
                      <a:gd name="T3" fmla="*/ 0 h 16"/>
                      <a:gd name="T4" fmla="*/ 40 w 40"/>
                      <a:gd name="T5" fmla="*/ 16 h 16"/>
                      <a:gd name="T6" fmla="*/ 40 w 40"/>
                      <a:gd name="T7" fmla="*/ 14 h 16"/>
                      <a:gd name="T8" fmla="*/ 0 w 40"/>
                      <a:gd name="T9" fmla="*/ 0 h 16"/>
                      <a:gd name="T10" fmla="*/ 0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0" y="0"/>
                        </a:moveTo>
                        <a:lnTo>
                          <a:pt x="0" y="0"/>
                        </a:lnTo>
                        <a:lnTo>
                          <a:pt x="40" y="16"/>
                        </a:lnTo>
                        <a:lnTo>
                          <a:pt x="40"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28" name="Freeform 1990"/>
                  <p:cNvSpPr>
                    <a:spLocks/>
                  </p:cNvSpPr>
                  <p:nvPr/>
                </p:nvSpPr>
                <p:spPr bwMode="auto">
                  <a:xfrm>
                    <a:off x="11546" y="2787"/>
                    <a:ext cx="50" cy="17"/>
                  </a:xfrm>
                  <a:custGeom>
                    <a:avLst/>
                    <a:gdLst>
                      <a:gd name="T0" fmla="*/ 0 w 40"/>
                      <a:gd name="T1" fmla="*/ 2 h 16"/>
                      <a:gd name="T2" fmla="*/ 40 w 40"/>
                      <a:gd name="T3" fmla="*/ 16 h 16"/>
                      <a:gd name="T4" fmla="*/ 40 w 40"/>
                      <a:gd name="T5" fmla="*/ 16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29" name="Freeform 1991"/>
                  <p:cNvSpPr>
                    <a:spLocks/>
                  </p:cNvSpPr>
                  <p:nvPr/>
                </p:nvSpPr>
                <p:spPr bwMode="auto">
                  <a:xfrm>
                    <a:off x="11546" y="2796"/>
                    <a:ext cx="42" cy="9"/>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30" name="Freeform 1992"/>
                  <p:cNvSpPr>
                    <a:spLocks/>
                  </p:cNvSpPr>
                  <p:nvPr/>
                </p:nvSpPr>
                <p:spPr bwMode="auto">
                  <a:xfrm>
                    <a:off x="11546" y="2804"/>
                    <a:ext cx="42" cy="9"/>
                  </a:xfrm>
                  <a:custGeom>
                    <a:avLst/>
                    <a:gdLst>
                      <a:gd name="T0" fmla="*/ 0 w 40"/>
                      <a:gd name="T1" fmla="*/ 0 h 16"/>
                      <a:gd name="T2" fmla="*/ 38 w 40"/>
                      <a:gd name="T3" fmla="*/ 16 h 16"/>
                      <a:gd name="T4" fmla="*/ 40 w 40"/>
                      <a:gd name="T5" fmla="*/ 14 h 16"/>
                      <a:gd name="T6" fmla="*/ 3 w 40"/>
                      <a:gd name="T7" fmla="*/ 0 h 16"/>
                      <a:gd name="T8" fmla="*/ 0 w 40"/>
                      <a:gd name="T9" fmla="*/ 0 h 16"/>
                    </a:gdLst>
                    <a:ahLst/>
                    <a:cxnLst>
                      <a:cxn ang="0">
                        <a:pos x="T0" y="T1"/>
                      </a:cxn>
                      <a:cxn ang="0">
                        <a:pos x="T2" y="T3"/>
                      </a:cxn>
                      <a:cxn ang="0">
                        <a:pos x="T4" y="T5"/>
                      </a:cxn>
                      <a:cxn ang="0">
                        <a:pos x="T6" y="T7"/>
                      </a:cxn>
                      <a:cxn ang="0">
                        <a:pos x="T8" y="T9"/>
                      </a:cxn>
                    </a:cxnLst>
                    <a:rect l="0" t="0" r="r" b="b"/>
                    <a:pathLst>
                      <a:path w="40" h="16">
                        <a:moveTo>
                          <a:pt x="0" y="0"/>
                        </a:moveTo>
                        <a:lnTo>
                          <a:pt x="38" y="16"/>
                        </a:lnTo>
                        <a:lnTo>
                          <a:pt x="40"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31" name="Freeform 1993"/>
                  <p:cNvSpPr>
                    <a:spLocks/>
                  </p:cNvSpPr>
                  <p:nvPr/>
                </p:nvSpPr>
                <p:spPr bwMode="auto">
                  <a:xfrm>
                    <a:off x="11546" y="2830"/>
                    <a:ext cx="25" cy="9"/>
                  </a:xfrm>
                  <a:custGeom>
                    <a:avLst/>
                    <a:gdLst>
                      <a:gd name="T0" fmla="*/ 0 w 33"/>
                      <a:gd name="T1" fmla="*/ 0 h 14"/>
                      <a:gd name="T2" fmla="*/ 31 w 33"/>
                      <a:gd name="T3" fmla="*/ 14 h 14"/>
                      <a:gd name="T4" fmla="*/ 33 w 33"/>
                      <a:gd name="T5" fmla="*/ 11 h 14"/>
                      <a:gd name="T6" fmla="*/ 2 w 33"/>
                      <a:gd name="T7" fmla="*/ 0 h 14"/>
                      <a:gd name="T8" fmla="*/ 0 w 33"/>
                      <a:gd name="T9" fmla="*/ 0 h 14"/>
                    </a:gdLst>
                    <a:ahLst/>
                    <a:cxnLst>
                      <a:cxn ang="0">
                        <a:pos x="T0" y="T1"/>
                      </a:cxn>
                      <a:cxn ang="0">
                        <a:pos x="T2" y="T3"/>
                      </a:cxn>
                      <a:cxn ang="0">
                        <a:pos x="T4" y="T5"/>
                      </a:cxn>
                      <a:cxn ang="0">
                        <a:pos x="T6" y="T7"/>
                      </a:cxn>
                      <a:cxn ang="0">
                        <a:pos x="T8" y="T9"/>
                      </a:cxn>
                    </a:cxnLst>
                    <a:rect l="0" t="0" r="r" b="b"/>
                    <a:pathLst>
                      <a:path w="33" h="14">
                        <a:moveTo>
                          <a:pt x="0" y="0"/>
                        </a:moveTo>
                        <a:lnTo>
                          <a:pt x="31" y="14"/>
                        </a:lnTo>
                        <a:lnTo>
                          <a:pt x="33" y="1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32" name="Freeform 1994"/>
                  <p:cNvSpPr>
                    <a:spLocks/>
                  </p:cNvSpPr>
                  <p:nvPr/>
                </p:nvSpPr>
                <p:spPr bwMode="auto">
                  <a:xfrm>
                    <a:off x="11521" y="2883"/>
                    <a:ext cx="17" cy="9"/>
                  </a:xfrm>
                  <a:custGeom>
                    <a:avLst/>
                    <a:gdLst>
                      <a:gd name="T0" fmla="*/ 0 w 11"/>
                      <a:gd name="T1" fmla="*/ 3 h 7"/>
                      <a:gd name="T2" fmla="*/ 11 w 11"/>
                      <a:gd name="T3" fmla="*/ 7 h 7"/>
                      <a:gd name="T4" fmla="*/ 11 w 11"/>
                      <a:gd name="T5" fmla="*/ 7 h 7"/>
                      <a:gd name="T6" fmla="*/ 0 w 11"/>
                      <a:gd name="T7" fmla="*/ 0 h 7"/>
                      <a:gd name="T8" fmla="*/ 0 w 11"/>
                      <a:gd name="T9" fmla="*/ 3 h 7"/>
                    </a:gdLst>
                    <a:ahLst/>
                    <a:cxnLst>
                      <a:cxn ang="0">
                        <a:pos x="T0" y="T1"/>
                      </a:cxn>
                      <a:cxn ang="0">
                        <a:pos x="T2" y="T3"/>
                      </a:cxn>
                      <a:cxn ang="0">
                        <a:pos x="T4" y="T5"/>
                      </a:cxn>
                      <a:cxn ang="0">
                        <a:pos x="T6" y="T7"/>
                      </a:cxn>
                      <a:cxn ang="0">
                        <a:pos x="T8" y="T9"/>
                      </a:cxn>
                    </a:cxnLst>
                    <a:rect l="0" t="0" r="r" b="b"/>
                    <a:pathLst>
                      <a:path w="11" h="7">
                        <a:moveTo>
                          <a:pt x="0" y="3"/>
                        </a:moveTo>
                        <a:lnTo>
                          <a:pt x="11" y="7"/>
                        </a:lnTo>
                        <a:lnTo>
                          <a:pt x="1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33" name="Freeform 1995"/>
                  <p:cNvSpPr>
                    <a:spLocks/>
                  </p:cNvSpPr>
                  <p:nvPr/>
                </p:nvSpPr>
                <p:spPr bwMode="auto">
                  <a:xfrm>
                    <a:off x="11546" y="2822"/>
                    <a:ext cx="25" cy="9"/>
                  </a:xfrm>
                  <a:custGeom>
                    <a:avLst/>
                    <a:gdLst>
                      <a:gd name="T0" fmla="*/ 0 w 34"/>
                      <a:gd name="T1" fmla="*/ 0 h 14"/>
                      <a:gd name="T2" fmla="*/ 34 w 34"/>
                      <a:gd name="T3" fmla="*/ 14 h 14"/>
                      <a:gd name="T4" fmla="*/ 34 w 34"/>
                      <a:gd name="T5" fmla="*/ 14 h 14"/>
                      <a:gd name="T6" fmla="*/ 0 w 34"/>
                      <a:gd name="T7" fmla="*/ 0 h 14"/>
                      <a:gd name="T8" fmla="*/ 0 w 34"/>
                      <a:gd name="T9" fmla="*/ 0 h 14"/>
                    </a:gdLst>
                    <a:ahLst/>
                    <a:cxnLst>
                      <a:cxn ang="0">
                        <a:pos x="T0" y="T1"/>
                      </a:cxn>
                      <a:cxn ang="0">
                        <a:pos x="T2" y="T3"/>
                      </a:cxn>
                      <a:cxn ang="0">
                        <a:pos x="T4" y="T5"/>
                      </a:cxn>
                      <a:cxn ang="0">
                        <a:pos x="T6" y="T7"/>
                      </a:cxn>
                      <a:cxn ang="0">
                        <a:pos x="T8" y="T9"/>
                      </a:cxn>
                    </a:cxnLst>
                    <a:rect l="0" t="0" r="r" b="b"/>
                    <a:pathLst>
                      <a:path w="34" h="14">
                        <a:moveTo>
                          <a:pt x="0" y="0"/>
                        </a:moveTo>
                        <a:lnTo>
                          <a:pt x="34" y="14"/>
                        </a:lnTo>
                        <a:lnTo>
                          <a:pt x="34"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34" name="Freeform 1996"/>
                  <p:cNvSpPr>
                    <a:spLocks/>
                  </p:cNvSpPr>
                  <p:nvPr/>
                </p:nvSpPr>
                <p:spPr bwMode="auto">
                  <a:xfrm>
                    <a:off x="11546" y="2813"/>
                    <a:ext cx="33" cy="17"/>
                  </a:xfrm>
                  <a:custGeom>
                    <a:avLst/>
                    <a:gdLst>
                      <a:gd name="T0" fmla="*/ 0 w 35"/>
                      <a:gd name="T1" fmla="*/ 2 h 16"/>
                      <a:gd name="T2" fmla="*/ 35 w 35"/>
                      <a:gd name="T3" fmla="*/ 16 h 16"/>
                      <a:gd name="T4" fmla="*/ 35 w 35"/>
                      <a:gd name="T5" fmla="*/ 14 h 16"/>
                      <a:gd name="T6" fmla="*/ 0 w 35"/>
                      <a:gd name="T7" fmla="*/ 0 h 16"/>
                      <a:gd name="T8" fmla="*/ 0 w 35"/>
                      <a:gd name="T9" fmla="*/ 2 h 16"/>
                    </a:gdLst>
                    <a:ahLst/>
                    <a:cxnLst>
                      <a:cxn ang="0">
                        <a:pos x="T0" y="T1"/>
                      </a:cxn>
                      <a:cxn ang="0">
                        <a:pos x="T2" y="T3"/>
                      </a:cxn>
                      <a:cxn ang="0">
                        <a:pos x="T4" y="T5"/>
                      </a:cxn>
                      <a:cxn ang="0">
                        <a:pos x="T6" y="T7"/>
                      </a:cxn>
                      <a:cxn ang="0">
                        <a:pos x="T8" y="T9"/>
                      </a:cxn>
                    </a:cxnLst>
                    <a:rect l="0" t="0" r="r" b="b"/>
                    <a:pathLst>
                      <a:path w="35" h="16">
                        <a:moveTo>
                          <a:pt x="0" y="2"/>
                        </a:moveTo>
                        <a:lnTo>
                          <a:pt x="35" y="16"/>
                        </a:lnTo>
                        <a:lnTo>
                          <a:pt x="35"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35" name="Freeform 1997"/>
                  <p:cNvSpPr>
                    <a:spLocks/>
                  </p:cNvSpPr>
                  <p:nvPr/>
                </p:nvSpPr>
                <p:spPr bwMode="auto">
                  <a:xfrm>
                    <a:off x="11546" y="2804"/>
                    <a:ext cx="33" cy="17"/>
                  </a:xfrm>
                  <a:custGeom>
                    <a:avLst/>
                    <a:gdLst>
                      <a:gd name="T0" fmla="*/ 0 w 36"/>
                      <a:gd name="T1" fmla="*/ 3 h 17"/>
                      <a:gd name="T2" fmla="*/ 36 w 36"/>
                      <a:gd name="T3" fmla="*/ 17 h 17"/>
                      <a:gd name="T4" fmla="*/ 36 w 36"/>
                      <a:gd name="T5" fmla="*/ 17 h 17"/>
                      <a:gd name="T6" fmla="*/ 0 w 36"/>
                      <a:gd name="T7" fmla="*/ 0 h 17"/>
                      <a:gd name="T8" fmla="*/ 0 w 36"/>
                      <a:gd name="T9" fmla="*/ 3 h 17"/>
                    </a:gdLst>
                    <a:ahLst/>
                    <a:cxnLst>
                      <a:cxn ang="0">
                        <a:pos x="T0" y="T1"/>
                      </a:cxn>
                      <a:cxn ang="0">
                        <a:pos x="T2" y="T3"/>
                      </a:cxn>
                      <a:cxn ang="0">
                        <a:pos x="T4" y="T5"/>
                      </a:cxn>
                      <a:cxn ang="0">
                        <a:pos x="T6" y="T7"/>
                      </a:cxn>
                      <a:cxn ang="0">
                        <a:pos x="T8" y="T9"/>
                      </a:cxn>
                    </a:cxnLst>
                    <a:rect l="0" t="0" r="r" b="b"/>
                    <a:pathLst>
                      <a:path w="36" h="17">
                        <a:moveTo>
                          <a:pt x="0" y="3"/>
                        </a:moveTo>
                        <a:lnTo>
                          <a:pt x="36" y="17"/>
                        </a:lnTo>
                        <a:lnTo>
                          <a:pt x="3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36" name="Freeform 1998"/>
                  <p:cNvSpPr>
                    <a:spLocks/>
                  </p:cNvSpPr>
                  <p:nvPr/>
                </p:nvSpPr>
                <p:spPr bwMode="auto">
                  <a:xfrm>
                    <a:off x="11505" y="2909"/>
                    <a:ext cx="17" cy="17"/>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37" name="Freeform 1999"/>
                  <p:cNvSpPr>
                    <a:spLocks/>
                  </p:cNvSpPr>
                  <p:nvPr/>
                </p:nvSpPr>
                <p:spPr bwMode="auto">
                  <a:xfrm>
                    <a:off x="11480" y="2952"/>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38" name="Freeform 2000"/>
                  <p:cNvSpPr>
                    <a:spLocks/>
                  </p:cNvSpPr>
                  <p:nvPr/>
                </p:nvSpPr>
                <p:spPr bwMode="auto">
                  <a:xfrm>
                    <a:off x="11488" y="2952"/>
                    <a:ext cx="8" cy="0"/>
                  </a:xfrm>
                  <a:custGeom>
                    <a:avLst/>
                    <a:gdLst>
                      <a:gd name="T0" fmla="*/ 0 w 12"/>
                      <a:gd name="T1" fmla="*/ 0 h 7"/>
                      <a:gd name="T2" fmla="*/ 9 w 12"/>
                      <a:gd name="T3" fmla="*/ 7 h 7"/>
                      <a:gd name="T4" fmla="*/ 12 w 12"/>
                      <a:gd name="T5" fmla="*/ 7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39" name="Freeform 2001"/>
                  <p:cNvSpPr>
                    <a:spLocks/>
                  </p:cNvSpPr>
                  <p:nvPr/>
                </p:nvSpPr>
                <p:spPr bwMode="auto">
                  <a:xfrm>
                    <a:off x="11521" y="2891"/>
                    <a:ext cx="17" cy="9"/>
                  </a:xfrm>
                  <a:custGeom>
                    <a:avLst/>
                    <a:gdLst>
                      <a:gd name="T0" fmla="*/ 0 w 12"/>
                      <a:gd name="T1" fmla="*/ 0 h 8"/>
                      <a:gd name="T2" fmla="*/ 10 w 12"/>
                      <a:gd name="T3" fmla="*/ 8 h 8"/>
                      <a:gd name="T4" fmla="*/ 12 w 12"/>
                      <a:gd name="T5" fmla="*/ 5 h 8"/>
                      <a:gd name="T6" fmla="*/ 0 w 12"/>
                      <a:gd name="T7" fmla="*/ 0 h 8"/>
                      <a:gd name="T8" fmla="*/ 0 w 12"/>
                      <a:gd name="T9" fmla="*/ 0 h 8"/>
                    </a:gdLst>
                    <a:ahLst/>
                    <a:cxnLst>
                      <a:cxn ang="0">
                        <a:pos x="T0" y="T1"/>
                      </a:cxn>
                      <a:cxn ang="0">
                        <a:pos x="T2" y="T3"/>
                      </a:cxn>
                      <a:cxn ang="0">
                        <a:pos x="T4" y="T5"/>
                      </a:cxn>
                      <a:cxn ang="0">
                        <a:pos x="T6" y="T7"/>
                      </a:cxn>
                      <a:cxn ang="0">
                        <a:pos x="T8" y="T9"/>
                      </a:cxn>
                    </a:cxnLst>
                    <a:rect l="0" t="0" r="r" b="b"/>
                    <a:pathLst>
                      <a:path w="12" h="8">
                        <a:moveTo>
                          <a:pt x="0" y="0"/>
                        </a:moveTo>
                        <a:lnTo>
                          <a:pt x="10" y="8"/>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40" name="Freeform 2002"/>
                  <p:cNvSpPr>
                    <a:spLocks/>
                  </p:cNvSpPr>
                  <p:nvPr/>
                </p:nvSpPr>
                <p:spPr bwMode="auto">
                  <a:xfrm>
                    <a:off x="11488" y="2944"/>
                    <a:ext cx="8" cy="9"/>
                  </a:xfrm>
                  <a:custGeom>
                    <a:avLst/>
                    <a:gdLst>
                      <a:gd name="T0" fmla="*/ 0 w 10"/>
                      <a:gd name="T1" fmla="*/ 2 h 10"/>
                      <a:gd name="T2" fmla="*/ 10 w 10"/>
                      <a:gd name="T3" fmla="*/ 10 h 10"/>
                      <a:gd name="T4" fmla="*/ 10 w 10"/>
                      <a:gd name="T5" fmla="*/ 7 h 10"/>
                      <a:gd name="T6" fmla="*/ 0 w 10"/>
                      <a:gd name="T7" fmla="*/ 0 h 10"/>
                      <a:gd name="T8" fmla="*/ 0 w 10"/>
                      <a:gd name="T9" fmla="*/ 2 h 10"/>
                    </a:gdLst>
                    <a:ahLst/>
                    <a:cxnLst>
                      <a:cxn ang="0">
                        <a:pos x="T0" y="T1"/>
                      </a:cxn>
                      <a:cxn ang="0">
                        <a:pos x="T2" y="T3"/>
                      </a:cxn>
                      <a:cxn ang="0">
                        <a:pos x="T4" y="T5"/>
                      </a:cxn>
                      <a:cxn ang="0">
                        <a:pos x="T6" y="T7"/>
                      </a:cxn>
                      <a:cxn ang="0">
                        <a:pos x="T8" y="T9"/>
                      </a:cxn>
                    </a:cxnLst>
                    <a:rect l="0" t="0" r="r" b="b"/>
                    <a:pathLst>
                      <a:path w="10" h="10">
                        <a:moveTo>
                          <a:pt x="0" y="2"/>
                        </a:moveTo>
                        <a:lnTo>
                          <a:pt x="10" y="10"/>
                        </a:lnTo>
                        <a:lnTo>
                          <a:pt x="10"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41" name="Freeform 2003"/>
                  <p:cNvSpPr>
                    <a:spLocks/>
                  </p:cNvSpPr>
                  <p:nvPr/>
                </p:nvSpPr>
                <p:spPr bwMode="auto">
                  <a:xfrm>
                    <a:off x="11488" y="2935"/>
                    <a:ext cx="17" cy="9"/>
                  </a:xfrm>
                  <a:custGeom>
                    <a:avLst/>
                    <a:gdLst>
                      <a:gd name="T0" fmla="*/ 0 w 12"/>
                      <a:gd name="T1" fmla="*/ 3 h 7"/>
                      <a:gd name="T2" fmla="*/ 9 w 12"/>
                      <a:gd name="T3" fmla="*/ 7 h 7"/>
                      <a:gd name="T4" fmla="*/ 12 w 12"/>
                      <a:gd name="T5" fmla="*/ 7 h 7"/>
                      <a:gd name="T6" fmla="*/ 2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9" y="7"/>
                        </a:lnTo>
                        <a:lnTo>
                          <a:pt x="12" y="7"/>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42" name="Freeform 2004"/>
                  <p:cNvSpPr>
                    <a:spLocks/>
                  </p:cNvSpPr>
                  <p:nvPr/>
                </p:nvSpPr>
                <p:spPr bwMode="auto">
                  <a:xfrm>
                    <a:off x="11472" y="2961"/>
                    <a:ext cx="17" cy="9"/>
                  </a:xfrm>
                  <a:custGeom>
                    <a:avLst/>
                    <a:gdLst>
                      <a:gd name="T0" fmla="*/ 0 w 12"/>
                      <a:gd name="T1" fmla="*/ 0 h 7"/>
                      <a:gd name="T2" fmla="*/ 9 w 12"/>
                      <a:gd name="T3" fmla="*/ 7 h 7"/>
                      <a:gd name="T4" fmla="*/ 12 w 12"/>
                      <a:gd name="T5" fmla="*/ 7 h 7"/>
                      <a:gd name="T6" fmla="*/ 2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43" name="Freeform 2005"/>
                  <p:cNvSpPr>
                    <a:spLocks/>
                  </p:cNvSpPr>
                  <p:nvPr/>
                </p:nvSpPr>
                <p:spPr bwMode="auto">
                  <a:xfrm>
                    <a:off x="11463" y="2979"/>
                    <a:ext cx="17" cy="9"/>
                  </a:xfrm>
                  <a:custGeom>
                    <a:avLst/>
                    <a:gdLst>
                      <a:gd name="T0" fmla="*/ 0 w 9"/>
                      <a:gd name="T1" fmla="*/ 3 h 10"/>
                      <a:gd name="T2" fmla="*/ 9 w 9"/>
                      <a:gd name="T3" fmla="*/ 10 h 10"/>
                      <a:gd name="T4" fmla="*/ 9 w 9"/>
                      <a:gd name="T5" fmla="*/ 7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44" name="Freeform 2006"/>
                  <p:cNvSpPr>
                    <a:spLocks/>
                  </p:cNvSpPr>
                  <p:nvPr/>
                </p:nvSpPr>
                <p:spPr bwMode="auto">
                  <a:xfrm>
                    <a:off x="11472" y="2970"/>
                    <a:ext cx="8" cy="9"/>
                  </a:xfrm>
                  <a:custGeom>
                    <a:avLst/>
                    <a:gdLst>
                      <a:gd name="T0" fmla="*/ 0 w 12"/>
                      <a:gd name="T1" fmla="*/ 3 h 10"/>
                      <a:gd name="T2" fmla="*/ 10 w 12"/>
                      <a:gd name="T3" fmla="*/ 10 h 10"/>
                      <a:gd name="T4" fmla="*/ 12 w 12"/>
                      <a:gd name="T5" fmla="*/ 8 h 10"/>
                      <a:gd name="T6" fmla="*/ 3 w 12"/>
                      <a:gd name="T7" fmla="*/ 0 h 10"/>
                      <a:gd name="T8" fmla="*/ 0 w 12"/>
                      <a:gd name="T9" fmla="*/ 3 h 10"/>
                    </a:gdLst>
                    <a:ahLst/>
                    <a:cxnLst>
                      <a:cxn ang="0">
                        <a:pos x="T0" y="T1"/>
                      </a:cxn>
                      <a:cxn ang="0">
                        <a:pos x="T2" y="T3"/>
                      </a:cxn>
                      <a:cxn ang="0">
                        <a:pos x="T4" y="T5"/>
                      </a:cxn>
                      <a:cxn ang="0">
                        <a:pos x="T6" y="T7"/>
                      </a:cxn>
                      <a:cxn ang="0">
                        <a:pos x="T8" y="T9"/>
                      </a:cxn>
                    </a:cxnLst>
                    <a:rect l="0" t="0" r="r" b="b"/>
                    <a:pathLst>
                      <a:path w="12" h="10">
                        <a:moveTo>
                          <a:pt x="0" y="3"/>
                        </a:moveTo>
                        <a:lnTo>
                          <a:pt x="10" y="10"/>
                        </a:lnTo>
                        <a:lnTo>
                          <a:pt x="12" y="8"/>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45" name="Freeform 2007"/>
                  <p:cNvSpPr>
                    <a:spLocks/>
                  </p:cNvSpPr>
                  <p:nvPr/>
                </p:nvSpPr>
                <p:spPr bwMode="auto">
                  <a:xfrm>
                    <a:off x="11480" y="2952"/>
                    <a:ext cx="17" cy="9"/>
                  </a:xfrm>
                  <a:custGeom>
                    <a:avLst/>
                    <a:gdLst>
                      <a:gd name="T0" fmla="*/ 0 w 9"/>
                      <a:gd name="T1" fmla="*/ 2 h 9"/>
                      <a:gd name="T2" fmla="*/ 9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9"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46" name="Freeform 2008"/>
                  <p:cNvSpPr>
                    <a:spLocks/>
                  </p:cNvSpPr>
                  <p:nvPr/>
                </p:nvSpPr>
                <p:spPr bwMode="auto">
                  <a:xfrm>
                    <a:off x="11496" y="2926"/>
                    <a:ext cx="8" cy="9"/>
                  </a:xfrm>
                  <a:custGeom>
                    <a:avLst/>
                    <a:gdLst>
                      <a:gd name="T0" fmla="*/ 0 w 9"/>
                      <a:gd name="T1" fmla="*/ 0 h 7"/>
                      <a:gd name="T2" fmla="*/ 9 w 9"/>
                      <a:gd name="T3" fmla="*/ 7 h 7"/>
                      <a:gd name="T4" fmla="*/ 9 w 9"/>
                      <a:gd name="T5" fmla="*/ 4 h 7"/>
                      <a:gd name="T6" fmla="*/ 0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47" name="Freeform 2009"/>
                  <p:cNvSpPr>
                    <a:spLocks/>
                  </p:cNvSpPr>
                  <p:nvPr/>
                </p:nvSpPr>
                <p:spPr bwMode="auto">
                  <a:xfrm>
                    <a:off x="11521" y="2900"/>
                    <a:ext cx="0" cy="9"/>
                  </a:xfrm>
                  <a:custGeom>
                    <a:avLst/>
                    <a:gdLst>
                      <a:gd name="T0" fmla="*/ 0 w 12"/>
                      <a:gd name="T1" fmla="*/ 0 h 7"/>
                      <a:gd name="T2" fmla="*/ 10 w 12"/>
                      <a:gd name="T3" fmla="*/ 7 h 7"/>
                      <a:gd name="T4" fmla="*/ 12 w 12"/>
                      <a:gd name="T5" fmla="*/ 5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48" name="Freeform 2010"/>
                  <p:cNvSpPr>
                    <a:spLocks/>
                  </p:cNvSpPr>
                  <p:nvPr/>
                </p:nvSpPr>
                <p:spPr bwMode="auto">
                  <a:xfrm>
                    <a:off x="11521" y="2891"/>
                    <a:ext cx="8" cy="9"/>
                  </a:xfrm>
                  <a:custGeom>
                    <a:avLst/>
                    <a:gdLst>
                      <a:gd name="T0" fmla="*/ 0 w 12"/>
                      <a:gd name="T1" fmla="*/ 3 h 7"/>
                      <a:gd name="T2" fmla="*/ 12 w 12"/>
                      <a:gd name="T3" fmla="*/ 7 h 7"/>
                      <a:gd name="T4" fmla="*/ 12 w 12"/>
                      <a:gd name="T5" fmla="*/ 7 h 7"/>
                      <a:gd name="T6" fmla="*/ 3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12" y="7"/>
                        </a:lnTo>
                        <a:lnTo>
                          <a:pt x="12" y="7"/>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49" name="Freeform 2011"/>
                  <p:cNvSpPr>
                    <a:spLocks/>
                  </p:cNvSpPr>
                  <p:nvPr/>
                </p:nvSpPr>
                <p:spPr bwMode="auto">
                  <a:xfrm>
                    <a:off x="11513" y="2909"/>
                    <a:ext cx="8" cy="9"/>
                  </a:xfrm>
                  <a:custGeom>
                    <a:avLst/>
                    <a:gdLst>
                      <a:gd name="T0" fmla="*/ 0 w 9"/>
                      <a:gd name="T1" fmla="*/ 2 h 7"/>
                      <a:gd name="T2" fmla="*/ 9 w 9"/>
                      <a:gd name="T3" fmla="*/ 7 h 7"/>
                      <a:gd name="T4" fmla="*/ 9 w 9"/>
                      <a:gd name="T5" fmla="*/ 7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50" name="Freeform 2012"/>
                  <p:cNvSpPr>
                    <a:spLocks/>
                  </p:cNvSpPr>
                  <p:nvPr/>
                </p:nvSpPr>
                <p:spPr bwMode="auto">
                  <a:xfrm>
                    <a:off x="11496" y="2926"/>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51" name="Freeform 2013"/>
                  <p:cNvSpPr>
                    <a:spLocks/>
                  </p:cNvSpPr>
                  <p:nvPr/>
                </p:nvSpPr>
                <p:spPr bwMode="auto">
                  <a:xfrm>
                    <a:off x="11555" y="2778"/>
                    <a:ext cx="42" cy="17"/>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52" name="Freeform 2014"/>
                  <p:cNvSpPr>
                    <a:spLocks/>
                  </p:cNvSpPr>
                  <p:nvPr/>
                </p:nvSpPr>
                <p:spPr bwMode="auto">
                  <a:xfrm>
                    <a:off x="11505" y="2926"/>
                    <a:ext cx="17" cy="0"/>
                  </a:xfrm>
                  <a:custGeom>
                    <a:avLst/>
                    <a:gdLst>
                      <a:gd name="T0" fmla="*/ 0 w 9"/>
                      <a:gd name="T1" fmla="*/ 2 h 7"/>
                      <a:gd name="T2" fmla="*/ 9 w 9"/>
                      <a:gd name="T3" fmla="*/ 7 h 7"/>
                      <a:gd name="T4" fmla="*/ 9 w 9"/>
                      <a:gd name="T5" fmla="*/ 5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5"/>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53" name="Freeform 2015"/>
                  <p:cNvSpPr>
                    <a:spLocks/>
                  </p:cNvSpPr>
                  <p:nvPr/>
                </p:nvSpPr>
                <p:spPr bwMode="auto">
                  <a:xfrm>
                    <a:off x="11546" y="2839"/>
                    <a:ext cx="25" cy="9"/>
                  </a:xfrm>
                  <a:custGeom>
                    <a:avLst/>
                    <a:gdLst>
                      <a:gd name="T0" fmla="*/ 0 w 28"/>
                      <a:gd name="T1" fmla="*/ 3 h 15"/>
                      <a:gd name="T2" fmla="*/ 28 w 28"/>
                      <a:gd name="T3" fmla="*/ 15 h 15"/>
                      <a:gd name="T4" fmla="*/ 28 w 28"/>
                      <a:gd name="T5" fmla="*/ 15 h 15"/>
                      <a:gd name="T6" fmla="*/ 0 w 28"/>
                      <a:gd name="T7" fmla="*/ 0 h 15"/>
                      <a:gd name="T8" fmla="*/ 0 w 28"/>
                      <a:gd name="T9" fmla="*/ 3 h 15"/>
                    </a:gdLst>
                    <a:ahLst/>
                    <a:cxnLst>
                      <a:cxn ang="0">
                        <a:pos x="T0" y="T1"/>
                      </a:cxn>
                      <a:cxn ang="0">
                        <a:pos x="T2" y="T3"/>
                      </a:cxn>
                      <a:cxn ang="0">
                        <a:pos x="T4" y="T5"/>
                      </a:cxn>
                      <a:cxn ang="0">
                        <a:pos x="T6" y="T7"/>
                      </a:cxn>
                      <a:cxn ang="0">
                        <a:pos x="T8" y="T9"/>
                      </a:cxn>
                    </a:cxnLst>
                    <a:rect l="0" t="0" r="r" b="b"/>
                    <a:pathLst>
                      <a:path w="28" h="15">
                        <a:moveTo>
                          <a:pt x="0" y="3"/>
                        </a:moveTo>
                        <a:lnTo>
                          <a:pt x="28" y="15"/>
                        </a:lnTo>
                        <a:lnTo>
                          <a:pt x="28" y="15"/>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54" name="Rectangle 2016"/>
                  <p:cNvSpPr>
                    <a:spLocks noChangeArrowheads="1"/>
                  </p:cNvSpPr>
                  <p:nvPr/>
                </p:nvSpPr>
                <p:spPr bwMode="auto">
                  <a:xfrm>
                    <a:off x="11605" y="2630"/>
                    <a:ext cx="8" cy="0"/>
                  </a:xfrm>
                  <a:prstGeom prst="rect">
                    <a:avLst/>
                  </a:prstGeom>
                  <a:solidFill>
                    <a:srgbClr val="01AAE5"/>
                  </a:solidFill>
                  <a:ln>
                    <a:noFill/>
                  </a:ln>
                  <a:extLst/>
                </p:spPr>
                <p:txBody>
                  <a:bodyPr/>
                  <a:lstStyle/>
                  <a:p>
                    <a:pPr eaLnBrk="1" hangingPunct="1">
                      <a:defRPr/>
                    </a:pPr>
                    <a:endParaRPr lang="zh-CN" altLang="en-US" sz="1050"/>
                  </a:p>
                </p:txBody>
              </p:sp>
              <p:sp>
                <p:nvSpPr>
                  <p:cNvPr id="1355" name="Freeform 2017"/>
                  <p:cNvSpPr>
                    <a:spLocks/>
                  </p:cNvSpPr>
                  <p:nvPr/>
                </p:nvSpPr>
                <p:spPr bwMode="auto">
                  <a:xfrm>
                    <a:off x="11605" y="2621"/>
                    <a:ext cx="8" cy="0"/>
                  </a:xfrm>
                  <a:custGeom>
                    <a:avLst/>
                    <a:gdLst>
                      <a:gd name="T0" fmla="*/ 0 w 12"/>
                      <a:gd name="T1" fmla="*/ 3 h 3"/>
                      <a:gd name="T2" fmla="*/ 12 w 12"/>
                      <a:gd name="T3" fmla="*/ 3 h 3"/>
                      <a:gd name="T4" fmla="*/ 12 w 12"/>
                      <a:gd name="T5" fmla="*/ 3 h 3"/>
                      <a:gd name="T6" fmla="*/ 2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56" name="Freeform 2018"/>
                  <p:cNvSpPr>
                    <a:spLocks/>
                  </p:cNvSpPr>
                  <p:nvPr/>
                </p:nvSpPr>
                <p:spPr bwMode="auto">
                  <a:xfrm>
                    <a:off x="11605" y="2604"/>
                    <a:ext cx="17" cy="0"/>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57" name="Freeform 2019"/>
                  <p:cNvSpPr>
                    <a:spLocks/>
                  </p:cNvSpPr>
                  <p:nvPr/>
                </p:nvSpPr>
                <p:spPr bwMode="auto">
                  <a:xfrm>
                    <a:off x="11605" y="2613"/>
                    <a:ext cx="17" cy="0"/>
                  </a:xfrm>
                  <a:custGeom>
                    <a:avLst/>
                    <a:gdLst>
                      <a:gd name="T0" fmla="*/ 0 w 12"/>
                      <a:gd name="T1" fmla="*/ 3 h 3"/>
                      <a:gd name="T2" fmla="*/ 12 w 12"/>
                      <a:gd name="T3" fmla="*/ 3 h 3"/>
                      <a:gd name="T4" fmla="*/ 12 w 12"/>
                      <a:gd name="T5" fmla="*/ 3 h 3"/>
                      <a:gd name="T6" fmla="*/ 0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58" name="Freeform 2020"/>
                  <p:cNvSpPr>
                    <a:spLocks/>
                  </p:cNvSpPr>
                  <p:nvPr/>
                </p:nvSpPr>
                <p:spPr bwMode="auto">
                  <a:xfrm>
                    <a:off x="11605" y="2630"/>
                    <a:ext cx="8" cy="0"/>
                  </a:xfrm>
                  <a:custGeom>
                    <a:avLst/>
                    <a:gdLst>
                      <a:gd name="T0" fmla="*/ 0 w 12"/>
                      <a:gd name="T1" fmla="*/ 0 h 2"/>
                      <a:gd name="T2" fmla="*/ 12 w 12"/>
                      <a:gd name="T3" fmla="*/ 2 h 2"/>
                      <a:gd name="T4" fmla="*/ 12 w 12"/>
                      <a:gd name="T5" fmla="*/ 0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59" name="Freeform 2021"/>
                  <p:cNvSpPr>
                    <a:spLocks/>
                  </p:cNvSpPr>
                  <p:nvPr/>
                </p:nvSpPr>
                <p:spPr bwMode="auto">
                  <a:xfrm>
                    <a:off x="11605" y="2665"/>
                    <a:ext cx="8" cy="0"/>
                  </a:xfrm>
                  <a:custGeom>
                    <a:avLst/>
                    <a:gdLst>
                      <a:gd name="T0" fmla="*/ 0 w 12"/>
                      <a:gd name="T1" fmla="*/ 2 h 2"/>
                      <a:gd name="T2" fmla="*/ 12 w 12"/>
                      <a:gd name="T3" fmla="*/ 2 h 2"/>
                      <a:gd name="T4" fmla="*/ 12 w 12"/>
                      <a:gd name="T5" fmla="*/ 2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2"/>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60" name="Freeform 2022"/>
                  <p:cNvSpPr>
                    <a:spLocks/>
                  </p:cNvSpPr>
                  <p:nvPr/>
                </p:nvSpPr>
                <p:spPr bwMode="auto">
                  <a:xfrm>
                    <a:off x="11605" y="2647"/>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61" name="Freeform 2023"/>
                  <p:cNvSpPr>
                    <a:spLocks/>
                  </p:cNvSpPr>
                  <p:nvPr/>
                </p:nvSpPr>
                <p:spPr bwMode="auto">
                  <a:xfrm>
                    <a:off x="11605" y="2639"/>
                    <a:ext cx="8" cy="0"/>
                  </a:xfrm>
                  <a:custGeom>
                    <a:avLst/>
                    <a:gdLst>
                      <a:gd name="T0" fmla="*/ 0 w 11"/>
                      <a:gd name="T1" fmla="*/ 0 h 2"/>
                      <a:gd name="T2" fmla="*/ 11 w 11"/>
                      <a:gd name="T3" fmla="*/ 2 h 2"/>
                      <a:gd name="T4" fmla="*/ 11 w 11"/>
                      <a:gd name="T5" fmla="*/ 0 h 2"/>
                      <a:gd name="T6" fmla="*/ 2 w 11"/>
                      <a:gd name="T7" fmla="*/ 0 h 2"/>
                      <a:gd name="T8" fmla="*/ 0 w 11"/>
                      <a:gd name="T9" fmla="*/ 0 h 2"/>
                    </a:gdLst>
                    <a:ahLst/>
                    <a:cxnLst>
                      <a:cxn ang="0">
                        <a:pos x="T0" y="T1"/>
                      </a:cxn>
                      <a:cxn ang="0">
                        <a:pos x="T2" y="T3"/>
                      </a:cxn>
                      <a:cxn ang="0">
                        <a:pos x="T4" y="T5"/>
                      </a:cxn>
                      <a:cxn ang="0">
                        <a:pos x="T6" y="T7"/>
                      </a:cxn>
                      <a:cxn ang="0">
                        <a:pos x="T8" y="T9"/>
                      </a:cxn>
                    </a:cxnLst>
                    <a:rect l="0" t="0" r="r" b="b"/>
                    <a:pathLst>
                      <a:path w="11" h="2">
                        <a:moveTo>
                          <a:pt x="0" y="0"/>
                        </a:moveTo>
                        <a:lnTo>
                          <a:pt x="11" y="2"/>
                        </a:lnTo>
                        <a:lnTo>
                          <a:pt x="11" y="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62" name="Freeform 2024"/>
                  <p:cNvSpPr>
                    <a:spLocks/>
                  </p:cNvSpPr>
                  <p:nvPr/>
                </p:nvSpPr>
                <p:spPr bwMode="auto">
                  <a:xfrm>
                    <a:off x="11605" y="2656"/>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63" name="Rectangle 2025"/>
                  <p:cNvSpPr>
                    <a:spLocks noChangeArrowheads="1"/>
                  </p:cNvSpPr>
                  <p:nvPr/>
                </p:nvSpPr>
                <p:spPr bwMode="auto">
                  <a:xfrm>
                    <a:off x="11605"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1364" name="Rectangle 2026"/>
                  <p:cNvSpPr>
                    <a:spLocks noChangeArrowheads="1"/>
                  </p:cNvSpPr>
                  <p:nvPr/>
                </p:nvSpPr>
                <p:spPr bwMode="auto">
                  <a:xfrm>
                    <a:off x="11605"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1365" name="Freeform 2027"/>
                  <p:cNvSpPr>
                    <a:spLocks/>
                  </p:cNvSpPr>
                  <p:nvPr/>
                </p:nvSpPr>
                <p:spPr bwMode="auto">
                  <a:xfrm>
                    <a:off x="11605" y="2569"/>
                    <a:ext cx="17" cy="0"/>
                  </a:xfrm>
                  <a:custGeom>
                    <a:avLst/>
                    <a:gdLst>
                      <a:gd name="T0" fmla="*/ 0 w 11"/>
                      <a:gd name="T1" fmla="*/ 2 h 2"/>
                      <a:gd name="T2" fmla="*/ 11 w 11"/>
                      <a:gd name="T3" fmla="*/ 2 h 2"/>
                      <a:gd name="T4" fmla="*/ 11 w 11"/>
                      <a:gd name="T5" fmla="*/ 2 h 2"/>
                      <a:gd name="T6" fmla="*/ 0 w 11"/>
                      <a:gd name="T7" fmla="*/ 0 h 2"/>
                      <a:gd name="T8" fmla="*/ 0 w 11"/>
                      <a:gd name="T9" fmla="*/ 2 h 2"/>
                    </a:gdLst>
                    <a:ahLst/>
                    <a:cxnLst>
                      <a:cxn ang="0">
                        <a:pos x="T0" y="T1"/>
                      </a:cxn>
                      <a:cxn ang="0">
                        <a:pos x="T2" y="T3"/>
                      </a:cxn>
                      <a:cxn ang="0">
                        <a:pos x="T4" y="T5"/>
                      </a:cxn>
                      <a:cxn ang="0">
                        <a:pos x="T6" y="T7"/>
                      </a:cxn>
                      <a:cxn ang="0">
                        <a:pos x="T8" y="T9"/>
                      </a:cxn>
                    </a:cxnLst>
                    <a:rect l="0" t="0" r="r" b="b"/>
                    <a:pathLst>
                      <a:path w="11" h="2">
                        <a:moveTo>
                          <a:pt x="0" y="2"/>
                        </a:moveTo>
                        <a:lnTo>
                          <a:pt x="11" y="2"/>
                        </a:lnTo>
                        <a:lnTo>
                          <a:pt x="11"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66" name="Rectangle 2028"/>
                  <p:cNvSpPr>
                    <a:spLocks noChangeArrowheads="1"/>
                  </p:cNvSpPr>
                  <p:nvPr/>
                </p:nvSpPr>
                <p:spPr bwMode="auto">
                  <a:xfrm>
                    <a:off x="11605"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1367" name="Rectangle 2029"/>
                  <p:cNvSpPr>
                    <a:spLocks noChangeArrowheads="1"/>
                  </p:cNvSpPr>
                  <p:nvPr/>
                </p:nvSpPr>
                <p:spPr bwMode="auto">
                  <a:xfrm>
                    <a:off x="11605"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1368" name="Rectangle 2030"/>
                  <p:cNvSpPr>
                    <a:spLocks noChangeArrowheads="1"/>
                  </p:cNvSpPr>
                  <p:nvPr/>
                </p:nvSpPr>
                <p:spPr bwMode="auto">
                  <a:xfrm>
                    <a:off x="11605" y="2578"/>
                    <a:ext cx="17" cy="0"/>
                  </a:xfrm>
                  <a:prstGeom prst="rect">
                    <a:avLst/>
                  </a:prstGeom>
                  <a:solidFill>
                    <a:srgbClr val="01AAE5"/>
                  </a:solidFill>
                  <a:ln>
                    <a:noFill/>
                  </a:ln>
                  <a:extLst/>
                </p:spPr>
                <p:txBody>
                  <a:bodyPr/>
                  <a:lstStyle/>
                  <a:p>
                    <a:pPr eaLnBrk="1" hangingPunct="1">
                      <a:defRPr/>
                    </a:pPr>
                    <a:endParaRPr lang="zh-CN" altLang="en-US" sz="1050"/>
                  </a:p>
                </p:txBody>
              </p:sp>
              <p:sp>
                <p:nvSpPr>
                  <p:cNvPr id="1369" name="Freeform 2031"/>
                  <p:cNvSpPr>
                    <a:spLocks/>
                  </p:cNvSpPr>
                  <p:nvPr/>
                </p:nvSpPr>
                <p:spPr bwMode="auto">
                  <a:xfrm>
                    <a:off x="11605" y="2595"/>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70" name="Freeform 2032"/>
                  <p:cNvSpPr>
                    <a:spLocks/>
                  </p:cNvSpPr>
                  <p:nvPr/>
                </p:nvSpPr>
                <p:spPr bwMode="auto">
                  <a:xfrm>
                    <a:off x="11605" y="2604"/>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71" name="Freeform 2033"/>
                  <p:cNvSpPr>
                    <a:spLocks/>
                  </p:cNvSpPr>
                  <p:nvPr/>
                </p:nvSpPr>
                <p:spPr bwMode="auto">
                  <a:xfrm>
                    <a:off x="11596" y="2700"/>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72" name="Freeform 2034"/>
                  <p:cNvSpPr>
                    <a:spLocks/>
                  </p:cNvSpPr>
                  <p:nvPr/>
                </p:nvSpPr>
                <p:spPr bwMode="auto">
                  <a:xfrm>
                    <a:off x="11580" y="2735"/>
                    <a:ext cx="17" cy="9"/>
                  </a:xfrm>
                  <a:custGeom>
                    <a:avLst/>
                    <a:gdLst>
                      <a:gd name="T0" fmla="*/ 0 w 19"/>
                      <a:gd name="T1" fmla="*/ 2 h 7"/>
                      <a:gd name="T2" fmla="*/ 19 w 19"/>
                      <a:gd name="T3" fmla="*/ 7 h 7"/>
                      <a:gd name="T4" fmla="*/ 19 w 19"/>
                      <a:gd name="T5" fmla="*/ 4 h 7"/>
                      <a:gd name="T6" fmla="*/ 0 w 19"/>
                      <a:gd name="T7" fmla="*/ 0 h 7"/>
                      <a:gd name="T8" fmla="*/ 0 w 19"/>
                      <a:gd name="T9" fmla="*/ 2 h 7"/>
                    </a:gdLst>
                    <a:ahLst/>
                    <a:cxnLst>
                      <a:cxn ang="0">
                        <a:pos x="T0" y="T1"/>
                      </a:cxn>
                      <a:cxn ang="0">
                        <a:pos x="T2" y="T3"/>
                      </a:cxn>
                      <a:cxn ang="0">
                        <a:pos x="T4" y="T5"/>
                      </a:cxn>
                      <a:cxn ang="0">
                        <a:pos x="T6" y="T7"/>
                      </a:cxn>
                      <a:cxn ang="0">
                        <a:pos x="T8" y="T9"/>
                      </a:cxn>
                    </a:cxnLst>
                    <a:rect l="0" t="0" r="r" b="b"/>
                    <a:pathLst>
                      <a:path w="19" h="7">
                        <a:moveTo>
                          <a:pt x="0" y="2"/>
                        </a:moveTo>
                        <a:lnTo>
                          <a:pt x="19" y="7"/>
                        </a:lnTo>
                        <a:lnTo>
                          <a:pt x="19" y="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73" name="Freeform 2035"/>
                  <p:cNvSpPr>
                    <a:spLocks/>
                  </p:cNvSpPr>
                  <p:nvPr/>
                </p:nvSpPr>
                <p:spPr bwMode="auto">
                  <a:xfrm>
                    <a:off x="11571" y="2743"/>
                    <a:ext cx="33" cy="0"/>
                  </a:xfrm>
                  <a:custGeom>
                    <a:avLst/>
                    <a:gdLst>
                      <a:gd name="T0" fmla="*/ 0 w 21"/>
                      <a:gd name="T1" fmla="*/ 3 h 10"/>
                      <a:gd name="T2" fmla="*/ 21 w 21"/>
                      <a:gd name="T3" fmla="*/ 10 h 10"/>
                      <a:gd name="T4" fmla="*/ 21 w 21"/>
                      <a:gd name="T5" fmla="*/ 7 h 10"/>
                      <a:gd name="T6" fmla="*/ 0 w 21"/>
                      <a:gd name="T7" fmla="*/ 0 h 10"/>
                      <a:gd name="T8" fmla="*/ 0 w 21"/>
                      <a:gd name="T9" fmla="*/ 3 h 10"/>
                    </a:gdLst>
                    <a:ahLst/>
                    <a:cxnLst>
                      <a:cxn ang="0">
                        <a:pos x="T0" y="T1"/>
                      </a:cxn>
                      <a:cxn ang="0">
                        <a:pos x="T2" y="T3"/>
                      </a:cxn>
                      <a:cxn ang="0">
                        <a:pos x="T4" y="T5"/>
                      </a:cxn>
                      <a:cxn ang="0">
                        <a:pos x="T6" y="T7"/>
                      </a:cxn>
                      <a:cxn ang="0">
                        <a:pos x="T8" y="T9"/>
                      </a:cxn>
                    </a:cxnLst>
                    <a:rect l="0" t="0" r="r" b="b"/>
                    <a:pathLst>
                      <a:path w="21" h="10">
                        <a:moveTo>
                          <a:pt x="0" y="3"/>
                        </a:moveTo>
                        <a:lnTo>
                          <a:pt x="21" y="10"/>
                        </a:lnTo>
                        <a:lnTo>
                          <a:pt x="2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74" name="Freeform 2036"/>
                  <p:cNvSpPr>
                    <a:spLocks/>
                  </p:cNvSpPr>
                  <p:nvPr/>
                </p:nvSpPr>
                <p:spPr bwMode="auto">
                  <a:xfrm>
                    <a:off x="11571" y="2743"/>
                    <a:ext cx="33" cy="9"/>
                  </a:xfrm>
                  <a:custGeom>
                    <a:avLst/>
                    <a:gdLst>
                      <a:gd name="T0" fmla="*/ 0 w 26"/>
                      <a:gd name="T1" fmla="*/ 0 h 10"/>
                      <a:gd name="T2" fmla="*/ 26 w 26"/>
                      <a:gd name="T3" fmla="*/ 10 h 10"/>
                      <a:gd name="T4" fmla="*/ 26 w 26"/>
                      <a:gd name="T5" fmla="*/ 7 h 10"/>
                      <a:gd name="T6" fmla="*/ 0 w 26"/>
                      <a:gd name="T7" fmla="*/ 0 h 10"/>
                      <a:gd name="T8" fmla="*/ 0 w 26"/>
                      <a:gd name="T9" fmla="*/ 0 h 10"/>
                    </a:gdLst>
                    <a:ahLst/>
                    <a:cxnLst>
                      <a:cxn ang="0">
                        <a:pos x="T0" y="T1"/>
                      </a:cxn>
                      <a:cxn ang="0">
                        <a:pos x="T2" y="T3"/>
                      </a:cxn>
                      <a:cxn ang="0">
                        <a:pos x="T4" y="T5"/>
                      </a:cxn>
                      <a:cxn ang="0">
                        <a:pos x="T6" y="T7"/>
                      </a:cxn>
                      <a:cxn ang="0">
                        <a:pos x="T8" y="T9"/>
                      </a:cxn>
                    </a:cxnLst>
                    <a:rect l="0" t="0" r="r" b="b"/>
                    <a:pathLst>
                      <a:path w="26" h="10">
                        <a:moveTo>
                          <a:pt x="0" y="0"/>
                        </a:moveTo>
                        <a:lnTo>
                          <a:pt x="26" y="10"/>
                        </a:lnTo>
                        <a:lnTo>
                          <a:pt x="26"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75" name="Freeform 2037"/>
                  <p:cNvSpPr>
                    <a:spLocks/>
                  </p:cNvSpPr>
                  <p:nvPr/>
                </p:nvSpPr>
                <p:spPr bwMode="auto">
                  <a:xfrm>
                    <a:off x="11580" y="2726"/>
                    <a:ext cx="17" cy="9"/>
                  </a:xfrm>
                  <a:custGeom>
                    <a:avLst/>
                    <a:gdLst>
                      <a:gd name="T0" fmla="*/ 0 w 16"/>
                      <a:gd name="T1" fmla="*/ 3 h 8"/>
                      <a:gd name="T2" fmla="*/ 16 w 16"/>
                      <a:gd name="T3" fmla="*/ 8 h 8"/>
                      <a:gd name="T4" fmla="*/ 16 w 16"/>
                      <a:gd name="T5" fmla="*/ 5 h 8"/>
                      <a:gd name="T6" fmla="*/ 2 w 16"/>
                      <a:gd name="T7" fmla="*/ 0 h 8"/>
                      <a:gd name="T8" fmla="*/ 0 w 16"/>
                      <a:gd name="T9" fmla="*/ 3 h 8"/>
                    </a:gdLst>
                    <a:ahLst/>
                    <a:cxnLst>
                      <a:cxn ang="0">
                        <a:pos x="T0" y="T1"/>
                      </a:cxn>
                      <a:cxn ang="0">
                        <a:pos x="T2" y="T3"/>
                      </a:cxn>
                      <a:cxn ang="0">
                        <a:pos x="T4" y="T5"/>
                      </a:cxn>
                      <a:cxn ang="0">
                        <a:pos x="T6" y="T7"/>
                      </a:cxn>
                      <a:cxn ang="0">
                        <a:pos x="T8" y="T9"/>
                      </a:cxn>
                    </a:cxnLst>
                    <a:rect l="0" t="0" r="r" b="b"/>
                    <a:pathLst>
                      <a:path w="16" h="8">
                        <a:moveTo>
                          <a:pt x="0" y="3"/>
                        </a:moveTo>
                        <a:lnTo>
                          <a:pt x="16" y="8"/>
                        </a:lnTo>
                        <a:lnTo>
                          <a:pt x="16" y="5"/>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76" name="Freeform 2038"/>
                  <p:cNvSpPr>
                    <a:spLocks/>
                  </p:cNvSpPr>
                  <p:nvPr/>
                </p:nvSpPr>
                <p:spPr bwMode="auto">
                  <a:xfrm>
                    <a:off x="11588" y="2726"/>
                    <a:ext cx="17" cy="0"/>
                  </a:xfrm>
                  <a:custGeom>
                    <a:avLst/>
                    <a:gdLst>
                      <a:gd name="T0" fmla="*/ 0 w 12"/>
                      <a:gd name="T1" fmla="*/ 0 h 4"/>
                      <a:gd name="T2" fmla="*/ 12 w 12"/>
                      <a:gd name="T3" fmla="*/ 4 h 4"/>
                      <a:gd name="T4" fmla="*/ 12 w 12"/>
                      <a:gd name="T5" fmla="*/ 2 h 4"/>
                      <a:gd name="T6" fmla="*/ 0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12" y="4"/>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77" name="Freeform 2039"/>
                  <p:cNvSpPr>
                    <a:spLocks/>
                  </p:cNvSpPr>
                  <p:nvPr/>
                </p:nvSpPr>
                <p:spPr bwMode="auto">
                  <a:xfrm>
                    <a:off x="11563" y="2761"/>
                    <a:ext cx="42" cy="17"/>
                  </a:xfrm>
                  <a:custGeom>
                    <a:avLst/>
                    <a:gdLst>
                      <a:gd name="T0" fmla="*/ 0 w 38"/>
                      <a:gd name="T1" fmla="*/ 2 h 14"/>
                      <a:gd name="T2" fmla="*/ 38 w 38"/>
                      <a:gd name="T3" fmla="*/ 14 h 14"/>
                      <a:gd name="T4" fmla="*/ 38 w 38"/>
                      <a:gd name="T5" fmla="*/ 12 h 14"/>
                      <a:gd name="T6" fmla="*/ 3 w 38"/>
                      <a:gd name="T7" fmla="*/ 0 h 14"/>
                      <a:gd name="T8" fmla="*/ 0 w 38"/>
                      <a:gd name="T9" fmla="*/ 2 h 14"/>
                    </a:gdLst>
                    <a:ahLst/>
                    <a:cxnLst>
                      <a:cxn ang="0">
                        <a:pos x="T0" y="T1"/>
                      </a:cxn>
                      <a:cxn ang="0">
                        <a:pos x="T2" y="T3"/>
                      </a:cxn>
                      <a:cxn ang="0">
                        <a:pos x="T4" y="T5"/>
                      </a:cxn>
                      <a:cxn ang="0">
                        <a:pos x="T6" y="T7"/>
                      </a:cxn>
                      <a:cxn ang="0">
                        <a:pos x="T8" y="T9"/>
                      </a:cxn>
                    </a:cxnLst>
                    <a:rect l="0" t="0" r="r" b="b"/>
                    <a:pathLst>
                      <a:path w="38" h="14">
                        <a:moveTo>
                          <a:pt x="0" y="2"/>
                        </a:moveTo>
                        <a:lnTo>
                          <a:pt x="38" y="14"/>
                        </a:lnTo>
                        <a:lnTo>
                          <a:pt x="38" y="1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78" name="Freeform 2040"/>
                  <p:cNvSpPr>
                    <a:spLocks/>
                  </p:cNvSpPr>
                  <p:nvPr/>
                </p:nvSpPr>
                <p:spPr bwMode="auto">
                  <a:xfrm>
                    <a:off x="11571" y="2752"/>
                    <a:ext cx="33" cy="9"/>
                  </a:xfrm>
                  <a:custGeom>
                    <a:avLst/>
                    <a:gdLst>
                      <a:gd name="T0" fmla="*/ 0 w 31"/>
                      <a:gd name="T1" fmla="*/ 2 h 12"/>
                      <a:gd name="T2" fmla="*/ 31 w 31"/>
                      <a:gd name="T3" fmla="*/ 12 h 12"/>
                      <a:gd name="T4" fmla="*/ 31 w 31"/>
                      <a:gd name="T5" fmla="*/ 10 h 12"/>
                      <a:gd name="T6" fmla="*/ 3 w 31"/>
                      <a:gd name="T7" fmla="*/ 0 h 12"/>
                      <a:gd name="T8" fmla="*/ 0 w 31"/>
                      <a:gd name="T9" fmla="*/ 2 h 12"/>
                    </a:gdLst>
                    <a:ahLst/>
                    <a:cxnLst>
                      <a:cxn ang="0">
                        <a:pos x="T0" y="T1"/>
                      </a:cxn>
                      <a:cxn ang="0">
                        <a:pos x="T2" y="T3"/>
                      </a:cxn>
                      <a:cxn ang="0">
                        <a:pos x="T4" y="T5"/>
                      </a:cxn>
                      <a:cxn ang="0">
                        <a:pos x="T6" y="T7"/>
                      </a:cxn>
                      <a:cxn ang="0">
                        <a:pos x="T8" y="T9"/>
                      </a:cxn>
                    </a:cxnLst>
                    <a:rect l="0" t="0" r="r" b="b"/>
                    <a:pathLst>
                      <a:path w="31" h="12">
                        <a:moveTo>
                          <a:pt x="0" y="2"/>
                        </a:moveTo>
                        <a:lnTo>
                          <a:pt x="31" y="12"/>
                        </a:lnTo>
                        <a:lnTo>
                          <a:pt x="31" y="1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79" name="Freeform 2041"/>
                  <p:cNvSpPr>
                    <a:spLocks/>
                  </p:cNvSpPr>
                  <p:nvPr/>
                </p:nvSpPr>
                <p:spPr bwMode="auto">
                  <a:xfrm>
                    <a:off x="11571" y="2761"/>
                    <a:ext cx="33" cy="17"/>
                  </a:xfrm>
                  <a:custGeom>
                    <a:avLst/>
                    <a:gdLst>
                      <a:gd name="T0" fmla="*/ 0 w 33"/>
                      <a:gd name="T1" fmla="*/ 0 h 12"/>
                      <a:gd name="T2" fmla="*/ 33 w 33"/>
                      <a:gd name="T3" fmla="*/ 12 h 12"/>
                      <a:gd name="T4" fmla="*/ 33 w 33"/>
                      <a:gd name="T5" fmla="*/ 10 h 12"/>
                      <a:gd name="T6" fmla="*/ 0 w 33"/>
                      <a:gd name="T7" fmla="*/ 0 h 12"/>
                      <a:gd name="T8" fmla="*/ 0 w 33"/>
                      <a:gd name="T9" fmla="*/ 0 h 12"/>
                    </a:gdLst>
                    <a:ahLst/>
                    <a:cxnLst>
                      <a:cxn ang="0">
                        <a:pos x="T0" y="T1"/>
                      </a:cxn>
                      <a:cxn ang="0">
                        <a:pos x="T2" y="T3"/>
                      </a:cxn>
                      <a:cxn ang="0">
                        <a:pos x="T4" y="T5"/>
                      </a:cxn>
                      <a:cxn ang="0">
                        <a:pos x="T6" y="T7"/>
                      </a:cxn>
                      <a:cxn ang="0">
                        <a:pos x="T8" y="T9"/>
                      </a:cxn>
                    </a:cxnLst>
                    <a:rect l="0" t="0" r="r" b="b"/>
                    <a:pathLst>
                      <a:path w="33" h="12">
                        <a:moveTo>
                          <a:pt x="0" y="0"/>
                        </a:moveTo>
                        <a:lnTo>
                          <a:pt x="33" y="12"/>
                        </a:lnTo>
                        <a:lnTo>
                          <a:pt x="33" y="1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80" name="Freeform 2042"/>
                  <p:cNvSpPr>
                    <a:spLocks/>
                  </p:cNvSpPr>
                  <p:nvPr/>
                </p:nvSpPr>
                <p:spPr bwMode="auto">
                  <a:xfrm>
                    <a:off x="11596" y="2700"/>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81" name="Freeform 2043"/>
                  <p:cNvSpPr>
                    <a:spLocks/>
                  </p:cNvSpPr>
                  <p:nvPr/>
                </p:nvSpPr>
                <p:spPr bwMode="auto">
                  <a:xfrm>
                    <a:off x="11596" y="2674"/>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82" name="Freeform 2044"/>
                  <p:cNvSpPr>
                    <a:spLocks/>
                  </p:cNvSpPr>
                  <p:nvPr/>
                </p:nvSpPr>
                <p:spPr bwMode="auto">
                  <a:xfrm>
                    <a:off x="11596" y="2682"/>
                    <a:ext cx="8" cy="0"/>
                  </a:xfrm>
                  <a:custGeom>
                    <a:avLst/>
                    <a:gdLst>
                      <a:gd name="T0" fmla="*/ 0 w 12"/>
                      <a:gd name="T1" fmla="*/ 2 h 4"/>
                      <a:gd name="T2" fmla="*/ 12 w 12"/>
                      <a:gd name="T3" fmla="*/ 4 h 4"/>
                      <a:gd name="T4" fmla="*/ 12 w 12"/>
                      <a:gd name="T5" fmla="*/ 2 h 4"/>
                      <a:gd name="T6" fmla="*/ 3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83" name="Freeform 2045"/>
                  <p:cNvSpPr>
                    <a:spLocks/>
                  </p:cNvSpPr>
                  <p:nvPr/>
                </p:nvSpPr>
                <p:spPr bwMode="auto">
                  <a:xfrm>
                    <a:off x="11596" y="2665"/>
                    <a:ext cx="8" cy="9"/>
                  </a:xfrm>
                  <a:custGeom>
                    <a:avLst/>
                    <a:gdLst>
                      <a:gd name="T0" fmla="*/ 0 w 12"/>
                      <a:gd name="T1" fmla="*/ 3 h 5"/>
                      <a:gd name="T2" fmla="*/ 12 w 12"/>
                      <a:gd name="T3" fmla="*/ 5 h 5"/>
                      <a:gd name="T4" fmla="*/ 12 w 12"/>
                      <a:gd name="T5" fmla="*/ 3 h 5"/>
                      <a:gd name="T6" fmla="*/ 2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84" name="Freeform 2046"/>
                  <p:cNvSpPr>
                    <a:spLocks/>
                  </p:cNvSpPr>
                  <p:nvPr/>
                </p:nvSpPr>
                <p:spPr bwMode="auto">
                  <a:xfrm>
                    <a:off x="11588" y="2717"/>
                    <a:ext cx="17" cy="0"/>
                  </a:xfrm>
                  <a:custGeom>
                    <a:avLst/>
                    <a:gdLst>
                      <a:gd name="T0" fmla="*/ 3 w 12"/>
                      <a:gd name="T1" fmla="*/ 0 h 4"/>
                      <a:gd name="T2" fmla="*/ 0 w 12"/>
                      <a:gd name="T3" fmla="*/ 2 h 4"/>
                      <a:gd name="T4" fmla="*/ 12 w 12"/>
                      <a:gd name="T5" fmla="*/ 4 h 4"/>
                      <a:gd name="T6" fmla="*/ 12 w 12"/>
                      <a:gd name="T7" fmla="*/ 2 h 4"/>
                      <a:gd name="T8" fmla="*/ 3 w 12"/>
                      <a:gd name="T9" fmla="*/ 0 h 4"/>
                    </a:gdLst>
                    <a:ahLst/>
                    <a:cxnLst>
                      <a:cxn ang="0">
                        <a:pos x="T0" y="T1"/>
                      </a:cxn>
                      <a:cxn ang="0">
                        <a:pos x="T2" y="T3"/>
                      </a:cxn>
                      <a:cxn ang="0">
                        <a:pos x="T4" y="T5"/>
                      </a:cxn>
                      <a:cxn ang="0">
                        <a:pos x="T6" y="T7"/>
                      </a:cxn>
                      <a:cxn ang="0">
                        <a:pos x="T8" y="T9"/>
                      </a:cxn>
                    </a:cxnLst>
                    <a:rect l="0" t="0" r="r" b="b"/>
                    <a:pathLst>
                      <a:path w="12" h="4">
                        <a:moveTo>
                          <a:pt x="3" y="0"/>
                        </a:moveTo>
                        <a:lnTo>
                          <a:pt x="0" y="2"/>
                        </a:lnTo>
                        <a:lnTo>
                          <a:pt x="12" y="4"/>
                        </a:lnTo>
                        <a:lnTo>
                          <a:pt x="12"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1385" name="Freeform 2047"/>
                  <p:cNvSpPr>
                    <a:spLocks/>
                  </p:cNvSpPr>
                  <p:nvPr/>
                </p:nvSpPr>
                <p:spPr bwMode="auto">
                  <a:xfrm>
                    <a:off x="11605" y="2665"/>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86" name="Freeform 2048"/>
                  <p:cNvSpPr>
                    <a:spLocks/>
                  </p:cNvSpPr>
                  <p:nvPr/>
                </p:nvSpPr>
                <p:spPr bwMode="auto">
                  <a:xfrm>
                    <a:off x="11563" y="2778"/>
                    <a:ext cx="33" cy="9"/>
                  </a:xfrm>
                  <a:custGeom>
                    <a:avLst/>
                    <a:gdLst>
                      <a:gd name="T0" fmla="*/ 0 w 38"/>
                      <a:gd name="T1" fmla="*/ 0 h 14"/>
                      <a:gd name="T2" fmla="*/ 38 w 38"/>
                      <a:gd name="T3" fmla="*/ 14 h 14"/>
                      <a:gd name="T4" fmla="*/ 38 w 38"/>
                      <a:gd name="T5" fmla="*/ 12 h 14"/>
                      <a:gd name="T6" fmla="*/ 0 w 38"/>
                      <a:gd name="T7" fmla="*/ 0 h 14"/>
                      <a:gd name="T8" fmla="*/ 0 w 38"/>
                      <a:gd name="T9" fmla="*/ 0 h 14"/>
                    </a:gdLst>
                    <a:ahLst/>
                    <a:cxnLst>
                      <a:cxn ang="0">
                        <a:pos x="T0" y="T1"/>
                      </a:cxn>
                      <a:cxn ang="0">
                        <a:pos x="T2" y="T3"/>
                      </a:cxn>
                      <a:cxn ang="0">
                        <a:pos x="T4" y="T5"/>
                      </a:cxn>
                      <a:cxn ang="0">
                        <a:pos x="T6" y="T7"/>
                      </a:cxn>
                      <a:cxn ang="0">
                        <a:pos x="T8" y="T9"/>
                      </a:cxn>
                    </a:cxnLst>
                    <a:rect l="0" t="0" r="r" b="b"/>
                    <a:pathLst>
                      <a:path w="38" h="14">
                        <a:moveTo>
                          <a:pt x="0" y="0"/>
                        </a:moveTo>
                        <a:lnTo>
                          <a:pt x="38" y="14"/>
                        </a:lnTo>
                        <a:lnTo>
                          <a:pt x="38"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87" name="Freeform 2049"/>
                  <p:cNvSpPr>
                    <a:spLocks/>
                  </p:cNvSpPr>
                  <p:nvPr/>
                </p:nvSpPr>
                <p:spPr bwMode="auto">
                  <a:xfrm>
                    <a:off x="11596" y="2691"/>
                    <a:ext cx="8" cy="0"/>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88" name="Freeform 2050"/>
                  <p:cNvSpPr>
                    <a:spLocks/>
                  </p:cNvSpPr>
                  <p:nvPr/>
                </p:nvSpPr>
                <p:spPr bwMode="auto">
                  <a:xfrm>
                    <a:off x="11538" y="2857"/>
                    <a:ext cx="8" cy="9"/>
                  </a:xfrm>
                  <a:custGeom>
                    <a:avLst/>
                    <a:gdLst>
                      <a:gd name="T0" fmla="*/ 0 w 19"/>
                      <a:gd name="T1" fmla="*/ 3 h 12"/>
                      <a:gd name="T2" fmla="*/ 19 w 19"/>
                      <a:gd name="T3" fmla="*/ 12 h 12"/>
                      <a:gd name="T4" fmla="*/ 19 w 19"/>
                      <a:gd name="T5" fmla="*/ 10 h 12"/>
                      <a:gd name="T6" fmla="*/ 0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9" y="12"/>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89" name="Freeform 2051"/>
                  <p:cNvSpPr>
                    <a:spLocks/>
                  </p:cNvSpPr>
                  <p:nvPr/>
                </p:nvSpPr>
                <p:spPr bwMode="auto">
                  <a:xfrm>
                    <a:off x="11264" y="3127"/>
                    <a:ext cx="50" cy="70"/>
                  </a:xfrm>
                  <a:custGeom>
                    <a:avLst/>
                    <a:gdLst>
                      <a:gd name="T0" fmla="*/ 0 w 50"/>
                      <a:gd name="T1" fmla="*/ 0 h 78"/>
                      <a:gd name="T2" fmla="*/ 50 w 50"/>
                      <a:gd name="T3" fmla="*/ 78 h 78"/>
                      <a:gd name="T4" fmla="*/ 50 w 50"/>
                      <a:gd name="T5" fmla="*/ 78 h 78"/>
                      <a:gd name="T6" fmla="*/ 0 w 50"/>
                      <a:gd name="T7" fmla="*/ 0 h 78"/>
                      <a:gd name="T8" fmla="*/ 0 w 50"/>
                      <a:gd name="T9" fmla="*/ 0 h 78"/>
                    </a:gdLst>
                    <a:ahLst/>
                    <a:cxnLst>
                      <a:cxn ang="0">
                        <a:pos x="T0" y="T1"/>
                      </a:cxn>
                      <a:cxn ang="0">
                        <a:pos x="T2" y="T3"/>
                      </a:cxn>
                      <a:cxn ang="0">
                        <a:pos x="T4" y="T5"/>
                      </a:cxn>
                      <a:cxn ang="0">
                        <a:pos x="T6" y="T7"/>
                      </a:cxn>
                      <a:cxn ang="0">
                        <a:pos x="T8" y="T9"/>
                      </a:cxn>
                    </a:cxnLst>
                    <a:rect l="0" t="0" r="r" b="b"/>
                    <a:pathLst>
                      <a:path w="50" h="78">
                        <a:moveTo>
                          <a:pt x="0" y="0"/>
                        </a:moveTo>
                        <a:lnTo>
                          <a:pt x="50" y="78"/>
                        </a:lnTo>
                        <a:lnTo>
                          <a:pt x="50"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90" name="Freeform 2052"/>
                  <p:cNvSpPr>
                    <a:spLocks/>
                  </p:cNvSpPr>
                  <p:nvPr/>
                </p:nvSpPr>
                <p:spPr bwMode="auto">
                  <a:xfrm>
                    <a:off x="11180" y="3196"/>
                    <a:ext cx="8" cy="26"/>
                  </a:xfrm>
                  <a:custGeom>
                    <a:avLst/>
                    <a:gdLst>
                      <a:gd name="T0" fmla="*/ 0 w 11"/>
                      <a:gd name="T1" fmla="*/ 0 h 24"/>
                      <a:gd name="T2" fmla="*/ 9 w 11"/>
                      <a:gd name="T3" fmla="*/ 24 h 24"/>
                      <a:gd name="T4" fmla="*/ 11 w 11"/>
                      <a:gd name="T5" fmla="*/ 24 h 24"/>
                      <a:gd name="T6" fmla="*/ 2 w 11"/>
                      <a:gd name="T7" fmla="*/ 0 h 24"/>
                      <a:gd name="T8" fmla="*/ 0 w 11"/>
                      <a:gd name="T9" fmla="*/ 0 h 24"/>
                    </a:gdLst>
                    <a:ahLst/>
                    <a:cxnLst>
                      <a:cxn ang="0">
                        <a:pos x="T0" y="T1"/>
                      </a:cxn>
                      <a:cxn ang="0">
                        <a:pos x="T2" y="T3"/>
                      </a:cxn>
                      <a:cxn ang="0">
                        <a:pos x="T4" y="T5"/>
                      </a:cxn>
                      <a:cxn ang="0">
                        <a:pos x="T6" y="T7"/>
                      </a:cxn>
                      <a:cxn ang="0">
                        <a:pos x="T8" y="T9"/>
                      </a:cxn>
                    </a:cxnLst>
                    <a:rect l="0" t="0" r="r" b="b"/>
                    <a:pathLst>
                      <a:path w="11" h="24">
                        <a:moveTo>
                          <a:pt x="0" y="0"/>
                        </a:moveTo>
                        <a:lnTo>
                          <a:pt x="9" y="24"/>
                        </a:lnTo>
                        <a:lnTo>
                          <a:pt x="11"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91" name="Freeform 2053"/>
                  <p:cNvSpPr>
                    <a:spLocks/>
                  </p:cNvSpPr>
                  <p:nvPr/>
                </p:nvSpPr>
                <p:spPr bwMode="auto">
                  <a:xfrm>
                    <a:off x="11214" y="3161"/>
                    <a:ext cx="25" cy="61"/>
                  </a:xfrm>
                  <a:custGeom>
                    <a:avLst/>
                    <a:gdLst>
                      <a:gd name="T0" fmla="*/ 0 w 23"/>
                      <a:gd name="T1" fmla="*/ 3 h 48"/>
                      <a:gd name="T2" fmla="*/ 21 w 23"/>
                      <a:gd name="T3" fmla="*/ 48 h 48"/>
                      <a:gd name="T4" fmla="*/ 23 w 23"/>
                      <a:gd name="T5" fmla="*/ 48 h 48"/>
                      <a:gd name="T6" fmla="*/ 0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21" y="48"/>
                        </a:lnTo>
                        <a:lnTo>
                          <a:pt x="23" y="4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392" name="Freeform 2054"/>
                  <p:cNvSpPr>
                    <a:spLocks/>
                  </p:cNvSpPr>
                  <p:nvPr/>
                </p:nvSpPr>
                <p:spPr bwMode="auto">
                  <a:xfrm>
                    <a:off x="11214" y="3161"/>
                    <a:ext cx="25" cy="61"/>
                  </a:xfrm>
                  <a:custGeom>
                    <a:avLst/>
                    <a:gdLst>
                      <a:gd name="T0" fmla="*/ 0 w 26"/>
                      <a:gd name="T1" fmla="*/ 2 h 52"/>
                      <a:gd name="T2" fmla="*/ 24 w 26"/>
                      <a:gd name="T3" fmla="*/ 52 h 52"/>
                      <a:gd name="T4" fmla="*/ 26 w 26"/>
                      <a:gd name="T5" fmla="*/ 49 h 52"/>
                      <a:gd name="T6" fmla="*/ 0 w 26"/>
                      <a:gd name="T7" fmla="*/ 0 h 52"/>
                      <a:gd name="T8" fmla="*/ 0 w 26"/>
                      <a:gd name="T9" fmla="*/ 2 h 52"/>
                    </a:gdLst>
                    <a:ahLst/>
                    <a:cxnLst>
                      <a:cxn ang="0">
                        <a:pos x="T0" y="T1"/>
                      </a:cxn>
                      <a:cxn ang="0">
                        <a:pos x="T2" y="T3"/>
                      </a:cxn>
                      <a:cxn ang="0">
                        <a:pos x="T4" y="T5"/>
                      </a:cxn>
                      <a:cxn ang="0">
                        <a:pos x="T6" y="T7"/>
                      </a:cxn>
                      <a:cxn ang="0">
                        <a:pos x="T8" y="T9"/>
                      </a:cxn>
                    </a:cxnLst>
                    <a:rect l="0" t="0" r="r" b="b"/>
                    <a:pathLst>
                      <a:path w="26" h="52">
                        <a:moveTo>
                          <a:pt x="0" y="2"/>
                        </a:moveTo>
                        <a:lnTo>
                          <a:pt x="24" y="52"/>
                        </a:lnTo>
                        <a:lnTo>
                          <a:pt x="26" y="49"/>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93" name="Freeform 2055"/>
                  <p:cNvSpPr>
                    <a:spLocks/>
                  </p:cNvSpPr>
                  <p:nvPr/>
                </p:nvSpPr>
                <p:spPr bwMode="auto">
                  <a:xfrm>
                    <a:off x="11189" y="3188"/>
                    <a:ext cx="17" cy="35"/>
                  </a:xfrm>
                  <a:custGeom>
                    <a:avLst/>
                    <a:gdLst>
                      <a:gd name="T0" fmla="*/ 0 w 15"/>
                      <a:gd name="T1" fmla="*/ 0 h 31"/>
                      <a:gd name="T2" fmla="*/ 15 w 15"/>
                      <a:gd name="T3" fmla="*/ 31 h 31"/>
                      <a:gd name="T4" fmla="*/ 15 w 15"/>
                      <a:gd name="T5" fmla="*/ 31 h 31"/>
                      <a:gd name="T6" fmla="*/ 0 w 15"/>
                      <a:gd name="T7" fmla="*/ 0 h 31"/>
                      <a:gd name="T8" fmla="*/ 0 w 15"/>
                      <a:gd name="T9" fmla="*/ 0 h 31"/>
                    </a:gdLst>
                    <a:ahLst/>
                    <a:cxnLst>
                      <a:cxn ang="0">
                        <a:pos x="T0" y="T1"/>
                      </a:cxn>
                      <a:cxn ang="0">
                        <a:pos x="T2" y="T3"/>
                      </a:cxn>
                      <a:cxn ang="0">
                        <a:pos x="T4" y="T5"/>
                      </a:cxn>
                      <a:cxn ang="0">
                        <a:pos x="T6" y="T7"/>
                      </a:cxn>
                      <a:cxn ang="0">
                        <a:pos x="T8" y="T9"/>
                      </a:cxn>
                    </a:cxnLst>
                    <a:rect l="0" t="0" r="r" b="b"/>
                    <a:pathLst>
                      <a:path w="15" h="31">
                        <a:moveTo>
                          <a:pt x="0" y="0"/>
                        </a:moveTo>
                        <a:lnTo>
                          <a:pt x="15" y="31"/>
                        </a:lnTo>
                        <a:lnTo>
                          <a:pt x="15" y="3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94" name="Freeform 2056"/>
                  <p:cNvSpPr>
                    <a:spLocks/>
                  </p:cNvSpPr>
                  <p:nvPr/>
                </p:nvSpPr>
                <p:spPr bwMode="auto">
                  <a:xfrm>
                    <a:off x="11197" y="3188"/>
                    <a:ext cx="17" cy="35"/>
                  </a:xfrm>
                  <a:custGeom>
                    <a:avLst/>
                    <a:gdLst>
                      <a:gd name="T0" fmla="*/ 0 w 17"/>
                      <a:gd name="T1" fmla="*/ 0 h 34"/>
                      <a:gd name="T2" fmla="*/ 17 w 17"/>
                      <a:gd name="T3" fmla="*/ 34 h 34"/>
                      <a:gd name="T4" fmla="*/ 17 w 17"/>
                      <a:gd name="T5" fmla="*/ 34 h 34"/>
                      <a:gd name="T6" fmla="*/ 2 w 17"/>
                      <a:gd name="T7" fmla="*/ 0 h 34"/>
                      <a:gd name="T8" fmla="*/ 0 w 17"/>
                      <a:gd name="T9" fmla="*/ 0 h 34"/>
                    </a:gdLst>
                    <a:ahLst/>
                    <a:cxnLst>
                      <a:cxn ang="0">
                        <a:pos x="T0" y="T1"/>
                      </a:cxn>
                      <a:cxn ang="0">
                        <a:pos x="T2" y="T3"/>
                      </a:cxn>
                      <a:cxn ang="0">
                        <a:pos x="T4" y="T5"/>
                      </a:cxn>
                      <a:cxn ang="0">
                        <a:pos x="T6" y="T7"/>
                      </a:cxn>
                      <a:cxn ang="0">
                        <a:pos x="T8" y="T9"/>
                      </a:cxn>
                    </a:cxnLst>
                    <a:rect l="0" t="0" r="r" b="b"/>
                    <a:pathLst>
                      <a:path w="17" h="34">
                        <a:moveTo>
                          <a:pt x="0" y="0"/>
                        </a:moveTo>
                        <a:lnTo>
                          <a:pt x="17" y="34"/>
                        </a:lnTo>
                        <a:lnTo>
                          <a:pt x="17" y="3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95" name="Freeform 2057"/>
                  <p:cNvSpPr>
                    <a:spLocks/>
                  </p:cNvSpPr>
                  <p:nvPr/>
                </p:nvSpPr>
                <p:spPr bwMode="auto">
                  <a:xfrm>
                    <a:off x="11180" y="3196"/>
                    <a:ext cx="17" cy="26"/>
                  </a:xfrm>
                  <a:custGeom>
                    <a:avLst/>
                    <a:gdLst>
                      <a:gd name="T0" fmla="*/ 0 w 14"/>
                      <a:gd name="T1" fmla="*/ 2 h 28"/>
                      <a:gd name="T2" fmla="*/ 12 w 14"/>
                      <a:gd name="T3" fmla="*/ 28 h 28"/>
                      <a:gd name="T4" fmla="*/ 14 w 14"/>
                      <a:gd name="T5" fmla="*/ 28 h 28"/>
                      <a:gd name="T6" fmla="*/ 3 w 14"/>
                      <a:gd name="T7" fmla="*/ 0 h 28"/>
                      <a:gd name="T8" fmla="*/ 0 w 14"/>
                      <a:gd name="T9" fmla="*/ 2 h 28"/>
                    </a:gdLst>
                    <a:ahLst/>
                    <a:cxnLst>
                      <a:cxn ang="0">
                        <a:pos x="T0" y="T1"/>
                      </a:cxn>
                      <a:cxn ang="0">
                        <a:pos x="T2" y="T3"/>
                      </a:cxn>
                      <a:cxn ang="0">
                        <a:pos x="T4" y="T5"/>
                      </a:cxn>
                      <a:cxn ang="0">
                        <a:pos x="T6" y="T7"/>
                      </a:cxn>
                      <a:cxn ang="0">
                        <a:pos x="T8" y="T9"/>
                      </a:cxn>
                    </a:cxnLst>
                    <a:rect l="0" t="0" r="r" b="b"/>
                    <a:pathLst>
                      <a:path w="14" h="28">
                        <a:moveTo>
                          <a:pt x="0" y="2"/>
                        </a:moveTo>
                        <a:lnTo>
                          <a:pt x="12" y="28"/>
                        </a:lnTo>
                        <a:lnTo>
                          <a:pt x="14" y="28"/>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96" name="Freeform 2058"/>
                  <p:cNvSpPr>
                    <a:spLocks/>
                  </p:cNvSpPr>
                  <p:nvPr/>
                </p:nvSpPr>
                <p:spPr bwMode="auto">
                  <a:xfrm>
                    <a:off x="11222" y="3161"/>
                    <a:ext cx="33" cy="52"/>
                  </a:xfrm>
                  <a:custGeom>
                    <a:avLst/>
                    <a:gdLst>
                      <a:gd name="T0" fmla="*/ 0 w 28"/>
                      <a:gd name="T1" fmla="*/ 2 h 54"/>
                      <a:gd name="T2" fmla="*/ 28 w 28"/>
                      <a:gd name="T3" fmla="*/ 54 h 54"/>
                      <a:gd name="T4" fmla="*/ 28 w 28"/>
                      <a:gd name="T5" fmla="*/ 54 h 54"/>
                      <a:gd name="T6" fmla="*/ 0 w 28"/>
                      <a:gd name="T7" fmla="*/ 0 h 54"/>
                      <a:gd name="T8" fmla="*/ 0 w 28"/>
                      <a:gd name="T9" fmla="*/ 2 h 54"/>
                    </a:gdLst>
                    <a:ahLst/>
                    <a:cxnLst>
                      <a:cxn ang="0">
                        <a:pos x="T0" y="T1"/>
                      </a:cxn>
                      <a:cxn ang="0">
                        <a:pos x="T2" y="T3"/>
                      </a:cxn>
                      <a:cxn ang="0">
                        <a:pos x="T4" y="T5"/>
                      </a:cxn>
                      <a:cxn ang="0">
                        <a:pos x="T6" y="T7"/>
                      </a:cxn>
                      <a:cxn ang="0">
                        <a:pos x="T8" y="T9"/>
                      </a:cxn>
                    </a:cxnLst>
                    <a:rect l="0" t="0" r="r" b="b"/>
                    <a:pathLst>
                      <a:path w="28" h="54">
                        <a:moveTo>
                          <a:pt x="0" y="2"/>
                        </a:moveTo>
                        <a:lnTo>
                          <a:pt x="28" y="54"/>
                        </a:lnTo>
                        <a:lnTo>
                          <a:pt x="28" y="5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97" name="Freeform 2059"/>
                  <p:cNvSpPr>
                    <a:spLocks/>
                  </p:cNvSpPr>
                  <p:nvPr/>
                </p:nvSpPr>
                <p:spPr bwMode="auto">
                  <a:xfrm>
                    <a:off x="11205" y="3170"/>
                    <a:ext cx="25" cy="52"/>
                  </a:xfrm>
                  <a:custGeom>
                    <a:avLst/>
                    <a:gdLst>
                      <a:gd name="T0" fmla="*/ 0 w 23"/>
                      <a:gd name="T1" fmla="*/ 2 h 43"/>
                      <a:gd name="T2" fmla="*/ 21 w 23"/>
                      <a:gd name="T3" fmla="*/ 43 h 43"/>
                      <a:gd name="T4" fmla="*/ 23 w 23"/>
                      <a:gd name="T5" fmla="*/ 43 h 43"/>
                      <a:gd name="T6" fmla="*/ 2 w 23"/>
                      <a:gd name="T7" fmla="*/ 0 h 43"/>
                      <a:gd name="T8" fmla="*/ 0 w 23"/>
                      <a:gd name="T9" fmla="*/ 2 h 43"/>
                    </a:gdLst>
                    <a:ahLst/>
                    <a:cxnLst>
                      <a:cxn ang="0">
                        <a:pos x="T0" y="T1"/>
                      </a:cxn>
                      <a:cxn ang="0">
                        <a:pos x="T2" y="T3"/>
                      </a:cxn>
                      <a:cxn ang="0">
                        <a:pos x="T4" y="T5"/>
                      </a:cxn>
                      <a:cxn ang="0">
                        <a:pos x="T6" y="T7"/>
                      </a:cxn>
                      <a:cxn ang="0">
                        <a:pos x="T8" y="T9"/>
                      </a:cxn>
                    </a:cxnLst>
                    <a:rect l="0" t="0" r="r" b="b"/>
                    <a:pathLst>
                      <a:path w="23" h="43">
                        <a:moveTo>
                          <a:pt x="0" y="2"/>
                        </a:moveTo>
                        <a:lnTo>
                          <a:pt x="21" y="43"/>
                        </a:lnTo>
                        <a:lnTo>
                          <a:pt x="23" y="43"/>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398" name="Freeform 2060"/>
                  <p:cNvSpPr>
                    <a:spLocks/>
                  </p:cNvSpPr>
                  <p:nvPr/>
                </p:nvSpPr>
                <p:spPr bwMode="auto">
                  <a:xfrm>
                    <a:off x="11247" y="3135"/>
                    <a:ext cx="42" cy="70"/>
                  </a:xfrm>
                  <a:custGeom>
                    <a:avLst/>
                    <a:gdLst>
                      <a:gd name="T0" fmla="*/ 0 w 42"/>
                      <a:gd name="T1" fmla="*/ 0 h 70"/>
                      <a:gd name="T2" fmla="*/ 42 w 42"/>
                      <a:gd name="T3" fmla="*/ 70 h 70"/>
                      <a:gd name="T4" fmla="*/ 42 w 42"/>
                      <a:gd name="T5" fmla="*/ 70 h 70"/>
                      <a:gd name="T6" fmla="*/ 2 w 42"/>
                      <a:gd name="T7" fmla="*/ 0 h 70"/>
                      <a:gd name="T8" fmla="*/ 0 w 42"/>
                      <a:gd name="T9" fmla="*/ 0 h 70"/>
                    </a:gdLst>
                    <a:ahLst/>
                    <a:cxnLst>
                      <a:cxn ang="0">
                        <a:pos x="T0" y="T1"/>
                      </a:cxn>
                      <a:cxn ang="0">
                        <a:pos x="T2" y="T3"/>
                      </a:cxn>
                      <a:cxn ang="0">
                        <a:pos x="T4" y="T5"/>
                      </a:cxn>
                      <a:cxn ang="0">
                        <a:pos x="T6" y="T7"/>
                      </a:cxn>
                      <a:cxn ang="0">
                        <a:pos x="T8" y="T9"/>
                      </a:cxn>
                    </a:cxnLst>
                    <a:rect l="0" t="0" r="r" b="b"/>
                    <a:pathLst>
                      <a:path w="42" h="70">
                        <a:moveTo>
                          <a:pt x="0" y="0"/>
                        </a:moveTo>
                        <a:lnTo>
                          <a:pt x="42" y="70"/>
                        </a:lnTo>
                        <a:lnTo>
                          <a:pt x="42" y="7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399" name="Freeform 2061"/>
                  <p:cNvSpPr>
                    <a:spLocks/>
                  </p:cNvSpPr>
                  <p:nvPr/>
                </p:nvSpPr>
                <p:spPr bwMode="auto">
                  <a:xfrm>
                    <a:off x="11230" y="3153"/>
                    <a:ext cx="33" cy="61"/>
                  </a:xfrm>
                  <a:custGeom>
                    <a:avLst/>
                    <a:gdLst>
                      <a:gd name="T0" fmla="*/ 0 w 33"/>
                      <a:gd name="T1" fmla="*/ 2 h 59"/>
                      <a:gd name="T2" fmla="*/ 31 w 33"/>
                      <a:gd name="T3" fmla="*/ 59 h 59"/>
                      <a:gd name="T4" fmla="*/ 33 w 33"/>
                      <a:gd name="T5" fmla="*/ 59 h 59"/>
                      <a:gd name="T6" fmla="*/ 2 w 33"/>
                      <a:gd name="T7" fmla="*/ 0 h 59"/>
                      <a:gd name="T8" fmla="*/ 0 w 33"/>
                      <a:gd name="T9" fmla="*/ 2 h 59"/>
                    </a:gdLst>
                    <a:ahLst/>
                    <a:cxnLst>
                      <a:cxn ang="0">
                        <a:pos x="T0" y="T1"/>
                      </a:cxn>
                      <a:cxn ang="0">
                        <a:pos x="T2" y="T3"/>
                      </a:cxn>
                      <a:cxn ang="0">
                        <a:pos x="T4" y="T5"/>
                      </a:cxn>
                      <a:cxn ang="0">
                        <a:pos x="T6" y="T7"/>
                      </a:cxn>
                      <a:cxn ang="0">
                        <a:pos x="T8" y="T9"/>
                      </a:cxn>
                    </a:cxnLst>
                    <a:rect l="0" t="0" r="r" b="b"/>
                    <a:pathLst>
                      <a:path w="33" h="59">
                        <a:moveTo>
                          <a:pt x="0" y="2"/>
                        </a:moveTo>
                        <a:lnTo>
                          <a:pt x="31" y="59"/>
                        </a:lnTo>
                        <a:lnTo>
                          <a:pt x="33" y="59"/>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00" name="Freeform 2062"/>
                  <p:cNvSpPr>
                    <a:spLocks/>
                  </p:cNvSpPr>
                  <p:nvPr/>
                </p:nvSpPr>
                <p:spPr bwMode="auto">
                  <a:xfrm>
                    <a:off x="11255" y="3135"/>
                    <a:ext cx="42" cy="70"/>
                  </a:xfrm>
                  <a:custGeom>
                    <a:avLst/>
                    <a:gdLst>
                      <a:gd name="T0" fmla="*/ 0 w 45"/>
                      <a:gd name="T1" fmla="*/ 0 h 73"/>
                      <a:gd name="T2" fmla="*/ 45 w 45"/>
                      <a:gd name="T3" fmla="*/ 73 h 73"/>
                      <a:gd name="T4" fmla="*/ 45 w 45"/>
                      <a:gd name="T5" fmla="*/ 73 h 73"/>
                      <a:gd name="T6" fmla="*/ 3 w 45"/>
                      <a:gd name="T7" fmla="*/ 0 h 73"/>
                      <a:gd name="T8" fmla="*/ 0 w 45"/>
                      <a:gd name="T9" fmla="*/ 0 h 73"/>
                    </a:gdLst>
                    <a:ahLst/>
                    <a:cxnLst>
                      <a:cxn ang="0">
                        <a:pos x="T0" y="T1"/>
                      </a:cxn>
                      <a:cxn ang="0">
                        <a:pos x="T2" y="T3"/>
                      </a:cxn>
                      <a:cxn ang="0">
                        <a:pos x="T4" y="T5"/>
                      </a:cxn>
                      <a:cxn ang="0">
                        <a:pos x="T6" y="T7"/>
                      </a:cxn>
                      <a:cxn ang="0">
                        <a:pos x="T8" y="T9"/>
                      </a:cxn>
                    </a:cxnLst>
                    <a:rect l="0" t="0" r="r" b="b"/>
                    <a:pathLst>
                      <a:path w="45" h="73">
                        <a:moveTo>
                          <a:pt x="0" y="0"/>
                        </a:moveTo>
                        <a:lnTo>
                          <a:pt x="45" y="73"/>
                        </a:lnTo>
                        <a:lnTo>
                          <a:pt x="45" y="73"/>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1" name="Freeform 2063"/>
                  <p:cNvSpPr>
                    <a:spLocks/>
                  </p:cNvSpPr>
                  <p:nvPr/>
                </p:nvSpPr>
                <p:spPr bwMode="auto">
                  <a:xfrm>
                    <a:off x="11264" y="3127"/>
                    <a:ext cx="50" cy="70"/>
                  </a:xfrm>
                  <a:custGeom>
                    <a:avLst/>
                    <a:gdLst>
                      <a:gd name="T0" fmla="*/ 0 w 52"/>
                      <a:gd name="T1" fmla="*/ 3 h 78"/>
                      <a:gd name="T2" fmla="*/ 50 w 52"/>
                      <a:gd name="T3" fmla="*/ 78 h 78"/>
                      <a:gd name="T4" fmla="*/ 52 w 52"/>
                      <a:gd name="T5" fmla="*/ 78 h 78"/>
                      <a:gd name="T6" fmla="*/ 2 w 52"/>
                      <a:gd name="T7" fmla="*/ 0 h 78"/>
                      <a:gd name="T8" fmla="*/ 0 w 52"/>
                      <a:gd name="T9" fmla="*/ 3 h 78"/>
                    </a:gdLst>
                    <a:ahLst/>
                    <a:cxnLst>
                      <a:cxn ang="0">
                        <a:pos x="T0" y="T1"/>
                      </a:cxn>
                      <a:cxn ang="0">
                        <a:pos x="T2" y="T3"/>
                      </a:cxn>
                      <a:cxn ang="0">
                        <a:pos x="T4" y="T5"/>
                      </a:cxn>
                      <a:cxn ang="0">
                        <a:pos x="T6" y="T7"/>
                      </a:cxn>
                      <a:cxn ang="0">
                        <a:pos x="T8" y="T9"/>
                      </a:cxn>
                    </a:cxnLst>
                    <a:rect l="0" t="0" r="r" b="b"/>
                    <a:pathLst>
                      <a:path w="52" h="78">
                        <a:moveTo>
                          <a:pt x="0" y="3"/>
                        </a:moveTo>
                        <a:lnTo>
                          <a:pt x="50" y="78"/>
                        </a:lnTo>
                        <a:lnTo>
                          <a:pt x="52" y="78"/>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02" name="Freeform 2064"/>
                  <p:cNvSpPr>
                    <a:spLocks/>
                  </p:cNvSpPr>
                  <p:nvPr/>
                </p:nvSpPr>
                <p:spPr bwMode="auto">
                  <a:xfrm>
                    <a:off x="11255" y="3135"/>
                    <a:ext cx="50" cy="70"/>
                  </a:xfrm>
                  <a:custGeom>
                    <a:avLst/>
                    <a:gdLst>
                      <a:gd name="T0" fmla="*/ 0 w 50"/>
                      <a:gd name="T1" fmla="*/ 2 h 76"/>
                      <a:gd name="T2" fmla="*/ 47 w 50"/>
                      <a:gd name="T3" fmla="*/ 76 h 76"/>
                      <a:gd name="T4" fmla="*/ 50 w 50"/>
                      <a:gd name="T5" fmla="*/ 76 h 76"/>
                      <a:gd name="T6" fmla="*/ 3 w 50"/>
                      <a:gd name="T7" fmla="*/ 0 h 76"/>
                      <a:gd name="T8" fmla="*/ 0 w 50"/>
                      <a:gd name="T9" fmla="*/ 2 h 76"/>
                    </a:gdLst>
                    <a:ahLst/>
                    <a:cxnLst>
                      <a:cxn ang="0">
                        <a:pos x="T0" y="T1"/>
                      </a:cxn>
                      <a:cxn ang="0">
                        <a:pos x="T2" y="T3"/>
                      </a:cxn>
                      <a:cxn ang="0">
                        <a:pos x="T4" y="T5"/>
                      </a:cxn>
                      <a:cxn ang="0">
                        <a:pos x="T6" y="T7"/>
                      </a:cxn>
                      <a:cxn ang="0">
                        <a:pos x="T8" y="T9"/>
                      </a:cxn>
                    </a:cxnLst>
                    <a:rect l="0" t="0" r="r" b="b"/>
                    <a:pathLst>
                      <a:path w="50" h="76">
                        <a:moveTo>
                          <a:pt x="0" y="2"/>
                        </a:moveTo>
                        <a:lnTo>
                          <a:pt x="47" y="76"/>
                        </a:lnTo>
                        <a:lnTo>
                          <a:pt x="50" y="76"/>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03" name="Freeform 2065"/>
                  <p:cNvSpPr>
                    <a:spLocks/>
                  </p:cNvSpPr>
                  <p:nvPr/>
                </p:nvSpPr>
                <p:spPr bwMode="auto">
                  <a:xfrm>
                    <a:off x="11239" y="3144"/>
                    <a:ext cx="42" cy="70"/>
                  </a:xfrm>
                  <a:custGeom>
                    <a:avLst/>
                    <a:gdLst>
                      <a:gd name="T0" fmla="*/ 0 w 40"/>
                      <a:gd name="T1" fmla="*/ 0 h 69"/>
                      <a:gd name="T2" fmla="*/ 38 w 40"/>
                      <a:gd name="T3" fmla="*/ 69 h 69"/>
                      <a:gd name="T4" fmla="*/ 40 w 40"/>
                      <a:gd name="T5" fmla="*/ 66 h 69"/>
                      <a:gd name="T6" fmla="*/ 2 w 40"/>
                      <a:gd name="T7" fmla="*/ 0 h 69"/>
                      <a:gd name="T8" fmla="*/ 0 w 40"/>
                      <a:gd name="T9" fmla="*/ 0 h 69"/>
                    </a:gdLst>
                    <a:ahLst/>
                    <a:cxnLst>
                      <a:cxn ang="0">
                        <a:pos x="T0" y="T1"/>
                      </a:cxn>
                      <a:cxn ang="0">
                        <a:pos x="T2" y="T3"/>
                      </a:cxn>
                      <a:cxn ang="0">
                        <a:pos x="T4" y="T5"/>
                      </a:cxn>
                      <a:cxn ang="0">
                        <a:pos x="T6" y="T7"/>
                      </a:cxn>
                      <a:cxn ang="0">
                        <a:pos x="T8" y="T9"/>
                      </a:cxn>
                    </a:cxnLst>
                    <a:rect l="0" t="0" r="r" b="b"/>
                    <a:pathLst>
                      <a:path w="40" h="69">
                        <a:moveTo>
                          <a:pt x="0" y="0"/>
                        </a:moveTo>
                        <a:lnTo>
                          <a:pt x="38" y="69"/>
                        </a:lnTo>
                        <a:lnTo>
                          <a:pt x="40" y="6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4" name="Freeform 2066"/>
                  <p:cNvSpPr>
                    <a:spLocks/>
                  </p:cNvSpPr>
                  <p:nvPr/>
                </p:nvSpPr>
                <p:spPr bwMode="auto">
                  <a:xfrm>
                    <a:off x="11239" y="3153"/>
                    <a:ext cx="25" cy="61"/>
                  </a:xfrm>
                  <a:custGeom>
                    <a:avLst/>
                    <a:gdLst>
                      <a:gd name="T0" fmla="*/ 0 w 35"/>
                      <a:gd name="T1" fmla="*/ 0 h 61"/>
                      <a:gd name="T2" fmla="*/ 33 w 35"/>
                      <a:gd name="T3" fmla="*/ 61 h 61"/>
                      <a:gd name="T4" fmla="*/ 35 w 35"/>
                      <a:gd name="T5" fmla="*/ 59 h 61"/>
                      <a:gd name="T6" fmla="*/ 2 w 35"/>
                      <a:gd name="T7" fmla="*/ 0 h 61"/>
                      <a:gd name="T8" fmla="*/ 0 w 35"/>
                      <a:gd name="T9" fmla="*/ 0 h 61"/>
                    </a:gdLst>
                    <a:ahLst/>
                    <a:cxnLst>
                      <a:cxn ang="0">
                        <a:pos x="T0" y="T1"/>
                      </a:cxn>
                      <a:cxn ang="0">
                        <a:pos x="T2" y="T3"/>
                      </a:cxn>
                      <a:cxn ang="0">
                        <a:pos x="T4" y="T5"/>
                      </a:cxn>
                      <a:cxn ang="0">
                        <a:pos x="T6" y="T7"/>
                      </a:cxn>
                      <a:cxn ang="0">
                        <a:pos x="T8" y="T9"/>
                      </a:cxn>
                    </a:cxnLst>
                    <a:rect l="0" t="0" r="r" b="b"/>
                    <a:pathLst>
                      <a:path w="35" h="61">
                        <a:moveTo>
                          <a:pt x="0" y="0"/>
                        </a:moveTo>
                        <a:lnTo>
                          <a:pt x="33" y="61"/>
                        </a:lnTo>
                        <a:lnTo>
                          <a:pt x="35" y="5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5" name="Freeform 2067"/>
                  <p:cNvSpPr>
                    <a:spLocks/>
                  </p:cNvSpPr>
                  <p:nvPr/>
                </p:nvSpPr>
                <p:spPr bwMode="auto">
                  <a:xfrm>
                    <a:off x="11239" y="3144"/>
                    <a:ext cx="33" cy="70"/>
                  </a:xfrm>
                  <a:custGeom>
                    <a:avLst/>
                    <a:gdLst>
                      <a:gd name="T0" fmla="*/ 0 w 38"/>
                      <a:gd name="T1" fmla="*/ 0 h 64"/>
                      <a:gd name="T2" fmla="*/ 36 w 38"/>
                      <a:gd name="T3" fmla="*/ 64 h 64"/>
                      <a:gd name="T4" fmla="*/ 38 w 38"/>
                      <a:gd name="T5" fmla="*/ 64 h 64"/>
                      <a:gd name="T6" fmla="*/ 3 w 38"/>
                      <a:gd name="T7" fmla="*/ 0 h 64"/>
                      <a:gd name="T8" fmla="*/ 0 w 38"/>
                      <a:gd name="T9" fmla="*/ 0 h 64"/>
                    </a:gdLst>
                    <a:ahLst/>
                    <a:cxnLst>
                      <a:cxn ang="0">
                        <a:pos x="T0" y="T1"/>
                      </a:cxn>
                      <a:cxn ang="0">
                        <a:pos x="T2" y="T3"/>
                      </a:cxn>
                      <a:cxn ang="0">
                        <a:pos x="T4" y="T5"/>
                      </a:cxn>
                      <a:cxn ang="0">
                        <a:pos x="T6" y="T7"/>
                      </a:cxn>
                      <a:cxn ang="0">
                        <a:pos x="T8" y="T9"/>
                      </a:cxn>
                    </a:cxnLst>
                    <a:rect l="0" t="0" r="r" b="b"/>
                    <a:pathLst>
                      <a:path w="38" h="64">
                        <a:moveTo>
                          <a:pt x="0" y="0"/>
                        </a:moveTo>
                        <a:lnTo>
                          <a:pt x="36" y="64"/>
                        </a:lnTo>
                        <a:lnTo>
                          <a:pt x="38" y="6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6" name="Freeform 2068"/>
                  <p:cNvSpPr>
                    <a:spLocks/>
                  </p:cNvSpPr>
                  <p:nvPr/>
                </p:nvSpPr>
                <p:spPr bwMode="auto">
                  <a:xfrm>
                    <a:off x="11205" y="3179"/>
                    <a:ext cx="17" cy="44"/>
                  </a:xfrm>
                  <a:custGeom>
                    <a:avLst/>
                    <a:gdLst>
                      <a:gd name="T0" fmla="*/ 0 w 21"/>
                      <a:gd name="T1" fmla="*/ 0 h 38"/>
                      <a:gd name="T2" fmla="*/ 19 w 21"/>
                      <a:gd name="T3" fmla="*/ 38 h 38"/>
                      <a:gd name="T4" fmla="*/ 21 w 21"/>
                      <a:gd name="T5" fmla="*/ 38 h 38"/>
                      <a:gd name="T6" fmla="*/ 2 w 21"/>
                      <a:gd name="T7" fmla="*/ 0 h 38"/>
                      <a:gd name="T8" fmla="*/ 0 w 21"/>
                      <a:gd name="T9" fmla="*/ 0 h 38"/>
                    </a:gdLst>
                    <a:ahLst/>
                    <a:cxnLst>
                      <a:cxn ang="0">
                        <a:pos x="T0" y="T1"/>
                      </a:cxn>
                      <a:cxn ang="0">
                        <a:pos x="T2" y="T3"/>
                      </a:cxn>
                      <a:cxn ang="0">
                        <a:pos x="T4" y="T5"/>
                      </a:cxn>
                      <a:cxn ang="0">
                        <a:pos x="T6" y="T7"/>
                      </a:cxn>
                      <a:cxn ang="0">
                        <a:pos x="T8" y="T9"/>
                      </a:cxn>
                    </a:cxnLst>
                    <a:rect l="0" t="0" r="r" b="b"/>
                    <a:pathLst>
                      <a:path w="21" h="38">
                        <a:moveTo>
                          <a:pt x="0" y="0"/>
                        </a:moveTo>
                        <a:lnTo>
                          <a:pt x="19" y="38"/>
                        </a:lnTo>
                        <a:lnTo>
                          <a:pt x="21"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7" name="Freeform 2069"/>
                  <p:cNvSpPr>
                    <a:spLocks/>
                  </p:cNvSpPr>
                  <p:nvPr/>
                </p:nvSpPr>
                <p:spPr bwMode="auto">
                  <a:xfrm>
                    <a:off x="11105" y="3222"/>
                    <a:ext cx="8" cy="17"/>
                  </a:xfrm>
                  <a:custGeom>
                    <a:avLst/>
                    <a:gdLst>
                      <a:gd name="T0" fmla="*/ 0 w 5"/>
                      <a:gd name="T1" fmla="*/ 0 h 12"/>
                      <a:gd name="T2" fmla="*/ 5 w 5"/>
                      <a:gd name="T3" fmla="*/ 12 h 12"/>
                      <a:gd name="T4" fmla="*/ 5 w 5"/>
                      <a:gd name="T5" fmla="*/ 10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0"/>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8" name="Freeform 2070"/>
                  <p:cNvSpPr>
                    <a:spLocks/>
                  </p:cNvSpPr>
                  <p:nvPr/>
                </p:nvSpPr>
                <p:spPr bwMode="auto">
                  <a:xfrm>
                    <a:off x="11114" y="3222"/>
                    <a:ext cx="8" cy="17"/>
                  </a:xfrm>
                  <a:custGeom>
                    <a:avLst/>
                    <a:gdLst>
                      <a:gd name="T0" fmla="*/ 0 w 5"/>
                      <a:gd name="T1" fmla="*/ 0 h 12"/>
                      <a:gd name="T2" fmla="*/ 3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09" name="Freeform 2071"/>
                  <p:cNvSpPr>
                    <a:spLocks/>
                  </p:cNvSpPr>
                  <p:nvPr/>
                </p:nvSpPr>
                <p:spPr bwMode="auto">
                  <a:xfrm>
                    <a:off x="11097" y="3222"/>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10" name="Freeform 2072"/>
                  <p:cNvSpPr>
                    <a:spLocks/>
                  </p:cNvSpPr>
                  <p:nvPr/>
                </p:nvSpPr>
                <p:spPr bwMode="auto">
                  <a:xfrm>
                    <a:off x="11122" y="3222"/>
                    <a:ext cx="8" cy="9"/>
                  </a:xfrm>
                  <a:custGeom>
                    <a:avLst/>
                    <a:gdLst>
                      <a:gd name="T0" fmla="*/ 0 w 5"/>
                      <a:gd name="T1" fmla="*/ 0 h 12"/>
                      <a:gd name="T2" fmla="*/ 5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1" name="Freeform 2073"/>
                  <p:cNvSpPr>
                    <a:spLocks/>
                  </p:cNvSpPr>
                  <p:nvPr/>
                </p:nvSpPr>
                <p:spPr bwMode="auto">
                  <a:xfrm>
                    <a:off x="11122" y="3222"/>
                    <a:ext cx="0" cy="9"/>
                  </a:xfrm>
                  <a:custGeom>
                    <a:avLst/>
                    <a:gdLst>
                      <a:gd name="T0" fmla="*/ 0 w 7"/>
                      <a:gd name="T1" fmla="*/ 0 h 11"/>
                      <a:gd name="T2" fmla="*/ 5 w 7"/>
                      <a:gd name="T3" fmla="*/ 11 h 11"/>
                      <a:gd name="T4" fmla="*/ 7 w 7"/>
                      <a:gd name="T5" fmla="*/ 11 h 11"/>
                      <a:gd name="T6" fmla="*/ 3 w 7"/>
                      <a:gd name="T7" fmla="*/ 0 h 11"/>
                      <a:gd name="T8" fmla="*/ 0 w 7"/>
                      <a:gd name="T9" fmla="*/ 0 h 11"/>
                    </a:gdLst>
                    <a:ahLst/>
                    <a:cxnLst>
                      <a:cxn ang="0">
                        <a:pos x="T0" y="T1"/>
                      </a:cxn>
                      <a:cxn ang="0">
                        <a:pos x="T2" y="T3"/>
                      </a:cxn>
                      <a:cxn ang="0">
                        <a:pos x="T4" y="T5"/>
                      </a:cxn>
                      <a:cxn ang="0">
                        <a:pos x="T6" y="T7"/>
                      </a:cxn>
                      <a:cxn ang="0">
                        <a:pos x="T8" y="T9"/>
                      </a:cxn>
                    </a:cxnLst>
                    <a:rect l="0" t="0" r="r" b="b"/>
                    <a:pathLst>
                      <a:path w="7" h="11">
                        <a:moveTo>
                          <a:pt x="0" y="0"/>
                        </a:moveTo>
                        <a:lnTo>
                          <a:pt x="5" y="11"/>
                        </a:lnTo>
                        <a:lnTo>
                          <a:pt x="7"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2" name="Freeform 2074"/>
                  <p:cNvSpPr>
                    <a:spLocks/>
                  </p:cNvSpPr>
                  <p:nvPr/>
                </p:nvSpPr>
                <p:spPr bwMode="auto">
                  <a:xfrm>
                    <a:off x="11180" y="3196"/>
                    <a:ext cx="0" cy="26"/>
                  </a:xfrm>
                  <a:custGeom>
                    <a:avLst/>
                    <a:gdLst>
                      <a:gd name="T0" fmla="*/ 0 w 9"/>
                      <a:gd name="T1" fmla="*/ 0 h 19"/>
                      <a:gd name="T2" fmla="*/ 7 w 9"/>
                      <a:gd name="T3" fmla="*/ 19 h 19"/>
                      <a:gd name="T4" fmla="*/ 9 w 9"/>
                      <a:gd name="T5" fmla="*/ 19 h 19"/>
                      <a:gd name="T6" fmla="*/ 0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3" name="Freeform 2075"/>
                  <p:cNvSpPr>
                    <a:spLocks/>
                  </p:cNvSpPr>
                  <p:nvPr/>
                </p:nvSpPr>
                <p:spPr bwMode="auto">
                  <a:xfrm>
                    <a:off x="11097" y="3231"/>
                    <a:ext cx="0"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4" name="Freeform 2076"/>
                  <p:cNvSpPr>
                    <a:spLocks/>
                  </p:cNvSpPr>
                  <p:nvPr/>
                </p:nvSpPr>
                <p:spPr bwMode="auto">
                  <a:xfrm>
                    <a:off x="11089" y="3231"/>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5" name="Freeform 2077"/>
                  <p:cNvSpPr>
                    <a:spLocks/>
                  </p:cNvSpPr>
                  <p:nvPr/>
                </p:nvSpPr>
                <p:spPr bwMode="auto">
                  <a:xfrm>
                    <a:off x="11081" y="3231"/>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6" name="Freeform 2078"/>
                  <p:cNvSpPr>
                    <a:spLocks/>
                  </p:cNvSpPr>
                  <p:nvPr/>
                </p:nvSpPr>
                <p:spPr bwMode="auto">
                  <a:xfrm>
                    <a:off x="11164" y="3205"/>
                    <a:ext cx="8" cy="17"/>
                  </a:xfrm>
                  <a:custGeom>
                    <a:avLst/>
                    <a:gdLst>
                      <a:gd name="T0" fmla="*/ 0 w 7"/>
                      <a:gd name="T1" fmla="*/ 2 h 16"/>
                      <a:gd name="T2" fmla="*/ 5 w 7"/>
                      <a:gd name="T3" fmla="*/ 16 h 16"/>
                      <a:gd name="T4" fmla="*/ 7 w 7"/>
                      <a:gd name="T5" fmla="*/ 16 h 16"/>
                      <a:gd name="T6" fmla="*/ 0 w 7"/>
                      <a:gd name="T7" fmla="*/ 0 h 16"/>
                      <a:gd name="T8" fmla="*/ 0 w 7"/>
                      <a:gd name="T9" fmla="*/ 2 h 16"/>
                    </a:gdLst>
                    <a:ahLst/>
                    <a:cxnLst>
                      <a:cxn ang="0">
                        <a:pos x="T0" y="T1"/>
                      </a:cxn>
                      <a:cxn ang="0">
                        <a:pos x="T2" y="T3"/>
                      </a:cxn>
                      <a:cxn ang="0">
                        <a:pos x="T4" y="T5"/>
                      </a:cxn>
                      <a:cxn ang="0">
                        <a:pos x="T6" y="T7"/>
                      </a:cxn>
                      <a:cxn ang="0">
                        <a:pos x="T8" y="T9"/>
                      </a:cxn>
                    </a:cxnLst>
                    <a:rect l="0" t="0" r="r" b="b"/>
                    <a:pathLst>
                      <a:path w="7" h="16">
                        <a:moveTo>
                          <a:pt x="0" y="2"/>
                        </a:moveTo>
                        <a:lnTo>
                          <a:pt x="5" y="16"/>
                        </a:lnTo>
                        <a:lnTo>
                          <a:pt x="7"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17" name="Freeform 2079"/>
                  <p:cNvSpPr>
                    <a:spLocks/>
                  </p:cNvSpPr>
                  <p:nvPr/>
                </p:nvSpPr>
                <p:spPr bwMode="auto">
                  <a:xfrm>
                    <a:off x="11155" y="3205"/>
                    <a:ext cx="8" cy="17"/>
                  </a:xfrm>
                  <a:custGeom>
                    <a:avLst/>
                    <a:gdLst>
                      <a:gd name="T0" fmla="*/ 0 w 7"/>
                      <a:gd name="T1" fmla="*/ 0 h 15"/>
                      <a:gd name="T2" fmla="*/ 7 w 7"/>
                      <a:gd name="T3" fmla="*/ 15 h 15"/>
                      <a:gd name="T4" fmla="*/ 7 w 7"/>
                      <a:gd name="T5" fmla="*/ 15 h 15"/>
                      <a:gd name="T6" fmla="*/ 2 w 7"/>
                      <a:gd name="T7" fmla="*/ 0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7" y="15"/>
                        </a:lnTo>
                        <a:lnTo>
                          <a:pt x="7" y="1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8" name="Freeform 2080"/>
                  <p:cNvSpPr>
                    <a:spLocks/>
                  </p:cNvSpPr>
                  <p:nvPr/>
                </p:nvSpPr>
                <p:spPr bwMode="auto">
                  <a:xfrm>
                    <a:off x="11130" y="3222"/>
                    <a:ext cx="8"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19" name="Freeform 2081"/>
                  <p:cNvSpPr>
                    <a:spLocks/>
                  </p:cNvSpPr>
                  <p:nvPr/>
                </p:nvSpPr>
                <p:spPr bwMode="auto">
                  <a:xfrm>
                    <a:off x="11172" y="3196"/>
                    <a:ext cx="8" cy="26"/>
                  </a:xfrm>
                  <a:custGeom>
                    <a:avLst/>
                    <a:gdLst>
                      <a:gd name="T0" fmla="*/ 0 w 9"/>
                      <a:gd name="T1" fmla="*/ 0 h 19"/>
                      <a:gd name="T2" fmla="*/ 7 w 9"/>
                      <a:gd name="T3" fmla="*/ 19 h 19"/>
                      <a:gd name="T4" fmla="*/ 9 w 9"/>
                      <a:gd name="T5" fmla="*/ 19 h 19"/>
                      <a:gd name="T6" fmla="*/ 2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0" name="Freeform 2082"/>
                  <p:cNvSpPr>
                    <a:spLocks/>
                  </p:cNvSpPr>
                  <p:nvPr/>
                </p:nvSpPr>
                <p:spPr bwMode="auto">
                  <a:xfrm>
                    <a:off x="11155" y="3214"/>
                    <a:ext cx="0" cy="9"/>
                  </a:xfrm>
                  <a:custGeom>
                    <a:avLst/>
                    <a:gdLst>
                      <a:gd name="T0" fmla="*/ 0 w 5"/>
                      <a:gd name="T1" fmla="*/ 0 h 12"/>
                      <a:gd name="T2" fmla="*/ 5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1" name="Freeform 2083"/>
                  <p:cNvSpPr>
                    <a:spLocks/>
                  </p:cNvSpPr>
                  <p:nvPr/>
                </p:nvSpPr>
                <p:spPr bwMode="auto">
                  <a:xfrm>
                    <a:off x="11139" y="3222"/>
                    <a:ext cx="8" cy="0"/>
                  </a:xfrm>
                  <a:custGeom>
                    <a:avLst/>
                    <a:gdLst>
                      <a:gd name="T0" fmla="*/ 0 w 5"/>
                      <a:gd name="T1" fmla="*/ 0 h 11"/>
                      <a:gd name="T2" fmla="*/ 0 w 5"/>
                      <a:gd name="T3" fmla="*/ 0 h 11"/>
                      <a:gd name="T4" fmla="*/ 3 w 5"/>
                      <a:gd name="T5" fmla="*/ 11 h 11"/>
                      <a:gd name="T6" fmla="*/ 5 w 5"/>
                      <a:gd name="T7" fmla="*/ 11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0" y="0"/>
                        </a:lnTo>
                        <a:lnTo>
                          <a:pt x="3" y="11"/>
                        </a:lnTo>
                        <a:lnTo>
                          <a:pt x="5" y="11"/>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2" name="Freeform 2084"/>
                  <p:cNvSpPr>
                    <a:spLocks/>
                  </p:cNvSpPr>
                  <p:nvPr/>
                </p:nvSpPr>
                <p:spPr bwMode="auto">
                  <a:xfrm>
                    <a:off x="11147" y="3214"/>
                    <a:ext cx="0" cy="9"/>
                  </a:xfrm>
                  <a:custGeom>
                    <a:avLst/>
                    <a:gdLst>
                      <a:gd name="T0" fmla="*/ 0 w 7"/>
                      <a:gd name="T1" fmla="*/ 0 h 12"/>
                      <a:gd name="T2" fmla="*/ 5 w 7"/>
                      <a:gd name="T3" fmla="*/ 12 h 12"/>
                      <a:gd name="T4" fmla="*/ 7 w 7"/>
                      <a:gd name="T5" fmla="*/ 12 h 12"/>
                      <a:gd name="T6" fmla="*/ 3 w 7"/>
                      <a:gd name="T7" fmla="*/ 0 h 12"/>
                      <a:gd name="T8" fmla="*/ 0 w 7"/>
                      <a:gd name="T9" fmla="*/ 0 h 12"/>
                    </a:gdLst>
                    <a:ahLst/>
                    <a:cxnLst>
                      <a:cxn ang="0">
                        <a:pos x="T0" y="T1"/>
                      </a:cxn>
                      <a:cxn ang="0">
                        <a:pos x="T2" y="T3"/>
                      </a:cxn>
                      <a:cxn ang="0">
                        <a:pos x="T4" y="T5"/>
                      </a:cxn>
                      <a:cxn ang="0">
                        <a:pos x="T6" y="T7"/>
                      </a:cxn>
                      <a:cxn ang="0">
                        <a:pos x="T8" y="T9"/>
                      </a:cxn>
                    </a:cxnLst>
                    <a:rect l="0" t="0" r="r" b="b"/>
                    <a:pathLst>
                      <a:path w="7" h="12">
                        <a:moveTo>
                          <a:pt x="0" y="0"/>
                        </a:moveTo>
                        <a:lnTo>
                          <a:pt x="5" y="12"/>
                        </a:lnTo>
                        <a:lnTo>
                          <a:pt x="7"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3" name="Freeform 2085"/>
                  <p:cNvSpPr>
                    <a:spLocks/>
                  </p:cNvSpPr>
                  <p:nvPr/>
                </p:nvSpPr>
                <p:spPr bwMode="auto">
                  <a:xfrm>
                    <a:off x="11397" y="3039"/>
                    <a:ext cx="25" cy="35"/>
                  </a:xfrm>
                  <a:custGeom>
                    <a:avLst/>
                    <a:gdLst>
                      <a:gd name="T0" fmla="*/ 0 w 24"/>
                      <a:gd name="T1" fmla="*/ 2 h 26"/>
                      <a:gd name="T2" fmla="*/ 24 w 24"/>
                      <a:gd name="T3" fmla="*/ 26 h 26"/>
                      <a:gd name="T4" fmla="*/ 24 w 24"/>
                      <a:gd name="T5" fmla="*/ 24 h 26"/>
                      <a:gd name="T6" fmla="*/ 0 w 24"/>
                      <a:gd name="T7" fmla="*/ 0 h 26"/>
                      <a:gd name="T8" fmla="*/ 0 w 24"/>
                      <a:gd name="T9" fmla="*/ 2 h 26"/>
                    </a:gdLst>
                    <a:ahLst/>
                    <a:cxnLst>
                      <a:cxn ang="0">
                        <a:pos x="T0" y="T1"/>
                      </a:cxn>
                      <a:cxn ang="0">
                        <a:pos x="T2" y="T3"/>
                      </a:cxn>
                      <a:cxn ang="0">
                        <a:pos x="T4" y="T5"/>
                      </a:cxn>
                      <a:cxn ang="0">
                        <a:pos x="T6" y="T7"/>
                      </a:cxn>
                      <a:cxn ang="0">
                        <a:pos x="T8" y="T9"/>
                      </a:cxn>
                    </a:cxnLst>
                    <a:rect l="0" t="0" r="r" b="b"/>
                    <a:pathLst>
                      <a:path w="24" h="26">
                        <a:moveTo>
                          <a:pt x="0" y="2"/>
                        </a:moveTo>
                        <a:lnTo>
                          <a:pt x="24" y="26"/>
                        </a:lnTo>
                        <a:lnTo>
                          <a:pt x="24" y="2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24" name="Freeform 2086"/>
                  <p:cNvSpPr>
                    <a:spLocks/>
                  </p:cNvSpPr>
                  <p:nvPr/>
                </p:nvSpPr>
                <p:spPr bwMode="auto">
                  <a:xfrm>
                    <a:off x="11405" y="3039"/>
                    <a:ext cx="17" cy="26"/>
                  </a:xfrm>
                  <a:custGeom>
                    <a:avLst/>
                    <a:gdLst>
                      <a:gd name="T0" fmla="*/ 0 w 21"/>
                      <a:gd name="T1" fmla="*/ 0 h 21"/>
                      <a:gd name="T2" fmla="*/ 21 w 21"/>
                      <a:gd name="T3" fmla="*/ 21 h 21"/>
                      <a:gd name="T4" fmla="*/ 21 w 21"/>
                      <a:gd name="T5" fmla="*/ 19 h 21"/>
                      <a:gd name="T6" fmla="*/ 2 w 21"/>
                      <a:gd name="T7" fmla="*/ 0 h 21"/>
                      <a:gd name="T8" fmla="*/ 0 w 21"/>
                      <a:gd name="T9" fmla="*/ 0 h 21"/>
                    </a:gdLst>
                    <a:ahLst/>
                    <a:cxnLst>
                      <a:cxn ang="0">
                        <a:pos x="T0" y="T1"/>
                      </a:cxn>
                      <a:cxn ang="0">
                        <a:pos x="T2" y="T3"/>
                      </a:cxn>
                      <a:cxn ang="0">
                        <a:pos x="T4" y="T5"/>
                      </a:cxn>
                      <a:cxn ang="0">
                        <a:pos x="T6" y="T7"/>
                      </a:cxn>
                      <a:cxn ang="0">
                        <a:pos x="T8" y="T9"/>
                      </a:cxn>
                    </a:cxnLst>
                    <a:rect l="0" t="0" r="r" b="b"/>
                    <a:pathLst>
                      <a:path w="21" h="21">
                        <a:moveTo>
                          <a:pt x="0" y="0"/>
                        </a:moveTo>
                        <a:lnTo>
                          <a:pt x="21" y="21"/>
                        </a:lnTo>
                        <a:lnTo>
                          <a:pt x="21"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5" name="Freeform 2087"/>
                  <p:cNvSpPr>
                    <a:spLocks/>
                  </p:cNvSpPr>
                  <p:nvPr/>
                </p:nvSpPr>
                <p:spPr bwMode="auto">
                  <a:xfrm>
                    <a:off x="11463" y="2987"/>
                    <a:ext cx="8" cy="0"/>
                  </a:xfrm>
                  <a:custGeom>
                    <a:avLst/>
                    <a:gdLst>
                      <a:gd name="T0" fmla="*/ 0 w 12"/>
                      <a:gd name="T1" fmla="*/ 0 h 7"/>
                      <a:gd name="T2" fmla="*/ 10 w 12"/>
                      <a:gd name="T3" fmla="*/ 7 h 7"/>
                      <a:gd name="T4" fmla="*/ 12 w 12"/>
                      <a:gd name="T5" fmla="*/ 7 h 7"/>
                      <a:gd name="T6" fmla="*/ 3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6" name="Freeform 2088"/>
                  <p:cNvSpPr>
                    <a:spLocks/>
                  </p:cNvSpPr>
                  <p:nvPr/>
                </p:nvSpPr>
                <p:spPr bwMode="auto">
                  <a:xfrm>
                    <a:off x="11405" y="3039"/>
                    <a:ext cx="25" cy="17"/>
                  </a:xfrm>
                  <a:custGeom>
                    <a:avLst/>
                    <a:gdLst>
                      <a:gd name="T0" fmla="*/ 0 w 22"/>
                      <a:gd name="T1" fmla="*/ 0 h 19"/>
                      <a:gd name="T2" fmla="*/ 19 w 22"/>
                      <a:gd name="T3" fmla="*/ 19 h 19"/>
                      <a:gd name="T4" fmla="*/ 22 w 22"/>
                      <a:gd name="T5" fmla="*/ 17 h 19"/>
                      <a:gd name="T6" fmla="*/ 3 w 22"/>
                      <a:gd name="T7" fmla="*/ 0 h 19"/>
                      <a:gd name="T8" fmla="*/ 0 w 22"/>
                      <a:gd name="T9" fmla="*/ 0 h 19"/>
                    </a:gdLst>
                    <a:ahLst/>
                    <a:cxnLst>
                      <a:cxn ang="0">
                        <a:pos x="T0" y="T1"/>
                      </a:cxn>
                      <a:cxn ang="0">
                        <a:pos x="T2" y="T3"/>
                      </a:cxn>
                      <a:cxn ang="0">
                        <a:pos x="T4" y="T5"/>
                      </a:cxn>
                      <a:cxn ang="0">
                        <a:pos x="T6" y="T7"/>
                      </a:cxn>
                      <a:cxn ang="0">
                        <a:pos x="T8" y="T9"/>
                      </a:cxn>
                    </a:cxnLst>
                    <a:rect l="0" t="0" r="r" b="b"/>
                    <a:pathLst>
                      <a:path w="22" h="19">
                        <a:moveTo>
                          <a:pt x="0" y="0"/>
                        </a:moveTo>
                        <a:lnTo>
                          <a:pt x="19" y="19"/>
                        </a:lnTo>
                        <a:lnTo>
                          <a:pt x="22" y="1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7" name="Freeform 2089"/>
                  <p:cNvSpPr>
                    <a:spLocks/>
                  </p:cNvSpPr>
                  <p:nvPr/>
                </p:nvSpPr>
                <p:spPr bwMode="auto">
                  <a:xfrm>
                    <a:off x="11413" y="3031"/>
                    <a:ext cx="17" cy="17"/>
                  </a:xfrm>
                  <a:custGeom>
                    <a:avLst/>
                    <a:gdLst>
                      <a:gd name="T0" fmla="*/ 0 w 16"/>
                      <a:gd name="T1" fmla="*/ 3 h 17"/>
                      <a:gd name="T2" fmla="*/ 16 w 16"/>
                      <a:gd name="T3" fmla="*/ 17 h 17"/>
                      <a:gd name="T4" fmla="*/ 16 w 16"/>
                      <a:gd name="T5" fmla="*/ 17 h 17"/>
                      <a:gd name="T6" fmla="*/ 0 w 16"/>
                      <a:gd name="T7" fmla="*/ 0 h 17"/>
                      <a:gd name="T8" fmla="*/ 0 w 16"/>
                      <a:gd name="T9" fmla="*/ 3 h 17"/>
                    </a:gdLst>
                    <a:ahLst/>
                    <a:cxnLst>
                      <a:cxn ang="0">
                        <a:pos x="T0" y="T1"/>
                      </a:cxn>
                      <a:cxn ang="0">
                        <a:pos x="T2" y="T3"/>
                      </a:cxn>
                      <a:cxn ang="0">
                        <a:pos x="T4" y="T5"/>
                      </a:cxn>
                      <a:cxn ang="0">
                        <a:pos x="T6" y="T7"/>
                      </a:cxn>
                      <a:cxn ang="0">
                        <a:pos x="T8" y="T9"/>
                      </a:cxn>
                    </a:cxnLst>
                    <a:rect l="0" t="0" r="r" b="b"/>
                    <a:pathLst>
                      <a:path w="16" h="17">
                        <a:moveTo>
                          <a:pt x="0" y="3"/>
                        </a:moveTo>
                        <a:lnTo>
                          <a:pt x="16" y="17"/>
                        </a:lnTo>
                        <a:lnTo>
                          <a:pt x="1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28" name="Freeform 2090"/>
                  <p:cNvSpPr>
                    <a:spLocks/>
                  </p:cNvSpPr>
                  <p:nvPr/>
                </p:nvSpPr>
                <p:spPr bwMode="auto">
                  <a:xfrm>
                    <a:off x="11380" y="3057"/>
                    <a:ext cx="25" cy="35"/>
                  </a:xfrm>
                  <a:custGeom>
                    <a:avLst/>
                    <a:gdLst>
                      <a:gd name="T0" fmla="*/ 0 w 33"/>
                      <a:gd name="T1" fmla="*/ 0 h 33"/>
                      <a:gd name="T2" fmla="*/ 33 w 33"/>
                      <a:gd name="T3" fmla="*/ 33 h 33"/>
                      <a:gd name="T4" fmla="*/ 33 w 33"/>
                      <a:gd name="T5" fmla="*/ 33 h 33"/>
                      <a:gd name="T6" fmla="*/ 2 w 33"/>
                      <a:gd name="T7" fmla="*/ 0 h 33"/>
                      <a:gd name="T8" fmla="*/ 0 w 33"/>
                      <a:gd name="T9" fmla="*/ 0 h 33"/>
                    </a:gdLst>
                    <a:ahLst/>
                    <a:cxnLst>
                      <a:cxn ang="0">
                        <a:pos x="T0" y="T1"/>
                      </a:cxn>
                      <a:cxn ang="0">
                        <a:pos x="T2" y="T3"/>
                      </a:cxn>
                      <a:cxn ang="0">
                        <a:pos x="T4" y="T5"/>
                      </a:cxn>
                      <a:cxn ang="0">
                        <a:pos x="T6" y="T7"/>
                      </a:cxn>
                      <a:cxn ang="0">
                        <a:pos x="T8" y="T9"/>
                      </a:cxn>
                    </a:cxnLst>
                    <a:rect l="0" t="0" r="r" b="b"/>
                    <a:pathLst>
                      <a:path w="33" h="33">
                        <a:moveTo>
                          <a:pt x="0" y="0"/>
                        </a:moveTo>
                        <a:lnTo>
                          <a:pt x="33" y="33"/>
                        </a:lnTo>
                        <a:lnTo>
                          <a:pt x="33"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29" name="Freeform 2091"/>
                  <p:cNvSpPr>
                    <a:spLocks/>
                  </p:cNvSpPr>
                  <p:nvPr/>
                </p:nvSpPr>
                <p:spPr bwMode="auto">
                  <a:xfrm>
                    <a:off x="11422" y="3031"/>
                    <a:ext cx="17" cy="9"/>
                  </a:xfrm>
                  <a:custGeom>
                    <a:avLst/>
                    <a:gdLst>
                      <a:gd name="T0" fmla="*/ 0 w 14"/>
                      <a:gd name="T1" fmla="*/ 0 h 14"/>
                      <a:gd name="T2" fmla="*/ 14 w 14"/>
                      <a:gd name="T3" fmla="*/ 14 h 14"/>
                      <a:gd name="T4" fmla="*/ 14 w 14"/>
                      <a:gd name="T5" fmla="*/ 12 h 14"/>
                      <a:gd name="T6" fmla="*/ 3 w 14"/>
                      <a:gd name="T7" fmla="*/ 0 h 14"/>
                      <a:gd name="T8" fmla="*/ 0 w 14"/>
                      <a:gd name="T9" fmla="*/ 0 h 14"/>
                    </a:gdLst>
                    <a:ahLst/>
                    <a:cxnLst>
                      <a:cxn ang="0">
                        <a:pos x="T0" y="T1"/>
                      </a:cxn>
                      <a:cxn ang="0">
                        <a:pos x="T2" y="T3"/>
                      </a:cxn>
                      <a:cxn ang="0">
                        <a:pos x="T4" y="T5"/>
                      </a:cxn>
                      <a:cxn ang="0">
                        <a:pos x="T6" y="T7"/>
                      </a:cxn>
                      <a:cxn ang="0">
                        <a:pos x="T8" y="T9"/>
                      </a:cxn>
                    </a:cxnLst>
                    <a:rect l="0" t="0" r="r" b="b"/>
                    <a:pathLst>
                      <a:path w="14" h="14">
                        <a:moveTo>
                          <a:pt x="0" y="0"/>
                        </a:moveTo>
                        <a:lnTo>
                          <a:pt x="14" y="14"/>
                        </a:lnTo>
                        <a:lnTo>
                          <a:pt x="14"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0" name="Freeform 2092"/>
                  <p:cNvSpPr>
                    <a:spLocks/>
                  </p:cNvSpPr>
                  <p:nvPr/>
                </p:nvSpPr>
                <p:spPr bwMode="auto">
                  <a:xfrm>
                    <a:off x="11388" y="3048"/>
                    <a:ext cx="33" cy="26"/>
                  </a:xfrm>
                  <a:custGeom>
                    <a:avLst/>
                    <a:gdLst>
                      <a:gd name="T0" fmla="*/ 0 w 28"/>
                      <a:gd name="T1" fmla="*/ 0 h 26"/>
                      <a:gd name="T2" fmla="*/ 26 w 28"/>
                      <a:gd name="T3" fmla="*/ 26 h 26"/>
                      <a:gd name="T4" fmla="*/ 28 w 28"/>
                      <a:gd name="T5" fmla="*/ 26 h 26"/>
                      <a:gd name="T6" fmla="*/ 2 w 28"/>
                      <a:gd name="T7" fmla="*/ 0 h 26"/>
                      <a:gd name="T8" fmla="*/ 0 w 28"/>
                      <a:gd name="T9" fmla="*/ 0 h 26"/>
                    </a:gdLst>
                    <a:ahLst/>
                    <a:cxnLst>
                      <a:cxn ang="0">
                        <a:pos x="T0" y="T1"/>
                      </a:cxn>
                      <a:cxn ang="0">
                        <a:pos x="T2" y="T3"/>
                      </a:cxn>
                      <a:cxn ang="0">
                        <a:pos x="T4" y="T5"/>
                      </a:cxn>
                      <a:cxn ang="0">
                        <a:pos x="T6" y="T7"/>
                      </a:cxn>
                      <a:cxn ang="0">
                        <a:pos x="T8" y="T9"/>
                      </a:cxn>
                    </a:cxnLst>
                    <a:rect l="0" t="0" r="r" b="b"/>
                    <a:pathLst>
                      <a:path w="28" h="26">
                        <a:moveTo>
                          <a:pt x="0" y="0"/>
                        </a:moveTo>
                        <a:lnTo>
                          <a:pt x="26" y="26"/>
                        </a:lnTo>
                        <a:lnTo>
                          <a:pt x="28"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1" name="Freeform 2093"/>
                  <p:cNvSpPr>
                    <a:spLocks/>
                  </p:cNvSpPr>
                  <p:nvPr/>
                </p:nvSpPr>
                <p:spPr bwMode="auto">
                  <a:xfrm>
                    <a:off x="11380" y="3048"/>
                    <a:ext cx="33" cy="35"/>
                  </a:xfrm>
                  <a:custGeom>
                    <a:avLst/>
                    <a:gdLst>
                      <a:gd name="T0" fmla="*/ 0 w 29"/>
                      <a:gd name="T1" fmla="*/ 3 h 31"/>
                      <a:gd name="T2" fmla="*/ 29 w 29"/>
                      <a:gd name="T3" fmla="*/ 31 h 31"/>
                      <a:gd name="T4" fmla="*/ 29 w 29"/>
                      <a:gd name="T5" fmla="*/ 31 h 31"/>
                      <a:gd name="T6" fmla="*/ 0 w 29"/>
                      <a:gd name="T7" fmla="*/ 0 h 31"/>
                      <a:gd name="T8" fmla="*/ 0 w 29"/>
                      <a:gd name="T9" fmla="*/ 3 h 31"/>
                    </a:gdLst>
                    <a:ahLst/>
                    <a:cxnLst>
                      <a:cxn ang="0">
                        <a:pos x="T0" y="T1"/>
                      </a:cxn>
                      <a:cxn ang="0">
                        <a:pos x="T2" y="T3"/>
                      </a:cxn>
                      <a:cxn ang="0">
                        <a:pos x="T4" y="T5"/>
                      </a:cxn>
                      <a:cxn ang="0">
                        <a:pos x="T6" y="T7"/>
                      </a:cxn>
                      <a:cxn ang="0">
                        <a:pos x="T8" y="T9"/>
                      </a:cxn>
                    </a:cxnLst>
                    <a:rect l="0" t="0" r="r" b="b"/>
                    <a:pathLst>
                      <a:path w="29" h="31">
                        <a:moveTo>
                          <a:pt x="0" y="3"/>
                        </a:moveTo>
                        <a:lnTo>
                          <a:pt x="29" y="31"/>
                        </a:lnTo>
                        <a:lnTo>
                          <a:pt x="29" y="31"/>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32" name="Freeform 2094"/>
                  <p:cNvSpPr>
                    <a:spLocks/>
                  </p:cNvSpPr>
                  <p:nvPr/>
                </p:nvSpPr>
                <p:spPr bwMode="auto">
                  <a:xfrm>
                    <a:off x="11438" y="3005"/>
                    <a:ext cx="17" cy="9"/>
                  </a:xfrm>
                  <a:custGeom>
                    <a:avLst/>
                    <a:gdLst>
                      <a:gd name="T0" fmla="*/ 0 w 9"/>
                      <a:gd name="T1" fmla="*/ 0 h 7"/>
                      <a:gd name="T2" fmla="*/ 9 w 9"/>
                      <a:gd name="T3" fmla="*/ 7 h 7"/>
                      <a:gd name="T4" fmla="*/ 9 w 9"/>
                      <a:gd name="T5" fmla="*/ 7 h 7"/>
                      <a:gd name="T6" fmla="*/ 2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3" name="Freeform 2095"/>
                  <p:cNvSpPr>
                    <a:spLocks/>
                  </p:cNvSpPr>
                  <p:nvPr/>
                </p:nvSpPr>
                <p:spPr bwMode="auto">
                  <a:xfrm>
                    <a:off x="11380" y="3057"/>
                    <a:ext cx="25" cy="44"/>
                  </a:xfrm>
                  <a:custGeom>
                    <a:avLst/>
                    <a:gdLst>
                      <a:gd name="T0" fmla="*/ 0 w 36"/>
                      <a:gd name="T1" fmla="*/ 0 h 38"/>
                      <a:gd name="T2" fmla="*/ 33 w 36"/>
                      <a:gd name="T3" fmla="*/ 38 h 38"/>
                      <a:gd name="T4" fmla="*/ 36 w 36"/>
                      <a:gd name="T5" fmla="*/ 36 h 38"/>
                      <a:gd name="T6" fmla="*/ 0 w 36"/>
                      <a:gd name="T7" fmla="*/ 0 h 38"/>
                      <a:gd name="T8" fmla="*/ 0 w 36"/>
                      <a:gd name="T9" fmla="*/ 0 h 38"/>
                    </a:gdLst>
                    <a:ahLst/>
                    <a:cxnLst>
                      <a:cxn ang="0">
                        <a:pos x="T0" y="T1"/>
                      </a:cxn>
                      <a:cxn ang="0">
                        <a:pos x="T2" y="T3"/>
                      </a:cxn>
                      <a:cxn ang="0">
                        <a:pos x="T4" y="T5"/>
                      </a:cxn>
                      <a:cxn ang="0">
                        <a:pos x="T6" y="T7"/>
                      </a:cxn>
                      <a:cxn ang="0">
                        <a:pos x="T8" y="T9"/>
                      </a:cxn>
                    </a:cxnLst>
                    <a:rect l="0" t="0" r="r" b="b"/>
                    <a:pathLst>
                      <a:path w="36" h="38">
                        <a:moveTo>
                          <a:pt x="0" y="0"/>
                        </a:moveTo>
                        <a:lnTo>
                          <a:pt x="33" y="38"/>
                        </a:lnTo>
                        <a:lnTo>
                          <a:pt x="36" y="36"/>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4" name="Freeform 2096"/>
                  <p:cNvSpPr>
                    <a:spLocks/>
                  </p:cNvSpPr>
                  <p:nvPr/>
                </p:nvSpPr>
                <p:spPr bwMode="auto">
                  <a:xfrm>
                    <a:off x="11455" y="2996"/>
                    <a:ext cx="8" cy="9"/>
                  </a:xfrm>
                  <a:custGeom>
                    <a:avLst/>
                    <a:gdLst>
                      <a:gd name="T0" fmla="*/ 0 w 10"/>
                      <a:gd name="T1" fmla="*/ 3 h 10"/>
                      <a:gd name="T2" fmla="*/ 10 w 10"/>
                      <a:gd name="T3" fmla="*/ 10 h 10"/>
                      <a:gd name="T4" fmla="*/ 10 w 10"/>
                      <a:gd name="T5" fmla="*/ 8 h 10"/>
                      <a:gd name="T6" fmla="*/ 0 w 10"/>
                      <a:gd name="T7" fmla="*/ 0 h 10"/>
                      <a:gd name="T8" fmla="*/ 0 w 10"/>
                      <a:gd name="T9" fmla="*/ 3 h 10"/>
                    </a:gdLst>
                    <a:ahLst/>
                    <a:cxnLst>
                      <a:cxn ang="0">
                        <a:pos x="T0" y="T1"/>
                      </a:cxn>
                      <a:cxn ang="0">
                        <a:pos x="T2" y="T3"/>
                      </a:cxn>
                      <a:cxn ang="0">
                        <a:pos x="T4" y="T5"/>
                      </a:cxn>
                      <a:cxn ang="0">
                        <a:pos x="T6" y="T7"/>
                      </a:cxn>
                      <a:cxn ang="0">
                        <a:pos x="T8" y="T9"/>
                      </a:cxn>
                    </a:cxnLst>
                    <a:rect l="0" t="0" r="r" b="b"/>
                    <a:pathLst>
                      <a:path w="10" h="10">
                        <a:moveTo>
                          <a:pt x="0" y="3"/>
                        </a:moveTo>
                        <a:lnTo>
                          <a:pt x="10" y="10"/>
                        </a:lnTo>
                        <a:lnTo>
                          <a:pt x="10" y="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35" name="Freeform 2097"/>
                  <p:cNvSpPr>
                    <a:spLocks/>
                  </p:cNvSpPr>
                  <p:nvPr/>
                </p:nvSpPr>
                <p:spPr bwMode="auto">
                  <a:xfrm>
                    <a:off x="11272" y="3118"/>
                    <a:ext cx="50" cy="78"/>
                  </a:xfrm>
                  <a:custGeom>
                    <a:avLst/>
                    <a:gdLst>
                      <a:gd name="T0" fmla="*/ 0 w 52"/>
                      <a:gd name="T1" fmla="*/ 0 h 81"/>
                      <a:gd name="T2" fmla="*/ 52 w 52"/>
                      <a:gd name="T3" fmla="*/ 81 h 81"/>
                      <a:gd name="T4" fmla="*/ 52 w 52"/>
                      <a:gd name="T5" fmla="*/ 81 h 81"/>
                      <a:gd name="T6" fmla="*/ 0 w 52"/>
                      <a:gd name="T7" fmla="*/ 0 h 81"/>
                      <a:gd name="T8" fmla="*/ 0 w 52"/>
                      <a:gd name="T9" fmla="*/ 0 h 81"/>
                    </a:gdLst>
                    <a:ahLst/>
                    <a:cxnLst>
                      <a:cxn ang="0">
                        <a:pos x="T0" y="T1"/>
                      </a:cxn>
                      <a:cxn ang="0">
                        <a:pos x="T2" y="T3"/>
                      </a:cxn>
                      <a:cxn ang="0">
                        <a:pos x="T4" y="T5"/>
                      </a:cxn>
                      <a:cxn ang="0">
                        <a:pos x="T6" y="T7"/>
                      </a:cxn>
                      <a:cxn ang="0">
                        <a:pos x="T8" y="T9"/>
                      </a:cxn>
                    </a:cxnLst>
                    <a:rect l="0" t="0" r="r" b="b"/>
                    <a:pathLst>
                      <a:path w="52" h="81">
                        <a:moveTo>
                          <a:pt x="0" y="0"/>
                        </a:moveTo>
                        <a:lnTo>
                          <a:pt x="52" y="81"/>
                        </a:lnTo>
                        <a:lnTo>
                          <a:pt x="52"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6" name="Freeform 2098"/>
                  <p:cNvSpPr>
                    <a:spLocks/>
                  </p:cNvSpPr>
                  <p:nvPr/>
                </p:nvSpPr>
                <p:spPr bwMode="auto">
                  <a:xfrm>
                    <a:off x="11455" y="2987"/>
                    <a:ext cx="8" cy="9"/>
                  </a:xfrm>
                  <a:custGeom>
                    <a:avLst/>
                    <a:gdLst>
                      <a:gd name="T0" fmla="*/ 0 w 9"/>
                      <a:gd name="T1" fmla="*/ 2 h 9"/>
                      <a:gd name="T2" fmla="*/ 7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7"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37" name="Freeform 2099"/>
                  <p:cNvSpPr>
                    <a:spLocks/>
                  </p:cNvSpPr>
                  <p:nvPr/>
                </p:nvSpPr>
                <p:spPr bwMode="auto">
                  <a:xfrm>
                    <a:off x="11438" y="3013"/>
                    <a:ext cx="8" cy="9"/>
                  </a:xfrm>
                  <a:custGeom>
                    <a:avLst/>
                    <a:gdLst>
                      <a:gd name="T0" fmla="*/ 0 w 12"/>
                      <a:gd name="T1" fmla="*/ 0 h 9"/>
                      <a:gd name="T2" fmla="*/ 12 w 12"/>
                      <a:gd name="T3" fmla="*/ 9 h 9"/>
                      <a:gd name="T4" fmla="*/ 12 w 12"/>
                      <a:gd name="T5" fmla="*/ 7 h 9"/>
                      <a:gd name="T6" fmla="*/ 3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2" y="9"/>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8" name="Freeform 2100"/>
                  <p:cNvSpPr>
                    <a:spLocks/>
                  </p:cNvSpPr>
                  <p:nvPr/>
                </p:nvSpPr>
                <p:spPr bwMode="auto">
                  <a:xfrm>
                    <a:off x="11430" y="3013"/>
                    <a:ext cx="8" cy="17"/>
                  </a:xfrm>
                  <a:custGeom>
                    <a:avLst/>
                    <a:gdLst>
                      <a:gd name="T0" fmla="*/ 0 w 11"/>
                      <a:gd name="T1" fmla="*/ 0 h 10"/>
                      <a:gd name="T2" fmla="*/ 11 w 11"/>
                      <a:gd name="T3" fmla="*/ 10 h 10"/>
                      <a:gd name="T4" fmla="*/ 11 w 11"/>
                      <a:gd name="T5" fmla="*/ 10 h 10"/>
                      <a:gd name="T6" fmla="*/ 2 w 11"/>
                      <a:gd name="T7" fmla="*/ 0 h 10"/>
                      <a:gd name="T8" fmla="*/ 0 w 11"/>
                      <a:gd name="T9" fmla="*/ 0 h 10"/>
                    </a:gdLst>
                    <a:ahLst/>
                    <a:cxnLst>
                      <a:cxn ang="0">
                        <a:pos x="T0" y="T1"/>
                      </a:cxn>
                      <a:cxn ang="0">
                        <a:pos x="T2" y="T3"/>
                      </a:cxn>
                      <a:cxn ang="0">
                        <a:pos x="T4" y="T5"/>
                      </a:cxn>
                      <a:cxn ang="0">
                        <a:pos x="T6" y="T7"/>
                      </a:cxn>
                      <a:cxn ang="0">
                        <a:pos x="T8" y="T9"/>
                      </a:cxn>
                    </a:cxnLst>
                    <a:rect l="0" t="0" r="r" b="b"/>
                    <a:pathLst>
                      <a:path w="11" h="10">
                        <a:moveTo>
                          <a:pt x="0" y="0"/>
                        </a:moveTo>
                        <a:lnTo>
                          <a:pt x="11" y="10"/>
                        </a:lnTo>
                        <a:lnTo>
                          <a:pt x="11"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39" name="Freeform 2101"/>
                  <p:cNvSpPr>
                    <a:spLocks/>
                  </p:cNvSpPr>
                  <p:nvPr/>
                </p:nvSpPr>
                <p:spPr bwMode="auto">
                  <a:xfrm>
                    <a:off x="11438" y="3013"/>
                    <a:ext cx="8" cy="0"/>
                  </a:xfrm>
                  <a:custGeom>
                    <a:avLst/>
                    <a:gdLst>
                      <a:gd name="T0" fmla="*/ 0 w 12"/>
                      <a:gd name="T1" fmla="*/ 0 h 9"/>
                      <a:gd name="T2" fmla="*/ 10 w 12"/>
                      <a:gd name="T3" fmla="*/ 9 h 9"/>
                      <a:gd name="T4" fmla="*/ 12 w 12"/>
                      <a:gd name="T5" fmla="*/ 7 h 9"/>
                      <a:gd name="T6" fmla="*/ 2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0" y="9"/>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0" name="Freeform 2102"/>
                  <p:cNvSpPr>
                    <a:spLocks/>
                  </p:cNvSpPr>
                  <p:nvPr/>
                </p:nvSpPr>
                <p:spPr bwMode="auto">
                  <a:xfrm>
                    <a:off x="11422" y="3022"/>
                    <a:ext cx="17" cy="17"/>
                  </a:xfrm>
                  <a:custGeom>
                    <a:avLst/>
                    <a:gdLst>
                      <a:gd name="T0" fmla="*/ 0 w 14"/>
                      <a:gd name="T1" fmla="*/ 0 h 12"/>
                      <a:gd name="T2" fmla="*/ 12 w 14"/>
                      <a:gd name="T3" fmla="*/ 12 h 12"/>
                      <a:gd name="T4" fmla="*/ 14 w 14"/>
                      <a:gd name="T5" fmla="*/ 10 h 12"/>
                      <a:gd name="T6" fmla="*/ 2 w 14"/>
                      <a:gd name="T7" fmla="*/ 0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12" y="12"/>
                        </a:lnTo>
                        <a:lnTo>
                          <a:pt x="14"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1" name="Freeform 2103"/>
                  <p:cNvSpPr>
                    <a:spLocks/>
                  </p:cNvSpPr>
                  <p:nvPr/>
                </p:nvSpPr>
                <p:spPr bwMode="auto">
                  <a:xfrm>
                    <a:off x="11447" y="2996"/>
                    <a:ext cx="8" cy="17"/>
                  </a:xfrm>
                  <a:custGeom>
                    <a:avLst/>
                    <a:gdLst>
                      <a:gd name="T0" fmla="*/ 0 w 9"/>
                      <a:gd name="T1" fmla="*/ 3 h 10"/>
                      <a:gd name="T2" fmla="*/ 9 w 9"/>
                      <a:gd name="T3" fmla="*/ 10 h 10"/>
                      <a:gd name="T4" fmla="*/ 9 w 9"/>
                      <a:gd name="T5" fmla="*/ 10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42" name="Freeform 2104"/>
                  <p:cNvSpPr>
                    <a:spLocks/>
                  </p:cNvSpPr>
                  <p:nvPr/>
                </p:nvSpPr>
                <p:spPr bwMode="auto">
                  <a:xfrm>
                    <a:off x="11305" y="3092"/>
                    <a:ext cx="58" cy="70"/>
                  </a:xfrm>
                  <a:custGeom>
                    <a:avLst/>
                    <a:gdLst>
                      <a:gd name="T0" fmla="*/ 0 w 59"/>
                      <a:gd name="T1" fmla="*/ 3 h 76"/>
                      <a:gd name="T2" fmla="*/ 57 w 59"/>
                      <a:gd name="T3" fmla="*/ 76 h 76"/>
                      <a:gd name="T4" fmla="*/ 59 w 59"/>
                      <a:gd name="T5" fmla="*/ 76 h 76"/>
                      <a:gd name="T6" fmla="*/ 3 w 59"/>
                      <a:gd name="T7" fmla="*/ 0 h 76"/>
                      <a:gd name="T8" fmla="*/ 0 w 59"/>
                      <a:gd name="T9" fmla="*/ 3 h 76"/>
                    </a:gdLst>
                    <a:ahLst/>
                    <a:cxnLst>
                      <a:cxn ang="0">
                        <a:pos x="T0" y="T1"/>
                      </a:cxn>
                      <a:cxn ang="0">
                        <a:pos x="T2" y="T3"/>
                      </a:cxn>
                      <a:cxn ang="0">
                        <a:pos x="T4" y="T5"/>
                      </a:cxn>
                      <a:cxn ang="0">
                        <a:pos x="T6" y="T7"/>
                      </a:cxn>
                      <a:cxn ang="0">
                        <a:pos x="T8" y="T9"/>
                      </a:cxn>
                    </a:cxnLst>
                    <a:rect l="0" t="0" r="r" b="b"/>
                    <a:pathLst>
                      <a:path w="59" h="76">
                        <a:moveTo>
                          <a:pt x="0" y="3"/>
                        </a:moveTo>
                        <a:lnTo>
                          <a:pt x="57" y="76"/>
                        </a:lnTo>
                        <a:lnTo>
                          <a:pt x="59" y="76"/>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1443" name="Freeform 2105"/>
                  <p:cNvSpPr>
                    <a:spLocks/>
                  </p:cNvSpPr>
                  <p:nvPr/>
                </p:nvSpPr>
                <p:spPr bwMode="auto">
                  <a:xfrm>
                    <a:off x="11305" y="3100"/>
                    <a:ext cx="50" cy="70"/>
                  </a:xfrm>
                  <a:custGeom>
                    <a:avLst/>
                    <a:gdLst>
                      <a:gd name="T0" fmla="*/ 0 w 57"/>
                      <a:gd name="T1" fmla="*/ 0 h 76"/>
                      <a:gd name="T2" fmla="*/ 57 w 57"/>
                      <a:gd name="T3" fmla="*/ 76 h 76"/>
                      <a:gd name="T4" fmla="*/ 57 w 57"/>
                      <a:gd name="T5" fmla="*/ 76 h 76"/>
                      <a:gd name="T6" fmla="*/ 3 w 57"/>
                      <a:gd name="T7" fmla="*/ 0 h 76"/>
                      <a:gd name="T8" fmla="*/ 0 w 57"/>
                      <a:gd name="T9" fmla="*/ 0 h 76"/>
                    </a:gdLst>
                    <a:ahLst/>
                    <a:cxnLst>
                      <a:cxn ang="0">
                        <a:pos x="T0" y="T1"/>
                      </a:cxn>
                      <a:cxn ang="0">
                        <a:pos x="T2" y="T3"/>
                      </a:cxn>
                      <a:cxn ang="0">
                        <a:pos x="T4" y="T5"/>
                      </a:cxn>
                      <a:cxn ang="0">
                        <a:pos x="T6" y="T7"/>
                      </a:cxn>
                      <a:cxn ang="0">
                        <a:pos x="T8" y="T9"/>
                      </a:cxn>
                    </a:cxnLst>
                    <a:rect l="0" t="0" r="r" b="b"/>
                    <a:pathLst>
                      <a:path w="57" h="76">
                        <a:moveTo>
                          <a:pt x="0" y="0"/>
                        </a:moveTo>
                        <a:lnTo>
                          <a:pt x="57" y="76"/>
                        </a:lnTo>
                        <a:lnTo>
                          <a:pt x="57" y="7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4" name="Freeform 2106"/>
                  <p:cNvSpPr>
                    <a:spLocks/>
                  </p:cNvSpPr>
                  <p:nvPr/>
                </p:nvSpPr>
                <p:spPr bwMode="auto">
                  <a:xfrm>
                    <a:off x="11313" y="3092"/>
                    <a:ext cx="58" cy="70"/>
                  </a:xfrm>
                  <a:custGeom>
                    <a:avLst/>
                    <a:gdLst>
                      <a:gd name="T0" fmla="*/ 0 w 57"/>
                      <a:gd name="T1" fmla="*/ 0 h 73"/>
                      <a:gd name="T2" fmla="*/ 55 w 57"/>
                      <a:gd name="T3" fmla="*/ 73 h 73"/>
                      <a:gd name="T4" fmla="*/ 57 w 57"/>
                      <a:gd name="T5" fmla="*/ 71 h 73"/>
                      <a:gd name="T6" fmla="*/ 0 w 57"/>
                      <a:gd name="T7" fmla="*/ 0 h 73"/>
                      <a:gd name="T8" fmla="*/ 0 w 57"/>
                      <a:gd name="T9" fmla="*/ 0 h 73"/>
                    </a:gdLst>
                    <a:ahLst/>
                    <a:cxnLst>
                      <a:cxn ang="0">
                        <a:pos x="T0" y="T1"/>
                      </a:cxn>
                      <a:cxn ang="0">
                        <a:pos x="T2" y="T3"/>
                      </a:cxn>
                      <a:cxn ang="0">
                        <a:pos x="T4" y="T5"/>
                      </a:cxn>
                      <a:cxn ang="0">
                        <a:pos x="T6" y="T7"/>
                      </a:cxn>
                      <a:cxn ang="0">
                        <a:pos x="T8" y="T9"/>
                      </a:cxn>
                    </a:cxnLst>
                    <a:rect l="0" t="0" r="r" b="b"/>
                    <a:pathLst>
                      <a:path w="57" h="73">
                        <a:moveTo>
                          <a:pt x="0" y="0"/>
                        </a:moveTo>
                        <a:lnTo>
                          <a:pt x="55" y="73"/>
                        </a:lnTo>
                        <a:lnTo>
                          <a:pt x="57" y="7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5" name="Freeform 2107"/>
                  <p:cNvSpPr>
                    <a:spLocks/>
                  </p:cNvSpPr>
                  <p:nvPr/>
                </p:nvSpPr>
                <p:spPr bwMode="auto">
                  <a:xfrm>
                    <a:off x="11297" y="3100"/>
                    <a:ext cx="58" cy="78"/>
                  </a:xfrm>
                  <a:custGeom>
                    <a:avLst/>
                    <a:gdLst>
                      <a:gd name="T0" fmla="*/ 0 w 56"/>
                      <a:gd name="T1" fmla="*/ 0 h 81"/>
                      <a:gd name="T2" fmla="*/ 56 w 56"/>
                      <a:gd name="T3" fmla="*/ 81 h 81"/>
                      <a:gd name="T4" fmla="*/ 56 w 56"/>
                      <a:gd name="T5" fmla="*/ 78 h 81"/>
                      <a:gd name="T6" fmla="*/ 0 w 56"/>
                      <a:gd name="T7" fmla="*/ 0 h 81"/>
                      <a:gd name="T8" fmla="*/ 0 w 56"/>
                      <a:gd name="T9" fmla="*/ 0 h 81"/>
                    </a:gdLst>
                    <a:ahLst/>
                    <a:cxnLst>
                      <a:cxn ang="0">
                        <a:pos x="T0" y="T1"/>
                      </a:cxn>
                      <a:cxn ang="0">
                        <a:pos x="T2" y="T3"/>
                      </a:cxn>
                      <a:cxn ang="0">
                        <a:pos x="T4" y="T5"/>
                      </a:cxn>
                      <a:cxn ang="0">
                        <a:pos x="T6" y="T7"/>
                      </a:cxn>
                      <a:cxn ang="0">
                        <a:pos x="T8" y="T9"/>
                      </a:cxn>
                    </a:cxnLst>
                    <a:rect l="0" t="0" r="r" b="b"/>
                    <a:pathLst>
                      <a:path w="56" h="81">
                        <a:moveTo>
                          <a:pt x="0" y="0"/>
                        </a:moveTo>
                        <a:lnTo>
                          <a:pt x="56" y="81"/>
                        </a:lnTo>
                        <a:lnTo>
                          <a:pt x="56"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6" name="Freeform 2108"/>
                  <p:cNvSpPr>
                    <a:spLocks/>
                  </p:cNvSpPr>
                  <p:nvPr/>
                </p:nvSpPr>
                <p:spPr bwMode="auto">
                  <a:xfrm>
                    <a:off x="11280" y="3109"/>
                    <a:ext cx="50" cy="87"/>
                  </a:xfrm>
                  <a:custGeom>
                    <a:avLst/>
                    <a:gdLst>
                      <a:gd name="T0" fmla="*/ 0 w 55"/>
                      <a:gd name="T1" fmla="*/ 2 h 82"/>
                      <a:gd name="T2" fmla="*/ 52 w 55"/>
                      <a:gd name="T3" fmla="*/ 82 h 82"/>
                      <a:gd name="T4" fmla="*/ 55 w 55"/>
                      <a:gd name="T5" fmla="*/ 80 h 82"/>
                      <a:gd name="T6" fmla="*/ 0 w 55"/>
                      <a:gd name="T7" fmla="*/ 0 h 82"/>
                      <a:gd name="T8" fmla="*/ 0 w 55"/>
                      <a:gd name="T9" fmla="*/ 2 h 82"/>
                    </a:gdLst>
                    <a:ahLst/>
                    <a:cxnLst>
                      <a:cxn ang="0">
                        <a:pos x="T0" y="T1"/>
                      </a:cxn>
                      <a:cxn ang="0">
                        <a:pos x="T2" y="T3"/>
                      </a:cxn>
                      <a:cxn ang="0">
                        <a:pos x="T4" y="T5"/>
                      </a:cxn>
                      <a:cxn ang="0">
                        <a:pos x="T6" y="T7"/>
                      </a:cxn>
                      <a:cxn ang="0">
                        <a:pos x="T8" y="T9"/>
                      </a:cxn>
                    </a:cxnLst>
                    <a:rect l="0" t="0" r="r" b="b"/>
                    <a:pathLst>
                      <a:path w="55" h="82">
                        <a:moveTo>
                          <a:pt x="0" y="2"/>
                        </a:moveTo>
                        <a:lnTo>
                          <a:pt x="52" y="82"/>
                        </a:lnTo>
                        <a:lnTo>
                          <a:pt x="55" y="8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47" name="Freeform 2109"/>
                  <p:cNvSpPr>
                    <a:spLocks/>
                  </p:cNvSpPr>
                  <p:nvPr/>
                </p:nvSpPr>
                <p:spPr bwMode="auto">
                  <a:xfrm>
                    <a:off x="11322" y="3083"/>
                    <a:ext cx="58" cy="70"/>
                  </a:xfrm>
                  <a:custGeom>
                    <a:avLst/>
                    <a:gdLst>
                      <a:gd name="T0" fmla="*/ 0 w 57"/>
                      <a:gd name="T1" fmla="*/ 0 h 68"/>
                      <a:gd name="T2" fmla="*/ 54 w 57"/>
                      <a:gd name="T3" fmla="*/ 68 h 68"/>
                      <a:gd name="T4" fmla="*/ 57 w 57"/>
                      <a:gd name="T5" fmla="*/ 68 h 68"/>
                      <a:gd name="T6" fmla="*/ 2 w 57"/>
                      <a:gd name="T7" fmla="*/ 0 h 68"/>
                      <a:gd name="T8" fmla="*/ 0 w 57"/>
                      <a:gd name="T9" fmla="*/ 0 h 68"/>
                    </a:gdLst>
                    <a:ahLst/>
                    <a:cxnLst>
                      <a:cxn ang="0">
                        <a:pos x="T0" y="T1"/>
                      </a:cxn>
                      <a:cxn ang="0">
                        <a:pos x="T2" y="T3"/>
                      </a:cxn>
                      <a:cxn ang="0">
                        <a:pos x="T4" y="T5"/>
                      </a:cxn>
                      <a:cxn ang="0">
                        <a:pos x="T6" y="T7"/>
                      </a:cxn>
                      <a:cxn ang="0">
                        <a:pos x="T8" y="T9"/>
                      </a:cxn>
                    </a:cxnLst>
                    <a:rect l="0" t="0" r="r" b="b"/>
                    <a:pathLst>
                      <a:path w="57" h="68">
                        <a:moveTo>
                          <a:pt x="0" y="0"/>
                        </a:moveTo>
                        <a:lnTo>
                          <a:pt x="54" y="68"/>
                        </a:lnTo>
                        <a:lnTo>
                          <a:pt x="57" y="6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8" name="Freeform 2110"/>
                  <p:cNvSpPr>
                    <a:spLocks/>
                  </p:cNvSpPr>
                  <p:nvPr/>
                </p:nvSpPr>
                <p:spPr bwMode="auto">
                  <a:xfrm>
                    <a:off x="11280" y="3109"/>
                    <a:ext cx="58" cy="87"/>
                  </a:xfrm>
                  <a:custGeom>
                    <a:avLst/>
                    <a:gdLst>
                      <a:gd name="T0" fmla="*/ 0 w 57"/>
                      <a:gd name="T1" fmla="*/ 0 h 81"/>
                      <a:gd name="T2" fmla="*/ 55 w 57"/>
                      <a:gd name="T3" fmla="*/ 81 h 81"/>
                      <a:gd name="T4" fmla="*/ 57 w 57"/>
                      <a:gd name="T5" fmla="*/ 81 h 81"/>
                      <a:gd name="T6" fmla="*/ 0 w 57"/>
                      <a:gd name="T7" fmla="*/ 0 h 81"/>
                      <a:gd name="T8" fmla="*/ 0 w 57"/>
                      <a:gd name="T9" fmla="*/ 0 h 81"/>
                    </a:gdLst>
                    <a:ahLst/>
                    <a:cxnLst>
                      <a:cxn ang="0">
                        <a:pos x="T0" y="T1"/>
                      </a:cxn>
                      <a:cxn ang="0">
                        <a:pos x="T2" y="T3"/>
                      </a:cxn>
                      <a:cxn ang="0">
                        <a:pos x="T4" y="T5"/>
                      </a:cxn>
                      <a:cxn ang="0">
                        <a:pos x="T6" y="T7"/>
                      </a:cxn>
                      <a:cxn ang="0">
                        <a:pos x="T8" y="T9"/>
                      </a:cxn>
                    </a:cxnLst>
                    <a:rect l="0" t="0" r="r" b="b"/>
                    <a:pathLst>
                      <a:path w="57" h="81">
                        <a:moveTo>
                          <a:pt x="0" y="0"/>
                        </a:moveTo>
                        <a:lnTo>
                          <a:pt x="55" y="81"/>
                        </a:lnTo>
                        <a:lnTo>
                          <a:pt x="57"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449" name="Freeform 2111"/>
                  <p:cNvSpPr>
                    <a:spLocks/>
                  </p:cNvSpPr>
                  <p:nvPr/>
                </p:nvSpPr>
                <p:spPr bwMode="auto">
                  <a:xfrm>
                    <a:off x="11363" y="3066"/>
                    <a:ext cx="42" cy="35"/>
                  </a:xfrm>
                  <a:custGeom>
                    <a:avLst/>
                    <a:gdLst>
                      <a:gd name="T0" fmla="*/ 0 w 38"/>
                      <a:gd name="T1" fmla="*/ 2 h 42"/>
                      <a:gd name="T2" fmla="*/ 38 w 38"/>
                      <a:gd name="T3" fmla="*/ 42 h 42"/>
                      <a:gd name="T4" fmla="*/ 38 w 38"/>
                      <a:gd name="T5" fmla="*/ 40 h 42"/>
                      <a:gd name="T6" fmla="*/ 3 w 38"/>
                      <a:gd name="T7" fmla="*/ 0 h 42"/>
                      <a:gd name="T8" fmla="*/ 0 w 38"/>
                      <a:gd name="T9" fmla="*/ 2 h 42"/>
                    </a:gdLst>
                    <a:ahLst/>
                    <a:cxnLst>
                      <a:cxn ang="0">
                        <a:pos x="T0" y="T1"/>
                      </a:cxn>
                      <a:cxn ang="0">
                        <a:pos x="T2" y="T3"/>
                      </a:cxn>
                      <a:cxn ang="0">
                        <a:pos x="T4" y="T5"/>
                      </a:cxn>
                      <a:cxn ang="0">
                        <a:pos x="T6" y="T7"/>
                      </a:cxn>
                      <a:cxn ang="0">
                        <a:pos x="T8" y="T9"/>
                      </a:cxn>
                    </a:cxnLst>
                    <a:rect l="0" t="0" r="r" b="b"/>
                    <a:pathLst>
                      <a:path w="38" h="42">
                        <a:moveTo>
                          <a:pt x="0" y="2"/>
                        </a:moveTo>
                        <a:lnTo>
                          <a:pt x="38" y="42"/>
                        </a:lnTo>
                        <a:lnTo>
                          <a:pt x="38" y="4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50" name="Freeform 2112"/>
                  <p:cNvSpPr>
                    <a:spLocks/>
                  </p:cNvSpPr>
                  <p:nvPr/>
                </p:nvSpPr>
                <p:spPr bwMode="auto">
                  <a:xfrm>
                    <a:off x="11289" y="3100"/>
                    <a:ext cx="58" cy="87"/>
                  </a:xfrm>
                  <a:custGeom>
                    <a:avLst/>
                    <a:gdLst>
                      <a:gd name="T0" fmla="*/ 0 w 59"/>
                      <a:gd name="T1" fmla="*/ 2 h 82"/>
                      <a:gd name="T2" fmla="*/ 56 w 59"/>
                      <a:gd name="T3" fmla="*/ 82 h 82"/>
                      <a:gd name="T4" fmla="*/ 59 w 59"/>
                      <a:gd name="T5" fmla="*/ 80 h 82"/>
                      <a:gd name="T6" fmla="*/ 2 w 59"/>
                      <a:gd name="T7" fmla="*/ 0 h 82"/>
                      <a:gd name="T8" fmla="*/ 0 w 59"/>
                      <a:gd name="T9" fmla="*/ 2 h 82"/>
                    </a:gdLst>
                    <a:ahLst/>
                    <a:cxnLst>
                      <a:cxn ang="0">
                        <a:pos x="T0" y="T1"/>
                      </a:cxn>
                      <a:cxn ang="0">
                        <a:pos x="T2" y="T3"/>
                      </a:cxn>
                      <a:cxn ang="0">
                        <a:pos x="T4" y="T5"/>
                      </a:cxn>
                      <a:cxn ang="0">
                        <a:pos x="T6" y="T7"/>
                      </a:cxn>
                      <a:cxn ang="0">
                        <a:pos x="T8" y="T9"/>
                      </a:cxn>
                    </a:cxnLst>
                    <a:rect l="0" t="0" r="r" b="b"/>
                    <a:pathLst>
                      <a:path w="59" h="82">
                        <a:moveTo>
                          <a:pt x="0" y="2"/>
                        </a:moveTo>
                        <a:lnTo>
                          <a:pt x="56" y="82"/>
                        </a:lnTo>
                        <a:lnTo>
                          <a:pt x="59" y="80"/>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451" name="Freeform 2113"/>
                  <p:cNvSpPr>
                    <a:spLocks/>
                  </p:cNvSpPr>
                  <p:nvPr/>
                </p:nvSpPr>
                <p:spPr bwMode="auto">
                  <a:xfrm>
                    <a:off x="11347" y="3074"/>
                    <a:ext cx="50" cy="52"/>
                  </a:xfrm>
                  <a:custGeom>
                    <a:avLst/>
                    <a:gdLst>
                      <a:gd name="T0" fmla="*/ 0 w 45"/>
                      <a:gd name="T1" fmla="*/ 2 h 54"/>
                      <a:gd name="T2" fmla="*/ 45 w 45"/>
                      <a:gd name="T3" fmla="*/ 54 h 54"/>
                      <a:gd name="T4" fmla="*/ 45 w 45"/>
                      <a:gd name="T5" fmla="*/ 52 h 54"/>
                      <a:gd name="T6" fmla="*/ 0 w 45"/>
                      <a:gd name="T7" fmla="*/ 0 h 54"/>
                      <a:gd name="T8" fmla="*/ 0 w 45"/>
                      <a:gd name="T9" fmla="*/ 2 h 54"/>
                    </a:gdLst>
                    <a:ahLst/>
                    <a:cxnLst>
                      <a:cxn ang="0">
                        <a:pos x="T0" y="T1"/>
                      </a:cxn>
                      <a:cxn ang="0">
                        <a:pos x="T2" y="T3"/>
                      </a:cxn>
                      <a:cxn ang="0">
                        <a:pos x="T4" y="T5"/>
                      </a:cxn>
                      <a:cxn ang="0">
                        <a:pos x="T6" y="T7"/>
                      </a:cxn>
                      <a:cxn ang="0">
                        <a:pos x="T8" y="T9"/>
                      </a:cxn>
                    </a:cxnLst>
                    <a:rect l="0" t="0" r="r" b="b"/>
                    <a:pathLst>
                      <a:path w="45" h="54">
                        <a:moveTo>
                          <a:pt x="0" y="2"/>
                        </a:moveTo>
                        <a:lnTo>
                          <a:pt x="45" y="54"/>
                        </a:lnTo>
                        <a:lnTo>
                          <a:pt x="45" y="5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grpSp>
            <p:sp>
              <p:nvSpPr>
                <p:cNvPr id="1156" name="Freeform 2115"/>
                <p:cNvSpPr>
                  <a:spLocks/>
                </p:cNvSpPr>
                <p:nvPr/>
              </p:nvSpPr>
              <p:spPr bwMode="auto">
                <a:xfrm>
                  <a:off x="18039353" y="4866695"/>
                  <a:ext cx="66039" cy="82991"/>
                </a:xfrm>
                <a:custGeom>
                  <a:avLst/>
                  <a:gdLst>
                    <a:gd name="T0" fmla="*/ 0 w 43"/>
                    <a:gd name="T1" fmla="*/ 0 h 49"/>
                    <a:gd name="T2" fmla="*/ 43 w 43"/>
                    <a:gd name="T3" fmla="*/ 49 h 49"/>
                    <a:gd name="T4" fmla="*/ 43 w 43"/>
                    <a:gd name="T5" fmla="*/ 47 h 49"/>
                    <a:gd name="T6" fmla="*/ 3 w 43"/>
                    <a:gd name="T7" fmla="*/ 0 h 49"/>
                    <a:gd name="T8" fmla="*/ 0 w 43"/>
                    <a:gd name="T9" fmla="*/ 0 h 49"/>
                  </a:gdLst>
                  <a:ahLst/>
                  <a:cxnLst>
                    <a:cxn ang="0">
                      <a:pos x="T0" y="T1"/>
                    </a:cxn>
                    <a:cxn ang="0">
                      <a:pos x="T2" y="T3"/>
                    </a:cxn>
                    <a:cxn ang="0">
                      <a:pos x="T4" y="T5"/>
                    </a:cxn>
                    <a:cxn ang="0">
                      <a:pos x="T6" y="T7"/>
                    </a:cxn>
                    <a:cxn ang="0">
                      <a:pos x="T8" y="T9"/>
                    </a:cxn>
                  </a:cxnLst>
                  <a:rect l="0" t="0" r="r" b="b"/>
                  <a:pathLst>
                    <a:path w="43" h="49">
                      <a:moveTo>
                        <a:pt x="0" y="0"/>
                      </a:moveTo>
                      <a:lnTo>
                        <a:pt x="43" y="49"/>
                      </a:lnTo>
                      <a:lnTo>
                        <a:pt x="43" y="4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157" name="Freeform 2116"/>
                <p:cNvSpPr>
                  <a:spLocks/>
                </p:cNvSpPr>
                <p:nvPr/>
              </p:nvSpPr>
              <p:spPr bwMode="auto">
                <a:xfrm>
                  <a:off x="18039353" y="4866695"/>
                  <a:ext cx="66039" cy="69163"/>
                </a:xfrm>
                <a:custGeom>
                  <a:avLst/>
                  <a:gdLst>
                    <a:gd name="T0" fmla="*/ 0 w 40"/>
                    <a:gd name="T1" fmla="*/ 0 h 45"/>
                    <a:gd name="T2" fmla="*/ 40 w 40"/>
                    <a:gd name="T3" fmla="*/ 45 h 45"/>
                    <a:gd name="T4" fmla="*/ 40 w 40"/>
                    <a:gd name="T5" fmla="*/ 43 h 45"/>
                    <a:gd name="T6" fmla="*/ 0 w 40"/>
                    <a:gd name="T7" fmla="*/ 0 h 45"/>
                    <a:gd name="T8" fmla="*/ 0 w 40"/>
                    <a:gd name="T9" fmla="*/ 0 h 45"/>
                  </a:gdLst>
                  <a:ahLst/>
                  <a:cxnLst>
                    <a:cxn ang="0">
                      <a:pos x="T0" y="T1"/>
                    </a:cxn>
                    <a:cxn ang="0">
                      <a:pos x="T2" y="T3"/>
                    </a:cxn>
                    <a:cxn ang="0">
                      <a:pos x="T4" y="T5"/>
                    </a:cxn>
                    <a:cxn ang="0">
                      <a:pos x="T6" y="T7"/>
                    </a:cxn>
                    <a:cxn ang="0">
                      <a:pos x="T8" y="T9"/>
                    </a:cxn>
                  </a:cxnLst>
                  <a:rect l="0" t="0" r="r" b="b"/>
                  <a:pathLst>
                    <a:path w="40" h="45">
                      <a:moveTo>
                        <a:pt x="0" y="0"/>
                      </a:moveTo>
                      <a:lnTo>
                        <a:pt x="40" y="45"/>
                      </a:lnTo>
                      <a:lnTo>
                        <a:pt x="40" y="4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158" name="Freeform 2117"/>
                <p:cNvSpPr>
                  <a:spLocks/>
                </p:cNvSpPr>
                <p:nvPr/>
              </p:nvSpPr>
              <p:spPr bwMode="auto">
                <a:xfrm>
                  <a:off x="17999736" y="4894358"/>
                  <a:ext cx="79242" cy="110655"/>
                </a:xfrm>
                <a:custGeom>
                  <a:avLst/>
                  <a:gdLst>
                    <a:gd name="T0" fmla="*/ 0 w 52"/>
                    <a:gd name="T1" fmla="*/ 2 h 68"/>
                    <a:gd name="T2" fmla="*/ 52 w 52"/>
                    <a:gd name="T3" fmla="*/ 68 h 68"/>
                    <a:gd name="T4" fmla="*/ 52 w 52"/>
                    <a:gd name="T5" fmla="*/ 66 h 68"/>
                    <a:gd name="T6" fmla="*/ 0 w 52"/>
                    <a:gd name="T7" fmla="*/ 0 h 68"/>
                    <a:gd name="T8" fmla="*/ 0 w 52"/>
                    <a:gd name="T9" fmla="*/ 2 h 68"/>
                  </a:gdLst>
                  <a:ahLst/>
                  <a:cxnLst>
                    <a:cxn ang="0">
                      <a:pos x="T0" y="T1"/>
                    </a:cxn>
                    <a:cxn ang="0">
                      <a:pos x="T2" y="T3"/>
                    </a:cxn>
                    <a:cxn ang="0">
                      <a:pos x="T4" y="T5"/>
                    </a:cxn>
                    <a:cxn ang="0">
                      <a:pos x="T6" y="T7"/>
                    </a:cxn>
                    <a:cxn ang="0">
                      <a:pos x="T8" y="T9"/>
                    </a:cxn>
                  </a:cxnLst>
                  <a:rect l="0" t="0" r="r" b="b"/>
                  <a:pathLst>
                    <a:path w="52" h="68">
                      <a:moveTo>
                        <a:pt x="0" y="2"/>
                      </a:moveTo>
                      <a:lnTo>
                        <a:pt x="52" y="68"/>
                      </a:lnTo>
                      <a:lnTo>
                        <a:pt x="52" y="6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1159" name="Freeform 2118"/>
                <p:cNvSpPr>
                  <a:spLocks/>
                </p:cNvSpPr>
                <p:nvPr/>
              </p:nvSpPr>
              <p:spPr bwMode="auto">
                <a:xfrm>
                  <a:off x="17999736" y="4880531"/>
                  <a:ext cx="79242" cy="110655"/>
                </a:xfrm>
                <a:custGeom>
                  <a:avLst/>
                  <a:gdLst>
                    <a:gd name="T0" fmla="*/ 0 w 52"/>
                    <a:gd name="T1" fmla="*/ 0 h 64"/>
                    <a:gd name="T2" fmla="*/ 52 w 52"/>
                    <a:gd name="T3" fmla="*/ 64 h 64"/>
                    <a:gd name="T4" fmla="*/ 52 w 52"/>
                    <a:gd name="T5" fmla="*/ 62 h 64"/>
                    <a:gd name="T6" fmla="*/ 2 w 52"/>
                    <a:gd name="T7" fmla="*/ 0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52" y="64"/>
                      </a:lnTo>
                      <a:lnTo>
                        <a:pt x="52" y="6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160" name="Freeform 2119"/>
                <p:cNvSpPr>
                  <a:spLocks/>
                </p:cNvSpPr>
                <p:nvPr/>
              </p:nvSpPr>
              <p:spPr bwMode="auto">
                <a:xfrm>
                  <a:off x="18012939" y="4880531"/>
                  <a:ext cx="79242" cy="82991"/>
                </a:xfrm>
                <a:custGeom>
                  <a:avLst/>
                  <a:gdLst>
                    <a:gd name="T0" fmla="*/ 0 w 47"/>
                    <a:gd name="T1" fmla="*/ 0 h 56"/>
                    <a:gd name="T2" fmla="*/ 47 w 47"/>
                    <a:gd name="T3" fmla="*/ 56 h 56"/>
                    <a:gd name="T4" fmla="*/ 47 w 47"/>
                    <a:gd name="T5" fmla="*/ 54 h 56"/>
                    <a:gd name="T6" fmla="*/ 2 w 47"/>
                    <a:gd name="T7" fmla="*/ 0 h 56"/>
                    <a:gd name="T8" fmla="*/ 0 w 47"/>
                    <a:gd name="T9" fmla="*/ 0 h 56"/>
                  </a:gdLst>
                  <a:ahLst/>
                  <a:cxnLst>
                    <a:cxn ang="0">
                      <a:pos x="T0" y="T1"/>
                    </a:cxn>
                    <a:cxn ang="0">
                      <a:pos x="T2" y="T3"/>
                    </a:cxn>
                    <a:cxn ang="0">
                      <a:pos x="T4" y="T5"/>
                    </a:cxn>
                    <a:cxn ang="0">
                      <a:pos x="T6" y="T7"/>
                    </a:cxn>
                    <a:cxn ang="0">
                      <a:pos x="T8" y="T9"/>
                    </a:cxn>
                  </a:cxnLst>
                  <a:rect l="0" t="0" r="r" b="b"/>
                  <a:pathLst>
                    <a:path w="47" h="56">
                      <a:moveTo>
                        <a:pt x="0" y="0"/>
                      </a:moveTo>
                      <a:lnTo>
                        <a:pt x="47" y="56"/>
                      </a:lnTo>
                      <a:lnTo>
                        <a:pt x="47" y="5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161" name="Freeform 2120"/>
                <p:cNvSpPr>
                  <a:spLocks/>
                </p:cNvSpPr>
                <p:nvPr/>
              </p:nvSpPr>
              <p:spPr bwMode="auto">
                <a:xfrm>
                  <a:off x="17999736" y="4880531"/>
                  <a:ext cx="92444" cy="96818"/>
                </a:xfrm>
                <a:custGeom>
                  <a:avLst/>
                  <a:gdLst>
                    <a:gd name="T0" fmla="*/ 0 w 50"/>
                    <a:gd name="T1" fmla="*/ 0 h 59"/>
                    <a:gd name="T2" fmla="*/ 47 w 50"/>
                    <a:gd name="T3" fmla="*/ 59 h 59"/>
                    <a:gd name="T4" fmla="*/ 50 w 50"/>
                    <a:gd name="T5" fmla="*/ 59 h 59"/>
                    <a:gd name="T6" fmla="*/ 0 w 50"/>
                    <a:gd name="T7" fmla="*/ 0 h 59"/>
                    <a:gd name="T8" fmla="*/ 0 w 50"/>
                    <a:gd name="T9" fmla="*/ 0 h 59"/>
                  </a:gdLst>
                  <a:ahLst/>
                  <a:cxnLst>
                    <a:cxn ang="0">
                      <a:pos x="T0" y="T1"/>
                    </a:cxn>
                    <a:cxn ang="0">
                      <a:pos x="T2" y="T3"/>
                    </a:cxn>
                    <a:cxn ang="0">
                      <a:pos x="T4" y="T5"/>
                    </a:cxn>
                    <a:cxn ang="0">
                      <a:pos x="T6" y="T7"/>
                    </a:cxn>
                    <a:cxn ang="0">
                      <a:pos x="T8" y="T9"/>
                    </a:cxn>
                  </a:cxnLst>
                  <a:rect l="0" t="0" r="r" b="b"/>
                  <a:pathLst>
                    <a:path w="50" h="59">
                      <a:moveTo>
                        <a:pt x="0" y="0"/>
                      </a:moveTo>
                      <a:lnTo>
                        <a:pt x="47" y="59"/>
                      </a:lnTo>
                      <a:lnTo>
                        <a:pt x="50" y="5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1162" name="Freeform 2121"/>
                <p:cNvSpPr>
                  <a:spLocks/>
                </p:cNvSpPr>
                <p:nvPr/>
              </p:nvSpPr>
              <p:spPr bwMode="auto">
                <a:xfrm>
                  <a:off x="16454522" y="2695105"/>
                  <a:ext cx="1782938" cy="511773"/>
                </a:xfrm>
                <a:custGeom>
                  <a:avLst/>
                  <a:gdLst>
                    <a:gd name="T0" fmla="*/ 317 w 477"/>
                    <a:gd name="T1" fmla="*/ 53 h 136"/>
                    <a:gd name="T2" fmla="*/ 72 w 477"/>
                    <a:gd name="T3" fmla="*/ 97 h 136"/>
                    <a:gd name="T4" fmla="*/ 75 w 477"/>
                    <a:gd name="T5" fmla="*/ 94 h 136"/>
                    <a:gd name="T6" fmla="*/ 78 w 477"/>
                    <a:gd name="T7" fmla="*/ 93 h 136"/>
                    <a:gd name="T8" fmla="*/ 79 w 477"/>
                    <a:gd name="T9" fmla="*/ 88 h 136"/>
                    <a:gd name="T10" fmla="*/ 83 w 477"/>
                    <a:gd name="T11" fmla="*/ 90 h 136"/>
                    <a:gd name="T12" fmla="*/ 84 w 477"/>
                    <a:gd name="T13" fmla="*/ 83 h 136"/>
                    <a:gd name="T14" fmla="*/ 89 w 477"/>
                    <a:gd name="T15" fmla="*/ 87 h 136"/>
                    <a:gd name="T16" fmla="*/ 90 w 477"/>
                    <a:gd name="T17" fmla="*/ 80 h 136"/>
                    <a:gd name="T18" fmla="*/ 95 w 477"/>
                    <a:gd name="T19" fmla="*/ 84 h 136"/>
                    <a:gd name="T20" fmla="*/ 96 w 477"/>
                    <a:gd name="T21" fmla="*/ 78 h 136"/>
                    <a:gd name="T22" fmla="*/ 101 w 477"/>
                    <a:gd name="T23" fmla="*/ 81 h 136"/>
                    <a:gd name="T24" fmla="*/ 103 w 477"/>
                    <a:gd name="T25" fmla="*/ 76 h 136"/>
                    <a:gd name="T26" fmla="*/ 107 w 477"/>
                    <a:gd name="T27" fmla="*/ 79 h 136"/>
                    <a:gd name="T28" fmla="*/ 110 w 477"/>
                    <a:gd name="T29" fmla="*/ 75 h 136"/>
                    <a:gd name="T30" fmla="*/ 113 w 477"/>
                    <a:gd name="T31" fmla="*/ 76 h 136"/>
                    <a:gd name="T32" fmla="*/ 164 w 477"/>
                    <a:gd name="T33" fmla="*/ 60 h 136"/>
                    <a:gd name="T34" fmla="*/ 167 w 477"/>
                    <a:gd name="T35" fmla="*/ 59 h 136"/>
                    <a:gd name="T36" fmla="*/ 170 w 477"/>
                    <a:gd name="T37" fmla="*/ 58 h 136"/>
                    <a:gd name="T38" fmla="*/ 174 w 477"/>
                    <a:gd name="T39" fmla="*/ 58 h 136"/>
                    <a:gd name="T40" fmla="*/ 176 w 477"/>
                    <a:gd name="T41" fmla="*/ 57 h 136"/>
                    <a:gd name="T42" fmla="*/ 180 w 477"/>
                    <a:gd name="T43" fmla="*/ 57 h 136"/>
                    <a:gd name="T44" fmla="*/ 183 w 477"/>
                    <a:gd name="T45" fmla="*/ 57 h 136"/>
                    <a:gd name="T46" fmla="*/ 320 w 477"/>
                    <a:gd name="T47" fmla="*/ 66 h 136"/>
                    <a:gd name="T48" fmla="*/ 322 w 477"/>
                    <a:gd name="T49" fmla="*/ 66 h 136"/>
                    <a:gd name="T50" fmla="*/ 325 w 477"/>
                    <a:gd name="T51" fmla="*/ 67 h 136"/>
                    <a:gd name="T52" fmla="*/ 327 w 477"/>
                    <a:gd name="T53" fmla="*/ 67 h 136"/>
                    <a:gd name="T54" fmla="*/ 329 w 477"/>
                    <a:gd name="T55" fmla="*/ 69 h 136"/>
                    <a:gd name="T56" fmla="*/ 331 w 477"/>
                    <a:gd name="T57" fmla="*/ 69 h 136"/>
                    <a:gd name="T58" fmla="*/ 389 w 477"/>
                    <a:gd name="T59" fmla="*/ 97 h 136"/>
                    <a:gd name="T60" fmla="*/ 391 w 477"/>
                    <a:gd name="T61" fmla="*/ 97 h 136"/>
                    <a:gd name="T62" fmla="*/ 393 w 477"/>
                    <a:gd name="T63" fmla="*/ 99 h 136"/>
                    <a:gd name="T64" fmla="*/ 396 w 477"/>
                    <a:gd name="T65" fmla="*/ 98 h 136"/>
                    <a:gd name="T66" fmla="*/ 397 w 477"/>
                    <a:gd name="T67" fmla="*/ 101 h 136"/>
                    <a:gd name="T68" fmla="*/ 401 w 477"/>
                    <a:gd name="T69" fmla="*/ 98 h 136"/>
                    <a:gd name="T70" fmla="*/ 401 w 477"/>
                    <a:gd name="T71" fmla="*/ 104 h 136"/>
                    <a:gd name="T72" fmla="*/ 406 w 477"/>
                    <a:gd name="T73" fmla="*/ 100 h 136"/>
                    <a:gd name="T74" fmla="*/ 405 w 477"/>
                    <a:gd name="T75" fmla="*/ 106 h 136"/>
                    <a:gd name="T76" fmla="*/ 411 w 477"/>
                    <a:gd name="T77" fmla="*/ 101 h 136"/>
                    <a:gd name="T78" fmla="*/ 409 w 477"/>
                    <a:gd name="T79" fmla="*/ 109 h 136"/>
                    <a:gd name="T80" fmla="*/ 415 w 477"/>
                    <a:gd name="T81" fmla="*/ 103 h 136"/>
                    <a:gd name="T82" fmla="*/ 412 w 477"/>
                    <a:gd name="T83" fmla="*/ 112 h 136"/>
                    <a:gd name="T84" fmla="*/ 420 w 477"/>
                    <a:gd name="T85" fmla="*/ 105 h 136"/>
                    <a:gd name="T86" fmla="*/ 416 w 477"/>
                    <a:gd name="T87" fmla="*/ 115 h 136"/>
                    <a:gd name="T88" fmla="*/ 423 w 477"/>
                    <a:gd name="T89" fmla="*/ 109 h 136"/>
                    <a:gd name="T90" fmla="*/ 420 w 477"/>
                    <a:gd name="T91" fmla="*/ 117 h 136"/>
                    <a:gd name="T92" fmla="*/ 426 w 477"/>
                    <a:gd name="T93" fmla="*/ 112 h 136"/>
                    <a:gd name="T94" fmla="*/ 423 w 477"/>
                    <a:gd name="T95" fmla="*/ 120 h 136"/>
                    <a:gd name="T96" fmla="*/ 429 w 477"/>
                    <a:gd name="T97" fmla="*/ 116 h 136"/>
                    <a:gd name="T98" fmla="*/ 427 w 477"/>
                    <a:gd name="T99" fmla="*/ 123 h 136"/>
                    <a:gd name="T100" fmla="*/ 432 w 477"/>
                    <a:gd name="T101" fmla="*/ 121 h 136"/>
                    <a:gd name="T102" fmla="*/ 431 w 477"/>
                    <a:gd name="T103" fmla="*/ 126 h 136"/>
                    <a:gd name="T104" fmla="*/ 434 w 477"/>
                    <a:gd name="T105" fmla="*/ 125 h 136"/>
                    <a:gd name="T106" fmla="*/ 434 w 477"/>
                    <a:gd name="T107" fmla="*/ 129 h 136"/>
                    <a:gd name="T108" fmla="*/ 436 w 477"/>
                    <a:gd name="T109" fmla="*/ 130 h 136"/>
                    <a:gd name="T110" fmla="*/ 441 w 477"/>
                    <a:gd name="T11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7" h="136">
                      <a:moveTo>
                        <a:pt x="231" y="0"/>
                      </a:moveTo>
                      <a:cubicBezTo>
                        <a:pt x="143" y="0"/>
                        <a:pt x="63" y="31"/>
                        <a:pt x="0" y="83"/>
                      </a:cubicBezTo>
                      <a:cubicBezTo>
                        <a:pt x="10" y="95"/>
                        <a:pt x="10" y="95"/>
                        <a:pt x="10" y="95"/>
                      </a:cubicBezTo>
                      <a:cubicBezTo>
                        <a:pt x="70" y="46"/>
                        <a:pt x="147" y="16"/>
                        <a:pt x="231" y="16"/>
                      </a:cubicBezTo>
                      <a:cubicBezTo>
                        <a:pt x="263" y="16"/>
                        <a:pt x="294" y="20"/>
                        <a:pt x="324" y="29"/>
                      </a:cubicBezTo>
                      <a:cubicBezTo>
                        <a:pt x="317" y="53"/>
                        <a:pt x="317" y="53"/>
                        <a:pt x="317" y="53"/>
                      </a:cubicBezTo>
                      <a:cubicBezTo>
                        <a:pt x="290" y="45"/>
                        <a:pt x="261" y="41"/>
                        <a:pt x="231" y="41"/>
                      </a:cubicBezTo>
                      <a:cubicBezTo>
                        <a:pt x="153" y="41"/>
                        <a:pt x="82" y="69"/>
                        <a:pt x="26" y="115"/>
                      </a:cubicBezTo>
                      <a:cubicBezTo>
                        <a:pt x="34" y="124"/>
                        <a:pt x="34" y="124"/>
                        <a:pt x="34" y="124"/>
                      </a:cubicBezTo>
                      <a:cubicBezTo>
                        <a:pt x="46" y="114"/>
                        <a:pt x="58" y="105"/>
                        <a:pt x="72" y="97"/>
                      </a:cubicBezTo>
                      <a:cubicBezTo>
                        <a:pt x="72" y="97"/>
                        <a:pt x="72" y="97"/>
                        <a:pt x="72" y="97"/>
                      </a:cubicBezTo>
                      <a:cubicBezTo>
                        <a:pt x="72" y="97"/>
                        <a:pt x="72" y="97"/>
                        <a:pt x="72" y="97"/>
                      </a:cubicBezTo>
                      <a:cubicBezTo>
                        <a:pt x="72" y="97"/>
                        <a:pt x="73" y="96"/>
                        <a:pt x="73" y="96"/>
                      </a:cubicBezTo>
                      <a:cubicBezTo>
                        <a:pt x="73" y="95"/>
                        <a:pt x="73" y="95"/>
                        <a:pt x="73" y="95"/>
                      </a:cubicBezTo>
                      <a:cubicBezTo>
                        <a:pt x="73" y="95"/>
                        <a:pt x="73" y="95"/>
                        <a:pt x="73" y="95"/>
                      </a:cubicBezTo>
                      <a:cubicBezTo>
                        <a:pt x="74" y="96"/>
                        <a:pt x="74" y="96"/>
                        <a:pt x="74" y="96"/>
                      </a:cubicBezTo>
                      <a:cubicBezTo>
                        <a:pt x="74" y="95"/>
                        <a:pt x="75" y="95"/>
                        <a:pt x="75" y="95"/>
                      </a:cubicBezTo>
                      <a:cubicBezTo>
                        <a:pt x="75" y="94"/>
                        <a:pt x="75" y="94"/>
                        <a:pt x="75" y="94"/>
                      </a:cubicBezTo>
                      <a:cubicBezTo>
                        <a:pt x="75" y="93"/>
                        <a:pt x="75" y="93"/>
                        <a:pt x="75" y="93"/>
                      </a:cubicBezTo>
                      <a:cubicBezTo>
                        <a:pt x="76" y="95"/>
                        <a:pt x="76" y="95"/>
                        <a:pt x="76" y="95"/>
                      </a:cubicBezTo>
                      <a:cubicBezTo>
                        <a:pt x="76" y="94"/>
                        <a:pt x="77" y="94"/>
                        <a:pt x="77" y="94"/>
                      </a:cubicBezTo>
                      <a:cubicBezTo>
                        <a:pt x="76" y="92"/>
                        <a:pt x="76" y="92"/>
                        <a:pt x="76" y="92"/>
                      </a:cubicBezTo>
                      <a:cubicBezTo>
                        <a:pt x="76" y="91"/>
                        <a:pt x="76" y="91"/>
                        <a:pt x="76" y="91"/>
                      </a:cubicBezTo>
                      <a:cubicBezTo>
                        <a:pt x="78" y="93"/>
                        <a:pt x="78" y="93"/>
                        <a:pt x="78" y="93"/>
                      </a:cubicBezTo>
                      <a:cubicBezTo>
                        <a:pt x="78" y="93"/>
                        <a:pt x="79" y="93"/>
                        <a:pt x="79" y="93"/>
                      </a:cubicBezTo>
                      <a:cubicBezTo>
                        <a:pt x="78" y="90"/>
                        <a:pt x="78" y="90"/>
                        <a:pt x="78" y="90"/>
                      </a:cubicBezTo>
                      <a:cubicBezTo>
                        <a:pt x="78" y="90"/>
                        <a:pt x="78" y="90"/>
                        <a:pt x="78" y="90"/>
                      </a:cubicBezTo>
                      <a:cubicBezTo>
                        <a:pt x="80" y="92"/>
                        <a:pt x="80" y="92"/>
                        <a:pt x="80" y="92"/>
                      </a:cubicBezTo>
                      <a:cubicBezTo>
                        <a:pt x="80" y="92"/>
                        <a:pt x="81" y="92"/>
                        <a:pt x="81" y="92"/>
                      </a:cubicBezTo>
                      <a:cubicBezTo>
                        <a:pt x="79" y="88"/>
                        <a:pt x="79" y="88"/>
                        <a:pt x="79" y="88"/>
                      </a:cubicBezTo>
                      <a:cubicBezTo>
                        <a:pt x="80" y="88"/>
                        <a:pt x="80" y="88"/>
                        <a:pt x="80" y="88"/>
                      </a:cubicBezTo>
                      <a:cubicBezTo>
                        <a:pt x="82" y="91"/>
                        <a:pt x="82" y="91"/>
                        <a:pt x="82" y="91"/>
                      </a:cubicBezTo>
                      <a:cubicBezTo>
                        <a:pt x="82" y="91"/>
                        <a:pt x="82" y="91"/>
                        <a:pt x="83" y="91"/>
                      </a:cubicBezTo>
                      <a:cubicBezTo>
                        <a:pt x="81" y="87"/>
                        <a:pt x="81" y="87"/>
                        <a:pt x="81" y="87"/>
                      </a:cubicBezTo>
                      <a:cubicBezTo>
                        <a:pt x="81" y="86"/>
                        <a:pt x="81" y="86"/>
                        <a:pt x="81" y="86"/>
                      </a:cubicBezTo>
                      <a:cubicBezTo>
                        <a:pt x="83" y="90"/>
                        <a:pt x="83" y="90"/>
                        <a:pt x="83" y="90"/>
                      </a:cubicBezTo>
                      <a:cubicBezTo>
                        <a:pt x="84" y="90"/>
                        <a:pt x="84" y="90"/>
                        <a:pt x="85" y="89"/>
                      </a:cubicBezTo>
                      <a:cubicBezTo>
                        <a:pt x="82" y="85"/>
                        <a:pt x="82" y="85"/>
                        <a:pt x="82" y="85"/>
                      </a:cubicBezTo>
                      <a:cubicBezTo>
                        <a:pt x="83" y="84"/>
                        <a:pt x="83" y="84"/>
                        <a:pt x="83" y="84"/>
                      </a:cubicBezTo>
                      <a:cubicBezTo>
                        <a:pt x="85" y="89"/>
                        <a:pt x="85" y="89"/>
                        <a:pt x="85" y="89"/>
                      </a:cubicBezTo>
                      <a:cubicBezTo>
                        <a:pt x="86" y="89"/>
                        <a:pt x="86" y="89"/>
                        <a:pt x="87" y="88"/>
                      </a:cubicBezTo>
                      <a:cubicBezTo>
                        <a:pt x="84" y="83"/>
                        <a:pt x="84" y="83"/>
                        <a:pt x="84" y="83"/>
                      </a:cubicBezTo>
                      <a:cubicBezTo>
                        <a:pt x="85" y="83"/>
                        <a:pt x="85" y="83"/>
                        <a:pt x="85" y="83"/>
                      </a:cubicBezTo>
                      <a:cubicBezTo>
                        <a:pt x="87" y="88"/>
                        <a:pt x="87" y="88"/>
                        <a:pt x="87" y="88"/>
                      </a:cubicBezTo>
                      <a:cubicBezTo>
                        <a:pt x="88" y="88"/>
                        <a:pt x="88" y="88"/>
                        <a:pt x="89" y="87"/>
                      </a:cubicBezTo>
                      <a:cubicBezTo>
                        <a:pt x="86" y="82"/>
                        <a:pt x="86" y="82"/>
                        <a:pt x="86" y="82"/>
                      </a:cubicBezTo>
                      <a:cubicBezTo>
                        <a:pt x="86" y="82"/>
                        <a:pt x="86" y="82"/>
                        <a:pt x="86" y="82"/>
                      </a:cubicBezTo>
                      <a:cubicBezTo>
                        <a:pt x="89" y="87"/>
                        <a:pt x="89" y="87"/>
                        <a:pt x="89" y="87"/>
                      </a:cubicBezTo>
                      <a:cubicBezTo>
                        <a:pt x="90" y="87"/>
                        <a:pt x="90" y="87"/>
                        <a:pt x="91" y="86"/>
                      </a:cubicBezTo>
                      <a:cubicBezTo>
                        <a:pt x="88" y="81"/>
                        <a:pt x="88" y="81"/>
                        <a:pt x="88" y="81"/>
                      </a:cubicBezTo>
                      <a:cubicBezTo>
                        <a:pt x="88" y="80"/>
                        <a:pt x="88" y="80"/>
                        <a:pt x="88" y="80"/>
                      </a:cubicBezTo>
                      <a:cubicBezTo>
                        <a:pt x="91" y="86"/>
                        <a:pt x="91" y="86"/>
                        <a:pt x="91" y="86"/>
                      </a:cubicBezTo>
                      <a:cubicBezTo>
                        <a:pt x="92" y="86"/>
                        <a:pt x="92" y="86"/>
                        <a:pt x="93" y="85"/>
                      </a:cubicBezTo>
                      <a:cubicBezTo>
                        <a:pt x="90" y="80"/>
                        <a:pt x="90" y="80"/>
                        <a:pt x="90" y="80"/>
                      </a:cubicBezTo>
                      <a:cubicBezTo>
                        <a:pt x="90" y="79"/>
                        <a:pt x="90" y="79"/>
                        <a:pt x="90" y="79"/>
                      </a:cubicBezTo>
                      <a:cubicBezTo>
                        <a:pt x="93" y="85"/>
                        <a:pt x="93" y="85"/>
                        <a:pt x="93" y="85"/>
                      </a:cubicBezTo>
                      <a:cubicBezTo>
                        <a:pt x="94" y="85"/>
                        <a:pt x="94" y="85"/>
                        <a:pt x="95" y="84"/>
                      </a:cubicBezTo>
                      <a:cubicBezTo>
                        <a:pt x="92" y="79"/>
                        <a:pt x="92" y="79"/>
                        <a:pt x="92" y="79"/>
                      </a:cubicBezTo>
                      <a:cubicBezTo>
                        <a:pt x="92" y="79"/>
                        <a:pt x="92" y="79"/>
                        <a:pt x="92" y="79"/>
                      </a:cubicBezTo>
                      <a:cubicBezTo>
                        <a:pt x="95" y="84"/>
                        <a:pt x="95" y="84"/>
                        <a:pt x="95" y="84"/>
                      </a:cubicBezTo>
                      <a:cubicBezTo>
                        <a:pt x="96" y="84"/>
                        <a:pt x="96" y="84"/>
                        <a:pt x="97" y="83"/>
                      </a:cubicBezTo>
                      <a:cubicBezTo>
                        <a:pt x="94" y="78"/>
                        <a:pt x="94" y="78"/>
                        <a:pt x="94" y="78"/>
                      </a:cubicBezTo>
                      <a:cubicBezTo>
                        <a:pt x="95" y="78"/>
                        <a:pt x="95" y="78"/>
                        <a:pt x="95" y="78"/>
                      </a:cubicBezTo>
                      <a:cubicBezTo>
                        <a:pt x="97" y="83"/>
                        <a:pt x="97" y="83"/>
                        <a:pt x="97" y="83"/>
                      </a:cubicBezTo>
                      <a:cubicBezTo>
                        <a:pt x="98" y="83"/>
                        <a:pt x="98" y="83"/>
                        <a:pt x="99" y="83"/>
                      </a:cubicBezTo>
                      <a:cubicBezTo>
                        <a:pt x="96" y="78"/>
                        <a:pt x="96" y="78"/>
                        <a:pt x="96" y="78"/>
                      </a:cubicBezTo>
                      <a:cubicBezTo>
                        <a:pt x="97" y="78"/>
                        <a:pt x="97" y="78"/>
                        <a:pt x="97" y="78"/>
                      </a:cubicBezTo>
                      <a:cubicBezTo>
                        <a:pt x="99" y="82"/>
                        <a:pt x="99" y="82"/>
                        <a:pt x="99" y="82"/>
                      </a:cubicBezTo>
                      <a:cubicBezTo>
                        <a:pt x="100" y="82"/>
                        <a:pt x="100" y="82"/>
                        <a:pt x="101" y="82"/>
                      </a:cubicBezTo>
                      <a:cubicBezTo>
                        <a:pt x="99" y="77"/>
                        <a:pt x="99" y="77"/>
                        <a:pt x="99" y="77"/>
                      </a:cubicBezTo>
                      <a:cubicBezTo>
                        <a:pt x="99" y="77"/>
                        <a:pt x="99" y="77"/>
                        <a:pt x="99" y="77"/>
                      </a:cubicBezTo>
                      <a:cubicBezTo>
                        <a:pt x="101" y="81"/>
                        <a:pt x="101" y="81"/>
                        <a:pt x="101" y="81"/>
                      </a:cubicBezTo>
                      <a:cubicBezTo>
                        <a:pt x="102" y="81"/>
                        <a:pt x="102" y="81"/>
                        <a:pt x="103" y="81"/>
                      </a:cubicBezTo>
                      <a:cubicBezTo>
                        <a:pt x="101" y="77"/>
                        <a:pt x="101" y="77"/>
                        <a:pt x="101" y="77"/>
                      </a:cubicBezTo>
                      <a:cubicBezTo>
                        <a:pt x="101" y="77"/>
                        <a:pt x="101" y="77"/>
                        <a:pt x="101" y="77"/>
                      </a:cubicBezTo>
                      <a:cubicBezTo>
                        <a:pt x="103" y="80"/>
                        <a:pt x="103" y="80"/>
                        <a:pt x="103" y="80"/>
                      </a:cubicBezTo>
                      <a:cubicBezTo>
                        <a:pt x="104" y="80"/>
                        <a:pt x="104" y="80"/>
                        <a:pt x="105" y="80"/>
                      </a:cubicBezTo>
                      <a:cubicBezTo>
                        <a:pt x="103" y="76"/>
                        <a:pt x="103" y="76"/>
                        <a:pt x="103" y="76"/>
                      </a:cubicBezTo>
                      <a:cubicBezTo>
                        <a:pt x="104" y="76"/>
                        <a:pt x="104" y="76"/>
                        <a:pt x="104" y="76"/>
                      </a:cubicBezTo>
                      <a:cubicBezTo>
                        <a:pt x="105" y="80"/>
                        <a:pt x="105" y="80"/>
                        <a:pt x="105" y="80"/>
                      </a:cubicBezTo>
                      <a:cubicBezTo>
                        <a:pt x="106" y="79"/>
                        <a:pt x="106" y="79"/>
                        <a:pt x="107" y="79"/>
                      </a:cubicBezTo>
                      <a:cubicBezTo>
                        <a:pt x="105" y="76"/>
                        <a:pt x="105" y="76"/>
                        <a:pt x="105" y="76"/>
                      </a:cubicBezTo>
                      <a:cubicBezTo>
                        <a:pt x="106" y="76"/>
                        <a:pt x="106" y="76"/>
                        <a:pt x="106" y="76"/>
                      </a:cubicBezTo>
                      <a:cubicBezTo>
                        <a:pt x="107" y="79"/>
                        <a:pt x="107" y="79"/>
                        <a:pt x="107" y="79"/>
                      </a:cubicBezTo>
                      <a:cubicBezTo>
                        <a:pt x="108" y="78"/>
                        <a:pt x="108" y="78"/>
                        <a:pt x="109" y="78"/>
                      </a:cubicBezTo>
                      <a:cubicBezTo>
                        <a:pt x="108" y="76"/>
                        <a:pt x="108" y="76"/>
                        <a:pt x="108" y="76"/>
                      </a:cubicBezTo>
                      <a:cubicBezTo>
                        <a:pt x="108" y="76"/>
                        <a:pt x="108" y="76"/>
                        <a:pt x="108" y="76"/>
                      </a:cubicBezTo>
                      <a:cubicBezTo>
                        <a:pt x="109" y="78"/>
                        <a:pt x="109" y="78"/>
                        <a:pt x="109" y="78"/>
                      </a:cubicBezTo>
                      <a:cubicBezTo>
                        <a:pt x="110" y="78"/>
                        <a:pt x="110" y="77"/>
                        <a:pt x="111" y="77"/>
                      </a:cubicBezTo>
                      <a:cubicBezTo>
                        <a:pt x="110" y="75"/>
                        <a:pt x="110" y="75"/>
                        <a:pt x="110" y="75"/>
                      </a:cubicBezTo>
                      <a:cubicBezTo>
                        <a:pt x="111" y="75"/>
                        <a:pt x="111" y="75"/>
                        <a:pt x="111" y="75"/>
                      </a:cubicBezTo>
                      <a:cubicBezTo>
                        <a:pt x="111" y="77"/>
                        <a:pt x="111" y="77"/>
                        <a:pt x="111" y="77"/>
                      </a:cubicBezTo>
                      <a:cubicBezTo>
                        <a:pt x="112" y="77"/>
                        <a:pt x="112" y="76"/>
                        <a:pt x="113" y="76"/>
                      </a:cubicBezTo>
                      <a:cubicBezTo>
                        <a:pt x="112" y="75"/>
                        <a:pt x="112" y="75"/>
                        <a:pt x="112" y="75"/>
                      </a:cubicBezTo>
                      <a:cubicBezTo>
                        <a:pt x="113" y="75"/>
                        <a:pt x="113" y="75"/>
                        <a:pt x="113" y="75"/>
                      </a:cubicBezTo>
                      <a:cubicBezTo>
                        <a:pt x="113" y="76"/>
                        <a:pt x="113" y="76"/>
                        <a:pt x="113" y="76"/>
                      </a:cubicBezTo>
                      <a:cubicBezTo>
                        <a:pt x="114" y="76"/>
                        <a:pt x="114" y="76"/>
                        <a:pt x="115" y="75"/>
                      </a:cubicBezTo>
                      <a:cubicBezTo>
                        <a:pt x="115" y="75"/>
                        <a:pt x="115" y="75"/>
                        <a:pt x="115" y="75"/>
                      </a:cubicBezTo>
                      <a:cubicBezTo>
                        <a:pt x="115" y="75"/>
                        <a:pt x="115" y="75"/>
                        <a:pt x="115" y="75"/>
                      </a:cubicBezTo>
                      <a:cubicBezTo>
                        <a:pt x="115" y="75"/>
                        <a:pt x="115" y="75"/>
                        <a:pt x="115" y="75"/>
                      </a:cubicBezTo>
                      <a:cubicBezTo>
                        <a:pt x="131" y="69"/>
                        <a:pt x="147" y="64"/>
                        <a:pt x="163" y="60"/>
                      </a:cubicBezTo>
                      <a:cubicBezTo>
                        <a:pt x="164" y="60"/>
                        <a:pt x="164" y="60"/>
                        <a:pt x="164" y="60"/>
                      </a:cubicBezTo>
                      <a:cubicBezTo>
                        <a:pt x="164" y="60"/>
                        <a:pt x="164" y="60"/>
                        <a:pt x="164" y="60"/>
                      </a:cubicBezTo>
                      <a:cubicBezTo>
                        <a:pt x="164" y="60"/>
                        <a:pt x="165" y="60"/>
                        <a:pt x="165" y="60"/>
                      </a:cubicBezTo>
                      <a:cubicBezTo>
                        <a:pt x="165" y="60"/>
                        <a:pt x="165" y="60"/>
                        <a:pt x="165" y="60"/>
                      </a:cubicBezTo>
                      <a:cubicBezTo>
                        <a:pt x="166" y="60"/>
                        <a:pt x="166" y="60"/>
                        <a:pt x="166" y="60"/>
                      </a:cubicBezTo>
                      <a:cubicBezTo>
                        <a:pt x="166" y="60"/>
                        <a:pt x="166" y="60"/>
                        <a:pt x="166" y="60"/>
                      </a:cubicBezTo>
                      <a:cubicBezTo>
                        <a:pt x="166" y="60"/>
                        <a:pt x="167" y="60"/>
                        <a:pt x="167" y="59"/>
                      </a:cubicBezTo>
                      <a:cubicBezTo>
                        <a:pt x="167" y="59"/>
                        <a:pt x="167" y="59"/>
                        <a:pt x="167" y="59"/>
                      </a:cubicBezTo>
                      <a:cubicBezTo>
                        <a:pt x="168" y="59"/>
                        <a:pt x="168" y="59"/>
                        <a:pt x="168" y="59"/>
                      </a:cubicBezTo>
                      <a:cubicBezTo>
                        <a:pt x="168" y="59"/>
                        <a:pt x="168" y="59"/>
                        <a:pt x="168" y="59"/>
                      </a:cubicBezTo>
                      <a:cubicBezTo>
                        <a:pt x="168" y="59"/>
                        <a:pt x="169" y="59"/>
                        <a:pt x="170" y="59"/>
                      </a:cubicBezTo>
                      <a:cubicBezTo>
                        <a:pt x="169" y="59"/>
                        <a:pt x="169" y="59"/>
                        <a:pt x="169" y="59"/>
                      </a:cubicBezTo>
                      <a:cubicBezTo>
                        <a:pt x="170" y="58"/>
                        <a:pt x="170" y="58"/>
                        <a:pt x="170" y="58"/>
                      </a:cubicBezTo>
                      <a:cubicBezTo>
                        <a:pt x="170" y="59"/>
                        <a:pt x="170" y="59"/>
                        <a:pt x="170" y="59"/>
                      </a:cubicBezTo>
                      <a:cubicBezTo>
                        <a:pt x="171" y="59"/>
                        <a:pt x="171" y="59"/>
                        <a:pt x="172" y="59"/>
                      </a:cubicBezTo>
                      <a:cubicBezTo>
                        <a:pt x="172" y="58"/>
                        <a:pt x="172" y="58"/>
                        <a:pt x="172" y="58"/>
                      </a:cubicBezTo>
                      <a:cubicBezTo>
                        <a:pt x="172" y="58"/>
                        <a:pt x="172" y="58"/>
                        <a:pt x="172" y="58"/>
                      </a:cubicBezTo>
                      <a:cubicBezTo>
                        <a:pt x="172" y="58"/>
                        <a:pt x="172" y="58"/>
                        <a:pt x="172" y="58"/>
                      </a:cubicBezTo>
                      <a:cubicBezTo>
                        <a:pt x="173" y="58"/>
                        <a:pt x="173" y="58"/>
                        <a:pt x="174" y="58"/>
                      </a:cubicBezTo>
                      <a:cubicBezTo>
                        <a:pt x="174" y="58"/>
                        <a:pt x="174" y="58"/>
                        <a:pt x="174" y="58"/>
                      </a:cubicBezTo>
                      <a:cubicBezTo>
                        <a:pt x="174" y="57"/>
                        <a:pt x="174" y="57"/>
                        <a:pt x="174" y="57"/>
                      </a:cubicBezTo>
                      <a:cubicBezTo>
                        <a:pt x="174" y="58"/>
                        <a:pt x="174" y="58"/>
                        <a:pt x="174" y="58"/>
                      </a:cubicBezTo>
                      <a:cubicBezTo>
                        <a:pt x="175" y="58"/>
                        <a:pt x="175" y="58"/>
                        <a:pt x="176" y="58"/>
                      </a:cubicBezTo>
                      <a:cubicBezTo>
                        <a:pt x="176" y="57"/>
                        <a:pt x="176" y="57"/>
                        <a:pt x="176" y="57"/>
                      </a:cubicBezTo>
                      <a:cubicBezTo>
                        <a:pt x="176" y="57"/>
                        <a:pt x="176" y="57"/>
                        <a:pt x="176" y="57"/>
                      </a:cubicBezTo>
                      <a:cubicBezTo>
                        <a:pt x="177" y="58"/>
                        <a:pt x="177" y="58"/>
                        <a:pt x="177" y="58"/>
                      </a:cubicBezTo>
                      <a:cubicBezTo>
                        <a:pt x="177" y="58"/>
                        <a:pt x="178" y="57"/>
                        <a:pt x="178" y="57"/>
                      </a:cubicBezTo>
                      <a:cubicBezTo>
                        <a:pt x="178" y="57"/>
                        <a:pt x="178" y="57"/>
                        <a:pt x="178" y="57"/>
                      </a:cubicBezTo>
                      <a:cubicBezTo>
                        <a:pt x="179" y="57"/>
                        <a:pt x="179" y="57"/>
                        <a:pt x="179" y="57"/>
                      </a:cubicBezTo>
                      <a:cubicBezTo>
                        <a:pt x="179" y="57"/>
                        <a:pt x="179" y="57"/>
                        <a:pt x="179" y="57"/>
                      </a:cubicBezTo>
                      <a:cubicBezTo>
                        <a:pt x="179" y="57"/>
                        <a:pt x="180" y="57"/>
                        <a:pt x="180" y="57"/>
                      </a:cubicBezTo>
                      <a:cubicBezTo>
                        <a:pt x="180" y="57"/>
                        <a:pt x="180" y="57"/>
                        <a:pt x="180" y="57"/>
                      </a:cubicBezTo>
                      <a:cubicBezTo>
                        <a:pt x="181" y="57"/>
                        <a:pt x="181" y="57"/>
                        <a:pt x="181" y="57"/>
                      </a:cubicBezTo>
                      <a:cubicBezTo>
                        <a:pt x="181" y="57"/>
                        <a:pt x="181" y="57"/>
                        <a:pt x="181" y="57"/>
                      </a:cubicBezTo>
                      <a:cubicBezTo>
                        <a:pt x="181" y="57"/>
                        <a:pt x="182" y="57"/>
                        <a:pt x="183" y="57"/>
                      </a:cubicBezTo>
                      <a:cubicBezTo>
                        <a:pt x="183" y="57"/>
                        <a:pt x="183" y="57"/>
                        <a:pt x="183" y="57"/>
                      </a:cubicBezTo>
                      <a:cubicBezTo>
                        <a:pt x="183" y="57"/>
                        <a:pt x="183" y="57"/>
                        <a:pt x="183" y="57"/>
                      </a:cubicBezTo>
                      <a:cubicBezTo>
                        <a:pt x="198" y="54"/>
                        <a:pt x="215" y="53"/>
                        <a:pt x="231" y="53"/>
                      </a:cubicBezTo>
                      <a:cubicBezTo>
                        <a:pt x="261" y="53"/>
                        <a:pt x="291" y="57"/>
                        <a:pt x="319" y="66"/>
                      </a:cubicBezTo>
                      <a:cubicBezTo>
                        <a:pt x="319" y="65"/>
                        <a:pt x="319" y="65"/>
                        <a:pt x="319" y="65"/>
                      </a:cubicBezTo>
                      <a:cubicBezTo>
                        <a:pt x="319" y="65"/>
                        <a:pt x="319" y="65"/>
                        <a:pt x="319" y="65"/>
                      </a:cubicBezTo>
                      <a:cubicBezTo>
                        <a:pt x="319" y="66"/>
                        <a:pt x="319" y="66"/>
                        <a:pt x="319" y="66"/>
                      </a:cubicBezTo>
                      <a:cubicBezTo>
                        <a:pt x="319" y="66"/>
                        <a:pt x="320" y="66"/>
                        <a:pt x="320" y="66"/>
                      </a:cubicBezTo>
                      <a:cubicBezTo>
                        <a:pt x="320" y="65"/>
                        <a:pt x="320" y="65"/>
                        <a:pt x="320" y="65"/>
                      </a:cubicBezTo>
                      <a:cubicBezTo>
                        <a:pt x="321" y="65"/>
                        <a:pt x="321" y="65"/>
                        <a:pt x="321" y="65"/>
                      </a:cubicBezTo>
                      <a:cubicBezTo>
                        <a:pt x="321" y="66"/>
                        <a:pt x="321" y="66"/>
                        <a:pt x="321" y="66"/>
                      </a:cubicBezTo>
                      <a:cubicBezTo>
                        <a:pt x="321" y="66"/>
                        <a:pt x="321" y="66"/>
                        <a:pt x="322" y="66"/>
                      </a:cubicBezTo>
                      <a:cubicBezTo>
                        <a:pt x="322" y="66"/>
                        <a:pt x="322" y="66"/>
                        <a:pt x="322" y="66"/>
                      </a:cubicBezTo>
                      <a:cubicBezTo>
                        <a:pt x="322" y="66"/>
                        <a:pt x="322" y="66"/>
                        <a:pt x="322" y="66"/>
                      </a:cubicBezTo>
                      <a:cubicBezTo>
                        <a:pt x="322" y="67"/>
                        <a:pt x="322" y="67"/>
                        <a:pt x="322" y="67"/>
                      </a:cubicBezTo>
                      <a:cubicBezTo>
                        <a:pt x="322" y="67"/>
                        <a:pt x="323" y="67"/>
                        <a:pt x="323" y="67"/>
                      </a:cubicBezTo>
                      <a:cubicBezTo>
                        <a:pt x="323" y="66"/>
                        <a:pt x="323" y="66"/>
                        <a:pt x="323" y="66"/>
                      </a:cubicBezTo>
                      <a:cubicBezTo>
                        <a:pt x="324" y="66"/>
                        <a:pt x="324" y="66"/>
                        <a:pt x="324" y="66"/>
                      </a:cubicBezTo>
                      <a:cubicBezTo>
                        <a:pt x="323" y="67"/>
                        <a:pt x="323" y="67"/>
                        <a:pt x="323" y="67"/>
                      </a:cubicBezTo>
                      <a:cubicBezTo>
                        <a:pt x="324" y="67"/>
                        <a:pt x="324" y="67"/>
                        <a:pt x="325" y="67"/>
                      </a:cubicBezTo>
                      <a:cubicBezTo>
                        <a:pt x="325" y="66"/>
                        <a:pt x="325" y="66"/>
                        <a:pt x="325" y="66"/>
                      </a:cubicBezTo>
                      <a:cubicBezTo>
                        <a:pt x="325" y="67"/>
                        <a:pt x="325" y="67"/>
                        <a:pt x="325" y="67"/>
                      </a:cubicBezTo>
                      <a:cubicBezTo>
                        <a:pt x="325" y="68"/>
                        <a:pt x="325" y="68"/>
                        <a:pt x="325" y="68"/>
                      </a:cubicBezTo>
                      <a:cubicBezTo>
                        <a:pt x="325" y="68"/>
                        <a:pt x="326" y="68"/>
                        <a:pt x="326" y="68"/>
                      </a:cubicBezTo>
                      <a:cubicBezTo>
                        <a:pt x="326" y="67"/>
                        <a:pt x="326" y="67"/>
                        <a:pt x="326" y="67"/>
                      </a:cubicBezTo>
                      <a:cubicBezTo>
                        <a:pt x="327" y="67"/>
                        <a:pt x="327" y="67"/>
                        <a:pt x="327" y="67"/>
                      </a:cubicBezTo>
                      <a:cubicBezTo>
                        <a:pt x="326" y="68"/>
                        <a:pt x="326" y="68"/>
                        <a:pt x="326" y="68"/>
                      </a:cubicBezTo>
                      <a:cubicBezTo>
                        <a:pt x="327" y="68"/>
                        <a:pt x="327" y="68"/>
                        <a:pt x="328" y="68"/>
                      </a:cubicBezTo>
                      <a:cubicBezTo>
                        <a:pt x="328" y="68"/>
                        <a:pt x="328" y="68"/>
                        <a:pt x="328" y="68"/>
                      </a:cubicBezTo>
                      <a:cubicBezTo>
                        <a:pt x="328" y="68"/>
                        <a:pt x="328" y="68"/>
                        <a:pt x="328" y="68"/>
                      </a:cubicBezTo>
                      <a:cubicBezTo>
                        <a:pt x="328" y="68"/>
                        <a:pt x="328" y="68"/>
                        <a:pt x="328" y="68"/>
                      </a:cubicBezTo>
                      <a:cubicBezTo>
                        <a:pt x="328" y="69"/>
                        <a:pt x="329" y="69"/>
                        <a:pt x="329" y="69"/>
                      </a:cubicBezTo>
                      <a:cubicBezTo>
                        <a:pt x="329" y="68"/>
                        <a:pt x="329" y="68"/>
                        <a:pt x="329" y="68"/>
                      </a:cubicBezTo>
                      <a:cubicBezTo>
                        <a:pt x="330" y="68"/>
                        <a:pt x="330" y="68"/>
                        <a:pt x="330" y="68"/>
                      </a:cubicBezTo>
                      <a:cubicBezTo>
                        <a:pt x="329" y="69"/>
                        <a:pt x="329" y="69"/>
                        <a:pt x="329" y="69"/>
                      </a:cubicBezTo>
                      <a:cubicBezTo>
                        <a:pt x="330" y="69"/>
                        <a:pt x="330" y="69"/>
                        <a:pt x="330" y="69"/>
                      </a:cubicBezTo>
                      <a:cubicBezTo>
                        <a:pt x="331" y="69"/>
                        <a:pt x="331" y="69"/>
                        <a:pt x="331" y="69"/>
                      </a:cubicBezTo>
                      <a:cubicBezTo>
                        <a:pt x="331" y="69"/>
                        <a:pt x="331" y="69"/>
                        <a:pt x="331" y="69"/>
                      </a:cubicBezTo>
                      <a:cubicBezTo>
                        <a:pt x="331" y="69"/>
                        <a:pt x="331" y="69"/>
                        <a:pt x="331" y="69"/>
                      </a:cubicBezTo>
                      <a:cubicBezTo>
                        <a:pt x="331" y="70"/>
                        <a:pt x="332" y="70"/>
                        <a:pt x="332" y="70"/>
                      </a:cubicBezTo>
                      <a:cubicBezTo>
                        <a:pt x="332" y="70"/>
                        <a:pt x="332" y="70"/>
                        <a:pt x="332" y="70"/>
                      </a:cubicBezTo>
                      <a:cubicBezTo>
                        <a:pt x="332" y="70"/>
                        <a:pt x="332" y="70"/>
                        <a:pt x="332" y="70"/>
                      </a:cubicBezTo>
                      <a:cubicBezTo>
                        <a:pt x="332" y="70"/>
                        <a:pt x="332" y="70"/>
                        <a:pt x="332" y="70"/>
                      </a:cubicBezTo>
                      <a:cubicBezTo>
                        <a:pt x="352" y="77"/>
                        <a:pt x="371" y="86"/>
                        <a:pt x="389" y="97"/>
                      </a:cubicBezTo>
                      <a:cubicBezTo>
                        <a:pt x="389" y="96"/>
                        <a:pt x="389" y="96"/>
                        <a:pt x="389" y="96"/>
                      </a:cubicBezTo>
                      <a:cubicBezTo>
                        <a:pt x="390" y="96"/>
                        <a:pt x="390" y="96"/>
                        <a:pt x="390" y="96"/>
                      </a:cubicBezTo>
                      <a:cubicBezTo>
                        <a:pt x="390" y="97"/>
                        <a:pt x="390" y="97"/>
                        <a:pt x="390" y="97"/>
                      </a:cubicBezTo>
                      <a:cubicBezTo>
                        <a:pt x="390" y="97"/>
                        <a:pt x="390" y="97"/>
                        <a:pt x="391" y="97"/>
                      </a:cubicBezTo>
                      <a:cubicBezTo>
                        <a:pt x="391" y="97"/>
                        <a:pt x="391" y="97"/>
                        <a:pt x="391" y="97"/>
                      </a:cubicBezTo>
                      <a:cubicBezTo>
                        <a:pt x="391" y="97"/>
                        <a:pt x="391" y="97"/>
                        <a:pt x="391" y="97"/>
                      </a:cubicBezTo>
                      <a:cubicBezTo>
                        <a:pt x="391" y="98"/>
                        <a:pt x="391" y="98"/>
                        <a:pt x="391" y="98"/>
                      </a:cubicBezTo>
                      <a:cubicBezTo>
                        <a:pt x="391" y="98"/>
                        <a:pt x="392" y="98"/>
                        <a:pt x="392" y="98"/>
                      </a:cubicBezTo>
                      <a:cubicBezTo>
                        <a:pt x="393" y="97"/>
                        <a:pt x="393" y="97"/>
                        <a:pt x="393" y="97"/>
                      </a:cubicBezTo>
                      <a:cubicBezTo>
                        <a:pt x="393" y="97"/>
                        <a:pt x="393" y="97"/>
                        <a:pt x="393" y="97"/>
                      </a:cubicBezTo>
                      <a:cubicBezTo>
                        <a:pt x="392" y="98"/>
                        <a:pt x="392" y="98"/>
                        <a:pt x="392" y="98"/>
                      </a:cubicBezTo>
                      <a:cubicBezTo>
                        <a:pt x="393" y="99"/>
                        <a:pt x="393" y="99"/>
                        <a:pt x="393" y="99"/>
                      </a:cubicBezTo>
                      <a:cubicBezTo>
                        <a:pt x="394" y="97"/>
                        <a:pt x="394" y="97"/>
                        <a:pt x="394" y="97"/>
                      </a:cubicBezTo>
                      <a:cubicBezTo>
                        <a:pt x="395" y="97"/>
                        <a:pt x="395" y="97"/>
                        <a:pt x="395" y="97"/>
                      </a:cubicBezTo>
                      <a:cubicBezTo>
                        <a:pt x="393" y="99"/>
                        <a:pt x="393" y="99"/>
                        <a:pt x="393" y="99"/>
                      </a:cubicBezTo>
                      <a:cubicBezTo>
                        <a:pt x="394" y="99"/>
                        <a:pt x="394" y="100"/>
                        <a:pt x="394" y="100"/>
                      </a:cubicBezTo>
                      <a:cubicBezTo>
                        <a:pt x="396" y="98"/>
                        <a:pt x="396" y="98"/>
                        <a:pt x="396" y="98"/>
                      </a:cubicBezTo>
                      <a:cubicBezTo>
                        <a:pt x="396" y="98"/>
                        <a:pt x="396" y="98"/>
                        <a:pt x="396" y="98"/>
                      </a:cubicBezTo>
                      <a:cubicBezTo>
                        <a:pt x="395" y="100"/>
                        <a:pt x="395" y="100"/>
                        <a:pt x="395" y="100"/>
                      </a:cubicBezTo>
                      <a:cubicBezTo>
                        <a:pt x="395" y="100"/>
                        <a:pt x="395" y="100"/>
                        <a:pt x="396" y="101"/>
                      </a:cubicBezTo>
                      <a:cubicBezTo>
                        <a:pt x="398" y="98"/>
                        <a:pt x="398" y="98"/>
                        <a:pt x="398" y="98"/>
                      </a:cubicBezTo>
                      <a:cubicBezTo>
                        <a:pt x="398" y="98"/>
                        <a:pt x="398" y="98"/>
                        <a:pt x="398" y="98"/>
                      </a:cubicBezTo>
                      <a:cubicBezTo>
                        <a:pt x="396" y="101"/>
                        <a:pt x="396" y="101"/>
                        <a:pt x="396" y="101"/>
                      </a:cubicBezTo>
                      <a:cubicBezTo>
                        <a:pt x="396" y="101"/>
                        <a:pt x="397" y="101"/>
                        <a:pt x="397" y="101"/>
                      </a:cubicBezTo>
                      <a:cubicBezTo>
                        <a:pt x="399" y="98"/>
                        <a:pt x="399" y="98"/>
                        <a:pt x="399" y="98"/>
                      </a:cubicBezTo>
                      <a:cubicBezTo>
                        <a:pt x="400" y="98"/>
                        <a:pt x="400" y="98"/>
                        <a:pt x="400" y="98"/>
                      </a:cubicBezTo>
                      <a:cubicBezTo>
                        <a:pt x="397" y="102"/>
                        <a:pt x="397" y="102"/>
                        <a:pt x="397" y="102"/>
                      </a:cubicBezTo>
                      <a:cubicBezTo>
                        <a:pt x="398" y="102"/>
                        <a:pt x="398" y="102"/>
                        <a:pt x="398" y="102"/>
                      </a:cubicBezTo>
                      <a:cubicBezTo>
                        <a:pt x="401" y="98"/>
                        <a:pt x="401" y="98"/>
                        <a:pt x="401" y="98"/>
                      </a:cubicBezTo>
                      <a:cubicBezTo>
                        <a:pt x="401" y="98"/>
                        <a:pt x="401" y="98"/>
                        <a:pt x="401" y="98"/>
                      </a:cubicBezTo>
                      <a:cubicBezTo>
                        <a:pt x="399" y="102"/>
                        <a:pt x="399" y="102"/>
                        <a:pt x="399" y="102"/>
                      </a:cubicBezTo>
                      <a:cubicBezTo>
                        <a:pt x="399" y="103"/>
                        <a:pt x="399" y="103"/>
                        <a:pt x="400" y="103"/>
                      </a:cubicBezTo>
                      <a:cubicBezTo>
                        <a:pt x="402" y="99"/>
                        <a:pt x="402" y="99"/>
                        <a:pt x="402" y="99"/>
                      </a:cubicBezTo>
                      <a:cubicBezTo>
                        <a:pt x="403" y="99"/>
                        <a:pt x="403" y="99"/>
                        <a:pt x="403" y="99"/>
                      </a:cubicBezTo>
                      <a:cubicBezTo>
                        <a:pt x="400" y="103"/>
                        <a:pt x="400" y="103"/>
                        <a:pt x="400" y="103"/>
                      </a:cubicBezTo>
                      <a:cubicBezTo>
                        <a:pt x="400" y="103"/>
                        <a:pt x="401" y="104"/>
                        <a:pt x="401" y="104"/>
                      </a:cubicBezTo>
                      <a:cubicBezTo>
                        <a:pt x="404" y="99"/>
                        <a:pt x="404" y="99"/>
                        <a:pt x="404" y="99"/>
                      </a:cubicBezTo>
                      <a:cubicBezTo>
                        <a:pt x="405" y="99"/>
                        <a:pt x="405" y="99"/>
                        <a:pt x="405" y="99"/>
                      </a:cubicBezTo>
                      <a:cubicBezTo>
                        <a:pt x="401" y="104"/>
                        <a:pt x="401" y="104"/>
                        <a:pt x="401" y="104"/>
                      </a:cubicBezTo>
                      <a:cubicBezTo>
                        <a:pt x="402" y="104"/>
                        <a:pt x="402" y="105"/>
                        <a:pt x="402" y="105"/>
                      </a:cubicBezTo>
                      <a:cubicBezTo>
                        <a:pt x="406" y="99"/>
                        <a:pt x="406" y="99"/>
                        <a:pt x="406" y="99"/>
                      </a:cubicBezTo>
                      <a:cubicBezTo>
                        <a:pt x="406" y="100"/>
                        <a:pt x="406" y="100"/>
                        <a:pt x="406" y="100"/>
                      </a:cubicBezTo>
                      <a:cubicBezTo>
                        <a:pt x="403" y="105"/>
                        <a:pt x="403" y="105"/>
                        <a:pt x="403" y="105"/>
                      </a:cubicBezTo>
                      <a:cubicBezTo>
                        <a:pt x="403" y="105"/>
                        <a:pt x="403" y="105"/>
                        <a:pt x="404" y="106"/>
                      </a:cubicBezTo>
                      <a:cubicBezTo>
                        <a:pt x="407" y="100"/>
                        <a:pt x="407" y="100"/>
                        <a:pt x="407" y="100"/>
                      </a:cubicBezTo>
                      <a:cubicBezTo>
                        <a:pt x="408" y="100"/>
                        <a:pt x="408" y="100"/>
                        <a:pt x="408" y="100"/>
                      </a:cubicBezTo>
                      <a:cubicBezTo>
                        <a:pt x="404" y="106"/>
                        <a:pt x="404" y="106"/>
                        <a:pt x="404" y="106"/>
                      </a:cubicBezTo>
                      <a:cubicBezTo>
                        <a:pt x="404" y="106"/>
                        <a:pt x="404" y="106"/>
                        <a:pt x="405" y="106"/>
                      </a:cubicBezTo>
                      <a:cubicBezTo>
                        <a:pt x="409" y="100"/>
                        <a:pt x="409" y="100"/>
                        <a:pt x="409" y="100"/>
                      </a:cubicBezTo>
                      <a:cubicBezTo>
                        <a:pt x="409" y="100"/>
                        <a:pt x="409" y="100"/>
                        <a:pt x="409" y="100"/>
                      </a:cubicBezTo>
                      <a:cubicBezTo>
                        <a:pt x="405" y="107"/>
                        <a:pt x="405" y="107"/>
                        <a:pt x="405" y="107"/>
                      </a:cubicBezTo>
                      <a:cubicBezTo>
                        <a:pt x="405" y="107"/>
                        <a:pt x="406" y="107"/>
                        <a:pt x="406" y="107"/>
                      </a:cubicBezTo>
                      <a:cubicBezTo>
                        <a:pt x="411" y="101"/>
                        <a:pt x="411" y="101"/>
                        <a:pt x="411" y="101"/>
                      </a:cubicBezTo>
                      <a:cubicBezTo>
                        <a:pt x="411" y="101"/>
                        <a:pt x="411" y="101"/>
                        <a:pt x="411" y="101"/>
                      </a:cubicBezTo>
                      <a:cubicBezTo>
                        <a:pt x="406" y="108"/>
                        <a:pt x="406" y="108"/>
                        <a:pt x="406" y="108"/>
                      </a:cubicBezTo>
                      <a:cubicBezTo>
                        <a:pt x="407" y="108"/>
                        <a:pt x="407" y="108"/>
                        <a:pt x="407" y="108"/>
                      </a:cubicBezTo>
                      <a:cubicBezTo>
                        <a:pt x="412" y="101"/>
                        <a:pt x="412" y="101"/>
                        <a:pt x="412" y="101"/>
                      </a:cubicBezTo>
                      <a:cubicBezTo>
                        <a:pt x="412" y="102"/>
                        <a:pt x="412" y="102"/>
                        <a:pt x="412" y="102"/>
                      </a:cubicBezTo>
                      <a:cubicBezTo>
                        <a:pt x="408" y="108"/>
                        <a:pt x="408" y="108"/>
                        <a:pt x="408" y="108"/>
                      </a:cubicBezTo>
                      <a:cubicBezTo>
                        <a:pt x="408" y="109"/>
                        <a:pt x="408" y="109"/>
                        <a:pt x="409" y="109"/>
                      </a:cubicBezTo>
                      <a:cubicBezTo>
                        <a:pt x="414" y="102"/>
                        <a:pt x="414" y="102"/>
                        <a:pt x="414" y="102"/>
                      </a:cubicBezTo>
                      <a:cubicBezTo>
                        <a:pt x="414" y="102"/>
                        <a:pt x="414" y="102"/>
                        <a:pt x="414" y="102"/>
                      </a:cubicBezTo>
                      <a:cubicBezTo>
                        <a:pt x="409" y="109"/>
                        <a:pt x="409" y="109"/>
                        <a:pt x="409" y="109"/>
                      </a:cubicBezTo>
                      <a:cubicBezTo>
                        <a:pt x="409" y="110"/>
                        <a:pt x="410" y="110"/>
                        <a:pt x="410" y="110"/>
                      </a:cubicBezTo>
                      <a:cubicBezTo>
                        <a:pt x="415" y="103"/>
                        <a:pt x="415" y="103"/>
                        <a:pt x="415" y="103"/>
                      </a:cubicBezTo>
                      <a:cubicBezTo>
                        <a:pt x="415" y="103"/>
                        <a:pt x="415" y="103"/>
                        <a:pt x="415" y="103"/>
                      </a:cubicBezTo>
                      <a:cubicBezTo>
                        <a:pt x="410" y="110"/>
                        <a:pt x="410" y="110"/>
                        <a:pt x="410" y="110"/>
                      </a:cubicBezTo>
                      <a:cubicBezTo>
                        <a:pt x="411" y="110"/>
                        <a:pt x="411" y="111"/>
                        <a:pt x="411" y="111"/>
                      </a:cubicBezTo>
                      <a:cubicBezTo>
                        <a:pt x="416" y="103"/>
                        <a:pt x="416" y="103"/>
                        <a:pt x="416" y="103"/>
                      </a:cubicBezTo>
                      <a:cubicBezTo>
                        <a:pt x="417" y="104"/>
                        <a:pt x="417" y="104"/>
                        <a:pt x="417" y="104"/>
                      </a:cubicBezTo>
                      <a:cubicBezTo>
                        <a:pt x="411" y="111"/>
                        <a:pt x="411" y="111"/>
                        <a:pt x="411" y="111"/>
                      </a:cubicBezTo>
                      <a:cubicBezTo>
                        <a:pt x="412" y="111"/>
                        <a:pt x="412" y="112"/>
                        <a:pt x="412" y="112"/>
                      </a:cubicBezTo>
                      <a:cubicBezTo>
                        <a:pt x="418" y="104"/>
                        <a:pt x="418" y="104"/>
                        <a:pt x="418" y="104"/>
                      </a:cubicBezTo>
                      <a:cubicBezTo>
                        <a:pt x="418" y="104"/>
                        <a:pt x="418" y="104"/>
                        <a:pt x="418" y="104"/>
                      </a:cubicBezTo>
                      <a:cubicBezTo>
                        <a:pt x="413" y="112"/>
                        <a:pt x="413" y="112"/>
                        <a:pt x="413" y="112"/>
                      </a:cubicBezTo>
                      <a:cubicBezTo>
                        <a:pt x="413" y="112"/>
                        <a:pt x="413" y="112"/>
                        <a:pt x="414" y="113"/>
                      </a:cubicBezTo>
                      <a:cubicBezTo>
                        <a:pt x="419" y="105"/>
                        <a:pt x="419" y="105"/>
                        <a:pt x="419" y="105"/>
                      </a:cubicBezTo>
                      <a:cubicBezTo>
                        <a:pt x="420" y="105"/>
                        <a:pt x="420" y="105"/>
                        <a:pt x="420" y="105"/>
                      </a:cubicBezTo>
                      <a:cubicBezTo>
                        <a:pt x="414" y="113"/>
                        <a:pt x="414" y="113"/>
                        <a:pt x="414" y="113"/>
                      </a:cubicBezTo>
                      <a:cubicBezTo>
                        <a:pt x="414" y="113"/>
                        <a:pt x="415" y="113"/>
                        <a:pt x="415" y="114"/>
                      </a:cubicBezTo>
                      <a:cubicBezTo>
                        <a:pt x="420" y="106"/>
                        <a:pt x="420" y="106"/>
                        <a:pt x="420" y="106"/>
                      </a:cubicBezTo>
                      <a:cubicBezTo>
                        <a:pt x="421" y="106"/>
                        <a:pt x="421" y="106"/>
                        <a:pt x="421" y="106"/>
                      </a:cubicBezTo>
                      <a:cubicBezTo>
                        <a:pt x="415" y="114"/>
                        <a:pt x="415" y="114"/>
                        <a:pt x="415" y="114"/>
                      </a:cubicBezTo>
                      <a:cubicBezTo>
                        <a:pt x="415" y="114"/>
                        <a:pt x="416" y="114"/>
                        <a:pt x="416" y="115"/>
                      </a:cubicBezTo>
                      <a:cubicBezTo>
                        <a:pt x="422" y="107"/>
                        <a:pt x="422" y="107"/>
                        <a:pt x="422" y="107"/>
                      </a:cubicBezTo>
                      <a:cubicBezTo>
                        <a:pt x="422" y="107"/>
                        <a:pt x="422" y="107"/>
                        <a:pt x="422" y="107"/>
                      </a:cubicBezTo>
                      <a:cubicBezTo>
                        <a:pt x="416" y="115"/>
                        <a:pt x="416" y="115"/>
                        <a:pt x="416" y="115"/>
                      </a:cubicBezTo>
                      <a:cubicBezTo>
                        <a:pt x="417" y="115"/>
                        <a:pt x="417" y="115"/>
                        <a:pt x="417" y="116"/>
                      </a:cubicBezTo>
                      <a:cubicBezTo>
                        <a:pt x="423" y="108"/>
                        <a:pt x="423" y="108"/>
                        <a:pt x="423" y="108"/>
                      </a:cubicBezTo>
                      <a:cubicBezTo>
                        <a:pt x="423" y="109"/>
                        <a:pt x="423" y="109"/>
                        <a:pt x="423" y="109"/>
                      </a:cubicBezTo>
                      <a:cubicBezTo>
                        <a:pt x="418" y="116"/>
                        <a:pt x="418" y="116"/>
                        <a:pt x="418" y="116"/>
                      </a:cubicBezTo>
                      <a:cubicBezTo>
                        <a:pt x="418" y="116"/>
                        <a:pt x="418" y="116"/>
                        <a:pt x="419" y="116"/>
                      </a:cubicBezTo>
                      <a:cubicBezTo>
                        <a:pt x="424" y="109"/>
                        <a:pt x="424" y="109"/>
                        <a:pt x="424" y="109"/>
                      </a:cubicBezTo>
                      <a:cubicBezTo>
                        <a:pt x="424" y="110"/>
                        <a:pt x="424" y="110"/>
                        <a:pt x="424" y="110"/>
                      </a:cubicBezTo>
                      <a:cubicBezTo>
                        <a:pt x="419" y="117"/>
                        <a:pt x="419" y="117"/>
                        <a:pt x="419" y="117"/>
                      </a:cubicBezTo>
                      <a:cubicBezTo>
                        <a:pt x="419" y="117"/>
                        <a:pt x="420" y="117"/>
                        <a:pt x="420" y="117"/>
                      </a:cubicBezTo>
                      <a:cubicBezTo>
                        <a:pt x="425" y="111"/>
                        <a:pt x="425" y="111"/>
                        <a:pt x="425" y="111"/>
                      </a:cubicBezTo>
                      <a:cubicBezTo>
                        <a:pt x="425" y="111"/>
                        <a:pt x="425" y="111"/>
                        <a:pt x="425" y="111"/>
                      </a:cubicBezTo>
                      <a:cubicBezTo>
                        <a:pt x="420" y="118"/>
                        <a:pt x="420" y="118"/>
                        <a:pt x="420" y="118"/>
                      </a:cubicBezTo>
                      <a:cubicBezTo>
                        <a:pt x="420" y="118"/>
                        <a:pt x="421" y="118"/>
                        <a:pt x="421" y="118"/>
                      </a:cubicBezTo>
                      <a:cubicBezTo>
                        <a:pt x="426" y="112"/>
                        <a:pt x="426" y="112"/>
                        <a:pt x="426" y="112"/>
                      </a:cubicBezTo>
                      <a:cubicBezTo>
                        <a:pt x="426" y="112"/>
                        <a:pt x="426" y="112"/>
                        <a:pt x="426" y="112"/>
                      </a:cubicBezTo>
                      <a:cubicBezTo>
                        <a:pt x="421" y="119"/>
                        <a:pt x="421" y="119"/>
                        <a:pt x="421" y="119"/>
                      </a:cubicBezTo>
                      <a:cubicBezTo>
                        <a:pt x="422" y="119"/>
                        <a:pt x="422" y="119"/>
                        <a:pt x="422" y="119"/>
                      </a:cubicBezTo>
                      <a:cubicBezTo>
                        <a:pt x="427" y="113"/>
                        <a:pt x="427" y="113"/>
                        <a:pt x="427" y="113"/>
                      </a:cubicBezTo>
                      <a:cubicBezTo>
                        <a:pt x="427" y="114"/>
                        <a:pt x="427" y="114"/>
                        <a:pt x="427" y="114"/>
                      </a:cubicBezTo>
                      <a:cubicBezTo>
                        <a:pt x="423" y="120"/>
                        <a:pt x="423" y="120"/>
                        <a:pt x="423" y="120"/>
                      </a:cubicBezTo>
                      <a:cubicBezTo>
                        <a:pt x="423" y="120"/>
                        <a:pt x="423" y="120"/>
                        <a:pt x="423" y="120"/>
                      </a:cubicBezTo>
                      <a:cubicBezTo>
                        <a:pt x="428" y="115"/>
                        <a:pt x="428" y="115"/>
                        <a:pt x="428" y="115"/>
                      </a:cubicBezTo>
                      <a:cubicBezTo>
                        <a:pt x="428" y="115"/>
                        <a:pt x="428" y="115"/>
                        <a:pt x="428" y="115"/>
                      </a:cubicBezTo>
                      <a:cubicBezTo>
                        <a:pt x="424" y="120"/>
                        <a:pt x="424" y="120"/>
                        <a:pt x="424" y="120"/>
                      </a:cubicBezTo>
                      <a:cubicBezTo>
                        <a:pt x="424" y="121"/>
                        <a:pt x="424" y="121"/>
                        <a:pt x="425" y="121"/>
                      </a:cubicBezTo>
                      <a:cubicBezTo>
                        <a:pt x="429" y="116"/>
                        <a:pt x="429" y="116"/>
                        <a:pt x="429" y="116"/>
                      </a:cubicBezTo>
                      <a:cubicBezTo>
                        <a:pt x="429" y="116"/>
                        <a:pt x="429" y="116"/>
                        <a:pt x="429" y="116"/>
                      </a:cubicBezTo>
                      <a:cubicBezTo>
                        <a:pt x="425" y="121"/>
                        <a:pt x="425" y="121"/>
                        <a:pt x="425" y="121"/>
                      </a:cubicBezTo>
                      <a:cubicBezTo>
                        <a:pt x="425" y="122"/>
                        <a:pt x="426" y="122"/>
                        <a:pt x="426" y="122"/>
                      </a:cubicBezTo>
                      <a:cubicBezTo>
                        <a:pt x="430" y="117"/>
                        <a:pt x="430" y="117"/>
                        <a:pt x="430" y="117"/>
                      </a:cubicBezTo>
                      <a:cubicBezTo>
                        <a:pt x="430" y="118"/>
                        <a:pt x="430" y="118"/>
                        <a:pt x="430" y="118"/>
                      </a:cubicBezTo>
                      <a:cubicBezTo>
                        <a:pt x="426" y="122"/>
                        <a:pt x="426" y="122"/>
                        <a:pt x="426" y="122"/>
                      </a:cubicBezTo>
                      <a:cubicBezTo>
                        <a:pt x="426" y="123"/>
                        <a:pt x="427" y="123"/>
                        <a:pt x="427" y="123"/>
                      </a:cubicBezTo>
                      <a:cubicBezTo>
                        <a:pt x="430" y="119"/>
                        <a:pt x="430" y="119"/>
                        <a:pt x="430" y="119"/>
                      </a:cubicBezTo>
                      <a:cubicBezTo>
                        <a:pt x="431" y="119"/>
                        <a:pt x="431" y="119"/>
                        <a:pt x="431" y="119"/>
                      </a:cubicBezTo>
                      <a:cubicBezTo>
                        <a:pt x="427" y="123"/>
                        <a:pt x="427" y="123"/>
                        <a:pt x="427" y="123"/>
                      </a:cubicBezTo>
                      <a:cubicBezTo>
                        <a:pt x="428" y="124"/>
                        <a:pt x="428" y="124"/>
                        <a:pt x="428" y="124"/>
                      </a:cubicBezTo>
                      <a:cubicBezTo>
                        <a:pt x="431" y="120"/>
                        <a:pt x="431" y="120"/>
                        <a:pt x="431" y="120"/>
                      </a:cubicBezTo>
                      <a:cubicBezTo>
                        <a:pt x="432" y="121"/>
                        <a:pt x="432" y="121"/>
                        <a:pt x="432" y="121"/>
                      </a:cubicBezTo>
                      <a:cubicBezTo>
                        <a:pt x="429" y="124"/>
                        <a:pt x="429" y="124"/>
                        <a:pt x="429" y="124"/>
                      </a:cubicBezTo>
                      <a:cubicBezTo>
                        <a:pt x="429" y="125"/>
                        <a:pt x="429" y="125"/>
                        <a:pt x="429" y="125"/>
                      </a:cubicBezTo>
                      <a:cubicBezTo>
                        <a:pt x="432" y="122"/>
                        <a:pt x="432" y="122"/>
                        <a:pt x="432" y="122"/>
                      </a:cubicBezTo>
                      <a:cubicBezTo>
                        <a:pt x="432" y="122"/>
                        <a:pt x="432" y="122"/>
                        <a:pt x="432" y="122"/>
                      </a:cubicBezTo>
                      <a:cubicBezTo>
                        <a:pt x="430" y="125"/>
                        <a:pt x="430" y="125"/>
                        <a:pt x="430" y="125"/>
                      </a:cubicBezTo>
                      <a:cubicBezTo>
                        <a:pt x="430" y="126"/>
                        <a:pt x="430" y="126"/>
                        <a:pt x="431" y="126"/>
                      </a:cubicBezTo>
                      <a:cubicBezTo>
                        <a:pt x="433" y="123"/>
                        <a:pt x="433" y="123"/>
                        <a:pt x="433" y="123"/>
                      </a:cubicBezTo>
                      <a:cubicBezTo>
                        <a:pt x="433" y="124"/>
                        <a:pt x="433" y="124"/>
                        <a:pt x="433" y="124"/>
                      </a:cubicBezTo>
                      <a:cubicBezTo>
                        <a:pt x="431" y="126"/>
                        <a:pt x="431" y="126"/>
                        <a:pt x="431" y="126"/>
                      </a:cubicBezTo>
                      <a:cubicBezTo>
                        <a:pt x="431" y="127"/>
                        <a:pt x="431" y="127"/>
                        <a:pt x="432" y="127"/>
                      </a:cubicBezTo>
                      <a:cubicBezTo>
                        <a:pt x="434" y="125"/>
                        <a:pt x="434" y="125"/>
                        <a:pt x="434" y="125"/>
                      </a:cubicBezTo>
                      <a:cubicBezTo>
                        <a:pt x="434" y="125"/>
                        <a:pt x="434" y="125"/>
                        <a:pt x="434" y="125"/>
                      </a:cubicBezTo>
                      <a:cubicBezTo>
                        <a:pt x="432" y="127"/>
                        <a:pt x="432" y="127"/>
                        <a:pt x="432" y="127"/>
                      </a:cubicBezTo>
                      <a:cubicBezTo>
                        <a:pt x="432" y="128"/>
                        <a:pt x="433" y="128"/>
                        <a:pt x="433" y="128"/>
                      </a:cubicBezTo>
                      <a:cubicBezTo>
                        <a:pt x="434" y="126"/>
                        <a:pt x="434" y="126"/>
                        <a:pt x="434" y="126"/>
                      </a:cubicBezTo>
                      <a:cubicBezTo>
                        <a:pt x="435" y="127"/>
                        <a:pt x="435" y="127"/>
                        <a:pt x="435" y="127"/>
                      </a:cubicBezTo>
                      <a:cubicBezTo>
                        <a:pt x="433" y="128"/>
                        <a:pt x="433" y="128"/>
                        <a:pt x="433" y="128"/>
                      </a:cubicBezTo>
                      <a:cubicBezTo>
                        <a:pt x="434" y="129"/>
                        <a:pt x="434" y="129"/>
                        <a:pt x="434" y="129"/>
                      </a:cubicBezTo>
                      <a:cubicBezTo>
                        <a:pt x="435" y="128"/>
                        <a:pt x="435" y="128"/>
                        <a:pt x="435" y="128"/>
                      </a:cubicBezTo>
                      <a:cubicBezTo>
                        <a:pt x="435" y="128"/>
                        <a:pt x="435" y="128"/>
                        <a:pt x="435" y="128"/>
                      </a:cubicBezTo>
                      <a:cubicBezTo>
                        <a:pt x="434" y="129"/>
                        <a:pt x="434" y="129"/>
                        <a:pt x="434" y="129"/>
                      </a:cubicBezTo>
                      <a:cubicBezTo>
                        <a:pt x="435" y="130"/>
                        <a:pt x="435" y="130"/>
                        <a:pt x="435" y="130"/>
                      </a:cubicBezTo>
                      <a:cubicBezTo>
                        <a:pt x="436" y="129"/>
                        <a:pt x="436" y="129"/>
                        <a:pt x="436" y="129"/>
                      </a:cubicBezTo>
                      <a:cubicBezTo>
                        <a:pt x="436" y="130"/>
                        <a:pt x="436" y="130"/>
                        <a:pt x="436" y="130"/>
                      </a:cubicBezTo>
                      <a:cubicBezTo>
                        <a:pt x="436" y="130"/>
                        <a:pt x="436" y="130"/>
                        <a:pt x="436" y="130"/>
                      </a:cubicBezTo>
                      <a:cubicBezTo>
                        <a:pt x="436" y="131"/>
                        <a:pt x="436" y="131"/>
                        <a:pt x="436" y="131"/>
                      </a:cubicBezTo>
                      <a:cubicBezTo>
                        <a:pt x="437" y="131"/>
                        <a:pt x="437" y="131"/>
                        <a:pt x="437" y="131"/>
                      </a:cubicBezTo>
                      <a:cubicBezTo>
                        <a:pt x="437" y="131"/>
                        <a:pt x="437" y="131"/>
                        <a:pt x="437" y="131"/>
                      </a:cubicBezTo>
                      <a:cubicBezTo>
                        <a:pt x="437" y="131"/>
                        <a:pt x="437" y="131"/>
                        <a:pt x="437" y="131"/>
                      </a:cubicBezTo>
                      <a:cubicBezTo>
                        <a:pt x="438" y="133"/>
                        <a:pt x="440" y="134"/>
                        <a:pt x="441" y="136"/>
                      </a:cubicBezTo>
                      <a:cubicBezTo>
                        <a:pt x="477" y="97"/>
                        <a:pt x="477" y="97"/>
                        <a:pt x="477" y="97"/>
                      </a:cubicBezTo>
                      <a:cubicBezTo>
                        <a:pt x="413" y="36"/>
                        <a:pt x="326" y="0"/>
                        <a:pt x="231" y="0"/>
                      </a:cubicBezTo>
                    </a:path>
                  </a:pathLst>
                </a:custGeom>
                <a:solidFill>
                  <a:srgbClr val="01AAE5"/>
                </a:solidFill>
                <a:ln>
                  <a:noFill/>
                </a:ln>
                <a:extLst/>
              </p:spPr>
              <p:txBody>
                <a:bodyPr/>
                <a:lstStyle/>
                <a:p>
                  <a:pPr eaLnBrk="1" hangingPunct="1">
                    <a:defRPr/>
                  </a:pPr>
                  <a:endParaRPr lang="zh-CN" altLang="en-US" sz="1050"/>
                </a:p>
              </p:txBody>
            </p:sp>
            <p:sp>
              <p:nvSpPr>
                <p:cNvPr id="1163" name="Freeform 2122"/>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64" name="Freeform 2123"/>
                <p:cNvSpPr>
                  <a:spLocks/>
                </p:cNvSpPr>
                <p:nvPr/>
              </p:nvSpPr>
              <p:spPr bwMode="auto">
                <a:xfrm>
                  <a:off x="17656356" y="2944077"/>
                  <a:ext cx="13203"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65" name="Freeform 2124"/>
                <p:cNvSpPr>
                  <a:spLocks/>
                </p:cNvSpPr>
                <p:nvPr/>
              </p:nvSpPr>
              <p:spPr bwMode="auto">
                <a:xfrm>
                  <a:off x="17669559" y="2944077"/>
                  <a:ext cx="0" cy="0"/>
                </a:xfrm>
                <a:custGeom>
                  <a:avLst/>
                  <a:gdLst>
                    <a:gd name="T0" fmla="*/ 0 h 2"/>
                    <a:gd name="T1" fmla="*/ 1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1"/>
                        <a:pt x="0" y="1"/>
                        <a:pt x="0" y="1"/>
                      </a:cubicBezTo>
                      <a:cubicBezTo>
                        <a:pt x="0" y="1"/>
                        <a:pt x="0" y="1"/>
                        <a:pt x="0" y="2"/>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66" name="Freeform 2125"/>
                <p:cNvSpPr>
                  <a:spLocks/>
                </p:cNvSpPr>
                <p:nvPr/>
              </p:nvSpPr>
              <p:spPr bwMode="auto">
                <a:xfrm>
                  <a:off x="17669559" y="2944077"/>
                  <a:ext cx="13211"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67" name="Oval 2126"/>
                <p:cNvSpPr>
                  <a:spLocks noChangeArrowheads="1"/>
                </p:cNvSpPr>
                <p:nvPr/>
              </p:nvSpPr>
              <p:spPr bwMode="auto">
                <a:xfrm>
                  <a:off x="17682770" y="2944077"/>
                  <a:ext cx="0" cy="0"/>
                </a:xfrm>
                <a:prstGeom prst="ellipse">
                  <a:avLst/>
                </a:prstGeom>
                <a:solidFill>
                  <a:srgbClr val="02E3FC"/>
                </a:solidFill>
                <a:ln>
                  <a:noFill/>
                </a:ln>
                <a:extLst/>
              </p:spPr>
              <p:txBody>
                <a:bodyPr/>
                <a:lstStyle/>
                <a:p>
                  <a:pPr eaLnBrk="1" hangingPunct="1">
                    <a:defRPr/>
                  </a:pPr>
                  <a:endParaRPr lang="zh-CN" altLang="en-US" sz="1050"/>
                </a:p>
              </p:txBody>
            </p:sp>
            <p:sp>
              <p:nvSpPr>
                <p:cNvPr id="1168" name="Oval 2127"/>
                <p:cNvSpPr>
                  <a:spLocks noChangeArrowheads="1"/>
                </p:cNvSpPr>
                <p:nvPr/>
              </p:nvSpPr>
              <p:spPr bwMode="auto">
                <a:xfrm>
                  <a:off x="17682770" y="2957905"/>
                  <a:ext cx="13203" cy="0"/>
                </a:xfrm>
                <a:prstGeom prst="ellipse">
                  <a:avLst/>
                </a:prstGeom>
                <a:solidFill>
                  <a:srgbClr val="02E3FC"/>
                </a:solidFill>
                <a:ln>
                  <a:noFill/>
                </a:ln>
                <a:extLst/>
              </p:spPr>
              <p:txBody>
                <a:bodyPr/>
                <a:lstStyle/>
                <a:p>
                  <a:pPr eaLnBrk="1" hangingPunct="1">
                    <a:defRPr/>
                  </a:pPr>
                  <a:endParaRPr lang="zh-CN" altLang="en-US" sz="1050"/>
                </a:p>
              </p:txBody>
            </p:sp>
            <p:sp>
              <p:nvSpPr>
                <p:cNvPr id="1169" name="Freeform 2128"/>
                <p:cNvSpPr>
                  <a:spLocks/>
                </p:cNvSpPr>
                <p:nvPr/>
              </p:nvSpPr>
              <p:spPr bwMode="auto">
                <a:xfrm>
                  <a:off x="17682770" y="2944077"/>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70" name="Freeform 2129"/>
                <p:cNvSpPr>
                  <a:spLocks/>
                </p:cNvSpPr>
                <p:nvPr/>
              </p:nvSpPr>
              <p:spPr bwMode="auto">
                <a:xfrm>
                  <a:off x="17682770" y="2944077"/>
                  <a:ext cx="0"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71" name="Freeform 2130"/>
                <p:cNvSpPr>
                  <a:spLocks/>
                </p:cNvSpPr>
                <p:nvPr/>
              </p:nvSpPr>
              <p:spPr bwMode="auto">
                <a:xfrm>
                  <a:off x="17656356" y="2944077"/>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72" name="Freeform 2131"/>
                <p:cNvSpPr>
                  <a:spLocks/>
                </p:cNvSpPr>
                <p:nvPr/>
              </p:nvSpPr>
              <p:spPr bwMode="auto">
                <a:xfrm>
                  <a:off x="17643145" y="2944077"/>
                  <a:ext cx="0" cy="0"/>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73" name="Freeform 2132"/>
                <p:cNvSpPr>
                  <a:spLocks/>
                </p:cNvSpPr>
                <p:nvPr/>
              </p:nvSpPr>
              <p:spPr bwMode="auto">
                <a:xfrm>
                  <a:off x="17643145" y="2944077"/>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74" name="Freeform 2133"/>
                <p:cNvSpPr>
                  <a:spLocks/>
                </p:cNvSpPr>
                <p:nvPr/>
              </p:nvSpPr>
              <p:spPr bwMode="auto">
                <a:xfrm>
                  <a:off x="18012939" y="3096223"/>
                  <a:ext cx="26414" cy="41500"/>
                </a:xfrm>
                <a:custGeom>
                  <a:avLst/>
                  <a:gdLst>
                    <a:gd name="T0" fmla="*/ 5 w 5"/>
                    <a:gd name="T1" fmla="*/ 0 h 8"/>
                    <a:gd name="T2" fmla="*/ 0 w 5"/>
                    <a:gd name="T3" fmla="*/ 7 h 8"/>
                    <a:gd name="T4" fmla="*/ 0 w 5"/>
                    <a:gd name="T5" fmla="*/ 8 h 8"/>
                    <a:gd name="T6" fmla="*/ 5 w 5"/>
                    <a:gd name="T7" fmla="*/ 1 h 8"/>
                    <a:gd name="T8" fmla="*/ 5 w 5"/>
                    <a:gd name="T9" fmla="*/ 0 h 8"/>
                  </a:gdLst>
                  <a:ahLst/>
                  <a:cxnLst>
                    <a:cxn ang="0">
                      <a:pos x="T0" y="T1"/>
                    </a:cxn>
                    <a:cxn ang="0">
                      <a:pos x="T2" y="T3"/>
                    </a:cxn>
                    <a:cxn ang="0">
                      <a:pos x="T4" y="T5"/>
                    </a:cxn>
                    <a:cxn ang="0">
                      <a:pos x="T6" y="T7"/>
                    </a:cxn>
                    <a:cxn ang="0">
                      <a:pos x="T8" y="T9"/>
                    </a:cxn>
                  </a:cxnLst>
                  <a:rect l="0" t="0" r="r" b="b"/>
                  <a:pathLst>
                    <a:path w="5" h="8">
                      <a:moveTo>
                        <a:pt x="5" y="0"/>
                      </a:moveTo>
                      <a:cubicBezTo>
                        <a:pt x="0" y="7"/>
                        <a:pt x="0" y="7"/>
                        <a:pt x="0" y="7"/>
                      </a:cubicBezTo>
                      <a:cubicBezTo>
                        <a:pt x="0" y="8"/>
                        <a:pt x="0" y="8"/>
                        <a:pt x="0" y="8"/>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75" name="Freeform 2134"/>
                <p:cNvSpPr>
                  <a:spLocks/>
                </p:cNvSpPr>
                <p:nvPr/>
              </p:nvSpPr>
              <p:spPr bwMode="auto">
                <a:xfrm>
                  <a:off x="18065767" y="3165386"/>
                  <a:ext cx="13211" cy="13827"/>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0" y="2"/>
                        <a:pt x="0" y="2"/>
                        <a:pt x="0"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176" name="Freeform 2135"/>
                <p:cNvSpPr>
                  <a:spLocks/>
                </p:cNvSpPr>
                <p:nvPr/>
              </p:nvSpPr>
              <p:spPr bwMode="auto">
                <a:xfrm>
                  <a:off x="18065767" y="3151550"/>
                  <a:ext cx="13211" cy="13836"/>
                </a:xfrm>
                <a:custGeom>
                  <a:avLst/>
                  <a:gdLst>
                    <a:gd name="T0" fmla="*/ 2 w 2"/>
                    <a:gd name="T1" fmla="*/ 0 h 3"/>
                    <a:gd name="T2" fmla="*/ 0 w 2"/>
                    <a:gd name="T3" fmla="*/ 3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1"/>
                        <a:pt x="2" y="1"/>
                        <a:pt x="2" y="1"/>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177" name="Freeform 2136"/>
                <p:cNvSpPr>
                  <a:spLocks/>
                </p:cNvSpPr>
                <p:nvPr/>
              </p:nvSpPr>
              <p:spPr bwMode="auto">
                <a:xfrm>
                  <a:off x="18092180" y="3179214"/>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78" name="Freeform 2137"/>
                <p:cNvSpPr>
                  <a:spLocks/>
                </p:cNvSpPr>
                <p:nvPr/>
              </p:nvSpPr>
              <p:spPr bwMode="auto">
                <a:xfrm>
                  <a:off x="18078978" y="3179214"/>
                  <a:ext cx="13203"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79" name="Freeform 2138"/>
                <p:cNvSpPr>
                  <a:spLocks/>
                </p:cNvSpPr>
                <p:nvPr/>
              </p:nvSpPr>
              <p:spPr bwMode="auto">
                <a:xfrm>
                  <a:off x="18052564" y="3151550"/>
                  <a:ext cx="13203" cy="13836"/>
                </a:xfrm>
                <a:custGeom>
                  <a:avLst/>
                  <a:gdLst>
                    <a:gd name="T0" fmla="*/ 3 w 3"/>
                    <a:gd name="T1" fmla="*/ 0 h 3"/>
                    <a:gd name="T2" fmla="*/ 0 w 3"/>
                    <a:gd name="T3" fmla="*/ 3 h 3"/>
                    <a:gd name="T4" fmla="*/ 1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0" y="3"/>
                        <a:pt x="0" y="3"/>
                        <a:pt x="0" y="3"/>
                      </a:cubicBezTo>
                      <a:cubicBezTo>
                        <a:pt x="1" y="3"/>
                        <a:pt x="1" y="3"/>
                        <a:pt x="1" y="3"/>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180" name="Freeform 2139"/>
                <p:cNvSpPr>
                  <a:spLocks/>
                </p:cNvSpPr>
                <p:nvPr/>
              </p:nvSpPr>
              <p:spPr bwMode="auto">
                <a:xfrm>
                  <a:off x="18078978" y="3165386"/>
                  <a:ext cx="0" cy="13827"/>
                </a:xfrm>
                <a:custGeom>
                  <a:avLst/>
                  <a:gdLst>
                    <a:gd name="T0" fmla="*/ 1 w 2"/>
                    <a:gd name="T1" fmla="*/ 0 h 2"/>
                    <a:gd name="T2" fmla="*/ 0 w 2"/>
                    <a:gd name="T3" fmla="*/ 2 h 2"/>
                    <a:gd name="T4" fmla="*/ 0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1"/>
                        <a:pt x="2" y="1"/>
                        <a:pt x="2"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81" name="Freeform 2140"/>
                <p:cNvSpPr>
                  <a:spLocks/>
                </p:cNvSpPr>
                <p:nvPr/>
              </p:nvSpPr>
              <p:spPr bwMode="auto">
                <a:xfrm>
                  <a:off x="18039353" y="3137723"/>
                  <a:ext cx="13211" cy="0"/>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0" y="5"/>
                        <a:pt x="0" y="5"/>
                        <a:pt x="0" y="5"/>
                      </a:cubicBezTo>
                      <a:cubicBezTo>
                        <a:pt x="1" y="5"/>
                        <a:pt x="1" y="5"/>
                        <a:pt x="1" y="5"/>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82" name="Freeform 2141"/>
                <p:cNvSpPr>
                  <a:spLocks/>
                </p:cNvSpPr>
                <p:nvPr/>
              </p:nvSpPr>
              <p:spPr bwMode="auto">
                <a:xfrm>
                  <a:off x="18052564" y="3137723"/>
                  <a:ext cx="13203" cy="27664"/>
                </a:xfrm>
                <a:custGeom>
                  <a:avLst/>
                  <a:gdLst>
                    <a:gd name="T0" fmla="*/ 3 w 4"/>
                    <a:gd name="T1" fmla="*/ 0 h 4"/>
                    <a:gd name="T2" fmla="*/ 0 w 4"/>
                    <a:gd name="T3" fmla="*/ 4 h 4"/>
                    <a:gd name="T4" fmla="*/ 1 w 4"/>
                    <a:gd name="T5" fmla="*/ 4 h 4"/>
                    <a:gd name="T6" fmla="*/ 4 w 4"/>
                    <a:gd name="T7" fmla="*/ 1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1" y="4"/>
                      </a:cubicBezTo>
                      <a:cubicBezTo>
                        <a:pt x="4" y="1"/>
                        <a:pt x="4" y="1"/>
                        <a:pt x="4" y="1"/>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183" name="Freeform 2142"/>
                <p:cNvSpPr>
                  <a:spLocks/>
                </p:cNvSpPr>
                <p:nvPr/>
              </p:nvSpPr>
              <p:spPr bwMode="auto">
                <a:xfrm>
                  <a:off x="18039353" y="3123886"/>
                  <a:ext cx="0" cy="13836"/>
                </a:xfrm>
                <a:custGeom>
                  <a:avLst/>
                  <a:gdLst>
                    <a:gd name="T0" fmla="*/ 5 w 5"/>
                    <a:gd name="T1" fmla="*/ 0 h 7"/>
                    <a:gd name="T2" fmla="*/ 0 w 5"/>
                    <a:gd name="T3" fmla="*/ 6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84" name="Freeform 2143"/>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85" name="Freeform 2144"/>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86" name="Freeform 2145"/>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0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1187" name="Freeform 2146"/>
                <p:cNvSpPr>
                  <a:spLocks/>
                </p:cNvSpPr>
                <p:nvPr/>
              </p:nvSpPr>
              <p:spPr bwMode="auto">
                <a:xfrm>
                  <a:off x="18039353" y="3137723"/>
                  <a:ext cx="26414" cy="13827"/>
                </a:xfrm>
                <a:custGeom>
                  <a:avLst/>
                  <a:gdLst>
                    <a:gd name="T0" fmla="*/ 3 w 4"/>
                    <a:gd name="T1" fmla="*/ 0 h 4"/>
                    <a:gd name="T2" fmla="*/ 0 w 4"/>
                    <a:gd name="T3" fmla="*/ 4 h 4"/>
                    <a:gd name="T4" fmla="*/ 0 w 4"/>
                    <a:gd name="T5" fmla="*/ 4 h 4"/>
                    <a:gd name="T6" fmla="*/ 4 w 4"/>
                    <a:gd name="T7" fmla="*/ 0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0" y="4"/>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188" name="Freeform 2147"/>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1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1189" name="Freeform 2148"/>
                <p:cNvSpPr>
                  <a:spLocks/>
                </p:cNvSpPr>
                <p:nvPr/>
              </p:nvSpPr>
              <p:spPr bwMode="auto">
                <a:xfrm>
                  <a:off x="18078978" y="3179214"/>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90" name="Freeform 2149"/>
                <p:cNvSpPr>
                  <a:spLocks/>
                </p:cNvSpPr>
                <p:nvPr/>
              </p:nvSpPr>
              <p:spPr bwMode="auto">
                <a:xfrm>
                  <a:off x="17907284" y="3054732"/>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91" name="Freeform 2150"/>
                <p:cNvSpPr>
                  <a:spLocks/>
                </p:cNvSpPr>
                <p:nvPr/>
              </p:nvSpPr>
              <p:spPr bwMode="auto">
                <a:xfrm>
                  <a:off x="17920495" y="3054732"/>
                  <a:ext cx="13203" cy="13827"/>
                </a:xfrm>
                <a:custGeom>
                  <a:avLst/>
                  <a:gdLst>
                    <a:gd name="T0" fmla="*/ 1 w 2"/>
                    <a:gd name="T1" fmla="*/ 0 h 2"/>
                    <a:gd name="T2" fmla="*/ 0 w 2"/>
                    <a:gd name="T3" fmla="*/ 2 h 2"/>
                    <a:gd name="T4" fmla="*/ 0 w 2"/>
                    <a:gd name="T5" fmla="*/ 2 h 2"/>
                    <a:gd name="T6" fmla="*/ 2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0"/>
                        <a:pt x="2" y="0"/>
                        <a:pt x="2"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92" name="Freeform 2151"/>
                <p:cNvSpPr>
                  <a:spLocks/>
                </p:cNvSpPr>
                <p:nvPr/>
              </p:nvSpPr>
              <p:spPr bwMode="auto">
                <a:xfrm>
                  <a:off x="17907284" y="3054732"/>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193" name="Freeform 2152"/>
                <p:cNvSpPr>
                  <a:spLocks/>
                </p:cNvSpPr>
                <p:nvPr/>
              </p:nvSpPr>
              <p:spPr bwMode="auto">
                <a:xfrm>
                  <a:off x="17920495" y="3054732"/>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194" name="Freeform 2153"/>
                <p:cNvSpPr>
                  <a:spLocks/>
                </p:cNvSpPr>
                <p:nvPr/>
              </p:nvSpPr>
              <p:spPr bwMode="auto">
                <a:xfrm>
                  <a:off x="17920495" y="3054732"/>
                  <a:ext cx="13203" cy="13827"/>
                </a:xfrm>
                <a:custGeom>
                  <a:avLst/>
                  <a:gdLst>
                    <a:gd name="T0" fmla="*/ 2 w 2"/>
                    <a:gd name="T1" fmla="*/ 0 h 2"/>
                    <a:gd name="T2" fmla="*/ 0 w 2"/>
                    <a:gd name="T3" fmla="*/ 2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1" y="2"/>
                        <a:pt x="1" y="2"/>
                        <a:pt x="1"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195" name="Freeform 2154"/>
                <p:cNvSpPr>
                  <a:spLocks/>
                </p:cNvSpPr>
                <p:nvPr/>
              </p:nvSpPr>
              <p:spPr bwMode="auto">
                <a:xfrm>
                  <a:off x="18012939" y="3096223"/>
                  <a:ext cx="26414" cy="41500"/>
                </a:xfrm>
                <a:custGeom>
                  <a:avLst/>
                  <a:gdLst>
                    <a:gd name="T0" fmla="*/ 6 w 6"/>
                    <a:gd name="T1" fmla="*/ 0 h 8"/>
                    <a:gd name="T2" fmla="*/ 0 w 6"/>
                    <a:gd name="T3" fmla="*/ 8 h 8"/>
                    <a:gd name="T4" fmla="*/ 1 w 6"/>
                    <a:gd name="T5" fmla="*/ 8 h 8"/>
                    <a:gd name="T6" fmla="*/ 6 w 6"/>
                    <a:gd name="T7" fmla="*/ 1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1"/>
                        <a:pt x="6" y="1"/>
                        <a:pt x="6" y="1"/>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1196" name="Freeform 2155"/>
                <p:cNvSpPr>
                  <a:spLocks/>
                </p:cNvSpPr>
                <p:nvPr/>
              </p:nvSpPr>
              <p:spPr bwMode="auto">
                <a:xfrm>
                  <a:off x="17986525" y="3082395"/>
                  <a:ext cx="13211" cy="13827"/>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97" name="Freeform 2156"/>
                <p:cNvSpPr>
                  <a:spLocks/>
                </p:cNvSpPr>
                <p:nvPr/>
              </p:nvSpPr>
              <p:spPr bwMode="auto">
                <a:xfrm>
                  <a:off x="17986525" y="3082395"/>
                  <a:ext cx="13211" cy="27664"/>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98" name="Freeform 2157"/>
                <p:cNvSpPr>
                  <a:spLocks/>
                </p:cNvSpPr>
                <p:nvPr/>
              </p:nvSpPr>
              <p:spPr bwMode="auto">
                <a:xfrm>
                  <a:off x="17973322" y="3082395"/>
                  <a:ext cx="26414" cy="13827"/>
                </a:xfrm>
                <a:custGeom>
                  <a:avLst/>
                  <a:gdLst>
                    <a:gd name="T0" fmla="*/ 5 w 5"/>
                    <a:gd name="T1" fmla="*/ 0 h 7"/>
                    <a:gd name="T2" fmla="*/ 0 w 5"/>
                    <a:gd name="T3" fmla="*/ 7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1" y="7"/>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199" name="Freeform 2158"/>
                <p:cNvSpPr>
                  <a:spLocks/>
                </p:cNvSpPr>
                <p:nvPr/>
              </p:nvSpPr>
              <p:spPr bwMode="auto">
                <a:xfrm>
                  <a:off x="17999736" y="3082395"/>
                  <a:ext cx="13203" cy="27664"/>
                </a:xfrm>
                <a:custGeom>
                  <a:avLst/>
                  <a:gdLst>
                    <a:gd name="T0" fmla="*/ 5 w 6"/>
                    <a:gd name="T1" fmla="*/ 0 h 8"/>
                    <a:gd name="T2" fmla="*/ 0 w 6"/>
                    <a:gd name="T3" fmla="*/ 8 h 8"/>
                    <a:gd name="T4" fmla="*/ 0 w 6"/>
                    <a:gd name="T5" fmla="*/ 8 h 8"/>
                    <a:gd name="T6" fmla="*/ 6 w 6"/>
                    <a:gd name="T7" fmla="*/ 1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1"/>
                        <a:pt x="6" y="1"/>
                        <a:pt x="6"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200" name="Freeform 2159"/>
                <p:cNvSpPr>
                  <a:spLocks/>
                </p:cNvSpPr>
                <p:nvPr/>
              </p:nvSpPr>
              <p:spPr bwMode="auto">
                <a:xfrm>
                  <a:off x="17999736" y="3096223"/>
                  <a:ext cx="39617" cy="41500"/>
                </a:xfrm>
                <a:custGeom>
                  <a:avLst/>
                  <a:gdLst>
                    <a:gd name="T0" fmla="*/ 6 w 6"/>
                    <a:gd name="T1" fmla="*/ 0 h 8"/>
                    <a:gd name="T2" fmla="*/ 0 w 6"/>
                    <a:gd name="T3" fmla="*/ 8 h 8"/>
                    <a:gd name="T4" fmla="*/ 0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0" y="8"/>
                        <a:pt x="0"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1201" name="Freeform 2160"/>
                <p:cNvSpPr>
                  <a:spLocks/>
                </p:cNvSpPr>
                <p:nvPr/>
              </p:nvSpPr>
              <p:spPr bwMode="auto">
                <a:xfrm>
                  <a:off x="17973322" y="3082395"/>
                  <a:ext cx="26414" cy="13827"/>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202" name="Freeform 2161"/>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1203" name="Freeform 2162"/>
                <p:cNvSpPr>
                  <a:spLocks/>
                </p:cNvSpPr>
                <p:nvPr/>
              </p:nvSpPr>
              <p:spPr bwMode="auto">
                <a:xfrm>
                  <a:off x="17933697" y="3054732"/>
                  <a:ext cx="13211" cy="27664"/>
                </a:xfrm>
                <a:custGeom>
                  <a:avLst/>
                  <a:gdLst>
                    <a:gd name="T0" fmla="*/ 2 w 2"/>
                    <a:gd name="T1" fmla="*/ 0 h 3"/>
                    <a:gd name="T2" fmla="*/ 0 w 2"/>
                    <a:gd name="T3" fmla="*/ 3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204" name="Freeform 2163"/>
                <p:cNvSpPr>
                  <a:spLocks/>
                </p:cNvSpPr>
                <p:nvPr/>
              </p:nvSpPr>
              <p:spPr bwMode="auto">
                <a:xfrm>
                  <a:off x="17999736" y="3096223"/>
                  <a:ext cx="13203" cy="13836"/>
                </a:xfrm>
                <a:custGeom>
                  <a:avLst/>
                  <a:gdLst>
                    <a:gd name="T0" fmla="*/ 6 w 6"/>
                    <a:gd name="T1" fmla="*/ 0 h 8"/>
                    <a:gd name="T2" fmla="*/ 0 w 6"/>
                    <a:gd name="T3" fmla="*/ 8 h 8"/>
                    <a:gd name="T4" fmla="*/ 1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1205" name="Freeform 2164"/>
                <p:cNvSpPr>
                  <a:spLocks/>
                </p:cNvSpPr>
                <p:nvPr/>
              </p:nvSpPr>
              <p:spPr bwMode="auto">
                <a:xfrm>
                  <a:off x="17946908" y="3068559"/>
                  <a:ext cx="13203" cy="13836"/>
                </a:xfrm>
                <a:custGeom>
                  <a:avLst/>
                  <a:gdLst>
                    <a:gd name="T0" fmla="*/ 2 w 3"/>
                    <a:gd name="T1" fmla="*/ 0 h 4"/>
                    <a:gd name="T2" fmla="*/ 0 w 3"/>
                    <a:gd name="T3" fmla="*/ 4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4"/>
                        <a:pt x="0" y="4"/>
                        <a:pt x="0" y="4"/>
                      </a:cubicBezTo>
                      <a:cubicBezTo>
                        <a:pt x="0" y="4"/>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206" name="Freeform 2165"/>
                <p:cNvSpPr>
                  <a:spLocks/>
                </p:cNvSpPr>
                <p:nvPr/>
              </p:nvSpPr>
              <p:spPr bwMode="auto">
                <a:xfrm>
                  <a:off x="17946908" y="3054732"/>
                  <a:ext cx="13203" cy="27664"/>
                </a:xfrm>
                <a:custGeom>
                  <a:avLst/>
                  <a:gdLst>
                    <a:gd name="T0" fmla="*/ 3 w 3"/>
                    <a:gd name="T1" fmla="*/ 0 h 4"/>
                    <a:gd name="T2" fmla="*/ 0 w 3"/>
                    <a:gd name="T3" fmla="*/ 4 h 4"/>
                    <a:gd name="T4" fmla="*/ 1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0" y="4"/>
                        <a:pt x="0" y="4"/>
                        <a:pt x="0" y="4"/>
                      </a:cubicBezTo>
                      <a:cubicBezTo>
                        <a:pt x="0" y="4"/>
                        <a:pt x="1" y="4"/>
                        <a:pt x="1" y="4"/>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207" name="Freeform 2166"/>
                <p:cNvSpPr>
                  <a:spLocks/>
                </p:cNvSpPr>
                <p:nvPr/>
              </p:nvSpPr>
              <p:spPr bwMode="auto">
                <a:xfrm>
                  <a:off x="17933697" y="3054732"/>
                  <a:ext cx="13211" cy="27664"/>
                </a:xfrm>
                <a:custGeom>
                  <a:avLst/>
                  <a:gdLst>
                    <a:gd name="T0" fmla="*/ 2 w 3"/>
                    <a:gd name="T1" fmla="*/ 0 h 4"/>
                    <a:gd name="T2" fmla="*/ 0 w 3"/>
                    <a:gd name="T3" fmla="*/ 3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3"/>
                        <a:pt x="0" y="3"/>
                        <a:pt x="0" y="3"/>
                      </a:cubicBezTo>
                      <a:cubicBezTo>
                        <a:pt x="0" y="3"/>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1208" name="Freeform 2167"/>
                <p:cNvSpPr>
                  <a:spLocks/>
                </p:cNvSpPr>
                <p:nvPr/>
              </p:nvSpPr>
              <p:spPr bwMode="auto">
                <a:xfrm>
                  <a:off x="17960111" y="3068559"/>
                  <a:ext cx="26414" cy="27664"/>
                </a:xfrm>
                <a:custGeom>
                  <a:avLst/>
                  <a:gdLst>
                    <a:gd name="T0" fmla="*/ 4 w 4"/>
                    <a:gd name="T1" fmla="*/ 0 h 7"/>
                    <a:gd name="T2" fmla="*/ 0 w 4"/>
                    <a:gd name="T3" fmla="*/ 6 h 7"/>
                    <a:gd name="T4" fmla="*/ 0 w 4"/>
                    <a:gd name="T5" fmla="*/ 7 h 7"/>
                    <a:gd name="T6" fmla="*/ 4 w 4"/>
                    <a:gd name="T7" fmla="*/ 0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cubicBezTo>
                        <a:pt x="0" y="6"/>
                        <a:pt x="0" y="6"/>
                        <a:pt x="0" y="6"/>
                      </a:cubicBezTo>
                      <a:cubicBezTo>
                        <a:pt x="0" y="7"/>
                        <a:pt x="0" y="7"/>
                        <a:pt x="0" y="7"/>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1209" name="Freeform 2168"/>
                <p:cNvSpPr>
                  <a:spLocks/>
                </p:cNvSpPr>
                <p:nvPr/>
              </p:nvSpPr>
              <p:spPr bwMode="auto">
                <a:xfrm>
                  <a:off x="17960111" y="3068559"/>
                  <a:ext cx="13211" cy="27664"/>
                </a:xfrm>
                <a:custGeom>
                  <a:avLst/>
                  <a:gdLst>
                    <a:gd name="T0" fmla="*/ 3 w 4"/>
                    <a:gd name="T1" fmla="*/ 0 h 6"/>
                    <a:gd name="T2" fmla="*/ 0 w 4"/>
                    <a:gd name="T3" fmla="*/ 6 h 6"/>
                    <a:gd name="T4" fmla="*/ 0 w 4"/>
                    <a:gd name="T5" fmla="*/ 6 h 6"/>
                    <a:gd name="T6" fmla="*/ 4 w 4"/>
                    <a:gd name="T7" fmla="*/ 0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cubicBezTo>
                        <a:pt x="0" y="6"/>
                        <a:pt x="0" y="6"/>
                        <a:pt x="0" y="6"/>
                      </a:cubicBezTo>
                      <a:cubicBezTo>
                        <a:pt x="0" y="6"/>
                        <a:pt x="0" y="6"/>
                        <a:pt x="0" y="6"/>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210" name="Freeform 2169"/>
                <p:cNvSpPr>
                  <a:spLocks/>
                </p:cNvSpPr>
                <p:nvPr/>
              </p:nvSpPr>
              <p:spPr bwMode="auto">
                <a:xfrm>
                  <a:off x="17960111" y="3068559"/>
                  <a:ext cx="0" cy="27664"/>
                </a:xfrm>
                <a:custGeom>
                  <a:avLst/>
                  <a:gdLst>
                    <a:gd name="T0" fmla="*/ 3 w 4"/>
                    <a:gd name="T1" fmla="*/ 0 h 5"/>
                    <a:gd name="T2" fmla="*/ 0 w 4"/>
                    <a:gd name="T3" fmla="*/ 5 h 5"/>
                    <a:gd name="T4" fmla="*/ 0 w 4"/>
                    <a:gd name="T5" fmla="*/ 5 h 5"/>
                    <a:gd name="T6" fmla="*/ 4 w 4"/>
                    <a:gd name="T7" fmla="*/ 0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0" y="5"/>
                        <a:pt x="0" y="5"/>
                        <a:pt x="0" y="5"/>
                      </a:cubicBezTo>
                      <a:cubicBezTo>
                        <a:pt x="0" y="5"/>
                        <a:pt x="0" y="5"/>
                        <a:pt x="0" y="5"/>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1211" name="Freeform 2170"/>
                <p:cNvSpPr>
                  <a:spLocks/>
                </p:cNvSpPr>
                <p:nvPr/>
              </p:nvSpPr>
              <p:spPr bwMode="auto">
                <a:xfrm>
                  <a:off x="17960111" y="3068559"/>
                  <a:ext cx="13211" cy="27664"/>
                </a:xfrm>
                <a:custGeom>
                  <a:avLst/>
                  <a:gdLst>
                    <a:gd name="T0" fmla="*/ 4 w 4"/>
                    <a:gd name="T1" fmla="*/ 0 h 6"/>
                    <a:gd name="T2" fmla="*/ 0 w 4"/>
                    <a:gd name="T3" fmla="*/ 6 h 6"/>
                    <a:gd name="T4" fmla="*/ 1 w 4"/>
                    <a:gd name="T5" fmla="*/ 6 h 6"/>
                    <a:gd name="T6" fmla="*/ 4 w 4"/>
                    <a:gd name="T7" fmla="*/ 1 h 6"/>
                    <a:gd name="T8" fmla="*/ 4 w 4"/>
                    <a:gd name="T9" fmla="*/ 0 h 6"/>
                  </a:gdLst>
                  <a:ahLst/>
                  <a:cxnLst>
                    <a:cxn ang="0">
                      <a:pos x="T0" y="T1"/>
                    </a:cxn>
                    <a:cxn ang="0">
                      <a:pos x="T2" y="T3"/>
                    </a:cxn>
                    <a:cxn ang="0">
                      <a:pos x="T4" y="T5"/>
                    </a:cxn>
                    <a:cxn ang="0">
                      <a:pos x="T6" y="T7"/>
                    </a:cxn>
                    <a:cxn ang="0">
                      <a:pos x="T8" y="T9"/>
                    </a:cxn>
                  </a:cxnLst>
                  <a:rect l="0" t="0" r="r" b="b"/>
                  <a:pathLst>
                    <a:path w="4" h="6">
                      <a:moveTo>
                        <a:pt x="4" y="0"/>
                      </a:moveTo>
                      <a:cubicBezTo>
                        <a:pt x="0" y="6"/>
                        <a:pt x="0" y="6"/>
                        <a:pt x="0" y="6"/>
                      </a:cubicBezTo>
                      <a:cubicBezTo>
                        <a:pt x="0" y="6"/>
                        <a:pt x="0" y="6"/>
                        <a:pt x="1" y="6"/>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1212" name="Freeform 2171"/>
                <p:cNvSpPr>
                  <a:spLocks/>
                </p:cNvSpPr>
                <p:nvPr/>
              </p:nvSpPr>
              <p:spPr bwMode="auto">
                <a:xfrm>
                  <a:off x="16745075" y="3040895"/>
                  <a:ext cx="0" cy="0"/>
                </a:xfrm>
                <a:custGeom>
                  <a:avLst/>
                  <a:gdLst>
                    <a:gd name="T0" fmla="*/ 0 w 2"/>
                    <a:gd name="T1" fmla="*/ 0 h 3"/>
                    <a:gd name="T2" fmla="*/ 0 w 2"/>
                    <a:gd name="T3" fmla="*/ 0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1" y="3"/>
                        <a:pt x="1" y="3"/>
                        <a:pt x="1" y="3"/>
                      </a:cubicBezTo>
                      <a:cubicBezTo>
                        <a:pt x="1" y="3"/>
                        <a:pt x="1" y="2"/>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13" name="Freeform 2172"/>
                <p:cNvSpPr>
                  <a:spLocks/>
                </p:cNvSpPr>
                <p:nvPr/>
              </p:nvSpPr>
              <p:spPr bwMode="auto">
                <a:xfrm>
                  <a:off x="16731872" y="3040895"/>
                  <a:ext cx="13203" cy="0"/>
                </a:xfrm>
                <a:custGeom>
                  <a:avLst/>
                  <a:gdLst>
                    <a:gd name="T0" fmla="*/ 0 w 1"/>
                    <a:gd name="T1" fmla="*/ 0 h 2"/>
                    <a:gd name="T2" fmla="*/ 0 w 1"/>
                    <a:gd name="T3" fmla="*/ 1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2"/>
                        <a:pt x="0" y="2"/>
                        <a:pt x="0" y="2"/>
                      </a:cubicBezTo>
                      <a:cubicBezTo>
                        <a:pt x="0"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14" name="Freeform 2173"/>
                <p:cNvSpPr>
                  <a:spLocks/>
                </p:cNvSpPr>
                <p:nvPr/>
              </p:nvSpPr>
              <p:spPr bwMode="auto">
                <a:xfrm>
                  <a:off x="16745075" y="3040895"/>
                  <a:ext cx="0" cy="0"/>
                </a:xfrm>
                <a:custGeom>
                  <a:avLst/>
                  <a:gdLst>
                    <a:gd name="T0" fmla="*/ 0 w 2"/>
                    <a:gd name="T1" fmla="*/ 0 h 3"/>
                    <a:gd name="T2" fmla="*/ 0 w 2"/>
                    <a:gd name="T3" fmla="*/ 1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1"/>
                        <a:pt x="0" y="1"/>
                        <a:pt x="0" y="1"/>
                      </a:cubicBezTo>
                      <a:cubicBezTo>
                        <a:pt x="1" y="3"/>
                        <a:pt x="1" y="3"/>
                        <a:pt x="1" y="3"/>
                      </a:cubicBezTo>
                      <a:cubicBezTo>
                        <a:pt x="1" y="3"/>
                        <a:pt x="1" y="3"/>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15" name="Freeform 2174"/>
                <p:cNvSpPr>
                  <a:spLocks/>
                </p:cNvSpPr>
                <p:nvPr/>
              </p:nvSpPr>
              <p:spPr bwMode="auto">
                <a:xfrm>
                  <a:off x="16718661" y="3040895"/>
                  <a:ext cx="13211"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16" name="Freeform 2175"/>
                <p:cNvSpPr>
                  <a:spLocks/>
                </p:cNvSpPr>
                <p:nvPr/>
              </p:nvSpPr>
              <p:spPr bwMode="auto">
                <a:xfrm>
                  <a:off x="16745075" y="3013232"/>
                  <a:ext cx="13211" cy="27664"/>
                </a:xfrm>
                <a:custGeom>
                  <a:avLst/>
                  <a:gdLst>
                    <a:gd name="T0" fmla="*/ 0 w 2"/>
                    <a:gd name="T1" fmla="*/ 0 h 5"/>
                    <a:gd name="T2" fmla="*/ 0 w 2"/>
                    <a:gd name="T3" fmla="*/ 1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1"/>
                        <a:pt x="0" y="1"/>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17" name="Freeform 2176"/>
                <p:cNvSpPr>
                  <a:spLocks/>
                </p:cNvSpPr>
                <p:nvPr/>
              </p:nvSpPr>
              <p:spPr bwMode="auto">
                <a:xfrm>
                  <a:off x="16758286" y="3013232"/>
                  <a:ext cx="13203" cy="13836"/>
                </a:xfrm>
                <a:custGeom>
                  <a:avLst/>
                  <a:gdLst>
                    <a:gd name="T0" fmla="*/ 1 w 3"/>
                    <a:gd name="T1" fmla="*/ 0 h 5"/>
                    <a:gd name="T2" fmla="*/ 0 w 3"/>
                    <a:gd name="T3" fmla="*/ 1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0" y="1"/>
                        <a:pt x="0" y="1"/>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18" name="Freeform 2177"/>
                <p:cNvSpPr>
                  <a:spLocks/>
                </p:cNvSpPr>
                <p:nvPr/>
              </p:nvSpPr>
              <p:spPr bwMode="auto">
                <a:xfrm>
                  <a:off x="16745075" y="3027068"/>
                  <a:ext cx="13211" cy="13827"/>
                </a:xfrm>
                <a:custGeom>
                  <a:avLst/>
                  <a:gdLst>
                    <a:gd name="T0" fmla="*/ 1 w 3"/>
                    <a:gd name="T1" fmla="*/ 0 h 4"/>
                    <a:gd name="T2" fmla="*/ 0 w 3"/>
                    <a:gd name="T3" fmla="*/ 0 h 4"/>
                    <a:gd name="T4" fmla="*/ 2 w 3"/>
                    <a:gd name="T5" fmla="*/ 4 h 4"/>
                    <a:gd name="T6" fmla="*/ 3 w 3"/>
                    <a:gd name="T7" fmla="*/ 3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0" y="0"/>
                        <a:pt x="0" y="0"/>
                        <a:pt x="0" y="0"/>
                      </a:cubicBezTo>
                      <a:cubicBezTo>
                        <a:pt x="2" y="4"/>
                        <a:pt x="2" y="4"/>
                        <a:pt x="2" y="4"/>
                      </a:cubicBezTo>
                      <a:cubicBezTo>
                        <a:pt x="2" y="3"/>
                        <a:pt x="2" y="3"/>
                        <a:pt x="3"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19" name="Freeform 2178"/>
                <p:cNvSpPr>
                  <a:spLocks/>
                </p:cNvSpPr>
                <p:nvPr/>
              </p:nvSpPr>
              <p:spPr bwMode="auto">
                <a:xfrm>
                  <a:off x="16718661" y="30547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20" name="Freeform 2179"/>
                <p:cNvSpPr>
                  <a:spLocks/>
                </p:cNvSpPr>
                <p:nvPr/>
              </p:nvSpPr>
              <p:spPr bwMode="auto">
                <a:xfrm>
                  <a:off x="16758286" y="2999404"/>
                  <a:ext cx="26414" cy="27664"/>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1" name="Freeform 2180"/>
                <p:cNvSpPr>
                  <a:spLocks/>
                </p:cNvSpPr>
                <p:nvPr/>
              </p:nvSpPr>
              <p:spPr bwMode="auto">
                <a:xfrm>
                  <a:off x="17141282" y="290257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22" name="Freeform 2181"/>
                <p:cNvSpPr>
                  <a:spLocks/>
                </p:cNvSpPr>
                <p:nvPr/>
              </p:nvSpPr>
              <p:spPr bwMode="auto">
                <a:xfrm>
                  <a:off x="17128079"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3" name="Freeform 2182"/>
                <p:cNvSpPr>
                  <a:spLocks/>
                </p:cNvSpPr>
                <p:nvPr/>
              </p:nvSpPr>
              <p:spPr bwMode="auto">
                <a:xfrm>
                  <a:off x="17062041" y="2916414"/>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4" name="Freeform 2183"/>
                <p:cNvSpPr>
                  <a:spLocks/>
                </p:cNvSpPr>
                <p:nvPr/>
              </p:nvSpPr>
              <p:spPr bwMode="auto">
                <a:xfrm>
                  <a:off x="17062041" y="2916414"/>
                  <a:ext cx="13211"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5" name="Freeform 2184"/>
                <p:cNvSpPr>
                  <a:spLocks/>
                </p:cNvSpPr>
                <p:nvPr/>
              </p:nvSpPr>
              <p:spPr bwMode="auto">
                <a:xfrm>
                  <a:off x="17075252" y="2916414"/>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6" name="Freeform 2185"/>
                <p:cNvSpPr>
                  <a:spLocks/>
                </p:cNvSpPr>
                <p:nvPr/>
              </p:nvSpPr>
              <p:spPr bwMode="auto">
                <a:xfrm>
                  <a:off x="17088455" y="2916414"/>
                  <a:ext cx="0"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7" name="Freeform 2186"/>
                <p:cNvSpPr>
                  <a:spLocks/>
                </p:cNvSpPr>
                <p:nvPr/>
              </p:nvSpPr>
              <p:spPr bwMode="auto">
                <a:xfrm>
                  <a:off x="17114868"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28" name="Freeform 2187"/>
                <p:cNvSpPr>
                  <a:spLocks/>
                </p:cNvSpPr>
                <p:nvPr/>
              </p:nvSpPr>
              <p:spPr bwMode="auto">
                <a:xfrm>
                  <a:off x="17101666" y="2902577"/>
                  <a:ext cx="13203"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29" name="Freeform 2188"/>
                <p:cNvSpPr>
                  <a:spLocks/>
                </p:cNvSpPr>
                <p:nvPr/>
              </p:nvSpPr>
              <p:spPr bwMode="auto">
                <a:xfrm>
                  <a:off x="17101666" y="2916414"/>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30" name="Freeform 2189"/>
                <p:cNvSpPr>
                  <a:spLocks/>
                </p:cNvSpPr>
                <p:nvPr/>
              </p:nvSpPr>
              <p:spPr bwMode="auto">
                <a:xfrm>
                  <a:off x="17101666" y="2902577"/>
                  <a:ext cx="0" cy="13836"/>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31" name="Freeform 2190"/>
                <p:cNvSpPr>
                  <a:spLocks/>
                </p:cNvSpPr>
                <p:nvPr/>
              </p:nvSpPr>
              <p:spPr bwMode="auto">
                <a:xfrm>
                  <a:off x="16837527" y="2985568"/>
                  <a:ext cx="13203" cy="13836"/>
                </a:xfrm>
                <a:custGeom>
                  <a:avLst/>
                  <a:gdLst>
                    <a:gd name="T0" fmla="*/ 1 w 2"/>
                    <a:gd name="T1" fmla="*/ 0 h 3"/>
                    <a:gd name="T2" fmla="*/ 0 w 2"/>
                    <a:gd name="T3" fmla="*/ 0 h 3"/>
                    <a:gd name="T4" fmla="*/ 2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0"/>
                        <a:pt x="0" y="0"/>
                      </a:cubicBezTo>
                      <a:cubicBezTo>
                        <a:pt x="2" y="3"/>
                        <a:pt x="2" y="3"/>
                        <a:pt x="2" y="3"/>
                      </a:cubicBezTo>
                      <a:cubicBezTo>
                        <a:pt x="2" y="3"/>
                        <a:pt x="2" y="3"/>
                        <a:pt x="2"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32" name="Freeform 2191"/>
                <p:cNvSpPr>
                  <a:spLocks/>
                </p:cNvSpPr>
                <p:nvPr/>
              </p:nvSpPr>
              <p:spPr bwMode="auto">
                <a:xfrm>
                  <a:off x="16877144" y="2971741"/>
                  <a:ext cx="0" cy="13827"/>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33" name="Freeform 2192"/>
                <p:cNvSpPr>
                  <a:spLocks/>
                </p:cNvSpPr>
                <p:nvPr/>
              </p:nvSpPr>
              <p:spPr bwMode="auto">
                <a:xfrm>
                  <a:off x="16863941" y="2971741"/>
                  <a:ext cx="0" cy="13827"/>
                </a:xfrm>
                <a:custGeom>
                  <a:avLst/>
                  <a:gdLst>
                    <a:gd name="T0" fmla="*/ 1 w 1"/>
                    <a:gd name="T1" fmla="*/ 0 h 2"/>
                    <a:gd name="T2" fmla="*/ 0 w 1"/>
                    <a:gd name="T3" fmla="*/ 0 h 2"/>
                    <a:gd name="T4" fmla="*/ 1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0"/>
                      </a:cubicBezTo>
                      <a:cubicBezTo>
                        <a:pt x="1" y="2"/>
                        <a:pt x="1" y="2"/>
                        <a:pt x="1" y="2"/>
                      </a:cubicBezTo>
                      <a:cubicBezTo>
                        <a:pt x="1" y="2"/>
                        <a:pt x="1" y="2"/>
                        <a:pt x="1" y="2"/>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34" name="Freeform 2193"/>
                <p:cNvSpPr>
                  <a:spLocks/>
                </p:cNvSpPr>
                <p:nvPr/>
              </p:nvSpPr>
              <p:spPr bwMode="auto">
                <a:xfrm>
                  <a:off x="16850730" y="2985568"/>
                  <a:ext cx="13211" cy="0"/>
                </a:xfrm>
                <a:custGeom>
                  <a:avLst/>
                  <a:gdLst>
                    <a:gd name="T0" fmla="*/ 0 w 1"/>
                    <a:gd name="T1" fmla="*/ 0 h 2"/>
                    <a:gd name="T2" fmla="*/ 0 w 1"/>
                    <a:gd name="T3" fmla="*/ 0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1" y="2"/>
                        <a:pt x="1" y="2"/>
                        <a:pt x="1" y="2"/>
                      </a:cubicBezTo>
                      <a:cubicBezTo>
                        <a:pt x="1"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35" name="Oval 2194"/>
                <p:cNvSpPr>
                  <a:spLocks noChangeArrowheads="1"/>
                </p:cNvSpPr>
                <p:nvPr/>
              </p:nvSpPr>
              <p:spPr bwMode="auto">
                <a:xfrm>
                  <a:off x="16877144" y="2971741"/>
                  <a:ext cx="0" cy="13827"/>
                </a:xfrm>
                <a:prstGeom prst="ellipse">
                  <a:avLst/>
                </a:prstGeom>
                <a:solidFill>
                  <a:srgbClr val="02E3FC"/>
                </a:solidFill>
                <a:ln>
                  <a:noFill/>
                </a:ln>
                <a:extLst/>
              </p:spPr>
              <p:txBody>
                <a:bodyPr/>
                <a:lstStyle/>
                <a:p>
                  <a:pPr eaLnBrk="1" hangingPunct="1">
                    <a:defRPr/>
                  </a:pPr>
                  <a:endParaRPr lang="zh-CN" altLang="en-US" sz="1050"/>
                </a:p>
              </p:txBody>
            </p:sp>
            <p:sp>
              <p:nvSpPr>
                <p:cNvPr id="1236" name="Freeform 2195"/>
                <p:cNvSpPr>
                  <a:spLocks/>
                </p:cNvSpPr>
                <p:nvPr/>
              </p:nvSpPr>
              <p:spPr bwMode="auto">
                <a:xfrm>
                  <a:off x="16837527" y="2985568"/>
                  <a:ext cx="0" cy="13836"/>
                </a:xfrm>
                <a:custGeom>
                  <a:avLst/>
                  <a:gdLst>
                    <a:gd name="T0" fmla="*/ 1 w 2"/>
                    <a:gd name="T1" fmla="*/ 0 h 4"/>
                    <a:gd name="T2" fmla="*/ 0 w 2"/>
                    <a:gd name="T3" fmla="*/ 0 h 4"/>
                    <a:gd name="T4" fmla="*/ 2 w 2"/>
                    <a:gd name="T5" fmla="*/ 4 h 4"/>
                    <a:gd name="T6" fmla="*/ 2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0" y="0"/>
                        <a:pt x="0" y="0"/>
                      </a:cubicBezTo>
                      <a:cubicBezTo>
                        <a:pt x="2" y="4"/>
                        <a:pt x="2" y="4"/>
                        <a:pt x="2" y="4"/>
                      </a:cubicBezTo>
                      <a:cubicBezTo>
                        <a:pt x="2" y="4"/>
                        <a:pt x="2" y="4"/>
                        <a:pt x="2"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37" name="Freeform 2196"/>
                <p:cNvSpPr>
                  <a:spLocks/>
                </p:cNvSpPr>
                <p:nvPr/>
              </p:nvSpPr>
              <p:spPr bwMode="auto">
                <a:xfrm>
                  <a:off x="16784700" y="2999404"/>
                  <a:ext cx="13203"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38" name="Freeform 2197"/>
                <p:cNvSpPr>
                  <a:spLocks/>
                </p:cNvSpPr>
                <p:nvPr/>
              </p:nvSpPr>
              <p:spPr bwMode="auto">
                <a:xfrm>
                  <a:off x="16784700" y="2999404"/>
                  <a:ext cx="13203" cy="13827"/>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39" name="Freeform 2198"/>
                <p:cNvSpPr>
                  <a:spLocks/>
                </p:cNvSpPr>
                <p:nvPr/>
              </p:nvSpPr>
              <p:spPr bwMode="auto">
                <a:xfrm>
                  <a:off x="16797902" y="2985568"/>
                  <a:ext cx="13211" cy="13836"/>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40" name="Freeform 2199"/>
                <p:cNvSpPr>
                  <a:spLocks/>
                </p:cNvSpPr>
                <p:nvPr/>
              </p:nvSpPr>
              <p:spPr bwMode="auto">
                <a:xfrm>
                  <a:off x="16784700" y="2999404"/>
                  <a:ext cx="0"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41" name="Freeform 2200"/>
                <p:cNvSpPr>
                  <a:spLocks/>
                </p:cNvSpPr>
                <p:nvPr/>
              </p:nvSpPr>
              <p:spPr bwMode="auto">
                <a:xfrm>
                  <a:off x="16811113" y="2985568"/>
                  <a:ext cx="13203" cy="13836"/>
                </a:xfrm>
                <a:custGeom>
                  <a:avLst/>
                  <a:gdLst>
                    <a:gd name="T0" fmla="*/ 1 w 3"/>
                    <a:gd name="T1" fmla="*/ 0 h 5"/>
                    <a:gd name="T2" fmla="*/ 0 w 3"/>
                    <a:gd name="T3" fmla="*/ 0 h 5"/>
                    <a:gd name="T4" fmla="*/ 3 w 3"/>
                    <a:gd name="T5" fmla="*/ 5 h 5"/>
                    <a:gd name="T6" fmla="*/ 3 w 3"/>
                    <a:gd name="T7" fmla="*/ 4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4"/>
                        <a:pt x="3" y="4"/>
                        <a:pt x="3"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1242" name="Freeform 2201"/>
                <p:cNvSpPr>
                  <a:spLocks/>
                </p:cNvSpPr>
                <p:nvPr/>
              </p:nvSpPr>
              <p:spPr bwMode="auto">
                <a:xfrm>
                  <a:off x="16837527" y="2985568"/>
                  <a:ext cx="0" cy="13836"/>
                </a:xfrm>
                <a:custGeom>
                  <a:avLst/>
                  <a:gdLst>
                    <a:gd name="T0" fmla="*/ 0 w 2"/>
                    <a:gd name="T1" fmla="*/ 0 h 4"/>
                    <a:gd name="T2" fmla="*/ 0 w 2"/>
                    <a:gd name="T3" fmla="*/ 0 h 4"/>
                    <a:gd name="T4" fmla="*/ 2 w 2"/>
                    <a:gd name="T5" fmla="*/ 4 h 4"/>
                    <a:gd name="T6" fmla="*/ 2 w 2"/>
                    <a:gd name="T7" fmla="*/ 3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0" y="0"/>
                      </a:cubicBezTo>
                      <a:cubicBezTo>
                        <a:pt x="2" y="4"/>
                        <a:pt x="2" y="4"/>
                        <a:pt x="2" y="4"/>
                      </a:cubicBezTo>
                      <a:cubicBezTo>
                        <a:pt x="2" y="4"/>
                        <a:pt x="2" y="4"/>
                        <a:pt x="2" y="3"/>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43" name="Freeform 2202"/>
                <p:cNvSpPr>
                  <a:spLocks/>
                </p:cNvSpPr>
                <p:nvPr/>
              </p:nvSpPr>
              <p:spPr bwMode="auto">
                <a:xfrm>
                  <a:off x="16824316" y="2985568"/>
                  <a:ext cx="13211" cy="13836"/>
                </a:xfrm>
                <a:custGeom>
                  <a:avLst/>
                  <a:gdLst>
                    <a:gd name="T0" fmla="*/ 0 w 2"/>
                    <a:gd name="T1" fmla="*/ 0 h 5"/>
                    <a:gd name="T2" fmla="*/ 0 w 2"/>
                    <a:gd name="T3" fmla="*/ 0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0"/>
                        <a:pt x="0" y="0"/>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44" name="Freeform 2203"/>
                <p:cNvSpPr>
                  <a:spLocks/>
                </p:cNvSpPr>
                <p:nvPr/>
              </p:nvSpPr>
              <p:spPr bwMode="auto">
                <a:xfrm>
                  <a:off x="16771488" y="2999404"/>
                  <a:ext cx="13211" cy="27664"/>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1245" name="Freeform 2204"/>
                <p:cNvSpPr>
                  <a:spLocks/>
                </p:cNvSpPr>
                <p:nvPr/>
              </p:nvSpPr>
              <p:spPr bwMode="auto">
                <a:xfrm>
                  <a:off x="16018698" y="4382586"/>
                  <a:ext cx="462238" cy="622427"/>
                </a:xfrm>
                <a:custGeom>
                  <a:avLst/>
                  <a:gdLst>
                    <a:gd name="T0" fmla="*/ 50 w 126"/>
                    <a:gd name="T1" fmla="*/ 0 h 165"/>
                    <a:gd name="T2" fmla="*/ 0 w 126"/>
                    <a:gd name="T3" fmla="*/ 15 h 165"/>
                    <a:gd name="T4" fmla="*/ 89 w 126"/>
                    <a:gd name="T5" fmla="*/ 165 h 165"/>
                    <a:gd name="T6" fmla="*/ 100 w 126"/>
                    <a:gd name="T7" fmla="*/ 154 h 165"/>
                    <a:gd name="T8" fmla="*/ 44 w 126"/>
                    <a:gd name="T9" fmla="*/ 80 h 165"/>
                    <a:gd name="T10" fmla="*/ 66 w 126"/>
                    <a:gd name="T11" fmla="*/ 68 h 165"/>
                    <a:gd name="T12" fmla="*/ 118 w 126"/>
                    <a:gd name="T13" fmla="*/ 136 h 165"/>
                    <a:gd name="T14" fmla="*/ 126 w 126"/>
                    <a:gd name="T15" fmla="*/ 128 h 165"/>
                    <a:gd name="T16" fmla="*/ 50 w 126"/>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65">
                      <a:moveTo>
                        <a:pt x="50" y="0"/>
                      </a:moveTo>
                      <a:cubicBezTo>
                        <a:pt x="0" y="15"/>
                        <a:pt x="0" y="15"/>
                        <a:pt x="0" y="15"/>
                      </a:cubicBezTo>
                      <a:cubicBezTo>
                        <a:pt x="17" y="72"/>
                        <a:pt x="48" y="124"/>
                        <a:pt x="89" y="165"/>
                      </a:cubicBezTo>
                      <a:cubicBezTo>
                        <a:pt x="100" y="154"/>
                        <a:pt x="100" y="154"/>
                        <a:pt x="100" y="154"/>
                      </a:cubicBezTo>
                      <a:cubicBezTo>
                        <a:pt x="78" y="132"/>
                        <a:pt x="60" y="107"/>
                        <a:pt x="44" y="80"/>
                      </a:cubicBezTo>
                      <a:cubicBezTo>
                        <a:pt x="66" y="68"/>
                        <a:pt x="66" y="68"/>
                        <a:pt x="66" y="68"/>
                      </a:cubicBezTo>
                      <a:cubicBezTo>
                        <a:pt x="80" y="93"/>
                        <a:pt x="98" y="116"/>
                        <a:pt x="118" y="136"/>
                      </a:cubicBezTo>
                      <a:cubicBezTo>
                        <a:pt x="126" y="128"/>
                        <a:pt x="126" y="128"/>
                        <a:pt x="126" y="128"/>
                      </a:cubicBezTo>
                      <a:cubicBezTo>
                        <a:pt x="91" y="93"/>
                        <a:pt x="65" y="49"/>
                        <a:pt x="50" y="0"/>
                      </a:cubicBezTo>
                    </a:path>
                  </a:pathLst>
                </a:custGeom>
                <a:solidFill>
                  <a:srgbClr val="01AAE5"/>
                </a:solidFill>
                <a:ln>
                  <a:noFill/>
                </a:ln>
                <a:extLst/>
              </p:spPr>
              <p:txBody>
                <a:bodyPr/>
                <a:lstStyle/>
                <a:p>
                  <a:pPr eaLnBrk="1" hangingPunct="1">
                    <a:defRPr/>
                  </a:pPr>
                  <a:endParaRPr lang="zh-CN" altLang="en-US" sz="1050"/>
                </a:p>
              </p:txBody>
            </p:sp>
            <p:sp>
              <p:nvSpPr>
                <p:cNvPr id="1246" name="Freeform 2205"/>
                <p:cNvSpPr>
                  <a:spLocks/>
                </p:cNvSpPr>
                <p:nvPr/>
              </p:nvSpPr>
              <p:spPr bwMode="auto">
                <a:xfrm>
                  <a:off x="18395944" y="3898468"/>
                  <a:ext cx="211311" cy="733090"/>
                </a:xfrm>
                <a:custGeom>
                  <a:avLst/>
                  <a:gdLst>
                    <a:gd name="T0" fmla="*/ 56 w 58"/>
                    <a:gd name="T1" fmla="*/ 0 h 194"/>
                    <a:gd name="T2" fmla="*/ 31 w 58"/>
                    <a:gd name="T3" fmla="*/ 3 h 194"/>
                    <a:gd name="T4" fmla="*/ 33 w 58"/>
                    <a:gd name="T5" fmla="*/ 41 h 194"/>
                    <a:gd name="T6" fmla="*/ 0 w 58"/>
                    <a:gd name="T7" fmla="*/ 183 h 194"/>
                    <a:gd name="T8" fmla="*/ 22 w 58"/>
                    <a:gd name="T9" fmla="*/ 194 h 194"/>
                    <a:gd name="T10" fmla="*/ 58 w 58"/>
                    <a:gd name="T11" fmla="*/ 41 h 194"/>
                    <a:gd name="T12" fmla="*/ 56 w 58"/>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58" h="194">
                      <a:moveTo>
                        <a:pt x="56" y="0"/>
                      </a:moveTo>
                      <a:cubicBezTo>
                        <a:pt x="31" y="3"/>
                        <a:pt x="31" y="3"/>
                        <a:pt x="31" y="3"/>
                      </a:cubicBezTo>
                      <a:cubicBezTo>
                        <a:pt x="32" y="16"/>
                        <a:pt x="33" y="28"/>
                        <a:pt x="33" y="41"/>
                      </a:cubicBezTo>
                      <a:cubicBezTo>
                        <a:pt x="33" y="92"/>
                        <a:pt x="21" y="140"/>
                        <a:pt x="0" y="183"/>
                      </a:cubicBezTo>
                      <a:cubicBezTo>
                        <a:pt x="22" y="194"/>
                        <a:pt x="22" y="194"/>
                        <a:pt x="22" y="194"/>
                      </a:cubicBezTo>
                      <a:cubicBezTo>
                        <a:pt x="45" y="148"/>
                        <a:pt x="58" y="96"/>
                        <a:pt x="58" y="41"/>
                      </a:cubicBezTo>
                      <a:cubicBezTo>
                        <a:pt x="58" y="27"/>
                        <a:pt x="57" y="14"/>
                        <a:pt x="56" y="0"/>
                      </a:cubicBezTo>
                    </a:path>
                  </a:pathLst>
                </a:custGeom>
                <a:solidFill>
                  <a:srgbClr val="01AAE5"/>
                </a:solidFill>
                <a:ln>
                  <a:noFill/>
                </a:ln>
                <a:extLst/>
              </p:spPr>
              <p:txBody>
                <a:bodyPr/>
                <a:lstStyle/>
                <a:p>
                  <a:pPr eaLnBrk="1" hangingPunct="1">
                    <a:defRPr/>
                  </a:pPr>
                  <a:endParaRPr lang="zh-CN" altLang="en-US" sz="1050"/>
                </a:p>
              </p:txBody>
            </p:sp>
            <p:sp>
              <p:nvSpPr>
                <p:cNvPr id="1247" name="Freeform 2206"/>
                <p:cNvSpPr>
                  <a:spLocks/>
                </p:cNvSpPr>
                <p:nvPr/>
              </p:nvSpPr>
              <p:spPr bwMode="auto">
                <a:xfrm>
                  <a:off x="16124353" y="3040895"/>
                  <a:ext cx="422621" cy="539445"/>
                </a:xfrm>
                <a:custGeom>
                  <a:avLst/>
                  <a:gdLst>
                    <a:gd name="T0" fmla="*/ 97 w 113"/>
                    <a:gd name="T1" fmla="*/ 0 h 141"/>
                    <a:gd name="T2" fmla="*/ 0 w 113"/>
                    <a:gd name="T3" fmla="*/ 131 h 141"/>
                    <a:gd name="T4" fmla="*/ 23 w 113"/>
                    <a:gd name="T5" fmla="*/ 141 h 141"/>
                    <a:gd name="T6" fmla="*/ 113 w 113"/>
                    <a:gd name="T7" fmla="*/ 20 h 141"/>
                    <a:gd name="T8" fmla="*/ 97 w 113"/>
                    <a:gd name="T9" fmla="*/ 0 h 141"/>
                  </a:gdLst>
                  <a:ahLst/>
                  <a:cxnLst>
                    <a:cxn ang="0">
                      <a:pos x="T0" y="T1"/>
                    </a:cxn>
                    <a:cxn ang="0">
                      <a:pos x="T2" y="T3"/>
                    </a:cxn>
                    <a:cxn ang="0">
                      <a:pos x="T4" y="T5"/>
                    </a:cxn>
                    <a:cxn ang="0">
                      <a:pos x="T6" y="T7"/>
                    </a:cxn>
                    <a:cxn ang="0">
                      <a:pos x="T8" y="T9"/>
                    </a:cxn>
                  </a:cxnLst>
                  <a:rect l="0" t="0" r="r" b="b"/>
                  <a:pathLst>
                    <a:path w="113" h="141">
                      <a:moveTo>
                        <a:pt x="97" y="0"/>
                      </a:moveTo>
                      <a:cubicBezTo>
                        <a:pt x="55" y="35"/>
                        <a:pt x="22" y="80"/>
                        <a:pt x="0" y="131"/>
                      </a:cubicBezTo>
                      <a:cubicBezTo>
                        <a:pt x="23" y="141"/>
                        <a:pt x="23" y="141"/>
                        <a:pt x="23" y="141"/>
                      </a:cubicBezTo>
                      <a:cubicBezTo>
                        <a:pt x="43" y="93"/>
                        <a:pt x="74" y="52"/>
                        <a:pt x="113" y="20"/>
                      </a:cubicBezTo>
                      <a:cubicBezTo>
                        <a:pt x="97" y="0"/>
                        <a:pt x="97" y="0"/>
                        <a:pt x="97" y="0"/>
                      </a:cubicBezTo>
                    </a:path>
                  </a:pathLst>
                </a:custGeom>
                <a:solidFill>
                  <a:srgbClr val="01AAE5"/>
                </a:solidFill>
                <a:ln>
                  <a:noFill/>
                </a:ln>
                <a:extLst/>
              </p:spPr>
              <p:txBody>
                <a:bodyPr/>
                <a:lstStyle/>
                <a:p>
                  <a:pPr eaLnBrk="1" hangingPunct="1">
                    <a:defRPr/>
                  </a:pPr>
                  <a:endParaRPr lang="zh-CN" altLang="en-US" sz="1050"/>
                </a:p>
              </p:txBody>
            </p:sp>
            <p:sp>
              <p:nvSpPr>
                <p:cNvPr id="1248" name="Freeform 2207"/>
                <p:cNvSpPr>
                  <a:spLocks/>
                </p:cNvSpPr>
                <p:nvPr/>
              </p:nvSpPr>
              <p:spPr bwMode="auto">
                <a:xfrm>
                  <a:off x="16480936" y="2764259"/>
                  <a:ext cx="1188623" cy="373463"/>
                </a:xfrm>
                <a:custGeom>
                  <a:avLst/>
                  <a:gdLst>
                    <a:gd name="T0" fmla="*/ 221 w 314"/>
                    <a:gd name="T1" fmla="*/ 0 h 99"/>
                    <a:gd name="T2" fmla="*/ 0 w 314"/>
                    <a:gd name="T3" fmla="*/ 79 h 99"/>
                    <a:gd name="T4" fmla="*/ 16 w 314"/>
                    <a:gd name="T5" fmla="*/ 99 h 99"/>
                    <a:gd name="T6" fmla="*/ 221 w 314"/>
                    <a:gd name="T7" fmla="*/ 25 h 99"/>
                    <a:gd name="T8" fmla="*/ 307 w 314"/>
                    <a:gd name="T9" fmla="*/ 37 h 99"/>
                    <a:gd name="T10" fmla="*/ 314 w 314"/>
                    <a:gd name="T11" fmla="*/ 13 h 99"/>
                    <a:gd name="T12" fmla="*/ 221 w 3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314" h="99">
                      <a:moveTo>
                        <a:pt x="221" y="0"/>
                      </a:moveTo>
                      <a:cubicBezTo>
                        <a:pt x="137" y="0"/>
                        <a:pt x="60" y="30"/>
                        <a:pt x="0" y="79"/>
                      </a:cubicBezTo>
                      <a:cubicBezTo>
                        <a:pt x="16" y="99"/>
                        <a:pt x="16" y="99"/>
                        <a:pt x="16" y="99"/>
                      </a:cubicBezTo>
                      <a:cubicBezTo>
                        <a:pt x="72" y="53"/>
                        <a:pt x="143" y="25"/>
                        <a:pt x="221" y="25"/>
                      </a:cubicBezTo>
                      <a:cubicBezTo>
                        <a:pt x="251" y="25"/>
                        <a:pt x="280" y="29"/>
                        <a:pt x="307" y="37"/>
                      </a:cubicBezTo>
                      <a:cubicBezTo>
                        <a:pt x="314" y="13"/>
                        <a:pt x="314" y="13"/>
                        <a:pt x="314" y="13"/>
                      </a:cubicBezTo>
                      <a:cubicBezTo>
                        <a:pt x="284" y="4"/>
                        <a:pt x="253" y="0"/>
                        <a:pt x="221" y="0"/>
                      </a:cubicBezTo>
                    </a:path>
                  </a:pathLst>
                </a:custGeom>
                <a:solidFill>
                  <a:srgbClr val="02E3FC"/>
                </a:solidFill>
                <a:ln>
                  <a:noFill/>
                </a:ln>
                <a:extLst/>
              </p:spPr>
              <p:txBody>
                <a:bodyPr/>
                <a:lstStyle/>
                <a:p>
                  <a:pPr eaLnBrk="1" hangingPunct="1">
                    <a:defRPr/>
                  </a:pPr>
                  <a:endParaRPr lang="zh-CN" altLang="en-US" sz="1050"/>
                </a:p>
              </p:txBody>
            </p:sp>
            <p:sp>
              <p:nvSpPr>
                <p:cNvPr id="1249" name="Freeform 2208"/>
                <p:cNvSpPr>
                  <a:spLocks/>
                </p:cNvSpPr>
                <p:nvPr/>
              </p:nvSpPr>
              <p:spPr bwMode="auto">
                <a:xfrm>
                  <a:off x="16388492" y="4894358"/>
                  <a:ext cx="1347106" cy="442618"/>
                </a:xfrm>
                <a:custGeom>
                  <a:avLst/>
                  <a:gdLst>
                    <a:gd name="T0" fmla="*/ 18 w 357"/>
                    <a:gd name="T1" fmla="*/ 0 h 121"/>
                    <a:gd name="T2" fmla="*/ 0 w 357"/>
                    <a:gd name="T3" fmla="*/ 18 h 121"/>
                    <a:gd name="T4" fmla="*/ 247 w 357"/>
                    <a:gd name="T5" fmla="*/ 121 h 121"/>
                    <a:gd name="T6" fmla="*/ 357 w 357"/>
                    <a:gd name="T7" fmla="*/ 104 h 121"/>
                    <a:gd name="T8" fmla="*/ 349 w 357"/>
                    <a:gd name="T9" fmla="*/ 80 h 121"/>
                    <a:gd name="T10" fmla="*/ 247 w 357"/>
                    <a:gd name="T11" fmla="*/ 96 h 121"/>
                    <a:gd name="T12" fmla="*/ 18 w 357"/>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57" h="121">
                      <a:moveTo>
                        <a:pt x="18" y="0"/>
                      </a:moveTo>
                      <a:cubicBezTo>
                        <a:pt x="0" y="18"/>
                        <a:pt x="0" y="18"/>
                        <a:pt x="0" y="18"/>
                      </a:cubicBezTo>
                      <a:cubicBezTo>
                        <a:pt x="63" y="82"/>
                        <a:pt x="150" y="121"/>
                        <a:pt x="247" y="121"/>
                      </a:cubicBezTo>
                      <a:cubicBezTo>
                        <a:pt x="285" y="121"/>
                        <a:pt x="322" y="115"/>
                        <a:pt x="357" y="104"/>
                      </a:cubicBezTo>
                      <a:cubicBezTo>
                        <a:pt x="349" y="80"/>
                        <a:pt x="349" y="80"/>
                        <a:pt x="349" y="80"/>
                      </a:cubicBezTo>
                      <a:cubicBezTo>
                        <a:pt x="317" y="91"/>
                        <a:pt x="282" y="96"/>
                        <a:pt x="247" y="96"/>
                      </a:cubicBezTo>
                      <a:cubicBezTo>
                        <a:pt x="157" y="96"/>
                        <a:pt x="76" y="60"/>
                        <a:pt x="18" y="0"/>
                      </a:cubicBezTo>
                    </a:path>
                  </a:pathLst>
                </a:custGeom>
                <a:solidFill>
                  <a:srgbClr val="01AAE5"/>
                </a:solidFill>
                <a:ln>
                  <a:noFill/>
                </a:ln>
                <a:extLst/>
              </p:spPr>
              <p:txBody>
                <a:bodyPr/>
                <a:lstStyle/>
                <a:p>
                  <a:pPr eaLnBrk="1" hangingPunct="1">
                    <a:defRPr/>
                  </a:pPr>
                  <a:endParaRPr lang="zh-CN" altLang="en-US" sz="1050"/>
                </a:p>
              </p:txBody>
            </p:sp>
            <p:sp>
              <p:nvSpPr>
                <p:cNvPr id="1250" name="Freeform 2209"/>
                <p:cNvSpPr>
                  <a:spLocks/>
                </p:cNvSpPr>
                <p:nvPr/>
              </p:nvSpPr>
              <p:spPr bwMode="auto">
                <a:xfrm>
                  <a:off x="16177181" y="4631558"/>
                  <a:ext cx="277341" cy="331964"/>
                </a:xfrm>
                <a:custGeom>
                  <a:avLst/>
                  <a:gdLst>
                    <a:gd name="T0" fmla="*/ 22 w 74"/>
                    <a:gd name="T1" fmla="*/ 0 h 86"/>
                    <a:gd name="T2" fmla="*/ 0 w 74"/>
                    <a:gd name="T3" fmla="*/ 12 h 86"/>
                    <a:gd name="T4" fmla="*/ 56 w 74"/>
                    <a:gd name="T5" fmla="*/ 86 h 86"/>
                    <a:gd name="T6" fmla="*/ 74 w 74"/>
                    <a:gd name="T7" fmla="*/ 68 h 86"/>
                    <a:gd name="T8" fmla="*/ 22 w 74"/>
                    <a:gd name="T9" fmla="*/ 0 h 86"/>
                  </a:gdLst>
                  <a:ahLst/>
                  <a:cxnLst>
                    <a:cxn ang="0">
                      <a:pos x="T0" y="T1"/>
                    </a:cxn>
                    <a:cxn ang="0">
                      <a:pos x="T2" y="T3"/>
                    </a:cxn>
                    <a:cxn ang="0">
                      <a:pos x="T4" y="T5"/>
                    </a:cxn>
                    <a:cxn ang="0">
                      <a:pos x="T6" y="T7"/>
                    </a:cxn>
                    <a:cxn ang="0">
                      <a:pos x="T8" y="T9"/>
                    </a:cxn>
                  </a:cxnLst>
                  <a:rect l="0" t="0" r="r" b="b"/>
                  <a:pathLst>
                    <a:path w="74" h="86">
                      <a:moveTo>
                        <a:pt x="22" y="0"/>
                      </a:moveTo>
                      <a:cubicBezTo>
                        <a:pt x="0" y="12"/>
                        <a:pt x="0" y="12"/>
                        <a:pt x="0" y="12"/>
                      </a:cubicBezTo>
                      <a:cubicBezTo>
                        <a:pt x="16" y="39"/>
                        <a:pt x="34" y="64"/>
                        <a:pt x="56" y="86"/>
                      </a:cubicBezTo>
                      <a:cubicBezTo>
                        <a:pt x="74" y="68"/>
                        <a:pt x="74" y="68"/>
                        <a:pt x="74" y="68"/>
                      </a:cubicBezTo>
                      <a:cubicBezTo>
                        <a:pt x="54" y="48"/>
                        <a:pt x="36" y="25"/>
                        <a:pt x="22" y="0"/>
                      </a:cubicBezTo>
                    </a:path>
                  </a:pathLst>
                </a:custGeom>
                <a:solidFill>
                  <a:srgbClr val="02E3FC"/>
                </a:solidFill>
                <a:ln>
                  <a:noFill/>
                </a:ln>
                <a:extLst/>
              </p:spPr>
              <p:txBody>
                <a:bodyPr/>
                <a:lstStyle/>
                <a:p>
                  <a:pPr eaLnBrk="1" hangingPunct="1">
                    <a:defRPr/>
                  </a:pPr>
                  <a:endParaRPr lang="zh-CN" altLang="en-US" sz="1050"/>
                </a:p>
              </p:txBody>
            </p:sp>
            <p:sp>
              <p:nvSpPr>
                <p:cNvPr id="1251" name="Freeform 2210"/>
                <p:cNvSpPr>
                  <a:spLocks noEditPoints="1"/>
                </p:cNvSpPr>
                <p:nvPr/>
              </p:nvSpPr>
              <p:spPr bwMode="auto">
                <a:xfrm>
                  <a:off x="15847004" y="2584450"/>
                  <a:ext cx="2931936" cy="2932344"/>
                </a:xfrm>
                <a:custGeom>
                  <a:avLst/>
                  <a:gdLst>
                    <a:gd name="T0" fmla="*/ 765 w 782"/>
                    <a:gd name="T1" fmla="*/ 318 h 783"/>
                    <a:gd name="T2" fmla="*/ 742 w 782"/>
                    <a:gd name="T3" fmla="*/ 243 h 783"/>
                    <a:gd name="T4" fmla="*/ 701 w 782"/>
                    <a:gd name="T5" fmla="*/ 174 h 783"/>
                    <a:gd name="T6" fmla="*/ 653 w 782"/>
                    <a:gd name="T7" fmla="*/ 119 h 783"/>
                    <a:gd name="T8" fmla="*/ 592 w 782"/>
                    <a:gd name="T9" fmla="*/ 68 h 783"/>
                    <a:gd name="T10" fmla="*/ 523 w 782"/>
                    <a:gd name="T11" fmla="*/ 31 h 783"/>
                    <a:gd name="T12" fmla="*/ 450 w 782"/>
                    <a:gd name="T13" fmla="*/ 18 h 783"/>
                    <a:gd name="T14" fmla="*/ 384 w 782"/>
                    <a:gd name="T15" fmla="*/ 13 h 783"/>
                    <a:gd name="T16" fmla="*/ 338 w 782"/>
                    <a:gd name="T17" fmla="*/ 14 h 783"/>
                    <a:gd name="T18" fmla="*/ 293 w 782"/>
                    <a:gd name="T19" fmla="*/ 23 h 783"/>
                    <a:gd name="T20" fmla="*/ 225 w 782"/>
                    <a:gd name="T21" fmla="*/ 51 h 783"/>
                    <a:gd name="T22" fmla="*/ 163 w 782"/>
                    <a:gd name="T23" fmla="*/ 89 h 783"/>
                    <a:gd name="T24" fmla="*/ 103 w 782"/>
                    <a:gd name="T25" fmla="*/ 141 h 783"/>
                    <a:gd name="T26" fmla="*/ 59 w 782"/>
                    <a:gd name="T27" fmla="*/ 200 h 783"/>
                    <a:gd name="T28" fmla="*/ 31 w 782"/>
                    <a:gd name="T29" fmla="*/ 274 h 783"/>
                    <a:gd name="T30" fmla="*/ 16 w 782"/>
                    <a:gd name="T31" fmla="*/ 345 h 783"/>
                    <a:gd name="T32" fmla="*/ 11 w 782"/>
                    <a:gd name="T33" fmla="*/ 425 h 783"/>
                    <a:gd name="T34" fmla="*/ 26 w 782"/>
                    <a:gd name="T35" fmla="*/ 502 h 783"/>
                    <a:gd name="T36" fmla="*/ 60 w 782"/>
                    <a:gd name="T37" fmla="*/ 574 h 783"/>
                    <a:gd name="T38" fmla="*/ 91 w 782"/>
                    <a:gd name="T39" fmla="*/ 643 h 783"/>
                    <a:gd name="T40" fmla="*/ 151 w 782"/>
                    <a:gd name="T41" fmla="*/ 688 h 783"/>
                    <a:gd name="T42" fmla="*/ 218 w 782"/>
                    <a:gd name="T43" fmla="*/ 731 h 783"/>
                    <a:gd name="T44" fmla="*/ 293 w 782"/>
                    <a:gd name="T45" fmla="*/ 757 h 783"/>
                    <a:gd name="T46" fmla="*/ 365 w 782"/>
                    <a:gd name="T47" fmla="*/ 769 h 783"/>
                    <a:gd name="T48" fmla="*/ 444 w 782"/>
                    <a:gd name="T49" fmla="*/ 769 h 783"/>
                    <a:gd name="T50" fmla="*/ 521 w 782"/>
                    <a:gd name="T51" fmla="*/ 752 h 783"/>
                    <a:gd name="T52" fmla="*/ 585 w 782"/>
                    <a:gd name="T53" fmla="*/ 716 h 783"/>
                    <a:gd name="T54" fmla="*/ 644 w 782"/>
                    <a:gd name="T55" fmla="*/ 672 h 783"/>
                    <a:gd name="T56" fmla="*/ 699 w 782"/>
                    <a:gd name="T57" fmla="*/ 615 h 783"/>
                    <a:gd name="T58" fmla="*/ 739 w 782"/>
                    <a:gd name="T59" fmla="*/ 547 h 783"/>
                    <a:gd name="T60" fmla="*/ 760 w 782"/>
                    <a:gd name="T61" fmla="*/ 470 h 783"/>
                    <a:gd name="T62" fmla="*/ 769 w 782"/>
                    <a:gd name="T63" fmla="*/ 397 h 783"/>
                    <a:gd name="T64" fmla="*/ 757 w 782"/>
                    <a:gd name="T65" fmla="*/ 462 h 783"/>
                    <a:gd name="T66" fmla="*/ 737 w 782"/>
                    <a:gd name="T67" fmla="*/ 538 h 783"/>
                    <a:gd name="T68" fmla="*/ 702 w 782"/>
                    <a:gd name="T69" fmla="*/ 602 h 783"/>
                    <a:gd name="T70" fmla="*/ 650 w 782"/>
                    <a:gd name="T71" fmla="*/ 660 h 783"/>
                    <a:gd name="T72" fmla="*/ 589 w 782"/>
                    <a:gd name="T73" fmla="*/ 708 h 783"/>
                    <a:gd name="T74" fmla="*/ 520 w 782"/>
                    <a:gd name="T75" fmla="*/ 745 h 783"/>
                    <a:gd name="T76" fmla="*/ 455 w 782"/>
                    <a:gd name="T77" fmla="*/ 762 h 783"/>
                    <a:gd name="T78" fmla="*/ 377 w 782"/>
                    <a:gd name="T79" fmla="*/ 765 h 783"/>
                    <a:gd name="T80" fmla="*/ 301 w 782"/>
                    <a:gd name="T81" fmla="*/ 754 h 783"/>
                    <a:gd name="T82" fmla="*/ 226 w 782"/>
                    <a:gd name="T83" fmla="*/ 730 h 783"/>
                    <a:gd name="T84" fmla="*/ 164 w 782"/>
                    <a:gd name="T85" fmla="*/ 692 h 783"/>
                    <a:gd name="T86" fmla="*/ 109 w 782"/>
                    <a:gd name="T87" fmla="*/ 636 h 783"/>
                    <a:gd name="T88" fmla="*/ 70 w 782"/>
                    <a:gd name="T89" fmla="*/ 576 h 783"/>
                    <a:gd name="T90" fmla="*/ 33 w 782"/>
                    <a:gd name="T91" fmla="*/ 508 h 783"/>
                    <a:gd name="T92" fmla="*/ 17 w 782"/>
                    <a:gd name="T93" fmla="*/ 437 h 783"/>
                    <a:gd name="T94" fmla="*/ 19 w 782"/>
                    <a:gd name="T95" fmla="*/ 358 h 783"/>
                    <a:gd name="T96" fmla="*/ 34 w 782"/>
                    <a:gd name="T97" fmla="*/ 282 h 783"/>
                    <a:gd name="T98" fmla="*/ 62 w 782"/>
                    <a:gd name="T99" fmla="*/ 209 h 783"/>
                    <a:gd name="T100" fmla="*/ 113 w 782"/>
                    <a:gd name="T101" fmla="*/ 158 h 783"/>
                    <a:gd name="T102" fmla="*/ 156 w 782"/>
                    <a:gd name="T103" fmla="*/ 101 h 783"/>
                    <a:gd name="T104" fmla="*/ 221 w 782"/>
                    <a:gd name="T105" fmla="*/ 58 h 783"/>
                    <a:gd name="T106" fmla="*/ 293 w 782"/>
                    <a:gd name="T107" fmla="*/ 27 h 783"/>
                    <a:gd name="T108" fmla="*/ 359 w 782"/>
                    <a:gd name="T109" fmla="*/ 19 h 783"/>
                    <a:gd name="T110" fmla="*/ 436 w 782"/>
                    <a:gd name="T111" fmla="*/ 17 h 783"/>
                    <a:gd name="T112" fmla="*/ 507 w 782"/>
                    <a:gd name="T113" fmla="*/ 33 h 783"/>
                    <a:gd name="T114" fmla="*/ 576 w 782"/>
                    <a:gd name="T115" fmla="*/ 70 h 783"/>
                    <a:gd name="T116" fmla="*/ 635 w 782"/>
                    <a:gd name="T117" fmla="*/ 109 h 783"/>
                    <a:gd name="T118" fmla="*/ 691 w 782"/>
                    <a:gd name="T119" fmla="*/ 164 h 783"/>
                    <a:gd name="T120" fmla="*/ 729 w 782"/>
                    <a:gd name="T121" fmla="*/ 226 h 783"/>
                    <a:gd name="T122" fmla="*/ 753 w 782"/>
                    <a:gd name="T123" fmla="*/ 301 h 783"/>
                    <a:gd name="T124" fmla="*/ 764 w 782"/>
                    <a:gd name="T125" fmla="*/ 37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2" h="783">
                      <a:moveTo>
                        <a:pt x="782" y="391"/>
                      </a:moveTo>
                      <a:cubicBezTo>
                        <a:pt x="774" y="391"/>
                        <a:pt x="774" y="391"/>
                        <a:pt x="774" y="391"/>
                      </a:cubicBezTo>
                      <a:cubicBezTo>
                        <a:pt x="774" y="390"/>
                        <a:pt x="774" y="390"/>
                        <a:pt x="774" y="390"/>
                      </a:cubicBezTo>
                      <a:cubicBezTo>
                        <a:pt x="769" y="390"/>
                        <a:pt x="769" y="390"/>
                        <a:pt x="769" y="390"/>
                      </a:cubicBezTo>
                      <a:cubicBezTo>
                        <a:pt x="769" y="389"/>
                        <a:pt x="769" y="387"/>
                        <a:pt x="769" y="385"/>
                      </a:cubicBezTo>
                      <a:cubicBezTo>
                        <a:pt x="772" y="385"/>
                        <a:pt x="772" y="385"/>
                        <a:pt x="772" y="385"/>
                      </a:cubicBezTo>
                      <a:cubicBezTo>
                        <a:pt x="772" y="384"/>
                        <a:pt x="772" y="384"/>
                        <a:pt x="772" y="384"/>
                      </a:cubicBezTo>
                      <a:cubicBezTo>
                        <a:pt x="769" y="384"/>
                        <a:pt x="769" y="384"/>
                        <a:pt x="769" y="384"/>
                      </a:cubicBezTo>
                      <a:cubicBezTo>
                        <a:pt x="769" y="382"/>
                        <a:pt x="768" y="380"/>
                        <a:pt x="768" y="378"/>
                      </a:cubicBezTo>
                      <a:cubicBezTo>
                        <a:pt x="771" y="378"/>
                        <a:pt x="771" y="378"/>
                        <a:pt x="771" y="378"/>
                      </a:cubicBezTo>
                      <a:cubicBezTo>
                        <a:pt x="771" y="377"/>
                        <a:pt x="771" y="377"/>
                        <a:pt x="771" y="377"/>
                      </a:cubicBezTo>
                      <a:cubicBezTo>
                        <a:pt x="768" y="378"/>
                        <a:pt x="768" y="378"/>
                        <a:pt x="768" y="378"/>
                      </a:cubicBezTo>
                      <a:cubicBezTo>
                        <a:pt x="768" y="376"/>
                        <a:pt x="768" y="374"/>
                        <a:pt x="768" y="372"/>
                      </a:cubicBezTo>
                      <a:cubicBezTo>
                        <a:pt x="771" y="372"/>
                        <a:pt x="771" y="372"/>
                        <a:pt x="771" y="372"/>
                      </a:cubicBezTo>
                      <a:cubicBezTo>
                        <a:pt x="771" y="371"/>
                        <a:pt x="771" y="371"/>
                        <a:pt x="771" y="371"/>
                      </a:cubicBezTo>
                      <a:cubicBezTo>
                        <a:pt x="768" y="371"/>
                        <a:pt x="768" y="371"/>
                        <a:pt x="768" y="371"/>
                      </a:cubicBezTo>
                      <a:cubicBezTo>
                        <a:pt x="768" y="369"/>
                        <a:pt x="768" y="367"/>
                        <a:pt x="768" y="365"/>
                      </a:cubicBezTo>
                      <a:cubicBezTo>
                        <a:pt x="771" y="365"/>
                        <a:pt x="771" y="365"/>
                        <a:pt x="771" y="365"/>
                      </a:cubicBezTo>
                      <a:cubicBezTo>
                        <a:pt x="771" y="364"/>
                        <a:pt x="771" y="364"/>
                        <a:pt x="771" y="364"/>
                      </a:cubicBezTo>
                      <a:cubicBezTo>
                        <a:pt x="768" y="364"/>
                        <a:pt x="768" y="364"/>
                        <a:pt x="768" y="364"/>
                      </a:cubicBezTo>
                      <a:cubicBezTo>
                        <a:pt x="768" y="362"/>
                        <a:pt x="767" y="361"/>
                        <a:pt x="767" y="359"/>
                      </a:cubicBezTo>
                      <a:cubicBezTo>
                        <a:pt x="770" y="358"/>
                        <a:pt x="770" y="358"/>
                        <a:pt x="770" y="358"/>
                      </a:cubicBezTo>
                      <a:cubicBezTo>
                        <a:pt x="770" y="358"/>
                        <a:pt x="770" y="358"/>
                        <a:pt x="770" y="358"/>
                      </a:cubicBezTo>
                      <a:cubicBezTo>
                        <a:pt x="767" y="358"/>
                        <a:pt x="767" y="358"/>
                        <a:pt x="767" y="358"/>
                      </a:cubicBezTo>
                      <a:cubicBezTo>
                        <a:pt x="767" y="356"/>
                        <a:pt x="767" y="354"/>
                        <a:pt x="767" y="352"/>
                      </a:cubicBezTo>
                      <a:cubicBezTo>
                        <a:pt x="770" y="352"/>
                        <a:pt x="770" y="352"/>
                        <a:pt x="770" y="352"/>
                      </a:cubicBezTo>
                      <a:cubicBezTo>
                        <a:pt x="770" y="351"/>
                        <a:pt x="770" y="351"/>
                        <a:pt x="770" y="351"/>
                      </a:cubicBezTo>
                      <a:cubicBezTo>
                        <a:pt x="767" y="351"/>
                        <a:pt x="767" y="351"/>
                        <a:pt x="767" y="351"/>
                      </a:cubicBezTo>
                      <a:cubicBezTo>
                        <a:pt x="766" y="349"/>
                        <a:pt x="766" y="347"/>
                        <a:pt x="766" y="345"/>
                      </a:cubicBezTo>
                      <a:cubicBezTo>
                        <a:pt x="769" y="345"/>
                        <a:pt x="769" y="345"/>
                        <a:pt x="769" y="345"/>
                      </a:cubicBezTo>
                      <a:cubicBezTo>
                        <a:pt x="769" y="344"/>
                        <a:pt x="769" y="344"/>
                        <a:pt x="769" y="344"/>
                      </a:cubicBezTo>
                      <a:cubicBezTo>
                        <a:pt x="766" y="345"/>
                        <a:pt x="766" y="345"/>
                        <a:pt x="766" y="345"/>
                      </a:cubicBezTo>
                      <a:cubicBezTo>
                        <a:pt x="766" y="343"/>
                        <a:pt x="765" y="341"/>
                        <a:pt x="765" y="339"/>
                      </a:cubicBezTo>
                      <a:cubicBezTo>
                        <a:pt x="768" y="339"/>
                        <a:pt x="768" y="339"/>
                        <a:pt x="768" y="339"/>
                      </a:cubicBezTo>
                      <a:cubicBezTo>
                        <a:pt x="768" y="338"/>
                        <a:pt x="768" y="338"/>
                        <a:pt x="768" y="338"/>
                      </a:cubicBezTo>
                      <a:cubicBezTo>
                        <a:pt x="765" y="338"/>
                        <a:pt x="765" y="338"/>
                        <a:pt x="765" y="338"/>
                      </a:cubicBezTo>
                      <a:cubicBezTo>
                        <a:pt x="765" y="336"/>
                        <a:pt x="764" y="334"/>
                        <a:pt x="764" y="332"/>
                      </a:cubicBezTo>
                      <a:cubicBezTo>
                        <a:pt x="767" y="332"/>
                        <a:pt x="767" y="332"/>
                        <a:pt x="767" y="332"/>
                      </a:cubicBezTo>
                      <a:cubicBezTo>
                        <a:pt x="767" y="331"/>
                        <a:pt x="767" y="331"/>
                        <a:pt x="767" y="331"/>
                      </a:cubicBezTo>
                      <a:cubicBezTo>
                        <a:pt x="764" y="332"/>
                        <a:pt x="764" y="332"/>
                        <a:pt x="764" y="332"/>
                      </a:cubicBezTo>
                      <a:cubicBezTo>
                        <a:pt x="764" y="330"/>
                        <a:pt x="763" y="328"/>
                        <a:pt x="763" y="326"/>
                      </a:cubicBezTo>
                      <a:cubicBezTo>
                        <a:pt x="768" y="325"/>
                        <a:pt x="768" y="325"/>
                        <a:pt x="768" y="325"/>
                      </a:cubicBezTo>
                      <a:cubicBezTo>
                        <a:pt x="768" y="325"/>
                        <a:pt x="768" y="325"/>
                        <a:pt x="768" y="325"/>
                      </a:cubicBezTo>
                      <a:cubicBezTo>
                        <a:pt x="776" y="324"/>
                        <a:pt x="776" y="324"/>
                        <a:pt x="776" y="324"/>
                      </a:cubicBezTo>
                      <a:cubicBezTo>
                        <a:pt x="776" y="323"/>
                        <a:pt x="776" y="323"/>
                        <a:pt x="776" y="323"/>
                      </a:cubicBezTo>
                      <a:cubicBezTo>
                        <a:pt x="768" y="324"/>
                        <a:pt x="768" y="324"/>
                        <a:pt x="768" y="324"/>
                      </a:cubicBezTo>
                      <a:cubicBezTo>
                        <a:pt x="768" y="324"/>
                        <a:pt x="768" y="324"/>
                        <a:pt x="768" y="324"/>
                      </a:cubicBezTo>
                      <a:cubicBezTo>
                        <a:pt x="763" y="325"/>
                        <a:pt x="763" y="325"/>
                        <a:pt x="763" y="325"/>
                      </a:cubicBezTo>
                      <a:cubicBezTo>
                        <a:pt x="763" y="323"/>
                        <a:pt x="762" y="321"/>
                        <a:pt x="762" y="319"/>
                      </a:cubicBezTo>
                      <a:cubicBezTo>
                        <a:pt x="765" y="319"/>
                        <a:pt x="765" y="319"/>
                        <a:pt x="765" y="319"/>
                      </a:cubicBezTo>
                      <a:cubicBezTo>
                        <a:pt x="765" y="318"/>
                        <a:pt x="765" y="318"/>
                        <a:pt x="765" y="318"/>
                      </a:cubicBezTo>
                      <a:cubicBezTo>
                        <a:pt x="762" y="319"/>
                        <a:pt x="762" y="319"/>
                        <a:pt x="762" y="319"/>
                      </a:cubicBezTo>
                      <a:cubicBezTo>
                        <a:pt x="761" y="317"/>
                        <a:pt x="761" y="315"/>
                        <a:pt x="761" y="313"/>
                      </a:cubicBezTo>
                      <a:cubicBezTo>
                        <a:pt x="763" y="312"/>
                        <a:pt x="763" y="312"/>
                        <a:pt x="763" y="312"/>
                      </a:cubicBezTo>
                      <a:cubicBezTo>
                        <a:pt x="763" y="312"/>
                        <a:pt x="763" y="312"/>
                        <a:pt x="763" y="312"/>
                      </a:cubicBezTo>
                      <a:cubicBezTo>
                        <a:pt x="760" y="312"/>
                        <a:pt x="760" y="312"/>
                        <a:pt x="760" y="312"/>
                      </a:cubicBezTo>
                      <a:cubicBezTo>
                        <a:pt x="760" y="310"/>
                        <a:pt x="760" y="308"/>
                        <a:pt x="759" y="306"/>
                      </a:cubicBezTo>
                      <a:cubicBezTo>
                        <a:pt x="762" y="306"/>
                        <a:pt x="762" y="306"/>
                        <a:pt x="762" y="306"/>
                      </a:cubicBezTo>
                      <a:cubicBezTo>
                        <a:pt x="762" y="305"/>
                        <a:pt x="762" y="305"/>
                        <a:pt x="762" y="305"/>
                      </a:cubicBezTo>
                      <a:cubicBezTo>
                        <a:pt x="759" y="306"/>
                        <a:pt x="759" y="306"/>
                        <a:pt x="759" y="306"/>
                      </a:cubicBezTo>
                      <a:cubicBezTo>
                        <a:pt x="759" y="304"/>
                        <a:pt x="758" y="302"/>
                        <a:pt x="758" y="300"/>
                      </a:cubicBezTo>
                      <a:cubicBezTo>
                        <a:pt x="760" y="299"/>
                        <a:pt x="760" y="299"/>
                        <a:pt x="760" y="299"/>
                      </a:cubicBezTo>
                      <a:cubicBezTo>
                        <a:pt x="760" y="299"/>
                        <a:pt x="760" y="299"/>
                        <a:pt x="760" y="299"/>
                      </a:cubicBezTo>
                      <a:cubicBezTo>
                        <a:pt x="757" y="299"/>
                        <a:pt x="757" y="299"/>
                        <a:pt x="757" y="299"/>
                      </a:cubicBezTo>
                      <a:cubicBezTo>
                        <a:pt x="757" y="297"/>
                        <a:pt x="757" y="295"/>
                        <a:pt x="756" y="294"/>
                      </a:cubicBezTo>
                      <a:cubicBezTo>
                        <a:pt x="759" y="293"/>
                        <a:pt x="759" y="293"/>
                        <a:pt x="759" y="293"/>
                      </a:cubicBezTo>
                      <a:cubicBezTo>
                        <a:pt x="759" y="292"/>
                        <a:pt x="759" y="292"/>
                        <a:pt x="759" y="292"/>
                      </a:cubicBezTo>
                      <a:cubicBezTo>
                        <a:pt x="756" y="293"/>
                        <a:pt x="756" y="293"/>
                        <a:pt x="756" y="293"/>
                      </a:cubicBezTo>
                      <a:cubicBezTo>
                        <a:pt x="755" y="291"/>
                        <a:pt x="755" y="289"/>
                        <a:pt x="754" y="287"/>
                      </a:cubicBezTo>
                      <a:cubicBezTo>
                        <a:pt x="757" y="286"/>
                        <a:pt x="757" y="286"/>
                        <a:pt x="757" y="286"/>
                      </a:cubicBezTo>
                      <a:cubicBezTo>
                        <a:pt x="757" y="286"/>
                        <a:pt x="757" y="286"/>
                        <a:pt x="757" y="286"/>
                      </a:cubicBezTo>
                      <a:cubicBezTo>
                        <a:pt x="754" y="287"/>
                        <a:pt x="754" y="287"/>
                        <a:pt x="754" y="287"/>
                      </a:cubicBezTo>
                      <a:cubicBezTo>
                        <a:pt x="754" y="285"/>
                        <a:pt x="753" y="283"/>
                        <a:pt x="752" y="281"/>
                      </a:cubicBezTo>
                      <a:cubicBezTo>
                        <a:pt x="755" y="280"/>
                        <a:pt x="755" y="280"/>
                        <a:pt x="755" y="280"/>
                      </a:cubicBezTo>
                      <a:cubicBezTo>
                        <a:pt x="755" y="279"/>
                        <a:pt x="755" y="279"/>
                        <a:pt x="755" y="279"/>
                      </a:cubicBezTo>
                      <a:cubicBezTo>
                        <a:pt x="752" y="280"/>
                        <a:pt x="752" y="280"/>
                        <a:pt x="752" y="280"/>
                      </a:cubicBezTo>
                      <a:cubicBezTo>
                        <a:pt x="752" y="278"/>
                        <a:pt x="751" y="276"/>
                        <a:pt x="750" y="275"/>
                      </a:cubicBezTo>
                      <a:cubicBezTo>
                        <a:pt x="753" y="274"/>
                        <a:pt x="753" y="274"/>
                        <a:pt x="753" y="274"/>
                      </a:cubicBezTo>
                      <a:cubicBezTo>
                        <a:pt x="753" y="273"/>
                        <a:pt x="753" y="273"/>
                        <a:pt x="753" y="273"/>
                      </a:cubicBezTo>
                      <a:cubicBezTo>
                        <a:pt x="750" y="274"/>
                        <a:pt x="750" y="274"/>
                        <a:pt x="750" y="274"/>
                      </a:cubicBezTo>
                      <a:cubicBezTo>
                        <a:pt x="750" y="272"/>
                        <a:pt x="749" y="270"/>
                        <a:pt x="748" y="268"/>
                      </a:cubicBezTo>
                      <a:cubicBezTo>
                        <a:pt x="751" y="267"/>
                        <a:pt x="751" y="267"/>
                        <a:pt x="751" y="267"/>
                      </a:cubicBezTo>
                      <a:cubicBezTo>
                        <a:pt x="751" y="267"/>
                        <a:pt x="751" y="267"/>
                        <a:pt x="751" y="267"/>
                      </a:cubicBezTo>
                      <a:cubicBezTo>
                        <a:pt x="748" y="268"/>
                        <a:pt x="748" y="268"/>
                        <a:pt x="748" y="268"/>
                      </a:cubicBezTo>
                      <a:cubicBezTo>
                        <a:pt x="748" y="266"/>
                        <a:pt x="747" y="264"/>
                        <a:pt x="746" y="263"/>
                      </a:cubicBezTo>
                      <a:cubicBezTo>
                        <a:pt x="751" y="261"/>
                        <a:pt x="751" y="261"/>
                        <a:pt x="751" y="261"/>
                      </a:cubicBezTo>
                      <a:cubicBezTo>
                        <a:pt x="751" y="260"/>
                        <a:pt x="751" y="260"/>
                        <a:pt x="751" y="260"/>
                      </a:cubicBezTo>
                      <a:cubicBezTo>
                        <a:pt x="758" y="258"/>
                        <a:pt x="758" y="258"/>
                        <a:pt x="758" y="258"/>
                      </a:cubicBezTo>
                      <a:cubicBezTo>
                        <a:pt x="758" y="257"/>
                        <a:pt x="758" y="257"/>
                        <a:pt x="758" y="257"/>
                      </a:cubicBezTo>
                      <a:cubicBezTo>
                        <a:pt x="751" y="260"/>
                        <a:pt x="751" y="260"/>
                        <a:pt x="751" y="260"/>
                      </a:cubicBezTo>
                      <a:cubicBezTo>
                        <a:pt x="751" y="259"/>
                        <a:pt x="751" y="259"/>
                        <a:pt x="751" y="259"/>
                      </a:cubicBezTo>
                      <a:cubicBezTo>
                        <a:pt x="746" y="261"/>
                        <a:pt x="746" y="261"/>
                        <a:pt x="746" y="261"/>
                      </a:cubicBezTo>
                      <a:cubicBezTo>
                        <a:pt x="745" y="259"/>
                        <a:pt x="745" y="258"/>
                        <a:pt x="744" y="256"/>
                      </a:cubicBezTo>
                      <a:cubicBezTo>
                        <a:pt x="747" y="255"/>
                        <a:pt x="747" y="255"/>
                        <a:pt x="747" y="255"/>
                      </a:cubicBezTo>
                      <a:cubicBezTo>
                        <a:pt x="746" y="254"/>
                        <a:pt x="746" y="254"/>
                        <a:pt x="746" y="254"/>
                      </a:cubicBezTo>
                      <a:cubicBezTo>
                        <a:pt x="744" y="255"/>
                        <a:pt x="744" y="255"/>
                        <a:pt x="744" y="255"/>
                      </a:cubicBezTo>
                      <a:cubicBezTo>
                        <a:pt x="743" y="253"/>
                        <a:pt x="742" y="252"/>
                        <a:pt x="741" y="250"/>
                      </a:cubicBezTo>
                      <a:cubicBezTo>
                        <a:pt x="744" y="249"/>
                        <a:pt x="744" y="249"/>
                        <a:pt x="744" y="249"/>
                      </a:cubicBezTo>
                      <a:cubicBezTo>
                        <a:pt x="744" y="248"/>
                        <a:pt x="744" y="248"/>
                        <a:pt x="744" y="248"/>
                      </a:cubicBezTo>
                      <a:cubicBezTo>
                        <a:pt x="741" y="249"/>
                        <a:pt x="741" y="249"/>
                        <a:pt x="741" y="249"/>
                      </a:cubicBezTo>
                      <a:cubicBezTo>
                        <a:pt x="740" y="247"/>
                        <a:pt x="740" y="245"/>
                        <a:pt x="739" y="244"/>
                      </a:cubicBezTo>
                      <a:cubicBezTo>
                        <a:pt x="742" y="243"/>
                        <a:pt x="742" y="243"/>
                        <a:pt x="742" y="243"/>
                      </a:cubicBezTo>
                      <a:cubicBezTo>
                        <a:pt x="741" y="242"/>
                        <a:pt x="741" y="242"/>
                        <a:pt x="741" y="242"/>
                      </a:cubicBezTo>
                      <a:cubicBezTo>
                        <a:pt x="739" y="243"/>
                        <a:pt x="739" y="243"/>
                        <a:pt x="739" y="243"/>
                      </a:cubicBezTo>
                      <a:cubicBezTo>
                        <a:pt x="738" y="241"/>
                        <a:pt x="737" y="239"/>
                        <a:pt x="736" y="238"/>
                      </a:cubicBezTo>
                      <a:cubicBezTo>
                        <a:pt x="739" y="236"/>
                        <a:pt x="739" y="236"/>
                        <a:pt x="739" y="236"/>
                      </a:cubicBezTo>
                      <a:cubicBezTo>
                        <a:pt x="739" y="236"/>
                        <a:pt x="739" y="236"/>
                        <a:pt x="739" y="236"/>
                      </a:cubicBezTo>
                      <a:cubicBezTo>
                        <a:pt x="736" y="237"/>
                        <a:pt x="736" y="237"/>
                        <a:pt x="736" y="237"/>
                      </a:cubicBezTo>
                      <a:cubicBezTo>
                        <a:pt x="735" y="235"/>
                        <a:pt x="734" y="233"/>
                        <a:pt x="734" y="232"/>
                      </a:cubicBezTo>
                      <a:cubicBezTo>
                        <a:pt x="736" y="230"/>
                        <a:pt x="736" y="230"/>
                        <a:pt x="736" y="230"/>
                      </a:cubicBezTo>
                      <a:cubicBezTo>
                        <a:pt x="736" y="230"/>
                        <a:pt x="736" y="230"/>
                        <a:pt x="736" y="230"/>
                      </a:cubicBezTo>
                      <a:cubicBezTo>
                        <a:pt x="733" y="231"/>
                        <a:pt x="733" y="231"/>
                        <a:pt x="733" y="231"/>
                      </a:cubicBezTo>
                      <a:cubicBezTo>
                        <a:pt x="732" y="229"/>
                        <a:pt x="732" y="227"/>
                        <a:pt x="731" y="226"/>
                      </a:cubicBezTo>
                      <a:cubicBezTo>
                        <a:pt x="733" y="224"/>
                        <a:pt x="733" y="224"/>
                        <a:pt x="733" y="224"/>
                      </a:cubicBezTo>
                      <a:cubicBezTo>
                        <a:pt x="733" y="224"/>
                        <a:pt x="733" y="224"/>
                        <a:pt x="733" y="224"/>
                      </a:cubicBezTo>
                      <a:cubicBezTo>
                        <a:pt x="730" y="225"/>
                        <a:pt x="730" y="225"/>
                        <a:pt x="730" y="225"/>
                      </a:cubicBezTo>
                      <a:cubicBezTo>
                        <a:pt x="730" y="223"/>
                        <a:pt x="729" y="221"/>
                        <a:pt x="728" y="220"/>
                      </a:cubicBezTo>
                      <a:cubicBezTo>
                        <a:pt x="730" y="218"/>
                        <a:pt x="730" y="218"/>
                        <a:pt x="730" y="218"/>
                      </a:cubicBezTo>
                      <a:cubicBezTo>
                        <a:pt x="730" y="218"/>
                        <a:pt x="730" y="218"/>
                        <a:pt x="730" y="218"/>
                      </a:cubicBezTo>
                      <a:cubicBezTo>
                        <a:pt x="727" y="219"/>
                        <a:pt x="727" y="219"/>
                        <a:pt x="727" y="219"/>
                      </a:cubicBezTo>
                      <a:cubicBezTo>
                        <a:pt x="727" y="217"/>
                        <a:pt x="726" y="216"/>
                        <a:pt x="725" y="214"/>
                      </a:cubicBezTo>
                      <a:cubicBezTo>
                        <a:pt x="727" y="213"/>
                        <a:pt x="727" y="213"/>
                        <a:pt x="727" y="213"/>
                      </a:cubicBezTo>
                      <a:cubicBezTo>
                        <a:pt x="727" y="212"/>
                        <a:pt x="727" y="212"/>
                        <a:pt x="727" y="212"/>
                      </a:cubicBezTo>
                      <a:cubicBezTo>
                        <a:pt x="724" y="213"/>
                        <a:pt x="724" y="213"/>
                        <a:pt x="724" y="213"/>
                      </a:cubicBezTo>
                      <a:cubicBezTo>
                        <a:pt x="723" y="211"/>
                        <a:pt x="723" y="210"/>
                        <a:pt x="722" y="208"/>
                      </a:cubicBezTo>
                      <a:cubicBezTo>
                        <a:pt x="724" y="207"/>
                        <a:pt x="724" y="207"/>
                        <a:pt x="724" y="207"/>
                      </a:cubicBezTo>
                      <a:cubicBezTo>
                        <a:pt x="724" y="206"/>
                        <a:pt x="724" y="206"/>
                        <a:pt x="724" y="206"/>
                      </a:cubicBezTo>
                      <a:cubicBezTo>
                        <a:pt x="721" y="207"/>
                        <a:pt x="721" y="207"/>
                        <a:pt x="721" y="207"/>
                      </a:cubicBezTo>
                      <a:cubicBezTo>
                        <a:pt x="720" y="206"/>
                        <a:pt x="719" y="204"/>
                        <a:pt x="719" y="203"/>
                      </a:cubicBezTo>
                      <a:cubicBezTo>
                        <a:pt x="723" y="200"/>
                        <a:pt x="723" y="200"/>
                        <a:pt x="723" y="200"/>
                      </a:cubicBezTo>
                      <a:cubicBezTo>
                        <a:pt x="723" y="200"/>
                        <a:pt x="723" y="200"/>
                        <a:pt x="723" y="200"/>
                      </a:cubicBezTo>
                      <a:cubicBezTo>
                        <a:pt x="730" y="196"/>
                        <a:pt x="730" y="196"/>
                        <a:pt x="730" y="196"/>
                      </a:cubicBezTo>
                      <a:cubicBezTo>
                        <a:pt x="729" y="195"/>
                        <a:pt x="729" y="195"/>
                        <a:pt x="729" y="195"/>
                      </a:cubicBezTo>
                      <a:cubicBezTo>
                        <a:pt x="723" y="199"/>
                        <a:pt x="723" y="199"/>
                        <a:pt x="723" y="199"/>
                      </a:cubicBezTo>
                      <a:cubicBezTo>
                        <a:pt x="722" y="199"/>
                        <a:pt x="722" y="199"/>
                        <a:pt x="722" y="199"/>
                      </a:cubicBezTo>
                      <a:cubicBezTo>
                        <a:pt x="718" y="201"/>
                        <a:pt x="718" y="201"/>
                        <a:pt x="718" y="201"/>
                      </a:cubicBezTo>
                      <a:cubicBezTo>
                        <a:pt x="717" y="200"/>
                        <a:pt x="716" y="198"/>
                        <a:pt x="715" y="197"/>
                      </a:cubicBezTo>
                      <a:cubicBezTo>
                        <a:pt x="717" y="195"/>
                        <a:pt x="717" y="195"/>
                        <a:pt x="717" y="195"/>
                      </a:cubicBezTo>
                      <a:cubicBezTo>
                        <a:pt x="717" y="194"/>
                        <a:pt x="717" y="194"/>
                        <a:pt x="717" y="194"/>
                      </a:cubicBezTo>
                      <a:cubicBezTo>
                        <a:pt x="715" y="196"/>
                        <a:pt x="715" y="196"/>
                        <a:pt x="715" y="196"/>
                      </a:cubicBezTo>
                      <a:cubicBezTo>
                        <a:pt x="714" y="194"/>
                        <a:pt x="713" y="193"/>
                        <a:pt x="712" y="191"/>
                      </a:cubicBezTo>
                      <a:cubicBezTo>
                        <a:pt x="714" y="189"/>
                        <a:pt x="714" y="189"/>
                        <a:pt x="714" y="189"/>
                      </a:cubicBezTo>
                      <a:cubicBezTo>
                        <a:pt x="714" y="189"/>
                        <a:pt x="714" y="189"/>
                        <a:pt x="714" y="189"/>
                      </a:cubicBezTo>
                      <a:cubicBezTo>
                        <a:pt x="711" y="190"/>
                        <a:pt x="711" y="190"/>
                        <a:pt x="711" y="190"/>
                      </a:cubicBezTo>
                      <a:cubicBezTo>
                        <a:pt x="710" y="189"/>
                        <a:pt x="709" y="187"/>
                        <a:pt x="708" y="185"/>
                      </a:cubicBezTo>
                      <a:cubicBezTo>
                        <a:pt x="710" y="184"/>
                        <a:pt x="710" y="184"/>
                        <a:pt x="710" y="184"/>
                      </a:cubicBezTo>
                      <a:cubicBezTo>
                        <a:pt x="710" y="183"/>
                        <a:pt x="710" y="183"/>
                        <a:pt x="710" y="183"/>
                      </a:cubicBezTo>
                      <a:cubicBezTo>
                        <a:pt x="708" y="185"/>
                        <a:pt x="708" y="185"/>
                        <a:pt x="708" y="185"/>
                      </a:cubicBezTo>
                      <a:cubicBezTo>
                        <a:pt x="707" y="183"/>
                        <a:pt x="705" y="182"/>
                        <a:pt x="704" y="180"/>
                      </a:cubicBezTo>
                      <a:cubicBezTo>
                        <a:pt x="707" y="178"/>
                        <a:pt x="707" y="178"/>
                        <a:pt x="707" y="178"/>
                      </a:cubicBezTo>
                      <a:cubicBezTo>
                        <a:pt x="706" y="178"/>
                        <a:pt x="706" y="178"/>
                        <a:pt x="706" y="178"/>
                      </a:cubicBezTo>
                      <a:cubicBezTo>
                        <a:pt x="704" y="179"/>
                        <a:pt x="704" y="179"/>
                        <a:pt x="704" y="179"/>
                      </a:cubicBezTo>
                      <a:cubicBezTo>
                        <a:pt x="703" y="178"/>
                        <a:pt x="702" y="176"/>
                        <a:pt x="701" y="174"/>
                      </a:cubicBezTo>
                      <a:cubicBezTo>
                        <a:pt x="703" y="173"/>
                        <a:pt x="703" y="173"/>
                        <a:pt x="703" y="173"/>
                      </a:cubicBezTo>
                      <a:cubicBezTo>
                        <a:pt x="703" y="172"/>
                        <a:pt x="703" y="172"/>
                        <a:pt x="703" y="172"/>
                      </a:cubicBezTo>
                      <a:cubicBezTo>
                        <a:pt x="700" y="174"/>
                        <a:pt x="700" y="174"/>
                        <a:pt x="700" y="174"/>
                      </a:cubicBezTo>
                      <a:cubicBezTo>
                        <a:pt x="699" y="172"/>
                        <a:pt x="698" y="171"/>
                        <a:pt x="697" y="169"/>
                      </a:cubicBezTo>
                      <a:cubicBezTo>
                        <a:pt x="699" y="167"/>
                        <a:pt x="699" y="167"/>
                        <a:pt x="699" y="167"/>
                      </a:cubicBezTo>
                      <a:cubicBezTo>
                        <a:pt x="699" y="167"/>
                        <a:pt x="699" y="167"/>
                        <a:pt x="699" y="167"/>
                      </a:cubicBezTo>
                      <a:cubicBezTo>
                        <a:pt x="696" y="169"/>
                        <a:pt x="696" y="169"/>
                        <a:pt x="696" y="169"/>
                      </a:cubicBezTo>
                      <a:cubicBezTo>
                        <a:pt x="695" y="167"/>
                        <a:pt x="694" y="165"/>
                        <a:pt x="693" y="164"/>
                      </a:cubicBezTo>
                      <a:cubicBezTo>
                        <a:pt x="695" y="162"/>
                        <a:pt x="695" y="162"/>
                        <a:pt x="695" y="162"/>
                      </a:cubicBezTo>
                      <a:cubicBezTo>
                        <a:pt x="695" y="161"/>
                        <a:pt x="695" y="161"/>
                        <a:pt x="695" y="161"/>
                      </a:cubicBezTo>
                      <a:cubicBezTo>
                        <a:pt x="692" y="163"/>
                        <a:pt x="692" y="163"/>
                        <a:pt x="692" y="163"/>
                      </a:cubicBezTo>
                      <a:cubicBezTo>
                        <a:pt x="691" y="162"/>
                        <a:pt x="690" y="160"/>
                        <a:pt x="689" y="159"/>
                      </a:cubicBezTo>
                      <a:cubicBezTo>
                        <a:pt x="691" y="157"/>
                        <a:pt x="691" y="157"/>
                        <a:pt x="691" y="157"/>
                      </a:cubicBezTo>
                      <a:cubicBezTo>
                        <a:pt x="691" y="156"/>
                        <a:pt x="691" y="156"/>
                        <a:pt x="691" y="156"/>
                      </a:cubicBezTo>
                      <a:cubicBezTo>
                        <a:pt x="688" y="158"/>
                        <a:pt x="688" y="158"/>
                        <a:pt x="688" y="158"/>
                      </a:cubicBezTo>
                      <a:cubicBezTo>
                        <a:pt x="687" y="156"/>
                        <a:pt x="686" y="155"/>
                        <a:pt x="685" y="153"/>
                      </a:cubicBezTo>
                      <a:cubicBezTo>
                        <a:pt x="687" y="152"/>
                        <a:pt x="687" y="152"/>
                        <a:pt x="687" y="152"/>
                      </a:cubicBezTo>
                      <a:cubicBezTo>
                        <a:pt x="687" y="151"/>
                        <a:pt x="687" y="151"/>
                        <a:pt x="687" y="151"/>
                      </a:cubicBezTo>
                      <a:cubicBezTo>
                        <a:pt x="684" y="153"/>
                        <a:pt x="684" y="153"/>
                        <a:pt x="684" y="153"/>
                      </a:cubicBezTo>
                      <a:cubicBezTo>
                        <a:pt x="683" y="151"/>
                        <a:pt x="682" y="150"/>
                        <a:pt x="681" y="149"/>
                      </a:cubicBezTo>
                      <a:cubicBezTo>
                        <a:pt x="685" y="145"/>
                        <a:pt x="685" y="145"/>
                        <a:pt x="685" y="145"/>
                      </a:cubicBezTo>
                      <a:cubicBezTo>
                        <a:pt x="685" y="145"/>
                        <a:pt x="685" y="145"/>
                        <a:pt x="685" y="145"/>
                      </a:cubicBezTo>
                      <a:cubicBezTo>
                        <a:pt x="691" y="140"/>
                        <a:pt x="691" y="140"/>
                        <a:pt x="691" y="140"/>
                      </a:cubicBezTo>
                      <a:cubicBezTo>
                        <a:pt x="690" y="139"/>
                        <a:pt x="690" y="139"/>
                        <a:pt x="690" y="139"/>
                      </a:cubicBezTo>
                      <a:cubicBezTo>
                        <a:pt x="684" y="144"/>
                        <a:pt x="684" y="144"/>
                        <a:pt x="684" y="144"/>
                      </a:cubicBezTo>
                      <a:cubicBezTo>
                        <a:pt x="684" y="144"/>
                        <a:pt x="684" y="144"/>
                        <a:pt x="684" y="144"/>
                      </a:cubicBezTo>
                      <a:cubicBezTo>
                        <a:pt x="680" y="147"/>
                        <a:pt x="680" y="147"/>
                        <a:pt x="680" y="147"/>
                      </a:cubicBezTo>
                      <a:cubicBezTo>
                        <a:pt x="679" y="146"/>
                        <a:pt x="677" y="145"/>
                        <a:pt x="676" y="143"/>
                      </a:cubicBezTo>
                      <a:cubicBezTo>
                        <a:pt x="678" y="141"/>
                        <a:pt x="678" y="141"/>
                        <a:pt x="678" y="141"/>
                      </a:cubicBezTo>
                      <a:cubicBezTo>
                        <a:pt x="678" y="141"/>
                        <a:pt x="678" y="141"/>
                        <a:pt x="678" y="141"/>
                      </a:cubicBezTo>
                      <a:cubicBezTo>
                        <a:pt x="676" y="143"/>
                        <a:pt x="676" y="143"/>
                        <a:pt x="676" y="143"/>
                      </a:cubicBezTo>
                      <a:cubicBezTo>
                        <a:pt x="674" y="141"/>
                        <a:pt x="673" y="140"/>
                        <a:pt x="672" y="138"/>
                      </a:cubicBezTo>
                      <a:cubicBezTo>
                        <a:pt x="674" y="136"/>
                        <a:pt x="674" y="136"/>
                        <a:pt x="674" y="136"/>
                      </a:cubicBezTo>
                      <a:cubicBezTo>
                        <a:pt x="674" y="136"/>
                        <a:pt x="674" y="136"/>
                        <a:pt x="674" y="136"/>
                      </a:cubicBezTo>
                      <a:cubicBezTo>
                        <a:pt x="671" y="138"/>
                        <a:pt x="671" y="138"/>
                        <a:pt x="671" y="138"/>
                      </a:cubicBezTo>
                      <a:cubicBezTo>
                        <a:pt x="670" y="136"/>
                        <a:pt x="669" y="135"/>
                        <a:pt x="667" y="134"/>
                      </a:cubicBezTo>
                      <a:cubicBezTo>
                        <a:pt x="670" y="131"/>
                        <a:pt x="670" y="131"/>
                        <a:pt x="670" y="131"/>
                      </a:cubicBezTo>
                      <a:cubicBezTo>
                        <a:pt x="669" y="131"/>
                        <a:pt x="669" y="131"/>
                        <a:pt x="669" y="131"/>
                      </a:cubicBezTo>
                      <a:cubicBezTo>
                        <a:pt x="667" y="133"/>
                        <a:pt x="667" y="133"/>
                        <a:pt x="667" y="133"/>
                      </a:cubicBezTo>
                      <a:cubicBezTo>
                        <a:pt x="666" y="132"/>
                        <a:pt x="664" y="130"/>
                        <a:pt x="663" y="129"/>
                      </a:cubicBezTo>
                      <a:cubicBezTo>
                        <a:pt x="665" y="127"/>
                        <a:pt x="665" y="127"/>
                        <a:pt x="665" y="127"/>
                      </a:cubicBezTo>
                      <a:cubicBezTo>
                        <a:pt x="664" y="126"/>
                        <a:pt x="664" y="126"/>
                        <a:pt x="664" y="126"/>
                      </a:cubicBezTo>
                      <a:cubicBezTo>
                        <a:pt x="662" y="128"/>
                        <a:pt x="662" y="128"/>
                        <a:pt x="662" y="128"/>
                      </a:cubicBezTo>
                      <a:cubicBezTo>
                        <a:pt x="661" y="127"/>
                        <a:pt x="660" y="125"/>
                        <a:pt x="658" y="124"/>
                      </a:cubicBezTo>
                      <a:cubicBezTo>
                        <a:pt x="660" y="122"/>
                        <a:pt x="660" y="122"/>
                        <a:pt x="660" y="122"/>
                      </a:cubicBezTo>
                      <a:cubicBezTo>
                        <a:pt x="660" y="121"/>
                        <a:pt x="660" y="121"/>
                        <a:pt x="660" y="121"/>
                      </a:cubicBezTo>
                      <a:cubicBezTo>
                        <a:pt x="658" y="123"/>
                        <a:pt x="658" y="123"/>
                        <a:pt x="658" y="123"/>
                      </a:cubicBezTo>
                      <a:cubicBezTo>
                        <a:pt x="656" y="122"/>
                        <a:pt x="655" y="121"/>
                        <a:pt x="654" y="119"/>
                      </a:cubicBezTo>
                      <a:cubicBezTo>
                        <a:pt x="656" y="117"/>
                        <a:pt x="656" y="117"/>
                        <a:pt x="656" y="117"/>
                      </a:cubicBezTo>
                      <a:cubicBezTo>
                        <a:pt x="655" y="117"/>
                        <a:pt x="655" y="117"/>
                        <a:pt x="655" y="117"/>
                      </a:cubicBezTo>
                      <a:cubicBezTo>
                        <a:pt x="653" y="119"/>
                        <a:pt x="653" y="119"/>
                        <a:pt x="653" y="119"/>
                      </a:cubicBezTo>
                      <a:cubicBezTo>
                        <a:pt x="652" y="117"/>
                        <a:pt x="650" y="116"/>
                        <a:pt x="649" y="115"/>
                      </a:cubicBezTo>
                      <a:cubicBezTo>
                        <a:pt x="651" y="113"/>
                        <a:pt x="651" y="113"/>
                        <a:pt x="651" y="113"/>
                      </a:cubicBezTo>
                      <a:cubicBezTo>
                        <a:pt x="650" y="112"/>
                        <a:pt x="650" y="112"/>
                        <a:pt x="650" y="112"/>
                      </a:cubicBezTo>
                      <a:cubicBezTo>
                        <a:pt x="648" y="114"/>
                        <a:pt x="648" y="114"/>
                        <a:pt x="648" y="114"/>
                      </a:cubicBezTo>
                      <a:cubicBezTo>
                        <a:pt x="647" y="113"/>
                        <a:pt x="645" y="112"/>
                        <a:pt x="644" y="110"/>
                      </a:cubicBezTo>
                      <a:cubicBezTo>
                        <a:pt x="646" y="108"/>
                        <a:pt x="646" y="108"/>
                        <a:pt x="646" y="108"/>
                      </a:cubicBezTo>
                      <a:cubicBezTo>
                        <a:pt x="645" y="108"/>
                        <a:pt x="645" y="108"/>
                        <a:pt x="645" y="108"/>
                      </a:cubicBezTo>
                      <a:cubicBezTo>
                        <a:pt x="643" y="110"/>
                        <a:pt x="643" y="110"/>
                        <a:pt x="643" y="110"/>
                      </a:cubicBezTo>
                      <a:cubicBezTo>
                        <a:pt x="642" y="109"/>
                        <a:pt x="640" y="107"/>
                        <a:pt x="639" y="106"/>
                      </a:cubicBezTo>
                      <a:cubicBezTo>
                        <a:pt x="641" y="104"/>
                        <a:pt x="641" y="104"/>
                        <a:pt x="641" y="104"/>
                      </a:cubicBezTo>
                      <a:cubicBezTo>
                        <a:pt x="640" y="103"/>
                        <a:pt x="640" y="103"/>
                        <a:pt x="640" y="103"/>
                      </a:cubicBezTo>
                      <a:cubicBezTo>
                        <a:pt x="638" y="105"/>
                        <a:pt x="638" y="105"/>
                        <a:pt x="638" y="105"/>
                      </a:cubicBezTo>
                      <a:cubicBezTo>
                        <a:pt x="637" y="104"/>
                        <a:pt x="636" y="103"/>
                        <a:pt x="634" y="102"/>
                      </a:cubicBezTo>
                      <a:cubicBezTo>
                        <a:pt x="638" y="98"/>
                        <a:pt x="638" y="98"/>
                        <a:pt x="638" y="98"/>
                      </a:cubicBezTo>
                      <a:cubicBezTo>
                        <a:pt x="637" y="97"/>
                        <a:pt x="637" y="97"/>
                        <a:pt x="637" y="97"/>
                      </a:cubicBezTo>
                      <a:cubicBezTo>
                        <a:pt x="642" y="91"/>
                        <a:pt x="642" y="91"/>
                        <a:pt x="642" y="91"/>
                      </a:cubicBezTo>
                      <a:cubicBezTo>
                        <a:pt x="642" y="91"/>
                        <a:pt x="642" y="91"/>
                        <a:pt x="642" y="91"/>
                      </a:cubicBezTo>
                      <a:cubicBezTo>
                        <a:pt x="637" y="97"/>
                        <a:pt x="637" y="97"/>
                        <a:pt x="637" y="97"/>
                      </a:cubicBezTo>
                      <a:cubicBezTo>
                        <a:pt x="637" y="97"/>
                        <a:pt x="637" y="97"/>
                        <a:pt x="637" y="97"/>
                      </a:cubicBezTo>
                      <a:cubicBezTo>
                        <a:pt x="633" y="101"/>
                        <a:pt x="633" y="101"/>
                        <a:pt x="633" y="101"/>
                      </a:cubicBezTo>
                      <a:cubicBezTo>
                        <a:pt x="632" y="100"/>
                        <a:pt x="630" y="99"/>
                        <a:pt x="629" y="97"/>
                      </a:cubicBezTo>
                      <a:cubicBezTo>
                        <a:pt x="631" y="95"/>
                        <a:pt x="631" y="95"/>
                        <a:pt x="631" y="95"/>
                      </a:cubicBezTo>
                      <a:cubicBezTo>
                        <a:pt x="630" y="95"/>
                        <a:pt x="630" y="95"/>
                        <a:pt x="630" y="95"/>
                      </a:cubicBezTo>
                      <a:cubicBezTo>
                        <a:pt x="628" y="97"/>
                        <a:pt x="628" y="97"/>
                        <a:pt x="628" y="97"/>
                      </a:cubicBezTo>
                      <a:cubicBezTo>
                        <a:pt x="627" y="96"/>
                        <a:pt x="625" y="95"/>
                        <a:pt x="624" y="93"/>
                      </a:cubicBezTo>
                      <a:cubicBezTo>
                        <a:pt x="626" y="91"/>
                        <a:pt x="626" y="91"/>
                        <a:pt x="626" y="91"/>
                      </a:cubicBezTo>
                      <a:cubicBezTo>
                        <a:pt x="625" y="90"/>
                        <a:pt x="625" y="90"/>
                        <a:pt x="625" y="90"/>
                      </a:cubicBezTo>
                      <a:cubicBezTo>
                        <a:pt x="623" y="93"/>
                        <a:pt x="623" y="93"/>
                        <a:pt x="623" y="93"/>
                      </a:cubicBezTo>
                      <a:cubicBezTo>
                        <a:pt x="622" y="92"/>
                        <a:pt x="620" y="90"/>
                        <a:pt x="619" y="89"/>
                      </a:cubicBezTo>
                      <a:cubicBezTo>
                        <a:pt x="620" y="87"/>
                        <a:pt x="620" y="87"/>
                        <a:pt x="620" y="87"/>
                      </a:cubicBezTo>
                      <a:cubicBezTo>
                        <a:pt x="620" y="86"/>
                        <a:pt x="620" y="86"/>
                        <a:pt x="620" y="86"/>
                      </a:cubicBezTo>
                      <a:cubicBezTo>
                        <a:pt x="618" y="89"/>
                        <a:pt x="618" y="89"/>
                        <a:pt x="618" y="89"/>
                      </a:cubicBezTo>
                      <a:cubicBezTo>
                        <a:pt x="616" y="88"/>
                        <a:pt x="615" y="86"/>
                        <a:pt x="613" y="85"/>
                      </a:cubicBezTo>
                      <a:cubicBezTo>
                        <a:pt x="615" y="83"/>
                        <a:pt x="615" y="83"/>
                        <a:pt x="615" y="83"/>
                      </a:cubicBezTo>
                      <a:cubicBezTo>
                        <a:pt x="614" y="82"/>
                        <a:pt x="614" y="82"/>
                        <a:pt x="614" y="82"/>
                      </a:cubicBezTo>
                      <a:cubicBezTo>
                        <a:pt x="613" y="85"/>
                        <a:pt x="613" y="85"/>
                        <a:pt x="613" y="85"/>
                      </a:cubicBezTo>
                      <a:cubicBezTo>
                        <a:pt x="611" y="84"/>
                        <a:pt x="609" y="83"/>
                        <a:pt x="608" y="81"/>
                      </a:cubicBezTo>
                      <a:cubicBezTo>
                        <a:pt x="610" y="79"/>
                        <a:pt x="610" y="79"/>
                        <a:pt x="610" y="79"/>
                      </a:cubicBezTo>
                      <a:cubicBezTo>
                        <a:pt x="609" y="79"/>
                        <a:pt x="609" y="79"/>
                        <a:pt x="609" y="79"/>
                      </a:cubicBezTo>
                      <a:cubicBezTo>
                        <a:pt x="607" y="81"/>
                        <a:pt x="607" y="81"/>
                        <a:pt x="607" y="81"/>
                      </a:cubicBezTo>
                      <a:cubicBezTo>
                        <a:pt x="606" y="80"/>
                        <a:pt x="604" y="79"/>
                        <a:pt x="602" y="78"/>
                      </a:cubicBezTo>
                      <a:cubicBezTo>
                        <a:pt x="604" y="75"/>
                        <a:pt x="604" y="75"/>
                        <a:pt x="604" y="75"/>
                      </a:cubicBezTo>
                      <a:cubicBezTo>
                        <a:pt x="603" y="75"/>
                        <a:pt x="603" y="75"/>
                        <a:pt x="603" y="75"/>
                      </a:cubicBezTo>
                      <a:cubicBezTo>
                        <a:pt x="602" y="77"/>
                        <a:pt x="602" y="77"/>
                        <a:pt x="602" y="77"/>
                      </a:cubicBezTo>
                      <a:cubicBezTo>
                        <a:pt x="600" y="76"/>
                        <a:pt x="599" y="75"/>
                        <a:pt x="597" y="74"/>
                      </a:cubicBezTo>
                      <a:cubicBezTo>
                        <a:pt x="599" y="72"/>
                        <a:pt x="599" y="72"/>
                        <a:pt x="599" y="72"/>
                      </a:cubicBezTo>
                      <a:cubicBezTo>
                        <a:pt x="598" y="71"/>
                        <a:pt x="598" y="71"/>
                        <a:pt x="598" y="71"/>
                      </a:cubicBezTo>
                      <a:cubicBezTo>
                        <a:pt x="596" y="74"/>
                        <a:pt x="596" y="74"/>
                        <a:pt x="596" y="74"/>
                      </a:cubicBezTo>
                      <a:cubicBezTo>
                        <a:pt x="595" y="73"/>
                        <a:pt x="593" y="72"/>
                        <a:pt x="591" y="70"/>
                      </a:cubicBezTo>
                      <a:cubicBezTo>
                        <a:pt x="593" y="68"/>
                        <a:pt x="593" y="68"/>
                        <a:pt x="593" y="68"/>
                      </a:cubicBezTo>
                      <a:cubicBezTo>
                        <a:pt x="592" y="68"/>
                        <a:pt x="592" y="68"/>
                        <a:pt x="592" y="68"/>
                      </a:cubicBezTo>
                      <a:cubicBezTo>
                        <a:pt x="591" y="70"/>
                        <a:pt x="591" y="70"/>
                        <a:pt x="591" y="70"/>
                      </a:cubicBezTo>
                      <a:cubicBezTo>
                        <a:pt x="589" y="69"/>
                        <a:pt x="587" y="68"/>
                        <a:pt x="586" y="67"/>
                      </a:cubicBezTo>
                      <a:cubicBezTo>
                        <a:pt x="587" y="65"/>
                        <a:pt x="587" y="65"/>
                        <a:pt x="587" y="65"/>
                      </a:cubicBezTo>
                      <a:cubicBezTo>
                        <a:pt x="587" y="64"/>
                        <a:pt x="587" y="64"/>
                        <a:pt x="587" y="64"/>
                      </a:cubicBezTo>
                      <a:cubicBezTo>
                        <a:pt x="585" y="67"/>
                        <a:pt x="585" y="67"/>
                        <a:pt x="585" y="67"/>
                      </a:cubicBezTo>
                      <a:cubicBezTo>
                        <a:pt x="584" y="66"/>
                        <a:pt x="582" y="65"/>
                        <a:pt x="581" y="64"/>
                      </a:cubicBezTo>
                      <a:cubicBezTo>
                        <a:pt x="583" y="59"/>
                        <a:pt x="583" y="59"/>
                        <a:pt x="583" y="59"/>
                      </a:cubicBezTo>
                      <a:cubicBezTo>
                        <a:pt x="583" y="59"/>
                        <a:pt x="583" y="59"/>
                        <a:pt x="583" y="59"/>
                      </a:cubicBezTo>
                      <a:cubicBezTo>
                        <a:pt x="587" y="52"/>
                        <a:pt x="587" y="52"/>
                        <a:pt x="587" y="52"/>
                      </a:cubicBezTo>
                      <a:cubicBezTo>
                        <a:pt x="586" y="52"/>
                        <a:pt x="586" y="52"/>
                        <a:pt x="586" y="52"/>
                      </a:cubicBezTo>
                      <a:cubicBezTo>
                        <a:pt x="582" y="59"/>
                        <a:pt x="582" y="59"/>
                        <a:pt x="582" y="59"/>
                      </a:cubicBezTo>
                      <a:cubicBezTo>
                        <a:pt x="582" y="58"/>
                        <a:pt x="582" y="58"/>
                        <a:pt x="582" y="58"/>
                      </a:cubicBezTo>
                      <a:cubicBezTo>
                        <a:pt x="579" y="63"/>
                        <a:pt x="579" y="63"/>
                        <a:pt x="579" y="63"/>
                      </a:cubicBezTo>
                      <a:cubicBezTo>
                        <a:pt x="577" y="62"/>
                        <a:pt x="576" y="61"/>
                        <a:pt x="574" y="60"/>
                      </a:cubicBezTo>
                      <a:cubicBezTo>
                        <a:pt x="576" y="58"/>
                        <a:pt x="576" y="58"/>
                        <a:pt x="576" y="58"/>
                      </a:cubicBezTo>
                      <a:cubicBezTo>
                        <a:pt x="575" y="57"/>
                        <a:pt x="575" y="57"/>
                        <a:pt x="575" y="57"/>
                      </a:cubicBezTo>
                      <a:cubicBezTo>
                        <a:pt x="574" y="60"/>
                        <a:pt x="574" y="60"/>
                        <a:pt x="574" y="60"/>
                      </a:cubicBezTo>
                      <a:cubicBezTo>
                        <a:pt x="572" y="59"/>
                        <a:pt x="570" y="58"/>
                        <a:pt x="569" y="57"/>
                      </a:cubicBezTo>
                      <a:cubicBezTo>
                        <a:pt x="570" y="55"/>
                        <a:pt x="570" y="55"/>
                        <a:pt x="570" y="55"/>
                      </a:cubicBezTo>
                      <a:cubicBezTo>
                        <a:pt x="569" y="54"/>
                        <a:pt x="569" y="54"/>
                        <a:pt x="569" y="54"/>
                      </a:cubicBezTo>
                      <a:cubicBezTo>
                        <a:pt x="568" y="57"/>
                        <a:pt x="568" y="57"/>
                        <a:pt x="568" y="57"/>
                      </a:cubicBezTo>
                      <a:cubicBezTo>
                        <a:pt x="566" y="56"/>
                        <a:pt x="564" y="55"/>
                        <a:pt x="563" y="54"/>
                      </a:cubicBezTo>
                      <a:cubicBezTo>
                        <a:pt x="564" y="52"/>
                        <a:pt x="564" y="52"/>
                        <a:pt x="564" y="52"/>
                      </a:cubicBezTo>
                      <a:cubicBezTo>
                        <a:pt x="563" y="51"/>
                        <a:pt x="563" y="51"/>
                        <a:pt x="563" y="51"/>
                      </a:cubicBezTo>
                      <a:cubicBezTo>
                        <a:pt x="562" y="54"/>
                        <a:pt x="562" y="54"/>
                        <a:pt x="562" y="54"/>
                      </a:cubicBezTo>
                      <a:cubicBezTo>
                        <a:pt x="560" y="53"/>
                        <a:pt x="559" y="52"/>
                        <a:pt x="557" y="51"/>
                      </a:cubicBezTo>
                      <a:cubicBezTo>
                        <a:pt x="558" y="49"/>
                        <a:pt x="558" y="49"/>
                        <a:pt x="558" y="49"/>
                      </a:cubicBezTo>
                      <a:cubicBezTo>
                        <a:pt x="557" y="48"/>
                        <a:pt x="557" y="48"/>
                        <a:pt x="557" y="48"/>
                      </a:cubicBezTo>
                      <a:cubicBezTo>
                        <a:pt x="556" y="51"/>
                        <a:pt x="556" y="51"/>
                        <a:pt x="556" y="51"/>
                      </a:cubicBezTo>
                      <a:cubicBezTo>
                        <a:pt x="554" y="50"/>
                        <a:pt x="553" y="49"/>
                        <a:pt x="551" y="48"/>
                      </a:cubicBezTo>
                      <a:cubicBezTo>
                        <a:pt x="552" y="46"/>
                        <a:pt x="552" y="46"/>
                        <a:pt x="552" y="46"/>
                      </a:cubicBezTo>
                      <a:cubicBezTo>
                        <a:pt x="551" y="45"/>
                        <a:pt x="551" y="45"/>
                        <a:pt x="551" y="45"/>
                      </a:cubicBezTo>
                      <a:cubicBezTo>
                        <a:pt x="550" y="48"/>
                        <a:pt x="550" y="48"/>
                        <a:pt x="550" y="48"/>
                      </a:cubicBezTo>
                      <a:cubicBezTo>
                        <a:pt x="548" y="47"/>
                        <a:pt x="547" y="46"/>
                        <a:pt x="545" y="46"/>
                      </a:cubicBezTo>
                      <a:cubicBezTo>
                        <a:pt x="546" y="43"/>
                        <a:pt x="546" y="43"/>
                        <a:pt x="546" y="43"/>
                      </a:cubicBezTo>
                      <a:cubicBezTo>
                        <a:pt x="545" y="43"/>
                        <a:pt x="545" y="43"/>
                        <a:pt x="545" y="43"/>
                      </a:cubicBezTo>
                      <a:cubicBezTo>
                        <a:pt x="544" y="45"/>
                        <a:pt x="544" y="45"/>
                        <a:pt x="544" y="45"/>
                      </a:cubicBezTo>
                      <a:cubicBezTo>
                        <a:pt x="542" y="44"/>
                        <a:pt x="541" y="44"/>
                        <a:pt x="539" y="43"/>
                      </a:cubicBezTo>
                      <a:cubicBezTo>
                        <a:pt x="540" y="40"/>
                        <a:pt x="540" y="40"/>
                        <a:pt x="540" y="40"/>
                      </a:cubicBezTo>
                      <a:cubicBezTo>
                        <a:pt x="539" y="40"/>
                        <a:pt x="539" y="40"/>
                        <a:pt x="539" y="40"/>
                      </a:cubicBezTo>
                      <a:cubicBezTo>
                        <a:pt x="538" y="43"/>
                        <a:pt x="538" y="43"/>
                        <a:pt x="538" y="43"/>
                      </a:cubicBezTo>
                      <a:cubicBezTo>
                        <a:pt x="536" y="42"/>
                        <a:pt x="535" y="41"/>
                        <a:pt x="533" y="40"/>
                      </a:cubicBezTo>
                      <a:cubicBezTo>
                        <a:pt x="534" y="38"/>
                        <a:pt x="534" y="38"/>
                        <a:pt x="534" y="38"/>
                      </a:cubicBezTo>
                      <a:cubicBezTo>
                        <a:pt x="533" y="38"/>
                        <a:pt x="533" y="38"/>
                        <a:pt x="533" y="38"/>
                      </a:cubicBezTo>
                      <a:cubicBezTo>
                        <a:pt x="532" y="40"/>
                        <a:pt x="532" y="40"/>
                        <a:pt x="532" y="40"/>
                      </a:cubicBezTo>
                      <a:cubicBezTo>
                        <a:pt x="530" y="39"/>
                        <a:pt x="528" y="39"/>
                        <a:pt x="527" y="38"/>
                      </a:cubicBezTo>
                      <a:cubicBezTo>
                        <a:pt x="528" y="35"/>
                        <a:pt x="528" y="35"/>
                        <a:pt x="528" y="35"/>
                      </a:cubicBezTo>
                      <a:cubicBezTo>
                        <a:pt x="527" y="35"/>
                        <a:pt x="527" y="35"/>
                        <a:pt x="527" y="35"/>
                      </a:cubicBezTo>
                      <a:cubicBezTo>
                        <a:pt x="526" y="38"/>
                        <a:pt x="526" y="38"/>
                        <a:pt x="526" y="38"/>
                      </a:cubicBezTo>
                      <a:cubicBezTo>
                        <a:pt x="524" y="37"/>
                        <a:pt x="523" y="36"/>
                        <a:pt x="521" y="36"/>
                      </a:cubicBezTo>
                      <a:cubicBezTo>
                        <a:pt x="523" y="31"/>
                        <a:pt x="523" y="31"/>
                        <a:pt x="523" y="31"/>
                      </a:cubicBezTo>
                      <a:cubicBezTo>
                        <a:pt x="522" y="31"/>
                        <a:pt x="522" y="31"/>
                        <a:pt x="522" y="31"/>
                      </a:cubicBezTo>
                      <a:cubicBezTo>
                        <a:pt x="525" y="23"/>
                        <a:pt x="525" y="23"/>
                        <a:pt x="525" y="23"/>
                      </a:cubicBezTo>
                      <a:cubicBezTo>
                        <a:pt x="524" y="23"/>
                        <a:pt x="524" y="23"/>
                        <a:pt x="524" y="23"/>
                      </a:cubicBezTo>
                      <a:cubicBezTo>
                        <a:pt x="522" y="30"/>
                        <a:pt x="522" y="30"/>
                        <a:pt x="522" y="30"/>
                      </a:cubicBezTo>
                      <a:cubicBezTo>
                        <a:pt x="521" y="30"/>
                        <a:pt x="521" y="30"/>
                        <a:pt x="521" y="30"/>
                      </a:cubicBezTo>
                      <a:cubicBezTo>
                        <a:pt x="519" y="35"/>
                        <a:pt x="519" y="35"/>
                        <a:pt x="519" y="35"/>
                      </a:cubicBezTo>
                      <a:cubicBezTo>
                        <a:pt x="518" y="35"/>
                        <a:pt x="516" y="34"/>
                        <a:pt x="514" y="33"/>
                      </a:cubicBezTo>
                      <a:cubicBezTo>
                        <a:pt x="515" y="31"/>
                        <a:pt x="515" y="31"/>
                        <a:pt x="515" y="31"/>
                      </a:cubicBezTo>
                      <a:cubicBezTo>
                        <a:pt x="514" y="31"/>
                        <a:pt x="514" y="31"/>
                        <a:pt x="514" y="31"/>
                      </a:cubicBezTo>
                      <a:cubicBezTo>
                        <a:pt x="514" y="33"/>
                        <a:pt x="514" y="33"/>
                        <a:pt x="514" y="33"/>
                      </a:cubicBezTo>
                      <a:cubicBezTo>
                        <a:pt x="512" y="33"/>
                        <a:pt x="510" y="32"/>
                        <a:pt x="508" y="31"/>
                      </a:cubicBezTo>
                      <a:cubicBezTo>
                        <a:pt x="509" y="29"/>
                        <a:pt x="509" y="29"/>
                        <a:pt x="509" y="29"/>
                      </a:cubicBezTo>
                      <a:cubicBezTo>
                        <a:pt x="508" y="28"/>
                        <a:pt x="508" y="28"/>
                        <a:pt x="508" y="28"/>
                      </a:cubicBezTo>
                      <a:cubicBezTo>
                        <a:pt x="507" y="31"/>
                        <a:pt x="507" y="31"/>
                        <a:pt x="507" y="31"/>
                      </a:cubicBezTo>
                      <a:cubicBezTo>
                        <a:pt x="505" y="31"/>
                        <a:pt x="504" y="30"/>
                        <a:pt x="502" y="29"/>
                      </a:cubicBezTo>
                      <a:cubicBezTo>
                        <a:pt x="503" y="27"/>
                        <a:pt x="503" y="27"/>
                        <a:pt x="503" y="27"/>
                      </a:cubicBezTo>
                      <a:cubicBezTo>
                        <a:pt x="502" y="26"/>
                        <a:pt x="502" y="26"/>
                        <a:pt x="502" y="26"/>
                      </a:cubicBezTo>
                      <a:cubicBezTo>
                        <a:pt x="501" y="29"/>
                        <a:pt x="501" y="29"/>
                        <a:pt x="501" y="29"/>
                      </a:cubicBezTo>
                      <a:cubicBezTo>
                        <a:pt x="499" y="29"/>
                        <a:pt x="497" y="28"/>
                        <a:pt x="495" y="28"/>
                      </a:cubicBezTo>
                      <a:cubicBezTo>
                        <a:pt x="496" y="25"/>
                        <a:pt x="496" y="25"/>
                        <a:pt x="496" y="25"/>
                      </a:cubicBezTo>
                      <a:cubicBezTo>
                        <a:pt x="495" y="25"/>
                        <a:pt x="495" y="25"/>
                        <a:pt x="495" y="25"/>
                      </a:cubicBezTo>
                      <a:cubicBezTo>
                        <a:pt x="495" y="27"/>
                        <a:pt x="495" y="27"/>
                        <a:pt x="495" y="27"/>
                      </a:cubicBezTo>
                      <a:cubicBezTo>
                        <a:pt x="493" y="27"/>
                        <a:pt x="491" y="26"/>
                        <a:pt x="489" y="26"/>
                      </a:cubicBezTo>
                      <a:cubicBezTo>
                        <a:pt x="490" y="23"/>
                        <a:pt x="490" y="23"/>
                        <a:pt x="490" y="23"/>
                      </a:cubicBezTo>
                      <a:cubicBezTo>
                        <a:pt x="489" y="23"/>
                        <a:pt x="489" y="23"/>
                        <a:pt x="489" y="23"/>
                      </a:cubicBezTo>
                      <a:cubicBezTo>
                        <a:pt x="488" y="26"/>
                        <a:pt x="488" y="26"/>
                        <a:pt x="488" y="26"/>
                      </a:cubicBezTo>
                      <a:cubicBezTo>
                        <a:pt x="486" y="25"/>
                        <a:pt x="485" y="25"/>
                        <a:pt x="483" y="24"/>
                      </a:cubicBezTo>
                      <a:cubicBezTo>
                        <a:pt x="483" y="21"/>
                        <a:pt x="483" y="21"/>
                        <a:pt x="483" y="21"/>
                      </a:cubicBezTo>
                      <a:cubicBezTo>
                        <a:pt x="483" y="21"/>
                        <a:pt x="483" y="21"/>
                        <a:pt x="483" y="21"/>
                      </a:cubicBezTo>
                      <a:cubicBezTo>
                        <a:pt x="482" y="24"/>
                        <a:pt x="482" y="24"/>
                        <a:pt x="482" y="24"/>
                      </a:cubicBezTo>
                      <a:cubicBezTo>
                        <a:pt x="480" y="23"/>
                        <a:pt x="478" y="23"/>
                        <a:pt x="476" y="23"/>
                      </a:cubicBezTo>
                      <a:cubicBezTo>
                        <a:pt x="477" y="20"/>
                        <a:pt x="477" y="20"/>
                        <a:pt x="477" y="20"/>
                      </a:cubicBezTo>
                      <a:cubicBezTo>
                        <a:pt x="476" y="20"/>
                        <a:pt x="476" y="20"/>
                        <a:pt x="476" y="20"/>
                      </a:cubicBezTo>
                      <a:cubicBezTo>
                        <a:pt x="475" y="22"/>
                        <a:pt x="475" y="22"/>
                        <a:pt x="475" y="22"/>
                      </a:cubicBezTo>
                      <a:cubicBezTo>
                        <a:pt x="474" y="22"/>
                        <a:pt x="472" y="22"/>
                        <a:pt x="470" y="21"/>
                      </a:cubicBezTo>
                      <a:cubicBezTo>
                        <a:pt x="470" y="18"/>
                        <a:pt x="470" y="18"/>
                        <a:pt x="470" y="18"/>
                      </a:cubicBezTo>
                      <a:cubicBezTo>
                        <a:pt x="470" y="18"/>
                        <a:pt x="470" y="18"/>
                        <a:pt x="470" y="18"/>
                      </a:cubicBezTo>
                      <a:cubicBezTo>
                        <a:pt x="469" y="21"/>
                        <a:pt x="469" y="21"/>
                        <a:pt x="469" y="21"/>
                      </a:cubicBezTo>
                      <a:cubicBezTo>
                        <a:pt x="467" y="21"/>
                        <a:pt x="465" y="20"/>
                        <a:pt x="463" y="20"/>
                      </a:cubicBezTo>
                      <a:cubicBezTo>
                        <a:pt x="464" y="17"/>
                        <a:pt x="464" y="17"/>
                        <a:pt x="464" y="17"/>
                      </a:cubicBezTo>
                      <a:cubicBezTo>
                        <a:pt x="463" y="17"/>
                        <a:pt x="463" y="17"/>
                        <a:pt x="463" y="17"/>
                      </a:cubicBezTo>
                      <a:cubicBezTo>
                        <a:pt x="463" y="20"/>
                        <a:pt x="463" y="20"/>
                        <a:pt x="463" y="20"/>
                      </a:cubicBezTo>
                      <a:cubicBezTo>
                        <a:pt x="461" y="19"/>
                        <a:pt x="459" y="19"/>
                        <a:pt x="457" y="19"/>
                      </a:cubicBezTo>
                      <a:cubicBezTo>
                        <a:pt x="458" y="13"/>
                        <a:pt x="458" y="13"/>
                        <a:pt x="458" y="13"/>
                      </a:cubicBezTo>
                      <a:cubicBezTo>
                        <a:pt x="458" y="13"/>
                        <a:pt x="458" y="13"/>
                        <a:pt x="458" y="13"/>
                      </a:cubicBezTo>
                      <a:cubicBezTo>
                        <a:pt x="459" y="6"/>
                        <a:pt x="459" y="6"/>
                        <a:pt x="459" y="6"/>
                      </a:cubicBezTo>
                      <a:cubicBezTo>
                        <a:pt x="458" y="6"/>
                        <a:pt x="458" y="6"/>
                        <a:pt x="458" y="6"/>
                      </a:cubicBezTo>
                      <a:cubicBezTo>
                        <a:pt x="457" y="13"/>
                        <a:pt x="457" y="13"/>
                        <a:pt x="457" y="13"/>
                      </a:cubicBezTo>
                      <a:cubicBezTo>
                        <a:pt x="456" y="13"/>
                        <a:pt x="456" y="13"/>
                        <a:pt x="456" y="13"/>
                      </a:cubicBezTo>
                      <a:cubicBezTo>
                        <a:pt x="456" y="18"/>
                        <a:pt x="456" y="18"/>
                        <a:pt x="456" y="18"/>
                      </a:cubicBezTo>
                      <a:cubicBezTo>
                        <a:pt x="454" y="18"/>
                        <a:pt x="452" y="18"/>
                        <a:pt x="450" y="18"/>
                      </a:cubicBezTo>
                      <a:cubicBezTo>
                        <a:pt x="451" y="15"/>
                        <a:pt x="451" y="15"/>
                        <a:pt x="451" y="15"/>
                      </a:cubicBezTo>
                      <a:cubicBezTo>
                        <a:pt x="450" y="15"/>
                        <a:pt x="450" y="15"/>
                        <a:pt x="450" y="15"/>
                      </a:cubicBezTo>
                      <a:cubicBezTo>
                        <a:pt x="450" y="17"/>
                        <a:pt x="450" y="17"/>
                        <a:pt x="450" y="17"/>
                      </a:cubicBezTo>
                      <a:cubicBezTo>
                        <a:pt x="448" y="17"/>
                        <a:pt x="446" y="17"/>
                        <a:pt x="444" y="17"/>
                      </a:cubicBezTo>
                      <a:cubicBezTo>
                        <a:pt x="444" y="14"/>
                        <a:pt x="444" y="14"/>
                        <a:pt x="444" y="14"/>
                      </a:cubicBezTo>
                      <a:cubicBezTo>
                        <a:pt x="443" y="14"/>
                        <a:pt x="443" y="14"/>
                        <a:pt x="443" y="14"/>
                      </a:cubicBezTo>
                      <a:cubicBezTo>
                        <a:pt x="443" y="16"/>
                        <a:pt x="443" y="16"/>
                        <a:pt x="443" y="16"/>
                      </a:cubicBezTo>
                      <a:cubicBezTo>
                        <a:pt x="441" y="16"/>
                        <a:pt x="439" y="16"/>
                        <a:pt x="437" y="16"/>
                      </a:cubicBezTo>
                      <a:cubicBezTo>
                        <a:pt x="438" y="13"/>
                        <a:pt x="438" y="13"/>
                        <a:pt x="438" y="13"/>
                      </a:cubicBezTo>
                      <a:cubicBezTo>
                        <a:pt x="437" y="13"/>
                        <a:pt x="437" y="13"/>
                        <a:pt x="437" y="13"/>
                      </a:cubicBezTo>
                      <a:cubicBezTo>
                        <a:pt x="436" y="16"/>
                        <a:pt x="436" y="16"/>
                        <a:pt x="436" y="16"/>
                      </a:cubicBezTo>
                      <a:cubicBezTo>
                        <a:pt x="435" y="15"/>
                        <a:pt x="433" y="15"/>
                        <a:pt x="431" y="15"/>
                      </a:cubicBezTo>
                      <a:cubicBezTo>
                        <a:pt x="431" y="12"/>
                        <a:pt x="431" y="12"/>
                        <a:pt x="431" y="12"/>
                      </a:cubicBezTo>
                      <a:cubicBezTo>
                        <a:pt x="430" y="12"/>
                        <a:pt x="430" y="12"/>
                        <a:pt x="430" y="12"/>
                      </a:cubicBezTo>
                      <a:cubicBezTo>
                        <a:pt x="430" y="15"/>
                        <a:pt x="430" y="15"/>
                        <a:pt x="430" y="15"/>
                      </a:cubicBezTo>
                      <a:cubicBezTo>
                        <a:pt x="428" y="15"/>
                        <a:pt x="426" y="15"/>
                        <a:pt x="424" y="14"/>
                      </a:cubicBezTo>
                      <a:cubicBezTo>
                        <a:pt x="424" y="11"/>
                        <a:pt x="424" y="11"/>
                        <a:pt x="424" y="11"/>
                      </a:cubicBezTo>
                      <a:cubicBezTo>
                        <a:pt x="424" y="11"/>
                        <a:pt x="424" y="11"/>
                        <a:pt x="424" y="11"/>
                      </a:cubicBezTo>
                      <a:cubicBezTo>
                        <a:pt x="423" y="14"/>
                        <a:pt x="423" y="14"/>
                        <a:pt x="423" y="14"/>
                      </a:cubicBezTo>
                      <a:cubicBezTo>
                        <a:pt x="421" y="14"/>
                        <a:pt x="419" y="14"/>
                        <a:pt x="418" y="14"/>
                      </a:cubicBezTo>
                      <a:cubicBezTo>
                        <a:pt x="418" y="11"/>
                        <a:pt x="418" y="11"/>
                        <a:pt x="418" y="11"/>
                      </a:cubicBezTo>
                      <a:cubicBezTo>
                        <a:pt x="417" y="11"/>
                        <a:pt x="417" y="11"/>
                        <a:pt x="417" y="11"/>
                      </a:cubicBezTo>
                      <a:cubicBezTo>
                        <a:pt x="417" y="14"/>
                        <a:pt x="417" y="14"/>
                        <a:pt x="417" y="14"/>
                      </a:cubicBezTo>
                      <a:cubicBezTo>
                        <a:pt x="415" y="14"/>
                        <a:pt x="413" y="14"/>
                        <a:pt x="411" y="13"/>
                      </a:cubicBezTo>
                      <a:cubicBezTo>
                        <a:pt x="411" y="10"/>
                        <a:pt x="411" y="10"/>
                        <a:pt x="411" y="10"/>
                      </a:cubicBezTo>
                      <a:cubicBezTo>
                        <a:pt x="410" y="10"/>
                        <a:pt x="410" y="10"/>
                        <a:pt x="410" y="10"/>
                      </a:cubicBezTo>
                      <a:cubicBezTo>
                        <a:pt x="410" y="13"/>
                        <a:pt x="410" y="13"/>
                        <a:pt x="410" y="13"/>
                      </a:cubicBezTo>
                      <a:cubicBezTo>
                        <a:pt x="408" y="13"/>
                        <a:pt x="406" y="13"/>
                        <a:pt x="404" y="13"/>
                      </a:cubicBezTo>
                      <a:cubicBezTo>
                        <a:pt x="405" y="10"/>
                        <a:pt x="405" y="10"/>
                        <a:pt x="405" y="10"/>
                      </a:cubicBezTo>
                      <a:cubicBezTo>
                        <a:pt x="404" y="10"/>
                        <a:pt x="404" y="10"/>
                        <a:pt x="404" y="10"/>
                      </a:cubicBezTo>
                      <a:cubicBezTo>
                        <a:pt x="404" y="13"/>
                        <a:pt x="404" y="13"/>
                        <a:pt x="404" y="13"/>
                      </a:cubicBezTo>
                      <a:cubicBezTo>
                        <a:pt x="402" y="13"/>
                        <a:pt x="400" y="13"/>
                        <a:pt x="398" y="13"/>
                      </a:cubicBezTo>
                      <a:cubicBezTo>
                        <a:pt x="398" y="10"/>
                        <a:pt x="398" y="10"/>
                        <a:pt x="398" y="10"/>
                      </a:cubicBezTo>
                      <a:cubicBezTo>
                        <a:pt x="397" y="10"/>
                        <a:pt x="397" y="10"/>
                        <a:pt x="397" y="10"/>
                      </a:cubicBezTo>
                      <a:cubicBezTo>
                        <a:pt x="397" y="13"/>
                        <a:pt x="397" y="13"/>
                        <a:pt x="397" y="13"/>
                      </a:cubicBezTo>
                      <a:cubicBezTo>
                        <a:pt x="395" y="13"/>
                        <a:pt x="393" y="13"/>
                        <a:pt x="392" y="13"/>
                      </a:cubicBezTo>
                      <a:cubicBezTo>
                        <a:pt x="392" y="7"/>
                        <a:pt x="392" y="7"/>
                        <a:pt x="392" y="7"/>
                      </a:cubicBezTo>
                      <a:cubicBezTo>
                        <a:pt x="391" y="7"/>
                        <a:pt x="391" y="7"/>
                        <a:pt x="391" y="7"/>
                      </a:cubicBezTo>
                      <a:cubicBezTo>
                        <a:pt x="391" y="0"/>
                        <a:pt x="391" y="0"/>
                        <a:pt x="391" y="0"/>
                      </a:cubicBezTo>
                      <a:cubicBezTo>
                        <a:pt x="390" y="0"/>
                        <a:pt x="390" y="0"/>
                        <a:pt x="390" y="0"/>
                      </a:cubicBezTo>
                      <a:cubicBezTo>
                        <a:pt x="390" y="7"/>
                        <a:pt x="390" y="7"/>
                        <a:pt x="390" y="7"/>
                      </a:cubicBezTo>
                      <a:cubicBezTo>
                        <a:pt x="390" y="7"/>
                        <a:pt x="390" y="7"/>
                        <a:pt x="390" y="7"/>
                      </a:cubicBezTo>
                      <a:cubicBezTo>
                        <a:pt x="390" y="13"/>
                        <a:pt x="390" y="13"/>
                        <a:pt x="390" y="13"/>
                      </a:cubicBezTo>
                      <a:cubicBezTo>
                        <a:pt x="388" y="13"/>
                        <a:pt x="386" y="13"/>
                        <a:pt x="385" y="13"/>
                      </a:cubicBezTo>
                      <a:cubicBezTo>
                        <a:pt x="385" y="10"/>
                        <a:pt x="385" y="10"/>
                        <a:pt x="385" y="10"/>
                      </a:cubicBezTo>
                      <a:cubicBezTo>
                        <a:pt x="385" y="10"/>
                        <a:pt x="385" y="10"/>
                        <a:pt x="385" y="10"/>
                      </a:cubicBezTo>
                      <a:cubicBezTo>
                        <a:pt x="385" y="10"/>
                        <a:pt x="385" y="10"/>
                        <a:pt x="385" y="10"/>
                      </a:cubicBezTo>
                      <a:cubicBezTo>
                        <a:pt x="385" y="10"/>
                        <a:pt x="385" y="10"/>
                        <a:pt x="385" y="10"/>
                      </a:cubicBezTo>
                      <a:cubicBezTo>
                        <a:pt x="384" y="10"/>
                        <a:pt x="384" y="10"/>
                        <a:pt x="384" y="10"/>
                      </a:cubicBezTo>
                      <a:cubicBezTo>
                        <a:pt x="384" y="10"/>
                        <a:pt x="384" y="10"/>
                        <a:pt x="384" y="10"/>
                      </a:cubicBezTo>
                      <a:cubicBezTo>
                        <a:pt x="384" y="13"/>
                        <a:pt x="384" y="13"/>
                        <a:pt x="384" y="13"/>
                      </a:cubicBezTo>
                      <a:cubicBezTo>
                        <a:pt x="382" y="13"/>
                        <a:pt x="380" y="13"/>
                        <a:pt x="378" y="13"/>
                      </a:cubicBezTo>
                      <a:cubicBezTo>
                        <a:pt x="378" y="10"/>
                        <a:pt x="378" y="10"/>
                        <a:pt x="378" y="10"/>
                      </a:cubicBezTo>
                      <a:cubicBezTo>
                        <a:pt x="378" y="10"/>
                        <a:pt x="378" y="10"/>
                        <a:pt x="378" y="10"/>
                      </a:cubicBezTo>
                      <a:cubicBezTo>
                        <a:pt x="378" y="10"/>
                        <a:pt x="378" y="10"/>
                        <a:pt x="378" y="10"/>
                      </a:cubicBezTo>
                      <a:cubicBezTo>
                        <a:pt x="377" y="10"/>
                        <a:pt x="377" y="10"/>
                        <a:pt x="377" y="10"/>
                      </a:cubicBezTo>
                      <a:cubicBezTo>
                        <a:pt x="377" y="10"/>
                        <a:pt x="377" y="10"/>
                        <a:pt x="377" y="10"/>
                      </a:cubicBezTo>
                      <a:cubicBezTo>
                        <a:pt x="377" y="10"/>
                        <a:pt x="377" y="10"/>
                        <a:pt x="377" y="10"/>
                      </a:cubicBezTo>
                      <a:cubicBezTo>
                        <a:pt x="377" y="13"/>
                        <a:pt x="377" y="13"/>
                        <a:pt x="377" y="13"/>
                      </a:cubicBezTo>
                      <a:cubicBezTo>
                        <a:pt x="375" y="13"/>
                        <a:pt x="373" y="13"/>
                        <a:pt x="371" y="13"/>
                      </a:cubicBezTo>
                      <a:cubicBezTo>
                        <a:pt x="371" y="10"/>
                        <a:pt x="371" y="10"/>
                        <a:pt x="371" y="10"/>
                      </a:cubicBezTo>
                      <a:cubicBezTo>
                        <a:pt x="371" y="10"/>
                        <a:pt x="371" y="10"/>
                        <a:pt x="371" y="10"/>
                      </a:cubicBezTo>
                      <a:cubicBezTo>
                        <a:pt x="371" y="10"/>
                        <a:pt x="371" y="10"/>
                        <a:pt x="371" y="10"/>
                      </a:cubicBezTo>
                      <a:cubicBezTo>
                        <a:pt x="370" y="10"/>
                        <a:pt x="370" y="10"/>
                        <a:pt x="370" y="10"/>
                      </a:cubicBezTo>
                      <a:cubicBezTo>
                        <a:pt x="370" y="10"/>
                        <a:pt x="370" y="10"/>
                        <a:pt x="370" y="10"/>
                      </a:cubicBezTo>
                      <a:cubicBezTo>
                        <a:pt x="370" y="10"/>
                        <a:pt x="370" y="10"/>
                        <a:pt x="370" y="10"/>
                      </a:cubicBezTo>
                      <a:cubicBezTo>
                        <a:pt x="371" y="13"/>
                        <a:pt x="371" y="13"/>
                        <a:pt x="371" y="13"/>
                      </a:cubicBezTo>
                      <a:cubicBezTo>
                        <a:pt x="369" y="14"/>
                        <a:pt x="367" y="14"/>
                        <a:pt x="365" y="14"/>
                      </a:cubicBezTo>
                      <a:cubicBezTo>
                        <a:pt x="365" y="11"/>
                        <a:pt x="365" y="11"/>
                        <a:pt x="365" y="11"/>
                      </a:cubicBezTo>
                      <a:cubicBezTo>
                        <a:pt x="365" y="11"/>
                        <a:pt x="365" y="11"/>
                        <a:pt x="365" y="11"/>
                      </a:cubicBezTo>
                      <a:cubicBezTo>
                        <a:pt x="365" y="11"/>
                        <a:pt x="365" y="11"/>
                        <a:pt x="365" y="11"/>
                      </a:cubicBezTo>
                      <a:cubicBezTo>
                        <a:pt x="364" y="11"/>
                        <a:pt x="364" y="11"/>
                        <a:pt x="364" y="11"/>
                      </a:cubicBezTo>
                      <a:cubicBezTo>
                        <a:pt x="364" y="11"/>
                        <a:pt x="364" y="11"/>
                        <a:pt x="364" y="11"/>
                      </a:cubicBezTo>
                      <a:cubicBezTo>
                        <a:pt x="364" y="11"/>
                        <a:pt x="364" y="11"/>
                        <a:pt x="364" y="11"/>
                      </a:cubicBezTo>
                      <a:cubicBezTo>
                        <a:pt x="364" y="14"/>
                        <a:pt x="364" y="14"/>
                        <a:pt x="364" y="14"/>
                      </a:cubicBezTo>
                      <a:cubicBezTo>
                        <a:pt x="362" y="14"/>
                        <a:pt x="360" y="14"/>
                        <a:pt x="358" y="14"/>
                      </a:cubicBezTo>
                      <a:cubicBezTo>
                        <a:pt x="358" y="11"/>
                        <a:pt x="358" y="11"/>
                        <a:pt x="358" y="11"/>
                      </a:cubicBezTo>
                      <a:cubicBezTo>
                        <a:pt x="358" y="11"/>
                        <a:pt x="358" y="11"/>
                        <a:pt x="358" y="11"/>
                      </a:cubicBezTo>
                      <a:cubicBezTo>
                        <a:pt x="358" y="11"/>
                        <a:pt x="358" y="11"/>
                        <a:pt x="358" y="11"/>
                      </a:cubicBezTo>
                      <a:cubicBezTo>
                        <a:pt x="357" y="11"/>
                        <a:pt x="357" y="11"/>
                        <a:pt x="357" y="11"/>
                      </a:cubicBezTo>
                      <a:cubicBezTo>
                        <a:pt x="357" y="11"/>
                        <a:pt x="357" y="11"/>
                        <a:pt x="357" y="11"/>
                      </a:cubicBezTo>
                      <a:cubicBezTo>
                        <a:pt x="357" y="11"/>
                        <a:pt x="357" y="11"/>
                        <a:pt x="357" y="11"/>
                      </a:cubicBezTo>
                      <a:cubicBezTo>
                        <a:pt x="357" y="14"/>
                        <a:pt x="357" y="14"/>
                        <a:pt x="357" y="14"/>
                      </a:cubicBezTo>
                      <a:cubicBezTo>
                        <a:pt x="356" y="15"/>
                        <a:pt x="354" y="15"/>
                        <a:pt x="352" y="15"/>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5"/>
                        <a:pt x="351" y="15"/>
                        <a:pt x="351" y="15"/>
                      </a:cubicBezTo>
                      <a:cubicBezTo>
                        <a:pt x="349" y="15"/>
                        <a:pt x="347" y="15"/>
                        <a:pt x="345" y="16"/>
                      </a:cubicBezTo>
                      <a:cubicBezTo>
                        <a:pt x="345" y="13"/>
                        <a:pt x="345" y="13"/>
                        <a:pt x="345" y="13"/>
                      </a:cubicBezTo>
                      <a:cubicBezTo>
                        <a:pt x="345" y="13"/>
                        <a:pt x="345" y="13"/>
                        <a:pt x="345" y="13"/>
                      </a:cubicBezTo>
                      <a:cubicBezTo>
                        <a:pt x="345" y="13"/>
                        <a:pt x="345" y="13"/>
                        <a:pt x="345" y="13"/>
                      </a:cubicBezTo>
                      <a:cubicBezTo>
                        <a:pt x="344" y="13"/>
                        <a:pt x="344" y="13"/>
                        <a:pt x="344" y="13"/>
                      </a:cubicBezTo>
                      <a:cubicBezTo>
                        <a:pt x="344" y="13"/>
                        <a:pt x="344" y="13"/>
                        <a:pt x="344" y="13"/>
                      </a:cubicBezTo>
                      <a:cubicBezTo>
                        <a:pt x="344" y="13"/>
                        <a:pt x="344" y="13"/>
                        <a:pt x="344" y="13"/>
                      </a:cubicBezTo>
                      <a:cubicBezTo>
                        <a:pt x="344" y="16"/>
                        <a:pt x="344" y="16"/>
                        <a:pt x="344" y="16"/>
                      </a:cubicBezTo>
                      <a:cubicBezTo>
                        <a:pt x="342" y="16"/>
                        <a:pt x="341" y="16"/>
                        <a:pt x="339" y="16"/>
                      </a:cubicBezTo>
                      <a:cubicBezTo>
                        <a:pt x="338" y="14"/>
                        <a:pt x="338" y="14"/>
                        <a:pt x="338" y="14"/>
                      </a:cubicBezTo>
                      <a:cubicBezTo>
                        <a:pt x="338" y="14"/>
                        <a:pt x="338" y="14"/>
                        <a:pt x="338" y="14"/>
                      </a:cubicBezTo>
                      <a:cubicBezTo>
                        <a:pt x="337" y="14"/>
                        <a:pt x="337" y="14"/>
                        <a:pt x="337" y="14"/>
                      </a:cubicBezTo>
                      <a:cubicBezTo>
                        <a:pt x="337" y="14"/>
                        <a:pt x="337" y="14"/>
                        <a:pt x="337" y="14"/>
                      </a:cubicBezTo>
                      <a:cubicBezTo>
                        <a:pt x="338" y="17"/>
                        <a:pt x="338" y="17"/>
                        <a:pt x="338" y="17"/>
                      </a:cubicBezTo>
                      <a:cubicBezTo>
                        <a:pt x="336" y="17"/>
                        <a:pt x="334" y="17"/>
                        <a:pt x="332" y="17"/>
                      </a:cubicBezTo>
                      <a:cubicBezTo>
                        <a:pt x="332" y="15"/>
                        <a:pt x="332" y="15"/>
                        <a:pt x="332" y="15"/>
                      </a:cubicBezTo>
                      <a:cubicBezTo>
                        <a:pt x="332" y="15"/>
                        <a:pt x="332" y="15"/>
                        <a:pt x="332" y="15"/>
                      </a:cubicBezTo>
                      <a:cubicBezTo>
                        <a:pt x="332" y="15"/>
                        <a:pt x="332" y="15"/>
                        <a:pt x="332" y="15"/>
                      </a:cubicBezTo>
                      <a:cubicBezTo>
                        <a:pt x="331" y="15"/>
                        <a:pt x="331" y="15"/>
                        <a:pt x="331" y="15"/>
                      </a:cubicBezTo>
                      <a:cubicBezTo>
                        <a:pt x="331" y="15"/>
                        <a:pt x="331" y="15"/>
                        <a:pt x="331" y="15"/>
                      </a:cubicBezTo>
                      <a:cubicBezTo>
                        <a:pt x="331" y="15"/>
                        <a:pt x="331" y="15"/>
                        <a:pt x="331" y="15"/>
                      </a:cubicBezTo>
                      <a:cubicBezTo>
                        <a:pt x="331" y="18"/>
                        <a:pt x="331" y="18"/>
                        <a:pt x="331" y="18"/>
                      </a:cubicBezTo>
                      <a:cubicBezTo>
                        <a:pt x="330" y="18"/>
                        <a:pt x="328" y="18"/>
                        <a:pt x="326" y="18"/>
                      </a:cubicBezTo>
                      <a:cubicBezTo>
                        <a:pt x="325" y="13"/>
                        <a:pt x="325" y="13"/>
                        <a:pt x="325" y="13"/>
                      </a:cubicBezTo>
                      <a:cubicBezTo>
                        <a:pt x="325" y="13"/>
                        <a:pt x="325" y="13"/>
                        <a:pt x="325" y="13"/>
                      </a:cubicBezTo>
                      <a:cubicBezTo>
                        <a:pt x="323" y="6"/>
                        <a:pt x="323" y="6"/>
                        <a:pt x="323" y="6"/>
                      </a:cubicBezTo>
                      <a:cubicBezTo>
                        <a:pt x="323" y="6"/>
                        <a:pt x="323" y="6"/>
                        <a:pt x="323" y="6"/>
                      </a:cubicBezTo>
                      <a:cubicBezTo>
                        <a:pt x="324" y="13"/>
                        <a:pt x="324" y="13"/>
                        <a:pt x="324" y="13"/>
                      </a:cubicBezTo>
                      <a:cubicBezTo>
                        <a:pt x="323" y="13"/>
                        <a:pt x="323" y="13"/>
                        <a:pt x="323" y="13"/>
                      </a:cubicBezTo>
                      <a:cubicBezTo>
                        <a:pt x="324" y="19"/>
                        <a:pt x="324" y="19"/>
                        <a:pt x="324" y="19"/>
                      </a:cubicBezTo>
                      <a:cubicBezTo>
                        <a:pt x="323" y="19"/>
                        <a:pt x="321" y="19"/>
                        <a:pt x="319" y="20"/>
                      </a:cubicBezTo>
                      <a:cubicBezTo>
                        <a:pt x="319" y="17"/>
                        <a:pt x="319" y="17"/>
                        <a:pt x="319" y="17"/>
                      </a:cubicBezTo>
                      <a:cubicBezTo>
                        <a:pt x="319" y="17"/>
                        <a:pt x="319" y="17"/>
                        <a:pt x="319" y="17"/>
                      </a:cubicBezTo>
                      <a:cubicBezTo>
                        <a:pt x="318" y="17"/>
                        <a:pt x="318" y="17"/>
                        <a:pt x="318" y="17"/>
                      </a:cubicBezTo>
                      <a:cubicBezTo>
                        <a:pt x="318" y="17"/>
                        <a:pt x="318" y="17"/>
                        <a:pt x="318" y="17"/>
                      </a:cubicBezTo>
                      <a:cubicBezTo>
                        <a:pt x="318" y="17"/>
                        <a:pt x="318" y="17"/>
                        <a:pt x="318" y="17"/>
                      </a:cubicBezTo>
                      <a:cubicBezTo>
                        <a:pt x="318" y="17"/>
                        <a:pt x="318" y="17"/>
                        <a:pt x="318" y="17"/>
                      </a:cubicBezTo>
                      <a:cubicBezTo>
                        <a:pt x="318" y="20"/>
                        <a:pt x="318" y="20"/>
                        <a:pt x="318" y="20"/>
                      </a:cubicBezTo>
                      <a:cubicBezTo>
                        <a:pt x="316" y="20"/>
                        <a:pt x="315" y="21"/>
                        <a:pt x="313" y="21"/>
                      </a:cubicBezTo>
                      <a:cubicBezTo>
                        <a:pt x="312" y="18"/>
                        <a:pt x="312" y="18"/>
                        <a:pt x="312" y="18"/>
                      </a:cubicBezTo>
                      <a:cubicBezTo>
                        <a:pt x="312" y="18"/>
                        <a:pt x="312" y="18"/>
                        <a:pt x="312" y="18"/>
                      </a:cubicBezTo>
                      <a:cubicBezTo>
                        <a:pt x="312" y="18"/>
                        <a:pt x="312" y="18"/>
                        <a:pt x="312" y="18"/>
                      </a:cubicBezTo>
                      <a:cubicBezTo>
                        <a:pt x="312" y="18"/>
                        <a:pt x="312" y="18"/>
                        <a:pt x="312" y="18"/>
                      </a:cubicBezTo>
                      <a:cubicBezTo>
                        <a:pt x="311" y="18"/>
                        <a:pt x="311" y="18"/>
                        <a:pt x="311" y="18"/>
                      </a:cubicBezTo>
                      <a:cubicBezTo>
                        <a:pt x="311" y="18"/>
                        <a:pt x="311" y="18"/>
                        <a:pt x="311" y="18"/>
                      </a:cubicBezTo>
                      <a:cubicBezTo>
                        <a:pt x="312" y="21"/>
                        <a:pt x="312" y="21"/>
                        <a:pt x="312" y="21"/>
                      </a:cubicBezTo>
                      <a:cubicBezTo>
                        <a:pt x="310" y="22"/>
                        <a:pt x="308" y="22"/>
                        <a:pt x="306" y="22"/>
                      </a:cubicBezTo>
                      <a:cubicBezTo>
                        <a:pt x="306" y="20"/>
                        <a:pt x="306" y="20"/>
                        <a:pt x="306" y="20"/>
                      </a:cubicBezTo>
                      <a:cubicBezTo>
                        <a:pt x="306" y="20"/>
                        <a:pt x="306" y="20"/>
                        <a:pt x="306" y="20"/>
                      </a:cubicBezTo>
                      <a:cubicBezTo>
                        <a:pt x="305" y="20"/>
                        <a:pt x="305" y="20"/>
                        <a:pt x="305" y="20"/>
                      </a:cubicBezTo>
                      <a:cubicBezTo>
                        <a:pt x="305" y="20"/>
                        <a:pt x="305" y="20"/>
                        <a:pt x="305" y="20"/>
                      </a:cubicBezTo>
                      <a:cubicBezTo>
                        <a:pt x="305" y="20"/>
                        <a:pt x="305" y="20"/>
                        <a:pt x="305" y="20"/>
                      </a:cubicBezTo>
                      <a:cubicBezTo>
                        <a:pt x="305" y="23"/>
                        <a:pt x="305" y="23"/>
                        <a:pt x="305" y="23"/>
                      </a:cubicBezTo>
                      <a:cubicBezTo>
                        <a:pt x="304" y="23"/>
                        <a:pt x="302" y="23"/>
                        <a:pt x="300" y="24"/>
                      </a:cubicBezTo>
                      <a:cubicBezTo>
                        <a:pt x="299" y="21"/>
                        <a:pt x="299" y="21"/>
                        <a:pt x="299" y="21"/>
                      </a:cubicBezTo>
                      <a:cubicBezTo>
                        <a:pt x="299" y="21"/>
                        <a:pt x="299" y="21"/>
                        <a:pt x="299" y="21"/>
                      </a:cubicBezTo>
                      <a:cubicBezTo>
                        <a:pt x="299" y="21"/>
                        <a:pt x="299" y="21"/>
                        <a:pt x="299" y="21"/>
                      </a:cubicBezTo>
                      <a:cubicBezTo>
                        <a:pt x="298" y="21"/>
                        <a:pt x="298" y="21"/>
                        <a:pt x="298" y="21"/>
                      </a:cubicBezTo>
                      <a:cubicBezTo>
                        <a:pt x="298" y="21"/>
                        <a:pt x="298" y="21"/>
                        <a:pt x="298" y="21"/>
                      </a:cubicBezTo>
                      <a:cubicBezTo>
                        <a:pt x="299" y="24"/>
                        <a:pt x="299" y="24"/>
                        <a:pt x="299" y="24"/>
                      </a:cubicBezTo>
                      <a:cubicBezTo>
                        <a:pt x="297" y="25"/>
                        <a:pt x="295" y="25"/>
                        <a:pt x="293" y="26"/>
                      </a:cubicBezTo>
                      <a:cubicBezTo>
                        <a:pt x="293" y="23"/>
                        <a:pt x="293" y="23"/>
                        <a:pt x="293" y="23"/>
                      </a:cubicBezTo>
                      <a:cubicBezTo>
                        <a:pt x="293" y="23"/>
                        <a:pt x="293" y="23"/>
                        <a:pt x="293" y="23"/>
                      </a:cubicBezTo>
                      <a:cubicBezTo>
                        <a:pt x="293" y="23"/>
                        <a:pt x="293" y="23"/>
                        <a:pt x="293" y="23"/>
                      </a:cubicBezTo>
                      <a:cubicBezTo>
                        <a:pt x="292" y="23"/>
                        <a:pt x="292" y="23"/>
                        <a:pt x="292" y="23"/>
                      </a:cubicBezTo>
                      <a:cubicBezTo>
                        <a:pt x="292" y="23"/>
                        <a:pt x="292" y="23"/>
                        <a:pt x="292" y="23"/>
                      </a:cubicBezTo>
                      <a:cubicBezTo>
                        <a:pt x="292" y="23"/>
                        <a:pt x="292" y="23"/>
                        <a:pt x="292" y="23"/>
                      </a:cubicBezTo>
                      <a:cubicBezTo>
                        <a:pt x="293" y="26"/>
                        <a:pt x="293" y="26"/>
                        <a:pt x="293" y="26"/>
                      </a:cubicBezTo>
                      <a:cubicBezTo>
                        <a:pt x="291" y="26"/>
                        <a:pt x="289" y="27"/>
                        <a:pt x="287" y="27"/>
                      </a:cubicBezTo>
                      <a:cubicBezTo>
                        <a:pt x="286" y="25"/>
                        <a:pt x="286" y="25"/>
                        <a:pt x="286" y="25"/>
                      </a:cubicBezTo>
                      <a:cubicBezTo>
                        <a:pt x="285" y="25"/>
                        <a:pt x="285" y="25"/>
                        <a:pt x="285" y="25"/>
                      </a:cubicBezTo>
                      <a:cubicBezTo>
                        <a:pt x="286" y="28"/>
                        <a:pt x="286" y="28"/>
                        <a:pt x="286" y="28"/>
                      </a:cubicBezTo>
                      <a:cubicBezTo>
                        <a:pt x="284" y="28"/>
                        <a:pt x="283" y="29"/>
                        <a:pt x="281" y="29"/>
                      </a:cubicBezTo>
                      <a:cubicBezTo>
                        <a:pt x="280" y="26"/>
                        <a:pt x="280" y="26"/>
                        <a:pt x="280" y="26"/>
                      </a:cubicBezTo>
                      <a:cubicBezTo>
                        <a:pt x="279" y="27"/>
                        <a:pt x="279" y="27"/>
                        <a:pt x="279" y="27"/>
                      </a:cubicBezTo>
                      <a:cubicBezTo>
                        <a:pt x="280" y="29"/>
                        <a:pt x="280" y="29"/>
                        <a:pt x="280" y="29"/>
                      </a:cubicBezTo>
                      <a:cubicBezTo>
                        <a:pt x="278" y="30"/>
                        <a:pt x="276" y="31"/>
                        <a:pt x="274" y="31"/>
                      </a:cubicBezTo>
                      <a:cubicBezTo>
                        <a:pt x="274" y="28"/>
                        <a:pt x="274" y="28"/>
                        <a:pt x="274" y="28"/>
                      </a:cubicBezTo>
                      <a:cubicBezTo>
                        <a:pt x="273" y="29"/>
                        <a:pt x="273" y="29"/>
                        <a:pt x="273" y="29"/>
                      </a:cubicBezTo>
                      <a:cubicBezTo>
                        <a:pt x="274" y="31"/>
                        <a:pt x="274" y="31"/>
                        <a:pt x="274" y="31"/>
                      </a:cubicBezTo>
                      <a:cubicBezTo>
                        <a:pt x="272" y="32"/>
                        <a:pt x="270" y="33"/>
                        <a:pt x="268" y="33"/>
                      </a:cubicBezTo>
                      <a:cubicBezTo>
                        <a:pt x="267" y="31"/>
                        <a:pt x="267" y="31"/>
                        <a:pt x="267" y="31"/>
                      </a:cubicBezTo>
                      <a:cubicBezTo>
                        <a:pt x="266" y="31"/>
                        <a:pt x="266" y="31"/>
                        <a:pt x="266" y="31"/>
                      </a:cubicBezTo>
                      <a:cubicBezTo>
                        <a:pt x="267" y="33"/>
                        <a:pt x="267" y="33"/>
                        <a:pt x="267" y="33"/>
                      </a:cubicBezTo>
                      <a:cubicBezTo>
                        <a:pt x="266" y="34"/>
                        <a:pt x="264" y="35"/>
                        <a:pt x="262" y="35"/>
                      </a:cubicBezTo>
                      <a:cubicBezTo>
                        <a:pt x="261" y="30"/>
                        <a:pt x="261" y="30"/>
                        <a:pt x="261" y="30"/>
                      </a:cubicBezTo>
                      <a:cubicBezTo>
                        <a:pt x="260" y="30"/>
                        <a:pt x="260" y="30"/>
                        <a:pt x="260" y="30"/>
                      </a:cubicBezTo>
                      <a:cubicBezTo>
                        <a:pt x="257" y="23"/>
                        <a:pt x="257" y="23"/>
                        <a:pt x="257" y="23"/>
                      </a:cubicBezTo>
                      <a:cubicBezTo>
                        <a:pt x="257" y="23"/>
                        <a:pt x="257" y="23"/>
                        <a:pt x="257" y="23"/>
                      </a:cubicBezTo>
                      <a:cubicBezTo>
                        <a:pt x="259" y="31"/>
                        <a:pt x="259" y="31"/>
                        <a:pt x="259" y="31"/>
                      </a:cubicBezTo>
                      <a:cubicBezTo>
                        <a:pt x="259" y="31"/>
                        <a:pt x="259" y="31"/>
                        <a:pt x="259" y="31"/>
                      </a:cubicBezTo>
                      <a:cubicBezTo>
                        <a:pt x="261" y="36"/>
                        <a:pt x="261" y="36"/>
                        <a:pt x="261" y="36"/>
                      </a:cubicBezTo>
                      <a:cubicBezTo>
                        <a:pt x="259" y="36"/>
                        <a:pt x="257" y="37"/>
                        <a:pt x="256" y="38"/>
                      </a:cubicBezTo>
                      <a:cubicBezTo>
                        <a:pt x="255" y="35"/>
                        <a:pt x="255" y="35"/>
                        <a:pt x="255" y="35"/>
                      </a:cubicBezTo>
                      <a:cubicBezTo>
                        <a:pt x="254" y="35"/>
                        <a:pt x="254" y="35"/>
                        <a:pt x="254" y="35"/>
                      </a:cubicBezTo>
                      <a:cubicBezTo>
                        <a:pt x="255" y="38"/>
                        <a:pt x="255" y="38"/>
                        <a:pt x="255" y="38"/>
                      </a:cubicBezTo>
                      <a:cubicBezTo>
                        <a:pt x="253" y="39"/>
                        <a:pt x="251" y="39"/>
                        <a:pt x="250" y="40"/>
                      </a:cubicBezTo>
                      <a:cubicBezTo>
                        <a:pt x="249" y="38"/>
                        <a:pt x="249" y="38"/>
                        <a:pt x="249" y="38"/>
                      </a:cubicBezTo>
                      <a:cubicBezTo>
                        <a:pt x="248" y="38"/>
                        <a:pt x="248" y="38"/>
                        <a:pt x="248" y="38"/>
                      </a:cubicBezTo>
                      <a:cubicBezTo>
                        <a:pt x="249" y="40"/>
                        <a:pt x="249" y="40"/>
                        <a:pt x="249" y="40"/>
                      </a:cubicBezTo>
                      <a:cubicBezTo>
                        <a:pt x="247" y="41"/>
                        <a:pt x="245" y="42"/>
                        <a:pt x="243" y="43"/>
                      </a:cubicBezTo>
                      <a:cubicBezTo>
                        <a:pt x="242" y="40"/>
                        <a:pt x="242" y="40"/>
                        <a:pt x="242" y="40"/>
                      </a:cubicBezTo>
                      <a:cubicBezTo>
                        <a:pt x="242" y="40"/>
                        <a:pt x="242" y="40"/>
                        <a:pt x="242" y="40"/>
                      </a:cubicBezTo>
                      <a:cubicBezTo>
                        <a:pt x="243" y="43"/>
                        <a:pt x="243" y="43"/>
                        <a:pt x="243" y="43"/>
                      </a:cubicBezTo>
                      <a:cubicBezTo>
                        <a:pt x="241" y="44"/>
                        <a:pt x="239" y="44"/>
                        <a:pt x="237" y="45"/>
                      </a:cubicBezTo>
                      <a:cubicBezTo>
                        <a:pt x="236" y="43"/>
                        <a:pt x="236" y="43"/>
                        <a:pt x="236" y="43"/>
                      </a:cubicBezTo>
                      <a:cubicBezTo>
                        <a:pt x="236" y="43"/>
                        <a:pt x="236" y="43"/>
                        <a:pt x="236" y="43"/>
                      </a:cubicBezTo>
                      <a:cubicBezTo>
                        <a:pt x="237" y="46"/>
                        <a:pt x="237" y="46"/>
                        <a:pt x="237" y="46"/>
                      </a:cubicBezTo>
                      <a:cubicBezTo>
                        <a:pt x="235" y="46"/>
                        <a:pt x="233" y="47"/>
                        <a:pt x="231" y="48"/>
                      </a:cubicBezTo>
                      <a:cubicBezTo>
                        <a:pt x="230" y="45"/>
                        <a:pt x="230" y="45"/>
                        <a:pt x="230" y="45"/>
                      </a:cubicBezTo>
                      <a:cubicBezTo>
                        <a:pt x="230" y="46"/>
                        <a:pt x="230" y="46"/>
                        <a:pt x="230" y="46"/>
                      </a:cubicBezTo>
                      <a:cubicBezTo>
                        <a:pt x="231" y="48"/>
                        <a:pt x="231" y="48"/>
                        <a:pt x="231" y="48"/>
                      </a:cubicBezTo>
                      <a:cubicBezTo>
                        <a:pt x="229" y="49"/>
                        <a:pt x="227" y="50"/>
                        <a:pt x="225" y="51"/>
                      </a:cubicBezTo>
                      <a:cubicBezTo>
                        <a:pt x="224" y="48"/>
                        <a:pt x="224" y="48"/>
                        <a:pt x="224" y="48"/>
                      </a:cubicBezTo>
                      <a:cubicBezTo>
                        <a:pt x="224" y="49"/>
                        <a:pt x="224" y="49"/>
                        <a:pt x="224" y="49"/>
                      </a:cubicBezTo>
                      <a:cubicBezTo>
                        <a:pt x="225" y="51"/>
                        <a:pt x="225" y="51"/>
                        <a:pt x="225" y="51"/>
                      </a:cubicBezTo>
                      <a:cubicBezTo>
                        <a:pt x="223" y="52"/>
                        <a:pt x="221" y="53"/>
                        <a:pt x="220" y="54"/>
                      </a:cubicBezTo>
                      <a:cubicBezTo>
                        <a:pt x="218" y="51"/>
                        <a:pt x="218" y="51"/>
                        <a:pt x="218" y="51"/>
                      </a:cubicBezTo>
                      <a:cubicBezTo>
                        <a:pt x="218" y="52"/>
                        <a:pt x="218" y="52"/>
                        <a:pt x="218" y="52"/>
                      </a:cubicBezTo>
                      <a:cubicBezTo>
                        <a:pt x="219" y="54"/>
                        <a:pt x="219" y="54"/>
                        <a:pt x="219" y="54"/>
                      </a:cubicBezTo>
                      <a:cubicBezTo>
                        <a:pt x="217" y="55"/>
                        <a:pt x="215" y="56"/>
                        <a:pt x="214" y="57"/>
                      </a:cubicBezTo>
                      <a:cubicBezTo>
                        <a:pt x="212" y="54"/>
                        <a:pt x="212" y="54"/>
                        <a:pt x="212" y="54"/>
                      </a:cubicBezTo>
                      <a:cubicBezTo>
                        <a:pt x="212" y="55"/>
                        <a:pt x="212" y="55"/>
                        <a:pt x="212" y="55"/>
                      </a:cubicBezTo>
                      <a:cubicBezTo>
                        <a:pt x="213" y="57"/>
                        <a:pt x="213" y="57"/>
                        <a:pt x="213" y="57"/>
                      </a:cubicBezTo>
                      <a:cubicBezTo>
                        <a:pt x="211" y="58"/>
                        <a:pt x="210" y="59"/>
                        <a:pt x="208" y="60"/>
                      </a:cubicBezTo>
                      <a:cubicBezTo>
                        <a:pt x="207" y="58"/>
                        <a:pt x="207" y="58"/>
                        <a:pt x="207" y="58"/>
                      </a:cubicBezTo>
                      <a:cubicBezTo>
                        <a:pt x="206" y="58"/>
                        <a:pt x="206" y="58"/>
                        <a:pt x="206" y="58"/>
                      </a:cubicBezTo>
                      <a:cubicBezTo>
                        <a:pt x="207" y="60"/>
                        <a:pt x="207" y="60"/>
                        <a:pt x="207" y="60"/>
                      </a:cubicBezTo>
                      <a:cubicBezTo>
                        <a:pt x="206" y="61"/>
                        <a:pt x="204" y="62"/>
                        <a:pt x="203" y="63"/>
                      </a:cubicBezTo>
                      <a:cubicBezTo>
                        <a:pt x="200" y="58"/>
                        <a:pt x="200" y="58"/>
                        <a:pt x="200" y="58"/>
                      </a:cubicBezTo>
                      <a:cubicBezTo>
                        <a:pt x="199" y="59"/>
                        <a:pt x="199" y="59"/>
                        <a:pt x="199" y="59"/>
                      </a:cubicBezTo>
                      <a:cubicBezTo>
                        <a:pt x="196" y="52"/>
                        <a:pt x="196" y="52"/>
                        <a:pt x="196" y="52"/>
                      </a:cubicBezTo>
                      <a:cubicBezTo>
                        <a:pt x="195" y="52"/>
                        <a:pt x="195" y="52"/>
                        <a:pt x="195" y="52"/>
                      </a:cubicBezTo>
                      <a:cubicBezTo>
                        <a:pt x="199" y="59"/>
                        <a:pt x="199" y="59"/>
                        <a:pt x="199" y="59"/>
                      </a:cubicBezTo>
                      <a:cubicBezTo>
                        <a:pt x="198" y="59"/>
                        <a:pt x="198" y="59"/>
                        <a:pt x="198" y="59"/>
                      </a:cubicBezTo>
                      <a:cubicBezTo>
                        <a:pt x="201" y="64"/>
                        <a:pt x="201" y="64"/>
                        <a:pt x="201" y="64"/>
                      </a:cubicBezTo>
                      <a:cubicBezTo>
                        <a:pt x="200" y="65"/>
                        <a:pt x="198" y="66"/>
                        <a:pt x="196" y="67"/>
                      </a:cubicBezTo>
                      <a:cubicBezTo>
                        <a:pt x="195" y="64"/>
                        <a:pt x="195" y="64"/>
                        <a:pt x="195" y="64"/>
                      </a:cubicBezTo>
                      <a:cubicBezTo>
                        <a:pt x="194" y="65"/>
                        <a:pt x="194" y="65"/>
                        <a:pt x="194" y="65"/>
                      </a:cubicBezTo>
                      <a:cubicBezTo>
                        <a:pt x="196" y="67"/>
                        <a:pt x="196" y="67"/>
                        <a:pt x="196" y="67"/>
                      </a:cubicBezTo>
                      <a:cubicBezTo>
                        <a:pt x="194" y="68"/>
                        <a:pt x="193" y="69"/>
                        <a:pt x="191" y="70"/>
                      </a:cubicBezTo>
                      <a:cubicBezTo>
                        <a:pt x="189" y="68"/>
                        <a:pt x="189" y="68"/>
                        <a:pt x="189" y="68"/>
                      </a:cubicBezTo>
                      <a:cubicBezTo>
                        <a:pt x="189" y="68"/>
                        <a:pt x="189" y="68"/>
                        <a:pt x="189" y="68"/>
                      </a:cubicBezTo>
                      <a:cubicBezTo>
                        <a:pt x="190" y="70"/>
                        <a:pt x="190" y="70"/>
                        <a:pt x="190" y="70"/>
                      </a:cubicBezTo>
                      <a:cubicBezTo>
                        <a:pt x="189" y="72"/>
                        <a:pt x="187" y="73"/>
                        <a:pt x="185" y="74"/>
                      </a:cubicBezTo>
                      <a:cubicBezTo>
                        <a:pt x="184" y="71"/>
                        <a:pt x="184" y="71"/>
                        <a:pt x="184" y="71"/>
                      </a:cubicBezTo>
                      <a:cubicBezTo>
                        <a:pt x="183" y="72"/>
                        <a:pt x="183" y="72"/>
                        <a:pt x="183" y="72"/>
                      </a:cubicBezTo>
                      <a:cubicBezTo>
                        <a:pt x="185" y="74"/>
                        <a:pt x="185" y="74"/>
                        <a:pt x="185" y="74"/>
                      </a:cubicBezTo>
                      <a:cubicBezTo>
                        <a:pt x="183" y="75"/>
                        <a:pt x="181" y="76"/>
                        <a:pt x="180" y="77"/>
                      </a:cubicBezTo>
                      <a:cubicBezTo>
                        <a:pt x="178" y="75"/>
                        <a:pt x="178" y="75"/>
                        <a:pt x="178" y="75"/>
                      </a:cubicBezTo>
                      <a:cubicBezTo>
                        <a:pt x="178" y="75"/>
                        <a:pt x="178" y="75"/>
                        <a:pt x="178" y="75"/>
                      </a:cubicBezTo>
                      <a:cubicBezTo>
                        <a:pt x="179" y="78"/>
                        <a:pt x="179" y="78"/>
                        <a:pt x="179" y="78"/>
                      </a:cubicBezTo>
                      <a:cubicBezTo>
                        <a:pt x="178" y="79"/>
                        <a:pt x="176" y="80"/>
                        <a:pt x="174" y="81"/>
                      </a:cubicBezTo>
                      <a:cubicBezTo>
                        <a:pt x="173" y="79"/>
                        <a:pt x="173" y="79"/>
                        <a:pt x="173" y="79"/>
                      </a:cubicBezTo>
                      <a:cubicBezTo>
                        <a:pt x="172" y="79"/>
                        <a:pt x="172" y="79"/>
                        <a:pt x="172" y="79"/>
                      </a:cubicBezTo>
                      <a:cubicBezTo>
                        <a:pt x="174" y="81"/>
                        <a:pt x="174" y="81"/>
                        <a:pt x="174" y="81"/>
                      </a:cubicBezTo>
                      <a:cubicBezTo>
                        <a:pt x="172" y="83"/>
                        <a:pt x="171" y="84"/>
                        <a:pt x="169" y="85"/>
                      </a:cubicBezTo>
                      <a:cubicBezTo>
                        <a:pt x="167" y="82"/>
                        <a:pt x="167" y="82"/>
                        <a:pt x="167" y="82"/>
                      </a:cubicBezTo>
                      <a:cubicBezTo>
                        <a:pt x="167" y="83"/>
                        <a:pt x="167" y="83"/>
                        <a:pt x="167" y="83"/>
                      </a:cubicBezTo>
                      <a:cubicBezTo>
                        <a:pt x="168" y="85"/>
                        <a:pt x="168" y="85"/>
                        <a:pt x="168" y="85"/>
                      </a:cubicBezTo>
                      <a:cubicBezTo>
                        <a:pt x="167" y="86"/>
                        <a:pt x="165" y="88"/>
                        <a:pt x="164" y="89"/>
                      </a:cubicBezTo>
                      <a:cubicBezTo>
                        <a:pt x="162" y="86"/>
                        <a:pt x="162" y="86"/>
                        <a:pt x="162" y="86"/>
                      </a:cubicBezTo>
                      <a:cubicBezTo>
                        <a:pt x="161" y="87"/>
                        <a:pt x="161" y="87"/>
                        <a:pt x="161" y="87"/>
                      </a:cubicBezTo>
                      <a:cubicBezTo>
                        <a:pt x="163" y="89"/>
                        <a:pt x="163" y="89"/>
                        <a:pt x="163" y="89"/>
                      </a:cubicBezTo>
                      <a:cubicBezTo>
                        <a:pt x="162" y="90"/>
                        <a:pt x="160" y="92"/>
                        <a:pt x="158" y="93"/>
                      </a:cubicBezTo>
                      <a:cubicBezTo>
                        <a:pt x="157" y="91"/>
                        <a:pt x="157" y="91"/>
                        <a:pt x="157" y="91"/>
                      </a:cubicBezTo>
                      <a:cubicBezTo>
                        <a:pt x="156" y="91"/>
                        <a:pt x="156" y="91"/>
                        <a:pt x="156" y="91"/>
                      </a:cubicBezTo>
                      <a:cubicBezTo>
                        <a:pt x="158" y="93"/>
                        <a:pt x="158" y="93"/>
                        <a:pt x="158" y="93"/>
                      </a:cubicBezTo>
                      <a:cubicBezTo>
                        <a:pt x="156" y="95"/>
                        <a:pt x="155" y="96"/>
                        <a:pt x="153" y="97"/>
                      </a:cubicBezTo>
                      <a:cubicBezTo>
                        <a:pt x="151" y="95"/>
                        <a:pt x="151" y="95"/>
                        <a:pt x="151" y="95"/>
                      </a:cubicBezTo>
                      <a:cubicBezTo>
                        <a:pt x="151" y="95"/>
                        <a:pt x="151" y="95"/>
                        <a:pt x="151" y="95"/>
                      </a:cubicBezTo>
                      <a:cubicBezTo>
                        <a:pt x="153" y="97"/>
                        <a:pt x="153" y="97"/>
                        <a:pt x="153" y="97"/>
                      </a:cubicBezTo>
                      <a:cubicBezTo>
                        <a:pt x="151" y="99"/>
                        <a:pt x="150" y="100"/>
                        <a:pt x="149" y="101"/>
                      </a:cubicBezTo>
                      <a:cubicBezTo>
                        <a:pt x="145" y="97"/>
                        <a:pt x="145" y="97"/>
                        <a:pt x="145" y="97"/>
                      </a:cubicBezTo>
                      <a:cubicBezTo>
                        <a:pt x="145" y="97"/>
                        <a:pt x="145" y="97"/>
                        <a:pt x="145" y="97"/>
                      </a:cubicBezTo>
                      <a:cubicBezTo>
                        <a:pt x="140" y="91"/>
                        <a:pt x="140" y="91"/>
                        <a:pt x="140" y="91"/>
                      </a:cubicBezTo>
                      <a:cubicBezTo>
                        <a:pt x="139" y="91"/>
                        <a:pt x="139" y="91"/>
                        <a:pt x="139" y="91"/>
                      </a:cubicBezTo>
                      <a:cubicBezTo>
                        <a:pt x="144" y="97"/>
                        <a:pt x="144" y="97"/>
                        <a:pt x="144" y="97"/>
                      </a:cubicBezTo>
                      <a:cubicBezTo>
                        <a:pt x="144" y="98"/>
                        <a:pt x="144" y="98"/>
                        <a:pt x="144" y="98"/>
                      </a:cubicBezTo>
                      <a:cubicBezTo>
                        <a:pt x="147" y="102"/>
                        <a:pt x="147" y="102"/>
                        <a:pt x="147" y="102"/>
                      </a:cubicBezTo>
                      <a:cubicBezTo>
                        <a:pt x="146" y="103"/>
                        <a:pt x="145" y="104"/>
                        <a:pt x="143" y="105"/>
                      </a:cubicBezTo>
                      <a:cubicBezTo>
                        <a:pt x="141" y="103"/>
                        <a:pt x="141" y="103"/>
                        <a:pt x="141" y="103"/>
                      </a:cubicBezTo>
                      <a:cubicBezTo>
                        <a:pt x="141" y="104"/>
                        <a:pt x="141" y="104"/>
                        <a:pt x="141" y="104"/>
                      </a:cubicBezTo>
                      <a:cubicBezTo>
                        <a:pt x="143" y="106"/>
                        <a:pt x="143" y="106"/>
                        <a:pt x="143" y="106"/>
                      </a:cubicBezTo>
                      <a:cubicBezTo>
                        <a:pt x="141" y="107"/>
                        <a:pt x="140" y="109"/>
                        <a:pt x="138" y="110"/>
                      </a:cubicBezTo>
                      <a:cubicBezTo>
                        <a:pt x="136" y="108"/>
                        <a:pt x="136" y="108"/>
                        <a:pt x="136" y="108"/>
                      </a:cubicBezTo>
                      <a:cubicBezTo>
                        <a:pt x="136" y="108"/>
                        <a:pt x="136" y="108"/>
                        <a:pt x="136" y="108"/>
                      </a:cubicBezTo>
                      <a:cubicBezTo>
                        <a:pt x="138" y="110"/>
                        <a:pt x="138" y="110"/>
                        <a:pt x="138" y="110"/>
                      </a:cubicBezTo>
                      <a:cubicBezTo>
                        <a:pt x="136" y="112"/>
                        <a:pt x="135" y="113"/>
                        <a:pt x="133" y="114"/>
                      </a:cubicBezTo>
                      <a:cubicBezTo>
                        <a:pt x="131" y="112"/>
                        <a:pt x="131" y="112"/>
                        <a:pt x="131" y="112"/>
                      </a:cubicBezTo>
                      <a:cubicBezTo>
                        <a:pt x="131" y="113"/>
                        <a:pt x="131" y="113"/>
                        <a:pt x="131" y="113"/>
                      </a:cubicBezTo>
                      <a:cubicBezTo>
                        <a:pt x="133" y="115"/>
                        <a:pt x="133" y="115"/>
                        <a:pt x="133" y="115"/>
                      </a:cubicBezTo>
                      <a:cubicBezTo>
                        <a:pt x="131" y="116"/>
                        <a:pt x="130" y="117"/>
                        <a:pt x="129" y="119"/>
                      </a:cubicBezTo>
                      <a:cubicBezTo>
                        <a:pt x="127" y="117"/>
                        <a:pt x="127" y="117"/>
                        <a:pt x="127" y="117"/>
                      </a:cubicBezTo>
                      <a:cubicBezTo>
                        <a:pt x="126" y="117"/>
                        <a:pt x="126" y="117"/>
                        <a:pt x="126" y="117"/>
                      </a:cubicBezTo>
                      <a:cubicBezTo>
                        <a:pt x="128" y="119"/>
                        <a:pt x="128" y="119"/>
                        <a:pt x="128" y="119"/>
                      </a:cubicBezTo>
                      <a:cubicBezTo>
                        <a:pt x="127" y="121"/>
                        <a:pt x="125" y="122"/>
                        <a:pt x="124" y="123"/>
                      </a:cubicBezTo>
                      <a:cubicBezTo>
                        <a:pt x="122" y="121"/>
                        <a:pt x="122" y="121"/>
                        <a:pt x="122" y="121"/>
                      </a:cubicBezTo>
                      <a:cubicBezTo>
                        <a:pt x="121" y="122"/>
                        <a:pt x="121" y="122"/>
                        <a:pt x="121" y="122"/>
                      </a:cubicBezTo>
                      <a:cubicBezTo>
                        <a:pt x="123" y="124"/>
                        <a:pt x="123" y="124"/>
                        <a:pt x="123" y="124"/>
                      </a:cubicBezTo>
                      <a:cubicBezTo>
                        <a:pt x="122" y="125"/>
                        <a:pt x="121" y="127"/>
                        <a:pt x="119" y="128"/>
                      </a:cubicBezTo>
                      <a:cubicBezTo>
                        <a:pt x="117" y="126"/>
                        <a:pt x="117" y="126"/>
                        <a:pt x="117" y="126"/>
                      </a:cubicBezTo>
                      <a:cubicBezTo>
                        <a:pt x="117" y="127"/>
                        <a:pt x="117" y="127"/>
                        <a:pt x="117" y="127"/>
                      </a:cubicBezTo>
                      <a:cubicBezTo>
                        <a:pt x="119" y="129"/>
                        <a:pt x="119" y="129"/>
                        <a:pt x="119" y="129"/>
                      </a:cubicBezTo>
                      <a:cubicBezTo>
                        <a:pt x="117" y="130"/>
                        <a:pt x="116" y="132"/>
                        <a:pt x="115" y="133"/>
                      </a:cubicBezTo>
                      <a:cubicBezTo>
                        <a:pt x="113" y="131"/>
                        <a:pt x="113" y="131"/>
                        <a:pt x="113" y="131"/>
                      </a:cubicBezTo>
                      <a:cubicBezTo>
                        <a:pt x="112" y="131"/>
                        <a:pt x="112" y="131"/>
                        <a:pt x="112" y="131"/>
                      </a:cubicBezTo>
                      <a:cubicBezTo>
                        <a:pt x="114" y="134"/>
                        <a:pt x="114" y="134"/>
                        <a:pt x="114" y="134"/>
                      </a:cubicBezTo>
                      <a:cubicBezTo>
                        <a:pt x="113" y="135"/>
                        <a:pt x="112" y="136"/>
                        <a:pt x="110" y="138"/>
                      </a:cubicBezTo>
                      <a:cubicBezTo>
                        <a:pt x="108" y="136"/>
                        <a:pt x="108" y="136"/>
                        <a:pt x="108" y="136"/>
                      </a:cubicBezTo>
                      <a:cubicBezTo>
                        <a:pt x="108" y="136"/>
                        <a:pt x="108" y="136"/>
                        <a:pt x="108" y="136"/>
                      </a:cubicBezTo>
                      <a:cubicBezTo>
                        <a:pt x="110" y="138"/>
                        <a:pt x="110" y="138"/>
                        <a:pt x="110" y="138"/>
                      </a:cubicBezTo>
                      <a:cubicBezTo>
                        <a:pt x="108" y="140"/>
                        <a:pt x="107" y="141"/>
                        <a:pt x="106" y="143"/>
                      </a:cubicBezTo>
                      <a:cubicBezTo>
                        <a:pt x="104" y="141"/>
                        <a:pt x="104" y="141"/>
                        <a:pt x="104" y="141"/>
                      </a:cubicBezTo>
                      <a:cubicBezTo>
                        <a:pt x="103" y="141"/>
                        <a:pt x="103" y="141"/>
                        <a:pt x="103" y="141"/>
                      </a:cubicBezTo>
                      <a:cubicBezTo>
                        <a:pt x="105" y="143"/>
                        <a:pt x="105" y="143"/>
                        <a:pt x="105" y="143"/>
                      </a:cubicBezTo>
                      <a:cubicBezTo>
                        <a:pt x="104" y="145"/>
                        <a:pt x="103" y="146"/>
                        <a:pt x="102" y="147"/>
                      </a:cubicBezTo>
                      <a:cubicBezTo>
                        <a:pt x="98" y="144"/>
                        <a:pt x="98" y="144"/>
                        <a:pt x="98" y="144"/>
                      </a:cubicBezTo>
                      <a:cubicBezTo>
                        <a:pt x="97" y="144"/>
                        <a:pt x="97" y="144"/>
                        <a:pt x="97" y="144"/>
                      </a:cubicBezTo>
                      <a:cubicBezTo>
                        <a:pt x="91" y="139"/>
                        <a:pt x="91" y="139"/>
                        <a:pt x="91" y="139"/>
                      </a:cubicBezTo>
                      <a:cubicBezTo>
                        <a:pt x="91" y="140"/>
                        <a:pt x="91" y="140"/>
                        <a:pt x="91" y="140"/>
                      </a:cubicBezTo>
                      <a:cubicBezTo>
                        <a:pt x="97" y="145"/>
                        <a:pt x="97" y="145"/>
                        <a:pt x="97" y="145"/>
                      </a:cubicBezTo>
                      <a:cubicBezTo>
                        <a:pt x="97" y="145"/>
                        <a:pt x="97" y="145"/>
                        <a:pt x="97" y="145"/>
                      </a:cubicBezTo>
                      <a:cubicBezTo>
                        <a:pt x="101" y="149"/>
                        <a:pt x="101" y="149"/>
                        <a:pt x="101" y="149"/>
                      </a:cubicBezTo>
                      <a:cubicBezTo>
                        <a:pt x="100" y="150"/>
                        <a:pt x="99" y="151"/>
                        <a:pt x="97" y="153"/>
                      </a:cubicBezTo>
                      <a:cubicBezTo>
                        <a:pt x="95" y="151"/>
                        <a:pt x="95" y="151"/>
                        <a:pt x="95" y="151"/>
                      </a:cubicBezTo>
                      <a:cubicBezTo>
                        <a:pt x="95" y="152"/>
                        <a:pt x="95" y="152"/>
                        <a:pt x="95" y="152"/>
                      </a:cubicBezTo>
                      <a:cubicBezTo>
                        <a:pt x="97" y="153"/>
                        <a:pt x="97" y="153"/>
                        <a:pt x="97" y="153"/>
                      </a:cubicBezTo>
                      <a:cubicBezTo>
                        <a:pt x="96" y="155"/>
                        <a:pt x="94" y="156"/>
                        <a:pt x="93" y="158"/>
                      </a:cubicBezTo>
                      <a:cubicBezTo>
                        <a:pt x="91" y="156"/>
                        <a:pt x="91" y="156"/>
                        <a:pt x="91" y="156"/>
                      </a:cubicBezTo>
                      <a:cubicBezTo>
                        <a:pt x="90" y="157"/>
                        <a:pt x="90" y="157"/>
                        <a:pt x="90" y="157"/>
                      </a:cubicBezTo>
                      <a:cubicBezTo>
                        <a:pt x="93" y="159"/>
                        <a:pt x="93" y="159"/>
                        <a:pt x="93" y="159"/>
                      </a:cubicBezTo>
                      <a:cubicBezTo>
                        <a:pt x="92" y="160"/>
                        <a:pt x="90" y="162"/>
                        <a:pt x="89" y="163"/>
                      </a:cubicBezTo>
                      <a:cubicBezTo>
                        <a:pt x="87" y="161"/>
                        <a:pt x="87" y="161"/>
                        <a:pt x="87" y="161"/>
                      </a:cubicBezTo>
                      <a:cubicBezTo>
                        <a:pt x="86" y="162"/>
                        <a:pt x="86" y="162"/>
                        <a:pt x="86" y="162"/>
                      </a:cubicBezTo>
                      <a:cubicBezTo>
                        <a:pt x="89" y="164"/>
                        <a:pt x="89" y="164"/>
                        <a:pt x="89" y="164"/>
                      </a:cubicBezTo>
                      <a:cubicBezTo>
                        <a:pt x="88" y="165"/>
                        <a:pt x="86" y="167"/>
                        <a:pt x="85" y="168"/>
                      </a:cubicBezTo>
                      <a:cubicBezTo>
                        <a:pt x="83" y="167"/>
                        <a:pt x="83" y="167"/>
                        <a:pt x="83" y="167"/>
                      </a:cubicBezTo>
                      <a:cubicBezTo>
                        <a:pt x="82" y="167"/>
                        <a:pt x="82" y="167"/>
                        <a:pt x="82" y="167"/>
                      </a:cubicBezTo>
                      <a:cubicBezTo>
                        <a:pt x="85" y="169"/>
                        <a:pt x="85" y="169"/>
                        <a:pt x="85" y="169"/>
                      </a:cubicBezTo>
                      <a:cubicBezTo>
                        <a:pt x="84" y="171"/>
                        <a:pt x="83" y="172"/>
                        <a:pt x="81" y="174"/>
                      </a:cubicBezTo>
                      <a:cubicBezTo>
                        <a:pt x="79" y="172"/>
                        <a:pt x="79" y="172"/>
                        <a:pt x="79" y="172"/>
                      </a:cubicBezTo>
                      <a:cubicBezTo>
                        <a:pt x="79" y="173"/>
                        <a:pt x="79" y="173"/>
                        <a:pt x="79" y="173"/>
                      </a:cubicBezTo>
                      <a:cubicBezTo>
                        <a:pt x="81" y="174"/>
                        <a:pt x="81" y="174"/>
                        <a:pt x="81" y="174"/>
                      </a:cubicBezTo>
                      <a:cubicBezTo>
                        <a:pt x="80" y="176"/>
                        <a:pt x="79" y="178"/>
                        <a:pt x="78" y="179"/>
                      </a:cubicBezTo>
                      <a:cubicBezTo>
                        <a:pt x="75" y="178"/>
                        <a:pt x="75" y="178"/>
                        <a:pt x="75" y="178"/>
                      </a:cubicBezTo>
                      <a:cubicBezTo>
                        <a:pt x="75" y="178"/>
                        <a:pt x="75" y="178"/>
                        <a:pt x="75" y="178"/>
                      </a:cubicBezTo>
                      <a:cubicBezTo>
                        <a:pt x="77" y="180"/>
                        <a:pt x="77" y="180"/>
                        <a:pt x="77" y="180"/>
                      </a:cubicBezTo>
                      <a:cubicBezTo>
                        <a:pt x="76" y="182"/>
                        <a:pt x="75" y="183"/>
                        <a:pt x="74" y="185"/>
                      </a:cubicBezTo>
                      <a:cubicBezTo>
                        <a:pt x="72" y="183"/>
                        <a:pt x="72" y="183"/>
                        <a:pt x="72" y="183"/>
                      </a:cubicBezTo>
                      <a:cubicBezTo>
                        <a:pt x="71" y="184"/>
                        <a:pt x="71" y="184"/>
                        <a:pt x="71" y="184"/>
                      </a:cubicBezTo>
                      <a:cubicBezTo>
                        <a:pt x="74" y="185"/>
                        <a:pt x="74" y="185"/>
                        <a:pt x="74" y="185"/>
                      </a:cubicBezTo>
                      <a:cubicBezTo>
                        <a:pt x="73" y="187"/>
                        <a:pt x="72" y="189"/>
                        <a:pt x="70" y="190"/>
                      </a:cubicBezTo>
                      <a:cubicBezTo>
                        <a:pt x="68" y="189"/>
                        <a:pt x="68" y="189"/>
                        <a:pt x="68" y="189"/>
                      </a:cubicBezTo>
                      <a:cubicBezTo>
                        <a:pt x="68" y="189"/>
                        <a:pt x="68" y="189"/>
                        <a:pt x="68" y="189"/>
                      </a:cubicBezTo>
                      <a:cubicBezTo>
                        <a:pt x="70" y="191"/>
                        <a:pt x="70" y="191"/>
                        <a:pt x="70" y="191"/>
                      </a:cubicBezTo>
                      <a:cubicBezTo>
                        <a:pt x="69" y="193"/>
                        <a:pt x="68" y="194"/>
                        <a:pt x="67" y="196"/>
                      </a:cubicBezTo>
                      <a:cubicBezTo>
                        <a:pt x="65" y="194"/>
                        <a:pt x="65" y="194"/>
                        <a:pt x="65" y="194"/>
                      </a:cubicBezTo>
                      <a:cubicBezTo>
                        <a:pt x="64" y="195"/>
                        <a:pt x="64" y="195"/>
                        <a:pt x="64" y="195"/>
                      </a:cubicBezTo>
                      <a:cubicBezTo>
                        <a:pt x="67" y="197"/>
                        <a:pt x="67" y="197"/>
                        <a:pt x="67" y="197"/>
                      </a:cubicBezTo>
                      <a:cubicBezTo>
                        <a:pt x="66" y="198"/>
                        <a:pt x="65" y="200"/>
                        <a:pt x="64" y="201"/>
                      </a:cubicBezTo>
                      <a:cubicBezTo>
                        <a:pt x="59" y="199"/>
                        <a:pt x="59" y="199"/>
                        <a:pt x="59" y="199"/>
                      </a:cubicBezTo>
                      <a:cubicBezTo>
                        <a:pt x="59" y="199"/>
                        <a:pt x="59" y="199"/>
                        <a:pt x="59" y="199"/>
                      </a:cubicBezTo>
                      <a:cubicBezTo>
                        <a:pt x="52" y="195"/>
                        <a:pt x="52" y="195"/>
                        <a:pt x="52" y="195"/>
                      </a:cubicBezTo>
                      <a:cubicBezTo>
                        <a:pt x="52" y="196"/>
                        <a:pt x="52" y="196"/>
                        <a:pt x="52" y="196"/>
                      </a:cubicBezTo>
                      <a:cubicBezTo>
                        <a:pt x="59" y="200"/>
                        <a:pt x="59" y="200"/>
                        <a:pt x="59" y="200"/>
                      </a:cubicBezTo>
                      <a:cubicBezTo>
                        <a:pt x="58" y="200"/>
                        <a:pt x="58" y="200"/>
                        <a:pt x="58" y="200"/>
                      </a:cubicBezTo>
                      <a:cubicBezTo>
                        <a:pt x="63" y="203"/>
                        <a:pt x="63" y="203"/>
                        <a:pt x="63" y="203"/>
                      </a:cubicBezTo>
                      <a:cubicBezTo>
                        <a:pt x="62" y="204"/>
                        <a:pt x="61" y="206"/>
                        <a:pt x="60" y="207"/>
                      </a:cubicBezTo>
                      <a:cubicBezTo>
                        <a:pt x="58" y="206"/>
                        <a:pt x="58" y="206"/>
                        <a:pt x="58" y="206"/>
                      </a:cubicBezTo>
                      <a:cubicBezTo>
                        <a:pt x="58" y="207"/>
                        <a:pt x="58" y="207"/>
                        <a:pt x="58" y="207"/>
                      </a:cubicBezTo>
                      <a:cubicBezTo>
                        <a:pt x="60" y="208"/>
                        <a:pt x="60" y="208"/>
                        <a:pt x="60" y="208"/>
                      </a:cubicBezTo>
                      <a:cubicBezTo>
                        <a:pt x="59" y="210"/>
                        <a:pt x="58" y="211"/>
                        <a:pt x="57" y="213"/>
                      </a:cubicBezTo>
                      <a:cubicBezTo>
                        <a:pt x="55" y="212"/>
                        <a:pt x="55" y="212"/>
                        <a:pt x="55" y="212"/>
                      </a:cubicBezTo>
                      <a:cubicBezTo>
                        <a:pt x="54" y="213"/>
                        <a:pt x="54" y="213"/>
                        <a:pt x="54" y="213"/>
                      </a:cubicBezTo>
                      <a:cubicBezTo>
                        <a:pt x="57" y="214"/>
                        <a:pt x="57" y="214"/>
                        <a:pt x="57" y="214"/>
                      </a:cubicBezTo>
                      <a:cubicBezTo>
                        <a:pt x="56" y="216"/>
                        <a:pt x="55" y="217"/>
                        <a:pt x="54" y="219"/>
                      </a:cubicBezTo>
                      <a:cubicBezTo>
                        <a:pt x="52" y="218"/>
                        <a:pt x="52" y="218"/>
                        <a:pt x="52" y="218"/>
                      </a:cubicBezTo>
                      <a:cubicBezTo>
                        <a:pt x="51" y="218"/>
                        <a:pt x="51" y="218"/>
                        <a:pt x="51" y="218"/>
                      </a:cubicBezTo>
                      <a:cubicBezTo>
                        <a:pt x="54" y="220"/>
                        <a:pt x="54" y="220"/>
                        <a:pt x="54" y="220"/>
                      </a:cubicBezTo>
                      <a:cubicBezTo>
                        <a:pt x="53" y="221"/>
                        <a:pt x="52" y="223"/>
                        <a:pt x="51" y="225"/>
                      </a:cubicBezTo>
                      <a:cubicBezTo>
                        <a:pt x="49" y="224"/>
                        <a:pt x="49" y="224"/>
                        <a:pt x="49" y="224"/>
                      </a:cubicBezTo>
                      <a:cubicBezTo>
                        <a:pt x="48" y="224"/>
                        <a:pt x="48" y="224"/>
                        <a:pt x="48" y="224"/>
                      </a:cubicBezTo>
                      <a:cubicBezTo>
                        <a:pt x="51" y="226"/>
                        <a:pt x="51" y="226"/>
                        <a:pt x="51" y="226"/>
                      </a:cubicBezTo>
                      <a:cubicBezTo>
                        <a:pt x="50" y="227"/>
                        <a:pt x="49" y="229"/>
                        <a:pt x="48" y="231"/>
                      </a:cubicBezTo>
                      <a:cubicBezTo>
                        <a:pt x="46" y="230"/>
                        <a:pt x="46" y="230"/>
                        <a:pt x="46" y="230"/>
                      </a:cubicBezTo>
                      <a:cubicBezTo>
                        <a:pt x="45" y="230"/>
                        <a:pt x="45" y="230"/>
                        <a:pt x="45" y="230"/>
                      </a:cubicBezTo>
                      <a:cubicBezTo>
                        <a:pt x="48" y="232"/>
                        <a:pt x="48" y="232"/>
                        <a:pt x="48" y="232"/>
                      </a:cubicBezTo>
                      <a:cubicBezTo>
                        <a:pt x="47" y="233"/>
                        <a:pt x="46" y="235"/>
                        <a:pt x="46" y="237"/>
                      </a:cubicBezTo>
                      <a:cubicBezTo>
                        <a:pt x="43" y="236"/>
                        <a:pt x="43" y="236"/>
                        <a:pt x="43" y="236"/>
                      </a:cubicBezTo>
                      <a:cubicBezTo>
                        <a:pt x="43" y="236"/>
                        <a:pt x="43" y="236"/>
                        <a:pt x="43" y="236"/>
                      </a:cubicBezTo>
                      <a:cubicBezTo>
                        <a:pt x="45" y="238"/>
                        <a:pt x="45" y="238"/>
                        <a:pt x="45" y="238"/>
                      </a:cubicBezTo>
                      <a:cubicBezTo>
                        <a:pt x="45" y="239"/>
                        <a:pt x="44" y="241"/>
                        <a:pt x="43" y="243"/>
                      </a:cubicBezTo>
                      <a:cubicBezTo>
                        <a:pt x="40" y="242"/>
                        <a:pt x="40" y="242"/>
                        <a:pt x="40" y="242"/>
                      </a:cubicBezTo>
                      <a:cubicBezTo>
                        <a:pt x="40" y="243"/>
                        <a:pt x="40" y="243"/>
                        <a:pt x="40" y="243"/>
                      </a:cubicBezTo>
                      <a:cubicBezTo>
                        <a:pt x="43" y="244"/>
                        <a:pt x="43" y="244"/>
                        <a:pt x="43" y="244"/>
                      </a:cubicBezTo>
                      <a:cubicBezTo>
                        <a:pt x="42" y="245"/>
                        <a:pt x="41" y="247"/>
                        <a:pt x="40" y="249"/>
                      </a:cubicBezTo>
                      <a:cubicBezTo>
                        <a:pt x="38" y="248"/>
                        <a:pt x="38" y="248"/>
                        <a:pt x="38" y="248"/>
                      </a:cubicBezTo>
                      <a:cubicBezTo>
                        <a:pt x="38" y="249"/>
                        <a:pt x="38" y="249"/>
                        <a:pt x="38" y="249"/>
                      </a:cubicBezTo>
                      <a:cubicBezTo>
                        <a:pt x="40" y="250"/>
                        <a:pt x="40" y="250"/>
                        <a:pt x="40" y="250"/>
                      </a:cubicBezTo>
                      <a:cubicBezTo>
                        <a:pt x="39" y="252"/>
                        <a:pt x="39" y="253"/>
                        <a:pt x="38" y="255"/>
                      </a:cubicBezTo>
                      <a:cubicBezTo>
                        <a:pt x="35" y="254"/>
                        <a:pt x="35" y="254"/>
                        <a:pt x="35" y="254"/>
                      </a:cubicBezTo>
                      <a:cubicBezTo>
                        <a:pt x="35" y="255"/>
                        <a:pt x="35" y="255"/>
                        <a:pt x="35" y="255"/>
                      </a:cubicBezTo>
                      <a:cubicBezTo>
                        <a:pt x="38" y="256"/>
                        <a:pt x="38" y="256"/>
                        <a:pt x="38" y="256"/>
                      </a:cubicBezTo>
                      <a:cubicBezTo>
                        <a:pt x="37" y="258"/>
                        <a:pt x="37" y="259"/>
                        <a:pt x="36" y="261"/>
                      </a:cubicBezTo>
                      <a:cubicBezTo>
                        <a:pt x="31" y="259"/>
                        <a:pt x="31" y="259"/>
                        <a:pt x="31" y="259"/>
                      </a:cubicBezTo>
                      <a:cubicBezTo>
                        <a:pt x="31" y="260"/>
                        <a:pt x="31" y="260"/>
                        <a:pt x="31" y="260"/>
                      </a:cubicBezTo>
                      <a:cubicBezTo>
                        <a:pt x="23" y="257"/>
                        <a:pt x="23" y="257"/>
                        <a:pt x="23" y="257"/>
                      </a:cubicBezTo>
                      <a:cubicBezTo>
                        <a:pt x="23" y="258"/>
                        <a:pt x="23" y="258"/>
                        <a:pt x="23" y="258"/>
                      </a:cubicBezTo>
                      <a:cubicBezTo>
                        <a:pt x="30" y="260"/>
                        <a:pt x="30" y="260"/>
                        <a:pt x="30" y="260"/>
                      </a:cubicBezTo>
                      <a:cubicBezTo>
                        <a:pt x="30" y="261"/>
                        <a:pt x="30" y="261"/>
                        <a:pt x="30" y="261"/>
                      </a:cubicBezTo>
                      <a:cubicBezTo>
                        <a:pt x="35" y="263"/>
                        <a:pt x="35" y="263"/>
                        <a:pt x="35" y="263"/>
                      </a:cubicBezTo>
                      <a:cubicBezTo>
                        <a:pt x="35" y="264"/>
                        <a:pt x="34" y="266"/>
                        <a:pt x="34" y="268"/>
                      </a:cubicBezTo>
                      <a:cubicBezTo>
                        <a:pt x="31" y="267"/>
                        <a:pt x="31" y="267"/>
                        <a:pt x="31" y="267"/>
                      </a:cubicBezTo>
                      <a:cubicBezTo>
                        <a:pt x="31" y="267"/>
                        <a:pt x="31" y="267"/>
                        <a:pt x="31" y="267"/>
                      </a:cubicBezTo>
                      <a:cubicBezTo>
                        <a:pt x="33" y="268"/>
                        <a:pt x="33" y="268"/>
                        <a:pt x="33" y="268"/>
                      </a:cubicBezTo>
                      <a:cubicBezTo>
                        <a:pt x="33" y="270"/>
                        <a:pt x="32" y="272"/>
                        <a:pt x="31" y="274"/>
                      </a:cubicBezTo>
                      <a:cubicBezTo>
                        <a:pt x="29" y="273"/>
                        <a:pt x="29" y="273"/>
                        <a:pt x="29" y="273"/>
                      </a:cubicBezTo>
                      <a:cubicBezTo>
                        <a:pt x="28" y="274"/>
                        <a:pt x="28" y="274"/>
                        <a:pt x="28" y="274"/>
                      </a:cubicBezTo>
                      <a:cubicBezTo>
                        <a:pt x="31" y="275"/>
                        <a:pt x="31" y="275"/>
                        <a:pt x="31" y="275"/>
                      </a:cubicBezTo>
                      <a:cubicBezTo>
                        <a:pt x="31" y="276"/>
                        <a:pt x="30" y="278"/>
                        <a:pt x="29" y="280"/>
                      </a:cubicBezTo>
                      <a:cubicBezTo>
                        <a:pt x="27" y="279"/>
                        <a:pt x="27" y="279"/>
                        <a:pt x="27" y="279"/>
                      </a:cubicBezTo>
                      <a:cubicBezTo>
                        <a:pt x="26" y="280"/>
                        <a:pt x="26" y="280"/>
                        <a:pt x="26" y="280"/>
                      </a:cubicBezTo>
                      <a:cubicBezTo>
                        <a:pt x="29" y="281"/>
                        <a:pt x="29" y="281"/>
                        <a:pt x="29" y="281"/>
                      </a:cubicBezTo>
                      <a:cubicBezTo>
                        <a:pt x="29" y="283"/>
                        <a:pt x="28" y="285"/>
                        <a:pt x="28" y="286"/>
                      </a:cubicBezTo>
                      <a:cubicBezTo>
                        <a:pt x="25" y="286"/>
                        <a:pt x="25" y="286"/>
                        <a:pt x="25" y="286"/>
                      </a:cubicBezTo>
                      <a:cubicBezTo>
                        <a:pt x="25" y="286"/>
                        <a:pt x="25" y="286"/>
                        <a:pt x="25" y="286"/>
                      </a:cubicBezTo>
                      <a:cubicBezTo>
                        <a:pt x="27" y="287"/>
                        <a:pt x="27" y="287"/>
                        <a:pt x="27" y="287"/>
                      </a:cubicBezTo>
                      <a:cubicBezTo>
                        <a:pt x="27" y="289"/>
                        <a:pt x="26" y="291"/>
                        <a:pt x="26" y="293"/>
                      </a:cubicBezTo>
                      <a:cubicBezTo>
                        <a:pt x="23" y="292"/>
                        <a:pt x="23" y="292"/>
                        <a:pt x="23" y="292"/>
                      </a:cubicBezTo>
                      <a:cubicBezTo>
                        <a:pt x="23" y="293"/>
                        <a:pt x="23" y="293"/>
                        <a:pt x="23" y="293"/>
                      </a:cubicBezTo>
                      <a:cubicBezTo>
                        <a:pt x="26" y="294"/>
                        <a:pt x="26" y="294"/>
                        <a:pt x="26" y="294"/>
                      </a:cubicBezTo>
                      <a:cubicBezTo>
                        <a:pt x="25" y="295"/>
                        <a:pt x="25" y="297"/>
                        <a:pt x="24" y="299"/>
                      </a:cubicBezTo>
                      <a:cubicBezTo>
                        <a:pt x="21" y="299"/>
                        <a:pt x="21" y="299"/>
                        <a:pt x="21" y="299"/>
                      </a:cubicBezTo>
                      <a:cubicBezTo>
                        <a:pt x="21" y="299"/>
                        <a:pt x="21" y="299"/>
                        <a:pt x="21" y="299"/>
                      </a:cubicBezTo>
                      <a:cubicBezTo>
                        <a:pt x="24" y="300"/>
                        <a:pt x="24" y="300"/>
                        <a:pt x="24" y="300"/>
                      </a:cubicBezTo>
                      <a:cubicBezTo>
                        <a:pt x="23" y="302"/>
                        <a:pt x="23" y="304"/>
                        <a:pt x="23" y="306"/>
                      </a:cubicBezTo>
                      <a:cubicBezTo>
                        <a:pt x="20" y="305"/>
                        <a:pt x="20" y="305"/>
                        <a:pt x="20" y="305"/>
                      </a:cubicBezTo>
                      <a:cubicBezTo>
                        <a:pt x="20" y="306"/>
                        <a:pt x="20" y="306"/>
                        <a:pt x="20" y="306"/>
                      </a:cubicBezTo>
                      <a:cubicBezTo>
                        <a:pt x="22" y="306"/>
                        <a:pt x="22" y="306"/>
                        <a:pt x="22" y="306"/>
                      </a:cubicBezTo>
                      <a:cubicBezTo>
                        <a:pt x="22" y="308"/>
                        <a:pt x="22" y="310"/>
                        <a:pt x="21" y="312"/>
                      </a:cubicBezTo>
                      <a:cubicBezTo>
                        <a:pt x="18" y="312"/>
                        <a:pt x="18" y="312"/>
                        <a:pt x="18" y="312"/>
                      </a:cubicBezTo>
                      <a:cubicBezTo>
                        <a:pt x="18" y="312"/>
                        <a:pt x="18" y="312"/>
                        <a:pt x="18" y="312"/>
                      </a:cubicBezTo>
                      <a:cubicBezTo>
                        <a:pt x="21" y="313"/>
                        <a:pt x="21" y="313"/>
                        <a:pt x="21" y="313"/>
                      </a:cubicBezTo>
                      <a:cubicBezTo>
                        <a:pt x="21" y="315"/>
                        <a:pt x="20" y="317"/>
                        <a:pt x="20" y="319"/>
                      </a:cubicBezTo>
                      <a:cubicBezTo>
                        <a:pt x="17" y="318"/>
                        <a:pt x="17" y="318"/>
                        <a:pt x="17" y="318"/>
                      </a:cubicBezTo>
                      <a:cubicBezTo>
                        <a:pt x="17" y="319"/>
                        <a:pt x="17" y="319"/>
                        <a:pt x="17" y="319"/>
                      </a:cubicBezTo>
                      <a:cubicBezTo>
                        <a:pt x="20" y="319"/>
                        <a:pt x="20" y="319"/>
                        <a:pt x="20" y="319"/>
                      </a:cubicBezTo>
                      <a:cubicBezTo>
                        <a:pt x="19" y="321"/>
                        <a:pt x="19" y="323"/>
                        <a:pt x="19" y="325"/>
                      </a:cubicBezTo>
                      <a:cubicBezTo>
                        <a:pt x="13" y="324"/>
                        <a:pt x="13" y="324"/>
                        <a:pt x="13" y="324"/>
                      </a:cubicBezTo>
                      <a:cubicBezTo>
                        <a:pt x="13" y="324"/>
                        <a:pt x="13" y="324"/>
                        <a:pt x="13" y="324"/>
                      </a:cubicBezTo>
                      <a:cubicBezTo>
                        <a:pt x="6" y="323"/>
                        <a:pt x="6" y="323"/>
                        <a:pt x="6" y="323"/>
                      </a:cubicBezTo>
                      <a:cubicBezTo>
                        <a:pt x="6" y="324"/>
                        <a:pt x="6" y="324"/>
                        <a:pt x="6" y="324"/>
                      </a:cubicBezTo>
                      <a:cubicBezTo>
                        <a:pt x="13" y="325"/>
                        <a:pt x="13" y="325"/>
                        <a:pt x="13" y="325"/>
                      </a:cubicBezTo>
                      <a:cubicBezTo>
                        <a:pt x="13" y="325"/>
                        <a:pt x="13" y="325"/>
                        <a:pt x="13" y="325"/>
                      </a:cubicBezTo>
                      <a:cubicBezTo>
                        <a:pt x="18" y="326"/>
                        <a:pt x="18" y="326"/>
                        <a:pt x="18" y="326"/>
                      </a:cubicBezTo>
                      <a:cubicBezTo>
                        <a:pt x="18" y="328"/>
                        <a:pt x="18" y="330"/>
                        <a:pt x="18" y="332"/>
                      </a:cubicBezTo>
                      <a:cubicBezTo>
                        <a:pt x="15" y="331"/>
                        <a:pt x="15" y="331"/>
                        <a:pt x="15" y="331"/>
                      </a:cubicBezTo>
                      <a:cubicBezTo>
                        <a:pt x="15" y="332"/>
                        <a:pt x="15" y="332"/>
                        <a:pt x="15" y="332"/>
                      </a:cubicBezTo>
                      <a:cubicBezTo>
                        <a:pt x="18" y="332"/>
                        <a:pt x="18" y="332"/>
                        <a:pt x="18" y="332"/>
                      </a:cubicBezTo>
                      <a:cubicBezTo>
                        <a:pt x="17" y="334"/>
                        <a:pt x="17" y="336"/>
                        <a:pt x="17" y="338"/>
                      </a:cubicBezTo>
                      <a:cubicBezTo>
                        <a:pt x="14" y="338"/>
                        <a:pt x="14" y="338"/>
                        <a:pt x="14" y="338"/>
                      </a:cubicBezTo>
                      <a:cubicBezTo>
                        <a:pt x="14" y="339"/>
                        <a:pt x="14" y="339"/>
                        <a:pt x="14" y="339"/>
                      </a:cubicBezTo>
                      <a:cubicBezTo>
                        <a:pt x="17" y="339"/>
                        <a:pt x="17" y="339"/>
                        <a:pt x="17" y="339"/>
                      </a:cubicBezTo>
                      <a:cubicBezTo>
                        <a:pt x="16" y="341"/>
                        <a:pt x="16" y="343"/>
                        <a:pt x="16" y="345"/>
                      </a:cubicBezTo>
                      <a:cubicBezTo>
                        <a:pt x="13" y="344"/>
                        <a:pt x="13" y="344"/>
                        <a:pt x="13" y="344"/>
                      </a:cubicBezTo>
                      <a:cubicBezTo>
                        <a:pt x="13" y="345"/>
                        <a:pt x="13" y="345"/>
                        <a:pt x="13" y="345"/>
                      </a:cubicBezTo>
                      <a:cubicBezTo>
                        <a:pt x="16" y="345"/>
                        <a:pt x="16" y="345"/>
                        <a:pt x="16" y="345"/>
                      </a:cubicBezTo>
                      <a:cubicBezTo>
                        <a:pt x="15" y="347"/>
                        <a:pt x="15" y="349"/>
                        <a:pt x="15" y="351"/>
                      </a:cubicBezTo>
                      <a:cubicBezTo>
                        <a:pt x="12" y="351"/>
                        <a:pt x="12" y="351"/>
                        <a:pt x="12" y="351"/>
                      </a:cubicBezTo>
                      <a:cubicBezTo>
                        <a:pt x="12" y="352"/>
                        <a:pt x="12" y="352"/>
                        <a:pt x="12" y="352"/>
                      </a:cubicBezTo>
                      <a:cubicBezTo>
                        <a:pt x="15" y="352"/>
                        <a:pt x="15" y="352"/>
                        <a:pt x="15" y="352"/>
                      </a:cubicBezTo>
                      <a:cubicBezTo>
                        <a:pt x="15" y="354"/>
                        <a:pt x="15" y="356"/>
                        <a:pt x="14" y="358"/>
                      </a:cubicBezTo>
                      <a:cubicBezTo>
                        <a:pt x="11" y="358"/>
                        <a:pt x="11" y="358"/>
                        <a:pt x="11" y="358"/>
                      </a:cubicBezTo>
                      <a:cubicBezTo>
                        <a:pt x="11" y="358"/>
                        <a:pt x="11" y="358"/>
                        <a:pt x="11" y="358"/>
                      </a:cubicBezTo>
                      <a:cubicBezTo>
                        <a:pt x="14" y="359"/>
                        <a:pt x="14" y="359"/>
                        <a:pt x="14" y="359"/>
                      </a:cubicBezTo>
                      <a:cubicBezTo>
                        <a:pt x="14" y="361"/>
                        <a:pt x="14" y="362"/>
                        <a:pt x="14" y="364"/>
                      </a:cubicBezTo>
                      <a:cubicBezTo>
                        <a:pt x="11" y="364"/>
                        <a:pt x="11" y="364"/>
                        <a:pt x="11" y="364"/>
                      </a:cubicBezTo>
                      <a:cubicBezTo>
                        <a:pt x="11" y="365"/>
                        <a:pt x="11" y="365"/>
                        <a:pt x="11" y="365"/>
                      </a:cubicBezTo>
                      <a:cubicBezTo>
                        <a:pt x="14" y="365"/>
                        <a:pt x="14" y="365"/>
                        <a:pt x="14" y="365"/>
                      </a:cubicBezTo>
                      <a:cubicBezTo>
                        <a:pt x="14" y="367"/>
                        <a:pt x="14" y="369"/>
                        <a:pt x="14" y="371"/>
                      </a:cubicBezTo>
                      <a:cubicBezTo>
                        <a:pt x="11" y="371"/>
                        <a:pt x="11" y="371"/>
                        <a:pt x="11" y="371"/>
                      </a:cubicBezTo>
                      <a:cubicBezTo>
                        <a:pt x="10" y="372"/>
                        <a:pt x="10" y="372"/>
                        <a:pt x="10" y="372"/>
                      </a:cubicBezTo>
                      <a:cubicBezTo>
                        <a:pt x="13" y="372"/>
                        <a:pt x="13" y="372"/>
                        <a:pt x="13" y="372"/>
                      </a:cubicBezTo>
                      <a:cubicBezTo>
                        <a:pt x="13" y="374"/>
                        <a:pt x="13" y="376"/>
                        <a:pt x="13" y="378"/>
                      </a:cubicBezTo>
                      <a:cubicBezTo>
                        <a:pt x="10" y="377"/>
                        <a:pt x="10" y="377"/>
                        <a:pt x="10" y="377"/>
                      </a:cubicBezTo>
                      <a:cubicBezTo>
                        <a:pt x="10" y="378"/>
                        <a:pt x="10" y="378"/>
                        <a:pt x="10" y="378"/>
                      </a:cubicBezTo>
                      <a:cubicBezTo>
                        <a:pt x="13" y="378"/>
                        <a:pt x="13" y="378"/>
                        <a:pt x="13" y="378"/>
                      </a:cubicBezTo>
                      <a:cubicBezTo>
                        <a:pt x="13" y="380"/>
                        <a:pt x="13" y="382"/>
                        <a:pt x="13" y="384"/>
                      </a:cubicBezTo>
                      <a:cubicBezTo>
                        <a:pt x="10" y="384"/>
                        <a:pt x="10" y="384"/>
                        <a:pt x="10" y="384"/>
                      </a:cubicBezTo>
                      <a:cubicBezTo>
                        <a:pt x="10" y="385"/>
                        <a:pt x="10" y="385"/>
                        <a:pt x="10" y="385"/>
                      </a:cubicBezTo>
                      <a:cubicBezTo>
                        <a:pt x="13" y="385"/>
                        <a:pt x="13" y="385"/>
                        <a:pt x="13" y="385"/>
                      </a:cubicBezTo>
                      <a:cubicBezTo>
                        <a:pt x="13" y="387"/>
                        <a:pt x="13" y="389"/>
                        <a:pt x="13" y="390"/>
                      </a:cubicBezTo>
                      <a:cubicBezTo>
                        <a:pt x="7" y="390"/>
                        <a:pt x="7" y="390"/>
                        <a:pt x="7" y="390"/>
                      </a:cubicBezTo>
                      <a:cubicBezTo>
                        <a:pt x="7" y="391"/>
                        <a:pt x="7" y="391"/>
                        <a:pt x="7" y="391"/>
                      </a:cubicBezTo>
                      <a:cubicBezTo>
                        <a:pt x="0" y="391"/>
                        <a:pt x="0" y="391"/>
                        <a:pt x="0" y="391"/>
                      </a:cubicBezTo>
                      <a:cubicBezTo>
                        <a:pt x="0" y="392"/>
                        <a:pt x="0" y="392"/>
                        <a:pt x="0" y="392"/>
                      </a:cubicBezTo>
                      <a:cubicBezTo>
                        <a:pt x="7" y="392"/>
                        <a:pt x="7" y="392"/>
                        <a:pt x="7" y="392"/>
                      </a:cubicBezTo>
                      <a:cubicBezTo>
                        <a:pt x="7" y="392"/>
                        <a:pt x="7" y="392"/>
                        <a:pt x="7" y="392"/>
                      </a:cubicBezTo>
                      <a:cubicBezTo>
                        <a:pt x="13" y="392"/>
                        <a:pt x="13" y="392"/>
                        <a:pt x="13" y="392"/>
                      </a:cubicBezTo>
                      <a:cubicBezTo>
                        <a:pt x="13" y="394"/>
                        <a:pt x="13" y="396"/>
                        <a:pt x="13" y="397"/>
                      </a:cubicBezTo>
                      <a:cubicBezTo>
                        <a:pt x="10" y="397"/>
                        <a:pt x="10" y="397"/>
                        <a:pt x="10" y="397"/>
                      </a:cubicBezTo>
                      <a:cubicBezTo>
                        <a:pt x="10" y="398"/>
                        <a:pt x="10" y="398"/>
                        <a:pt x="10" y="398"/>
                      </a:cubicBezTo>
                      <a:cubicBezTo>
                        <a:pt x="13" y="398"/>
                        <a:pt x="13" y="398"/>
                        <a:pt x="13" y="398"/>
                      </a:cubicBezTo>
                      <a:cubicBezTo>
                        <a:pt x="13" y="400"/>
                        <a:pt x="13" y="402"/>
                        <a:pt x="13" y="404"/>
                      </a:cubicBezTo>
                      <a:cubicBezTo>
                        <a:pt x="10" y="404"/>
                        <a:pt x="10" y="404"/>
                        <a:pt x="10" y="404"/>
                      </a:cubicBezTo>
                      <a:cubicBezTo>
                        <a:pt x="10" y="405"/>
                        <a:pt x="10" y="405"/>
                        <a:pt x="10" y="405"/>
                      </a:cubicBezTo>
                      <a:cubicBezTo>
                        <a:pt x="13" y="405"/>
                        <a:pt x="13" y="405"/>
                        <a:pt x="13" y="405"/>
                      </a:cubicBezTo>
                      <a:cubicBezTo>
                        <a:pt x="13" y="407"/>
                        <a:pt x="13" y="409"/>
                        <a:pt x="13" y="411"/>
                      </a:cubicBezTo>
                      <a:cubicBezTo>
                        <a:pt x="10" y="411"/>
                        <a:pt x="10" y="411"/>
                        <a:pt x="10" y="411"/>
                      </a:cubicBezTo>
                      <a:cubicBezTo>
                        <a:pt x="11" y="412"/>
                        <a:pt x="11" y="412"/>
                        <a:pt x="11" y="412"/>
                      </a:cubicBezTo>
                      <a:cubicBezTo>
                        <a:pt x="14" y="411"/>
                        <a:pt x="14" y="411"/>
                        <a:pt x="14" y="411"/>
                      </a:cubicBezTo>
                      <a:cubicBezTo>
                        <a:pt x="14" y="413"/>
                        <a:pt x="14" y="415"/>
                        <a:pt x="14" y="417"/>
                      </a:cubicBezTo>
                      <a:cubicBezTo>
                        <a:pt x="11" y="417"/>
                        <a:pt x="11" y="417"/>
                        <a:pt x="11" y="417"/>
                      </a:cubicBezTo>
                      <a:cubicBezTo>
                        <a:pt x="11" y="418"/>
                        <a:pt x="11" y="418"/>
                        <a:pt x="11" y="418"/>
                      </a:cubicBezTo>
                      <a:cubicBezTo>
                        <a:pt x="14" y="418"/>
                        <a:pt x="14" y="418"/>
                        <a:pt x="14" y="418"/>
                      </a:cubicBezTo>
                      <a:cubicBezTo>
                        <a:pt x="14" y="420"/>
                        <a:pt x="14" y="422"/>
                        <a:pt x="14" y="424"/>
                      </a:cubicBezTo>
                      <a:cubicBezTo>
                        <a:pt x="11" y="424"/>
                        <a:pt x="11" y="424"/>
                        <a:pt x="11" y="424"/>
                      </a:cubicBezTo>
                      <a:cubicBezTo>
                        <a:pt x="11" y="425"/>
                        <a:pt x="11" y="425"/>
                        <a:pt x="11" y="425"/>
                      </a:cubicBezTo>
                      <a:cubicBezTo>
                        <a:pt x="14" y="425"/>
                        <a:pt x="14" y="425"/>
                        <a:pt x="14" y="425"/>
                      </a:cubicBezTo>
                      <a:cubicBezTo>
                        <a:pt x="15" y="426"/>
                        <a:pt x="15" y="428"/>
                        <a:pt x="15" y="430"/>
                      </a:cubicBezTo>
                      <a:cubicBezTo>
                        <a:pt x="12" y="431"/>
                        <a:pt x="12" y="431"/>
                        <a:pt x="12" y="431"/>
                      </a:cubicBezTo>
                      <a:cubicBezTo>
                        <a:pt x="12" y="431"/>
                        <a:pt x="12" y="431"/>
                        <a:pt x="12" y="431"/>
                      </a:cubicBezTo>
                      <a:cubicBezTo>
                        <a:pt x="15" y="431"/>
                        <a:pt x="15" y="431"/>
                        <a:pt x="15" y="431"/>
                      </a:cubicBezTo>
                      <a:cubicBezTo>
                        <a:pt x="15" y="433"/>
                        <a:pt x="15" y="435"/>
                        <a:pt x="16" y="437"/>
                      </a:cubicBezTo>
                      <a:cubicBezTo>
                        <a:pt x="13" y="437"/>
                        <a:pt x="13" y="437"/>
                        <a:pt x="13" y="437"/>
                      </a:cubicBezTo>
                      <a:cubicBezTo>
                        <a:pt x="13" y="438"/>
                        <a:pt x="13" y="438"/>
                        <a:pt x="13" y="438"/>
                      </a:cubicBezTo>
                      <a:cubicBezTo>
                        <a:pt x="16" y="438"/>
                        <a:pt x="16" y="438"/>
                        <a:pt x="16" y="438"/>
                      </a:cubicBezTo>
                      <a:cubicBezTo>
                        <a:pt x="16" y="440"/>
                        <a:pt x="16" y="442"/>
                        <a:pt x="17" y="443"/>
                      </a:cubicBezTo>
                      <a:cubicBezTo>
                        <a:pt x="14" y="444"/>
                        <a:pt x="14" y="444"/>
                        <a:pt x="14" y="444"/>
                      </a:cubicBezTo>
                      <a:cubicBezTo>
                        <a:pt x="14" y="445"/>
                        <a:pt x="14" y="445"/>
                        <a:pt x="14" y="445"/>
                      </a:cubicBezTo>
                      <a:cubicBezTo>
                        <a:pt x="17" y="444"/>
                        <a:pt x="17" y="444"/>
                        <a:pt x="17" y="444"/>
                      </a:cubicBezTo>
                      <a:cubicBezTo>
                        <a:pt x="17" y="446"/>
                        <a:pt x="17" y="448"/>
                        <a:pt x="18" y="450"/>
                      </a:cubicBezTo>
                      <a:cubicBezTo>
                        <a:pt x="15" y="450"/>
                        <a:pt x="15" y="450"/>
                        <a:pt x="15" y="450"/>
                      </a:cubicBezTo>
                      <a:cubicBezTo>
                        <a:pt x="15" y="451"/>
                        <a:pt x="15" y="451"/>
                        <a:pt x="15" y="451"/>
                      </a:cubicBezTo>
                      <a:cubicBezTo>
                        <a:pt x="18" y="451"/>
                        <a:pt x="18" y="451"/>
                        <a:pt x="18" y="451"/>
                      </a:cubicBezTo>
                      <a:cubicBezTo>
                        <a:pt x="18" y="452"/>
                        <a:pt x="18" y="454"/>
                        <a:pt x="18" y="456"/>
                      </a:cubicBezTo>
                      <a:cubicBezTo>
                        <a:pt x="13" y="457"/>
                        <a:pt x="13" y="457"/>
                        <a:pt x="13" y="457"/>
                      </a:cubicBezTo>
                      <a:cubicBezTo>
                        <a:pt x="13" y="457"/>
                        <a:pt x="13" y="457"/>
                        <a:pt x="13" y="457"/>
                      </a:cubicBezTo>
                      <a:cubicBezTo>
                        <a:pt x="6" y="459"/>
                        <a:pt x="6" y="459"/>
                        <a:pt x="6" y="459"/>
                      </a:cubicBezTo>
                      <a:cubicBezTo>
                        <a:pt x="6" y="460"/>
                        <a:pt x="6" y="460"/>
                        <a:pt x="6" y="460"/>
                      </a:cubicBezTo>
                      <a:cubicBezTo>
                        <a:pt x="13" y="458"/>
                        <a:pt x="13" y="458"/>
                        <a:pt x="13" y="458"/>
                      </a:cubicBezTo>
                      <a:cubicBezTo>
                        <a:pt x="13" y="459"/>
                        <a:pt x="13" y="459"/>
                        <a:pt x="13" y="459"/>
                      </a:cubicBezTo>
                      <a:cubicBezTo>
                        <a:pt x="19" y="458"/>
                        <a:pt x="19" y="458"/>
                        <a:pt x="19" y="458"/>
                      </a:cubicBezTo>
                      <a:cubicBezTo>
                        <a:pt x="19" y="460"/>
                        <a:pt x="19" y="461"/>
                        <a:pt x="20" y="463"/>
                      </a:cubicBezTo>
                      <a:cubicBezTo>
                        <a:pt x="17" y="464"/>
                        <a:pt x="17" y="464"/>
                        <a:pt x="17" y="464"/>
                      </a:cubicBezTo>
                      <a:cubicBezTo>
                        <a:pt x="17" y="464"/>
                        <a:pt x="17" y="464"/>
                        <a:pt x="17" y="464"/>
                      </a:cubicBezTo>
                      <a:cubicBezTo>
                        <a:pt x="20" y="464"/>
                        <a:pt x="20" y="464"/>
                        <a:pt x="20" y="464"/>
                      </a:cubicBezTo>
                      <a:cubicBezTo>
                        <a:pt x="20" y="466"/>
                        <a:pt x="21" y="468"/>
                        <a:pt x="21" y="469"/>
                      </a:cubicBezTo>
                      <a:cubicBezTo>
                        <a:pt x="18" y="470"/>
                        <a:pt x="18" y="470"/>
                        <a:pt x="18" y="470"/>
                      </a:cubicBezTo>
                      <a:cubicBezTo>
                        <a:pt x="18" y="471"/>
                        <a:pt x="18" y="471"/>
                        <a:pt x="18" y="471"/>
                      </a:cubicBezTo>
                      <a:cubicBezTo>
                        <a:pt x="21" y="470"/>
                        <a:pt x="21" y="470"/>
                        <a:pt x="21" y="470"/>
                      </a:cubicBezTo>
                      <a:cubicBezTo>
                        <a:pt x="22" y="472"/>
                        <a:pt x="22" y="474"/>
                        <a:pt x="22" y="476"/>
                      </a:cubicBezTo>
                      <a:cubicBezTo>
                        <a:pt x="20" y="477"/>
                        <a:pt x="20" y="477"/>
                        <a:pt x="20" y="477"/>
                      </a:cubicBezTo>
                      <a:cubicBezTo>
                        <a:pt x="20" y="477"/>
                        <a:pt x="20" y="477"/>
                        <a:pt x="20" y="477"/>
                      </a:cubicBezTo>
                      <a:cubicBezTo>
                        <a:pt x="23" y="477"/>
                        <a:pt x="23" y="477"/>
                        <a:pt x="23" y="477"/>
                      </a:cubicBezTo>
                      <a:cubicBezTo>
                        <a:pt x="23" y="479"/>
                        <a:pt x="23" y="480"/>
                        <a:pt x="24" y="482"/>
                      </a:cubicBezTo>
                      <a:cubicBezTo>
                        <a:pt x="21" y="483"/>
                        <a:pt x="21" y="483"/>
                        <a:pt x="21" y="483"/>
                      </a:cubicBezTo>
                      <a:cubicBezTo>
                        <a:pt x="21" y="484"/>
                        <a:pt x="21" y="484"/>
                        <a:pt x="21" y="484"/>
                      </a:cubicBezTo>
                      <a:cubicBezTo>
                        <a:pt x="24" y="483"/>
                        <a:pt x="24" y="483"/>
                        <a:pt x="24" y="483"/>
                      </a:cubicBezTo>
                      <a:cubicBezTo>
                        <a:pt x="25" y="485"/>
                        <a:pt x="25" y="487"/>
                        <a:pt x="26" y="489"/>
                      </a:cubicBezTo>
                      <a:cubicBezTo>
                        <a:pt x="23" y="489"/>
                        <a:pt x="23" y="489"/>
                        <a:pt x="23" y="489"/>
                      </a:cubicBezTo>
                      <a:cubicBezTo>
                        <a:pt x="23" y="490"/>
                        <a:pt x="23" y="490"/>
                        <a:pt x="23" y="490"/>
                      </a:cubicBezTo>
                      <a:cubicBezTo>
                        <a:pt x="26" y="489"/>
                        <a:pt x="26" y="489"/>
                        <a:pt x="26" y="489"/>
                      </a:cubicBezTo>
                      <a:cubicBezTo>
                        <a:pt x="26" y="491"/>
                        <a:pt x="27" y="493"/>
                        <a:pt x="27" y="495"/>
                      </a:cubicBezTo>
                      <a:cubicBezTo>
                        <a:pt x="25" y="496"/>
                        <a:pt x="25" y="496"/>
                        <a:pt x="25" y="496"/>
                      </a:cubicBezTo>
                      <a:cubicBezTo>
                        <a:pt x="25" y="497"/>
                        <a:pt x="25" y="497"/>
                        <a:pt x="25" y="497"/>
                      </a:cubicBezTo>
                      <a:cubicBezTo>
                        <a:pt x="28" y="496"/>
                        <a:pt x="28" y="496"/>
                        <a:pt x="28" y="496"/>
                      </a:cubicBezTo>
                      <a:cubicBezTo>
                        <a:pt x="28" y="498"/>
                        <a:pt x="29" y="500"/>
                        <a:pt x="29" y="501"/>
                      </a:cubicBezTo>
                      <a:cubicBezTo>
                        <a:pt x="26" y="502"/>
                        <a:pt x="26" y="502"/>
                        <a:pt x="26" y="502"/>
                      </a:cubicBezTo>
                      <a:cubicBezTo>
                        <a:pt x="27" y="503"/>
                        <a:pt x="27" y="503"/>
                        <a:pt x="27" y="503"/>
                      </a:cubicBezTo>
                      <a:cubicBezTo>
                        <a:pt x="29" y="502"/>
                        <a:pt x="29" y="502"/>
                        <a:pt x="29" y="502"/>
                      </a:cubicBezTo>
                      <a:cubicBezTo>
                        <a:pt x="30" y="504"/>
                        <a:pt x="31" y="506"/>
                        <a:pt x="31" y="508"/>
                      </a:cubicBezTo>
                      <a:cubicBezTo>
                        <a:pt x="28" y="509"/>
                        <a:pt x="28" y="509"/>
                        <a:pt x="28" y="509"/>
                      </a:cubicBezTo>
                      <a:cubicBezTo>
                        <a:pt x="29" y="509"/>
                        <a:pt x="29" y="509"/>
                        <a:pt x="29" y="509"/>
                      </a:cubicBezTo>
                      <a:cubicBezTo>
                        <a:pt x="31" y="508"/>
                        <a:pt x="31" y="508"/>
                        <a:pt x="31" y="508"/>
                      </a:cubicBezTo>
                      <a:cubicBezTo>
                        <a:pt x="32" y="510"/>
                        <a:pt x="33" y="512"/>
                        <a:pt x="33" y="514"/>
                      </a:cubicBezTo>
                      <a:cubicBezTo>
                        <a:pt x="31" y="515"/>
                        <a:pt x="31" y="515"/>
                        <a:pt x="31" y="515"/>
                      </a:cubicBezTo>
                      <a:cubicBezTo>
                        <a:pt x="31" y="516"/>
                        <a:pt x="31" y="516"/>
                        <a:pt x="31" y="516"/>
                      </a:cubicBezTo>
                      <a:cubicBezTo>
                        <a:pt x="34" y="515"/>
                        <a:pt x="34" y="515"/>
                        <a:pt x="34" y="515"/>
                      </a:cubicBezTo>
                      <a:cubicBezTo>
                        <a:pt x="34" y="516"/>
                        <a:pt x="35" y="518"/>
                        <a:pt x="35" y="520"/>
                      </a:cubicBezTo>
                      <a:cubicBezTo>
                        <a:pt x="30" y="522"/>
                        <a:pt x="30" y="522"/>
                        <a:pt x="30" y="522"/>
                      </a:cubicBezTo>
                      <a:cubicBezTo>
                        <a:pt x="30" y="522"/>
                        <a:pt x="30" y="522"/>
                        <a:pt x="30" y="522"/>
                      </a:cubicBezTo>
                      <a:cubicBezTo>
                        <a:pt x="23" y="525"/>
                        <a:pt x="23" y="525"/>
                        <a:pt x="23" y="525"/>
                      </a:cubicBezTo>
                      <a:cubicBezTo>
                        <a:pt x="23" y="525"/>
                        <a:pt x="23" y="525"/>
                        <a:pt x="23" y="525"/>
                      </a:cubicBezTo>
                      <a:cubicBezTo>
                        <a:pt x="31" y="523"/>
                        <a:pt x="31" y="523"/>
                        <a:pt x="31" y="523"/>
                      </a:cubicBezTo>
                      <a:cubicBezTo>
                        <a:pt x="31" y="523"/>
                        <a:pt x="31" y="523"/>
                        <a:pt x="31" y="523"/>
                      </a:cubicBezTo>
                      <a:cubicBezTo>
                        <a:pt x="36" y="521"/>
                        <a:pt x="36" y="521"/>
                        <a:pt x="36" y="521"/>
                      </a:cubicBezTo>
                      <a:cubicBezTo>
                        <a:pt x="37" y="523"/>
                        <a:pt x="37" y="525"/>
                        <a:pt x="38" y="526"/>
                      </a:cubicBezTo>
                      <a:cubicBezTo>
                        <a:pt x="35" y="527"/>
                        <a:pt x="35" y="527"/>
                        <a:pt x="35" y="527"/>
                      </a:cubicBezTo>
                      <a:cubicBezTo>
                        <a:pt x="35" y="528"/>
                        <a:pt x="35" y="528"/>
                        <a:pt x="35" y="528"/>
                      </a:cubicBezTo>
                      <a:cubicBezTo>
                        <a:pt x="38" y="527"/>
                        <a:pt x="38" y="527"/>
                        <a:pt x="38" y="527"/>
                      </a:cubicBezTo>
                      <a:cubicBezTo>
                        <a:pt x="39" y="529"/>
                        <a:pt x="39" y="531"/>
                        <a:pt x="40" y="533"/>
                      </a:cubicBezTo>
                      <a:cubicBezTo>
                        <a:pt x="38" y="534"/>
                        <a:pt x="38" y="534"/>
                        <a:pt x="38" y="534"/>
                      </a:cubicBezTo>
                      <a:cubicBezTo>
                        <a:pt x="38" y="534"/>
                        <a:pt x="38" y="534"/>
                        <a:pt x="38" y="534"/>
                      </a:cubicBezTo>
                      <a:cubicBezTo>
                        <a:pt x="40" y="533"/>
                        <a:pt x="40" y="533"/>
                        <a:pt x="40" y="533"/>
                      </a:cubicBezTo>
                      <a:cubicBezTo>
                        <a:pt x="41" y="535"/>
                        <a:pt x="42" y="537"/>
                        <a:pt x="43" y="539"/>
                      </a:cubicBezTo>
                      <a:cubicBezTo>
                        <a:pt x="40" y="540"/>
                        <a:pt x="40" y="540"/>
                        <a:pt x="40" y="540"/>
                      </a:cubicBezTo>
                      <a:cubicBezTo>
                        <a:pt x="40" y="541"/>
                        <a:pt x="40" y="541"/>
                        <a:pt x="40" y="541"/>
                      </a:cubicBezTo>
                      <a:cubicBezTo>
                        <a:pt x="43" y="539"/>
                        <a:pt x="43" y="539"/>
                        <a:pt x="43" y="539"/>
                      </a:cubicBezTo>
                      <a:cubicBezTo>
                        <a:pt x="44" y="541"/>
                        <a:pt x="45" y="543"/>
                        <a:pt x="45" y="545"/>
                      </a:cubicBezTo>
                      <a:cubicBezTo>
                        <a:pt x="43" y="546"/>
                        <a:pt x="43" y="546"/>
                        <a:pt x="43" y="546"/>
                      </a:cubicBezTo>
                      <a:cubicBezTo>
                        <a:pt x="43" y="547"/>
                        <a:pt x="43" y="547"/>
                        <a:pt x="43" y="547"/>
                      </a:cubicBezTo>
                      <a:cubicBezTo>
                        <a:pt x="46" y="545"/>
                        <a:pt x="46" y="545"/>
                        <a:pt x="46" y="545"/>
                      </a:cubicBezTo>
                      <a:cubicBezTo>
                        <a:pt x="46" y="547"/>
                        <a:pt x="47" y="549"/>
                        <a:pt x="48" y="551"/>
                      </a:cubicBezTo>
                      <a:cubicBezTo>
                        <a:pt x="45" y="552"/>
                        <a:pt x="45" y="552"/>
                        <a:pt x="45" y="552"/>
                      </a:cubicBezTo>
                      <a:cubicBezTo>
                        <a:pt x="46" y="553"/>
                        <a:pt x="46" y="553"/>
                        <a:pt x="46" y="553"/>
                      </a:cubicBezTo>
                      <a:cubicBezTo>
                        <a:pt x="48" y="551"/>
                        <a:pt x="48" y="551"/>
                        <a:pt x="48" y="551"/>
                      </a:cubicBezTo>
                      <a:cubicBezTo>
                        <a:pt x="49" y="553"/>
                        <a:pt x="50" y="555"/>
                        <a:pt x="51" y="557"/>
                      </a:cubicBezTo>
                      <a:cubicBezTo>
                        <a:pt x="48" y="558"/>
                        <a:pt x="48" y="558"/>
                        <a:pt x="48" y="558"/>
                      </a:cubicBezTo>
                      <a:cubicBezTo>
                        <a:pt x="49" y="559"/>
                        <a:pt x="49" y="559"/>
                        <a:pt x="49" y="559"/>
                      </a:cubicBezTo>
                      <a:cubicBezTo>
                        <a:pt x="51" y="557"/>
                        <a:pt x="51" y="557"/>
                        <a:pt x="51" y="557"/>
                      </a:cubicBezTo>
                      <a:cubicBezTo>
                        <a:pt x="52" y="559"/>
                        <a:pt x="53" y="561"/>
                        <a:pt x="54" y="563"/>
                      </a:cubicBezTo>
                      <a:cubicBezTo>
                        <a:pt x="51" y="564"/>
                        <a:pt x="51" y="564"/>
                        <a:pt x="51" y="564"/>
                      </a:cubicBezTo>
                      <a:cubicBezTo>
                        <a:pt x="52" y="565"/>
                        <a:pt x="52" y="565"/>
                        <a:pt x="52" y="565"/>
                      </a:cubicBezTo>
                      <a:cubicBezTo>
                        <a:pt x="54" y="563"/>
                        <a:pt x="54" y="563"/>
                        <a:pt x="54" y="563"/>
                      </a:cubicBezTo>
                      <a:cubicBezTo>
                        <a:pt x="55" y="565"/>
                        <a:pt x="56" y="567"/>
                        <a:pt x="57" y="568"/>
                      </a:cubicBezTo>
                      <a:cubicBezTo>
                        <a:pt x="54" y="570"/>
                        <a:pt x="54" y="570"/>
                        <a:pt x="54" y="570"/>
                      </a:cubicBezTo>
                      <a:cubicBezTo>
                        <a:pt x="55" y="571"/>
                        <a:pt x="55" y="571"/>
                        <a:pt x="55" y="571"/>
                      </a:cubicBezTo>
                      <a:cubicBezTo>
                        <a:pt x="57" y="569"/>
                        <a:pt x="57" y="569"/>
                        <a:pt x="57" y="569"/>
                      </a:cubicBezTo>
                      <a:cubicBezTo>
                        <a:pt x="58" y="571"/>
                        <a:pt x="59" y="573"/>
                        <a:pt x="60" y="574"/>
                      </a:cubicBezTo>
                      <a:cubicBezTo>
                        <a:pt x="58" y="576"/>
                        <a:pt x="58" y="576"/>
                        <a:pt x="58" y="576"/>
                      </a:cubicBezTo>
                      <a:cubicBezTo>
                        <a:pt x="58" y="576"/>
                        <a:pt x="58" y="576"/>
                        <a:pt x="58" y="576"/>
                      </a:cubicBezTo>
                      <a:cubicBezTo>
                        <a:pt x="60" y="575"/>
                        <a:pt x="60" y="575"/>
                        <a:pt x="60" y="575"/>
                      </a:cubicBezTo>
                      <a:cubicBezTo>
                        <a:pt x="61" y="577"/>
                        <a:pt x="62" y="578"/>
                        <a:pt x="63" y="580"/>
                      </a:cubicBezTo>
                      <a:cubicBezTo>
                        <a:pt x="58" y="582"/>
                        <a:pt x="58" y="582"/>
                        <a:pt x="58" y="582"/>
                      </a:cubicBezTo>
                      <a:cubicBezTo>
                        <a:pt x="59" y="583"/>
                        <a:pt x="59" y="583"/>
                        <a:pt x="59" y="583"/>
                      </a:cubicBezTo>
                      <a:cubicBezTo>
                        <a:pt x="52" y="587"/>
                        <a:pt x="52" y="587"/>
                        <a:pt x="52" y="587"/>
                      </a:cubicBezTo>
                      <a:cubicBezTo>
                        <a:pt x="52" y="587"/>
                        <a:pt x="52" y="587"/>
                        <a:pt x="52" y="587"/>
                      </a:cubicBezTo>
                      <a:cubicBezTo>
                        <a:pt x="59" y="583"/>
                        <a:pt x="59" y="583"/>
                        <a:pt x="59" y="583"/>
                      </a:cubicBezTo>
                      <a:cubicBezTo>
                        <a:pt x="59" y="584"/>
                        <a:pt x="59" y="584"/>
                        <a:pt x="59" y="584"/>
                      </a:cubicBezTo>
                      <a:cubicBezTo>
                        <a:pt x="64" y="581"/>
                        <a:pt x="64" y="581"/>
                        <a:pt x="64" y="581"/>
                      </a:cubicBezTo>
                      <a:cubicBezTo>
                        <a:pt x="65" y="583"/>
                        <a:pt x="66" y="584"/>
                        <a:pt x="67" y="586"/>
                      </a:cubicBezTo>
                      <a:cubicBezTo>
                        <a:pt x="64" y="587"/>
                        <a:pt x="64" y="587"/>
                        <a:pt x="64" y="587"/>
                      </a:cubicBezTo>
                      <a:cubicBezTo>
                        <a:pt x="65" y="588"/>
                        <a:pt x="65" y="588"/>
                        <a:pt x="65" y="588"/>
                      </a:cubicBezTo>
                      <a:cubicBezTo>
                        <a:pt x="67" y="586"/>
                        <a:pt x="67" y="586"/>
                        <a:pt x="67" y="586"/>
                      </a:cubicBezTo>
                      <a:cubicBezTo>
                        <a:pt x="68" y="588"/>
                        <a:pt x="69" y="590"/>
                        <a:pt x="70" y="591"/>
                      </a:cubicBezTo>
                      <a:cubicBezTo>
                        <a:pt x="68" y="593"/>
                        <a:pt x="68" y="593"/>
                        <a:pt x="68" y="593"/>
                      </a:cubicBezTo>
                      <a:cubicBezTo>
                        <a:pt x="68" y="594"/>
                        <a:pt x="68" y="594"/>
                        <a:pt x="68" y="594"/>
                      </a:cubicBezTo>
                      <a:cubicBezTo>
                        <a:pt x="70" y="592"/>
                        <a:pt x="70" y="592"/>
                        <a:pt x="70" y="592"/>
                      </a:cubicBezTo>
                      <a:cubicBezTo>
                        <a:pt x="72" y="594"/>
                        <a:pt x="73" y="595"/>
                        <a:pt x="74" y="597"/>
                      </a:cubicBezTo>
                      <a:cubicBezTo>
                        <a:pt x="71" y="599"/>
                        <a:pt x="71" y="599"/>
                        <a:pt x="71" y="599"/>
                      </a:cubicBezTo>
                      <a:cubicBezTo>
                        <a:pt x="72" y="599"/>
                        <a:pt x="72" y="599"/>
                        <a:pt x="72" y="599"/>
                      </a:cubicBezTo>
                      <a:cubicBezTo>
                        <a:pt x="74" y="598"/>
                        <a:pt x="74" y="598"/>
                        <a:pt x="74" y="598"/>
                      </a:cubicBezTo>
                      <a:cubicBezTo>
                        <a:pt x="75" y="599"/>
                        <a:pt x="76" y="601"/>
                        <a:pt x="77" y="602"/>
                      </a:cubicBezTo>
                      <a:cubicBezTo>
                        <a:pt x="75" y="604"/>
                        <a:pt x="75" y="604"/>
                        <a:pt x="75" y="604"/>
                      </a:cubicBezTo>
                      <a:cubicBezTo>
                        <a:pt x="75" y="605"/>
                        <a:pt x="75" y="605"/>
                        <a:pt x="75" y="605"/>
                      </a:cubicBezTo>
                      <a:cubicBezTo>
                        <a:pt x="78" y="603"/>
                        <a:pt x="78" y="603"/>
                        <a:pt x="78" y="603"/>
                      </a:cubicBezTo>
                      <a:cubicBezTo>
                        <a:pt x="79" y="605"/>
                        <a:pt x="80" y="606"/>
                        <a:pt x="81" y="608"/>
                      </a:cubicBezTo>
                      <a:cubicBezTo>
                        <a:pt x="79" y="610"/>
                        <a:pt x="79" y="610"/>
                        <a:pt x="79" y="610"/>
                      </a:cubicBezTo>
                      <a:cubicBezTo>
                        <a:pt x="79" y="610"/>
                        <a:pt x="79" y="610"/>
                        <a:pt x="79" y="610"/>
                      </a:cubicBezTo>
                      <a:cubicBezTo>
                        <a:pt x="81" y="609"/>
                        <a:pt x="81" y="609"/>
                        <a:pt x="81" y="609"/>
                      </a:cubicBezTo>
                      <a:cubicBezTo>
                        <a:pt x="83" y="610"/>
                        <a:pt x="84" y="612"/>
                        <a:pt x="85" y="613"/>
                      </a:cubicBezTo>
                      <a:cubicBezTo>
                        <a:pt x="82" y="615"/>
                        <a:pt x="82" y="615"/>
                        <a:pt x="82" y="615"/>
                      </a:cubicBezTo>
                      <a:cubicBezTo>
                        <a:pt x="83" y="616"/>
                        <a:pt x="83" y="616"/>
                        <a:pt x="83" y="616"/>
                      </a:cubicBezTo>
                      <a:cubicBezTo>
                        <a:pt x="85" y="614"/>
                        <a:pt x="85" y="614"/>
                        <a:pt x="85" y="614"/>
                      </a:cubicBezTo>
                      <a:cubicBezTo>
                        <a:pt x="86" y="615"/>
                        <a:pt x="88" y="617"/>
                        <a:pt x="89" y="619"/>
                      </a:cubicBezTo>
                      <a:cubicBezTo>
                        <a:pt x="86" y="620"/>
                        <a:pt x="86" y="620"/>
                        <a:pt x="86" y="620"/>
                      </a:cubicBezTo>
                      <a:cubicBezTo>
                        <a:pt x="87" y="621"/>
                        <a:pt x="87" y="621"/>
                        <a:pt x="87" y="621"/>
                      </a:cubicBezTo>
                      <a:cubicBezTo>
                        <a:pt x="89" y="619"/>
                        <a:pt x="89" y="619"/>
                        <a:pt x="89" y="619"/>
                      </a:cubicBezTo>
                      <a:cubicBezTo>
                        <a:pt x="90" y="621"/>
                        <a:pt x="92" y="622"/>
                        <a:pt x="93" y="624"/>
                      </a:cubicBezTo>
                      <a:cubicBezTo>
                        <a:pt x="90" y="626"/>
                        <a:pt x="90" y="626"/>
                        <a:pt x="90" y="626"/>
                      </a:cubicBezTo>
                      <a:cubicBezTo>
                        <a:pt x="91" y="626"/>
                        <a:pt x="91" y="626"/>
                        <a:pt x="91" y="626"/>
                      </a:cubicBezTo>
                      <a:cubicBezTo>
                        <a:pt x="93" y="624"/>
                        <a:pt x="93" y="624"/>
                        <a:pt x="93" y="624"/>
                      </a:cubicBezTo>
                      <a:cubicBezTo>
                        <a:pt x="94" y="626"/>
                        <a:pt x="96" y="627"/>
                        <a:pt x="97" y="629"/>
                      </a:cubicBezTo>
                      <a:cubicBezTo>
                        <a:pt x="95" y="631"/>
                        <a:pt x="95" y="631"/>
                        <a:pt x="95" y="631"/>
                      </a:cubicBezTo>
                      <a:cubicBezTo>
                        <a:pt x="95" y="631"/>
                        <a:pt x="95" y="631"/>
                        <a:pt x="95" y="631"/>
                      </a:cubicBezTo>
                      <a:cubicBezTo>
                        <a:pt x="97" y="630"/>
                        <a:pt x="97" y="630"/>
                        <a:pt x="97" y="630"/>
                      </a:cubicBezTo>
                      <a:cubicBezTo>
                        <a:pt x="99" y="631"/>
                        <a:pt x="100" y="632"/>
                        <a:pt x="101" y="634"/>
                      </a:cubicBezTo>
                      <a:cubicBezTo>
                        <a:pt x="97" y="637"/>
                        <a:pt x="97" y="637"/>
                        <a:pt x="97" y="637"/>
                      </a:cubicBezTo>
                      <a:cubicBezTo>
                        <a:pt x="97" y="638"/>
                        <a:pt x="97" y="638"/>
                        <a:pt x="97" y="638"/>
                      </a:cubicBezTo>
                      <a:cubicBezTo>
                        <a:pt x="91" y="643"/>
                        <a:pt x="91" y="643"/>
                        <a:pt x="91" y="643"/>
                      </a:cubicBezTo>
                      <a:cubicBezTo>
                        <a:pt x="91" y="643"/>
                        <a:pt x="91" y="643"/>
                        <a:pt x="91" y="643"/>
                      </a:cubicBezTo>
                      <a:cubicBezTo>
                        <a:pt x="97" y="638"/>
                        <a:pt x="97" y="638"/>
                        <a:pt x="97" y="638"/>
                      </a:cubicBezTo>
                      <a:cubicBezTo>
                        <a:pt x="98" y="639"/>
                        <a:pt x="98" y="639"/>
                        <a:pt x="98" y="639"/>
                      </a:cubicBezTo>
                      <a:cubicBezTo>
                        <a:pt x="102" y="635"/>
                        <a:pt x="102" y="635"/>
                        <a:pt x="102" y="635"/>
                      </a:cubicBezTo>
                      <a:cubicBezTo>
                        <a:pt x="103" y="636"/>
                        <a:pt x="104" y="638"/>
                        <a:pt x="105" y="639"/>
                      </a:cubicBezTo>
                      <a:cubicBezTo>
                        <a:pt x="103" y="641"/>
                        <a:pt x="103" y="641"/>
                        <a:pt x="103" y="641"/>
                      </a:cubicBezTo>
                      <a:cubicBezTo>
                        <a:pt x="104" y="642"/>
                        <a:pt x="104" y="642"/>
                        <a:pt x="104" y="642"/>
                      </a:cubicBezTo>
                      <a:cubicBezTo>
                        <a:pt x="106" y="640"/>
                        <a:pt x="106" y="640"/>
                        <a:pt x="106" y="640"/>
                      </a:cubicBezTo>
                      <a:cubicBezTo>
                        <a:pt x="107" y="641"/>
                        <a:pt x="108" y="643"/>
                        <a:pt x="110" y="644"/>
                      </a:cubicBezTo>
                      <a:cubicBezTo>
                        <a:pt x="108" y="646"/>
                        <a:pt x="108" y="646"/>
                        <a:pt x="108" y="646"/>
                      </a:cubicBezTo>
                      <a:cubicBezTo>
                        <a:pt x="108" y="647"/>
                        <a:pt x="108" y="647"/>
                        <a:pt x="108" y="647"/>
                      </a:cubicBezTo>
                      <a:cubicBezTo>
                        <a:pt x="110" y="645"/>
                        <a:pt x="110" y="645"/>
                        <a:pt x="110" y="645"/>
                      </a:cubicBezTo>
                      <a:cubicBezTo>
                        <a:pt x="112" y="646"/>
                        <a:pt x="113" y="647"/>
                        <a:pt x="114" y="649"/>
                      </a:cubicBezTo>
                      <a:cubicBezTo>
                        <a:pt x="112" y="651"/>
                        <a:pt x="112" y="651"/>
                        <a:pt x="112" y="651"/>
                      </a:cubicBezTo>
                      <a:cubicBezTo>
                        <a:pt x="113" y="651"/>
                        <a:pt x="113" y="651"/>
                        <a:pt x="113" y="651"/>
                      </a:cubicBezTo>
                      <a:cubicBezTo>
                        <a:pt x="115" y="649"/>
                        <a:pt x="115" y="649"/>
                        <a:pt x="115" y="649"/>
                      </a:cubicBezTo>
                      <a:cubicBezTo>
                        <a:pt x="116" y="651"/>
                        <a:pt x="117" y="652"/>
                        <a:pt x="119" y="654"/>
                      </a:cubicBezTo>
                      <a:cubicBezTo>
                        <a:pt x="117" y="656"/>
                        <a:pt x="117" y="656"/>
                        <a:pt x="117" y="656"/>
                      </a:cubicBezTo>
                      <a:cubicBezTo>
                        <a:pt x="117" y="656"/>
                        <a:pt x="117" y="656"/>
                        <a:pt x="117" y="656"/>
                      </a:cubicBezTo>
                      <a:cubicBezTo>
                        <a:pt x="119" y="654"/>
                        <a:pt x="119" y="654"/>
                        <a:pt x="119" y="654"/>
                      </a:cubicBezTo>
                      <a:cubicBezTo>
                        <a:pt x="121" y="656"/>
                        <a:pt x="122" y="657"/>
                        <a:pt x="123" y="658"/>
                      </a:cubicBezTo>
                      <a:cubicBezTo>
                        <a:pt x="121" y="661"/>
                        <a:pt x="121" y="661"/>
                        <a:pt x="121" y="661"/>
                      </a:cubicBezTo>
                      <a:cubicBezTo>
                        <a:pt x="122" y="661"/>
                        <a:pt x="122" y="661"/>
                        <a:pt x="122" y="661"/>
                      </a:cubicBezTo>
                      <a:cubicBezTo>
                        <a:pt x="124" y="659"/>
                        <a:pt x="124" y="659"/>
                        <a:pt x="124" y="659"/>
                      </a:cubicBezTo>
                      <a:cubicBezTo>
                        <a:pt x="125" y="660"/>
                        <a:pt x="127" y="662"/>
                        <a:pt x="128" y="663"/>
                      </a:cubicBezTo>
                      <a:cubicBezTo>
                        <a:pt x="126" y="665"/>
                        <a:pt x="126" y="665"/>
                        <a:pt x="126" y="665"/>
                      </a:cubicBezTo>
                      <a:cubicBezTo>
                        <a:pt x="127" y="666"/>
                        <a:pt x="127" y="666"/>
                        <a:pt x="127" y="666"/>
                      </a:cubicBezTo>
                      <a:cubicBezTo>
                        <a:pt x="129" y="664"/>
                        <a:pt x="129" y="664"/>
                        <a:pt x="129" y="664"/>
                      </a:cubicBezTo>
                      <a:cubicBezTo>
                        <a:pt x="130" y="665"/>
                        <a:pt x="131" y="666"/>
                        <a:pt x="133" y="668"/>
                      </a:cubicBezTo>
                      <a:cubicBezTo>
                        <a:pt x="131" y="670"/>
                        <a:pt x="131" y="670"/>
                        <a:pt x="131" y="670"/>
                      </a:cubicBezTo>
                      <a:cubicBezTo>
                        <a:pt x="131" y="670"/>
                        <a:pt x="131" y="670"/>
                        <a:pt x="131" y="670"/>
                      </a:cubicBezTo>
                      <a:cubicBezTo>
                        <a:pt x="133" y="668"/>
                        <a:pt x="133" y="668"/>
                        <a:pt x="133" y="668"/>
                      </a:cubicBezTo>
                      <a:cubicBezTo>
                        <a:pt x="135" y="669"/>
                        <a:pt x="136" y="671"/>
                        <a:pt x="138" y="672"/>
                      </a:cubicBezTo>
                      <a:cubicBezTo>
                        <a:pt x="136" y="674"/>
                        <a:pt x="136" y="674"/>
                        <a:pt x="136" y="674"/>
                      </a:cubicBezTo>
                      <a:cubicBezTo>
                        <a:pt x="136" y="675"/>
                        <a:pt x="136" y="675"/>
                        <a:pt x="136" y="675"/>
                      </a:cubicBezTo>
                      <a:cubicBezTo>
                        <a:pt x="138" y="673"/>
                        <a:pt x="138" y="673"/>
                        <a:pt x="138" y="673"/>
                      </a:cubicBezTo>
                      <a:cubicBezTo>
                        <a:pt x="140" y="674"/>
                        <a:pt x="141" y="675"/>
                        <a:pt x="143" y="676"/>
                      </a:cubicBezTo>
                      <a:cubicBezTo>
                        <a:pt x="141" y="679"/>
                        <a:pt x="141" y="679"/>
                        <a:pt x="141" y="679"/>
                      </a:cubicBezTo>
                      <a:cubicBezTo>
                        <a:pt x="141" y="679"/>
                        <a:pt x="141" y="679"/>
                        <a:pt x="141" y="679"/>
                      </a:cubicBezTo>
                      <a:cubicBezTo>
                        <a:pt x="143" y="677"/>
                        <a:pt x="143" y="677"/>
                        <a:pt x="143" y="677"/>
                      </a:cubicBezTo>
                      <a:cubicBezTo>
                        <a:pt x="145" y="678"/>
                        <a:pt x="146" y="679"/>
                        <a:pt x="147" y="680"/>
                      </a:cubicBezTo>
                      <a:cubicBezTo>
                        <a:pt x="144" y="685"/>
                        <a:pt x="144" y="685"/>
                        <a:pt x="144" y="685"/>
                      </a:cubicBezTo>
                      <a:cubicBezTo>
                        <a:pt x="144" y="685"/>
                        <a:pt x="144" y="685"/>
                        <a:pt x="144" y="685"/>
                      </a:cubicBezTo>
                      <a:cubicBezTo>
                        <a:pt x="139" y="691"/>
                        <a:pt x="139" y="691"/>
                        <a:pt x="139" y="691"/>
                      </a:cubicBezTo>
                      <a:cubicBezTo>
                        <a:pt x="140" y="691"/>
                        <a:pt x="140" y="691"/>
                        <a:pt x="140" y="691"/>
                      </a:cubicBezTo>
                      <a:cubicBezTo>
                        <a:pt x="145" y="685"/>
                        <a:pt x="145" y="685"/>
                        <a:pt x="145" y="685"/>
                      </a:cubicBezTo>
                      <a:cubicBezTo>
                        <a:pt x="145" y="686"/>
                        <a:pt x="145" y="686"/>
                        <a:pt x="145" y="686"/>
                      </a:cubicBezTo>
                      <a:cubicBezTo>
                        <a:pt x="149" y="682"/>
                        <a:pt x="149" y="682"/>
                        <a:pt x="149" y="682"/>
                      </a:cubicBezTo>
                      <a:cubicBezTo>
                        <a:pt x="150" y="683"/>
                        <a:pt x="151" y="684"/>
                        <a:pt x="153" y="685"/>
                      </a:cubicBezTo>
                      <a:cubicBezTo>
                        <a:pt x="151" y="687"/>
                        <a:pt x="151" y="687"/>
                        <a:pt x="151" y="687"/>
                      </a:cubicBezTo>
                      <a:cubicBezTo>
                        <a:pt x="151" y="688"/>
                        <a:pt x="151" y="688"/>
                        <a:pt x="151" y="688"/>
                      </a:cubicBezTo>
                      <a:cubicBezTo>
                        <a:pt x="153" y="685"/>
                        <a:pt x="153" y="685"/>
                        <a:pt x="153" y="685"/>
                      </a:cubicBezTo>
                      <a:cubicBezTo>
                        <a:pt x="155" y="687"/>
                        <a:pt x="156" y="688"/>
                        <a:pt x="158" y="689"/>
                      </a:cubicBezTo>
                      <a:cubicBezTo>
                        <a:pt x="156" y="691"/>
                        <a:pt x="156" y="691"/>
                        <a:pt x="156" y="691"/>
                      </a:cubicBezTo>
                      <a:cubicBezTo>
                        <a:pt x="157" y="692"/>
                        <a:pt x="157" y="692"/>
                        <a:pt x="157" y="692"/>
                      </a:cubicBezTo>
                      <a:cubicBezTo>
                        <a:pt x="158" y="690"/>
                        <a:pt x="158" y="690"/>
                        <a:pt x="158" y="690"/>
                      </a:cubicBezTo>
                      <a:cubicBezTo>
                        <a:pt x="160" y="691"/>
                        <a:pt x="162" y="692"/>
                        <a:pt x="163" y="693"/>
                      </a:cubicBezTo>
                      <a:cubicBezTo>
                        <a:pt x="161" y="695"/>
                        <a:pt x="161" y="695"/>
                        <a:pt x="161" y="695"/>
                      </a:cubicBezTo>
                      <a:cubicBezTo>
                        <a:pt x="162" y="696"/>
                        <a:pt x="162" y="696"/>
                        <a:pt x="162" y="696"/>
                      </a:cubicBezTo>
                      <a:cubicBezTo>
                        <a:pt x="164" y="694"/>
                        <a:pt x="164" y="694"/>
                        <a:pt x="164" y="694"/>
                      </a:cubicBezTo>
                      <a:cubicBezTo>
                        <a:pt x="165" y="695"/>
                        <a:pt x="167" y="696"/>
                        <a:pt x="168" y="697"/>
                      </a:cubicBezTo>
                      <a:cubicBezTo>
                        <a:pt x="167" y="699"/>
                        <a:pt x="167" y="699"/>
                        <a:pt x="167" y="699"/>
                      </a:cubicBezTo>
                      <a:cubicBezTo>
                        <a:pt x="167" y="700"/>
                        <a:pt x="167" y="700"/>
                        <a:pt x="167" y="700"/>
                      </a:cubicBezTo>
                      <a:cubicBezTo>
                        <a:pt x="169" y="697"/>
                        <a:pt x="169" y="697"/>
                        <a:pt x="169" y="697"/>
                      </a:cubicBezTo>
                      <a:cubicBezTo>
                        <a:pt x="171" y="699"/>
                        <a:pt x="172" y="700"/>
                        <a:pt x="174" y="701"/>
                      </a:cubicBezTo>
                      <a:cubicBezTo>
                        <a:pt x="172" y="703"/>
                        <a:pt x="172" y="703"/>
                        <a:pt x="172" y="703"/>
                      </a:cubicBezTo>
                      <a:cubicBezTo>
                        <a:pt x="173" y="704"/>
                        <a:pt x="173" y="704"/>
                        <a:pt x="173" y="704"/>
                      </a:cubicBezTo>
                      <a:cubicBezTo>
                        <a:pt x="174" y="701"/>
                        <a:pt x="174" y="701"/>
                        <a:pt x="174" y="701"/>
                      </a:cubicBezTo>
                      <a:cubicBezTo>
                        <a:pt x="176" y="702"/>
                        <a:pt x="178" y="704"/>
                        <a:pt x="179" y="705"/>
                      </a:cubicBezTo>
                      <a:cubicBezTo>
                        <a:pt x="178" y="707"/>
                        <a:pt x="178" y="707"/>
                        <a:pt x="178" y="707"/>
                      </a:cubicBezTo>
                      <a:cubicBezTo>
                        <a:pt x="178" y="708"/>
                        <a:pt x="178" y="708"/>
                        <a:pt x="178" y="708"/>
                      </a:cubicBezTo>
                      <a:cubicBezTo>
                        <a:pt x="180" y="705"/>
                        <a:pt x="180" y="705"/>
                        <a:pt x="180" y="705"/>
                      </a:cubicBezTo>
                      <a:cubicBezTo>
                        <a:pt x="181" y="706"/>
                        <a:pt x="183" y="707"/>
                        <a:pt x="185" y="708"/>
                      </a:cubicBezTo>
                      <a:cubicBezTo>
                        <a:pt x="183" y="711"/>
                        <a:pt x="183" y="711"/>
                        <a:pt x="183" y="711"/>
                      </a:cubicBezTo>
                      <a:cubicBezTo>
                        <a:pt x="184" y="711"/>
                        <a:pt x="184" y="711"/>
                        <a:pt x="184" y="711"/>
                      </a:cubicBezTo>
                      <a:cubicBezTo>
                        <a:pt x="185" y="709"/>
                        <a:pt x="185" y="709"/>
                        <a:pt x="185" y="709"/>
                      </a:cubicBezTo>
                      <a:cubicBezTo>
                        <a:pt x="187" y="710"/>
                        <a:pt x="189" y="711"/>
                        <a:pt x="190" y="712"/>
                      </a:cubicBezTo>
                      <a:cubicBezTo>
                        <a:pt x="189" y="714"/>
                        <a:pt x="189" y="714"/>
                        <a:pt x="189" y="714"/>
                      </a:cubicBezTo>
                      <a:cubicBezTo>
                        <a:pt x="189" y="715"/>
                        <a:pt x="189" y="715"/>
                        <a:pt x="189" y="715"/>
                      </a:cubicBezTo>
                      <a:cubicBezTo>
                        <a:pt x="191" y="712"/>
                        <a:pt x="191" y="712"/>
                        <a:pt x="191" y="712"/>
                      </a:cubicBezTo>
                      <a:cubicBezTo>
                        <a:pt x="193" y="713"/>
                        <a:pt x="194" y="714"/>
                        <a:pt x="196" y="715"/>
                      </a:cubicBezTo>
                      <a:cubicBezTo>
                        <a:pt x="194" y="718"/>
                        <a:pt x="194" y="718"/>
                        <a:pt x="194" y="718"/>
                      </a:cubicBezTo>
                      <a:cubicBezTo>
                        <a:pt x="195" y="718"/>
                        <a:pt x="195" y="718"/>
                        <a:pt x="195" y="718"/>
                      </a:cubicBezTo>
                      <a:cubicBezTo>
                        <a:pt x="196" y="716"/>
                        <a:pt x="196" y="716"/>
                        <a:pt x="196" y="716"/>
                      </a:cubicBezTo>
                      <a:cubicBezTo>
                        <a:pt x="198" y="717"/>
                        <a:pt x="200" y="718"/>
                        <a:pt x="201" y="718"/>
                      </a:cubicBezTo>
                      <a:cubicBezTo>
                        <a:pt x="198" y="723"/>
                        <a:pt x="198" y="723"/>
                        <a:pt x="198" y="723"/>
                      </a:cubicBezTo>
                      <a:cubicBezTo>
                        <a:pt x="199" y="723"/>
                        <a:pt x="199" y="723"/>
                        <a:pt x="199" y="723"/>
                      </a:cubicBezTo>
                      <a:cubicBezTo>
                        <a:pt x="195" y="730"/>
                        <a:pt x="195" y="730"/>
                        <a:pt x="195" y="730"/>
                      </a:cubicBezTo>
                      <a:cubicBezTo>
                        <a:pt x="196" y="730"/>
                        <a:pt x="196" y="730"/>
                        <a:pt x="196" y="730"/>
                      </a:cubicBezTo>
                      <a:cubicBezTo>
                        <a:pt x="199" y="724"/>
                        <a:pt x="199" y="724"/>
                        <a:pt x="199" y="724"/>
                      </a:cubicBezTo>
                      <a:cubicBezTo>
                        <a:pt x="200" y="724"/>
                        <a:pt x="200" y="724"/>
                        <a:pt x="200" y="724"/>
                      </a:cubicBezTo>
                      <a:cubicBezTo>
                        <a:pt x="203" y="719"/>
                        <a:pt x="203" y="719"/>
                        <a:pt x="203" y="719"/>
                      </a:cubicBezTo>
                      <a:cubicBezTo>
                        <a:pt x="204" y="720"/>
                        <a:pt x="206" y="721"/>
                        <a:pt x="207" y="722"/>
                      </a:cubicBezTo>
                      <a:cubicBezTo>
                        <a:pt x="206" y="724"/>
                        <a:pt x="206" y="724"/>
                        <a:pt x="206" y="724"/>
                      </a:cubicBezTo>
                      <a:cubicBezTo>
                        <a:pt x="207" y="725"/>
                        <a:pt x="207" y="725"/>
                        <a:pt x="207" y="725"/>
                      </a:cubicBezTo>
                      <a:cubicBezTo>
                        <a:pt x="208" y="722"/>
                        <a:pt x="208" y="722"/>
                        <a:pt x="208" y="722"/>
                      </a:cubicBezTo>
                      <a:cubicBezTo>
                        <a:pt x="210" y="723"/>
                        <a:pt x="211" y="724"/>
                        <a:pt x="213" y="725"/>
                      </a:cubicBezTo>
                      <a:cubicBezTo>
                        <a:pt x="212" y="728"/>
                        <a:pt x="212" y="728"/>
                        <a:pt x="212" y="728"/>
                      </a:cubicBezTo>
                      <a:cubicBezTo>
                        <a:pt x="212" y="728"/>
                        <a:pt x="212" y="728"/>
                        <a:pt x="212" y="728"/>
                      </a:cubicBezTo>
                      <a:cubicBezTo>
                        <a:pt x="214" y="726"/>
                        <a:pt x="214" y="726"/>
                        <a:pt x="214" y="726"/>
                      </a:cubicBezTo>
                      <a:cubicBezTo>
                        <a:pt x="215" y="726"/>
                        <a:pt x="217" y="727"/>
                        <a:pt x="219" y="728"/>
                      </a:cubicBezTo>
                      <a:cubicBezTo>
                        <a:pt x="218" y="731"/>
                        <a:pt x="218" y="731"/>
                        <a:pt x="218" y="731"/>
                      </a:cubicBezTo>
                      <a:cubicBezTo>
                        <a:pt x="218" y="731"/>
                        <a:pt x="218" y="731"/>
                        <a:pt x="218" y="731"/>
                      </a:cubicBezTo>
                      <a:cubicBezTo>
                        <a:pt x="220" y="729"/>
                        <a:pt x="220" y="729"/>
                        <a:pt x="220" y="729"/>
                      </a:cubicBezTo>
                      <a:cubicBezTo>
                        <a:pt x="221" y="729"/>
                        <a:pt x="223" y="730"/>
                        <a:pt x="225" y="731"/>
                      </a:cubicBezTo>
                      <a:cubicBezTo>
                        <a:pt x="224" y="734"/>
                        <a:pt x="224" y="734"/>
                        <a:pt x="224" y="734"/>
                      </a:cubicBezTo>
                      <a:cubicBezTo>
                        <a:pt x="224" y="734"/>
                        <a:pt x="224" y="734"/>
                        <a:pt x="224" y="734"/>
                      </a:cubicBezTo>
                      <a:cubicBezTo>
                        <a:pt x="225" y="731"/>
                        <a:pt x="225" y="731"/>
                        <a:pt x="225" y="731"/>
                      </a:cubicBezTo>
                      <a:cubicBezTo>
                        <a:pt x="227" y="732"/>
                        <a:pt x="229" y="733"/>
                        <a:pt x="231" y="734"/>
                      </a:cubicBezTo>
                      <a:cubicBezTo>
                        <a:pt x="230" y="737"/>
                        <a:pt x="230" y="737"/>
                        <a:pt x="230" y="737"/>
                      </a:cubicBezTo>
                      <a:cubicBezTo>
                        <a:pt x="230" y="737"/>
                        <a:pt x="230" y="737"/>
                        <a:pt x="230" y="737"/>
                      </a:cubicBezTo>
                      <a:cubicBezTo>
                        <a:pt x="231" y="734"/>
                        <a:pt x="231" y="734"/>
                        <a:pt x="231" y="734"/>
                      </a:cubicBezTo>
                      <a:cubicBezTo>
                        <a:pt x="233" y="735"/>
                        <a:pt x="235" y="736"/>
                        <a:pt x="237" y="737"/>
                      </a:cubicBezTo>
                      <a:cubicBezTo>
                        <a:pt x="236" y="739"/>
                        <a:pt x="236" y="739"/>
                        <a:pt x="236" y="739"/>
                      </a:cubicBezTo>
                      <a:cubicBezTo>
                        <a:pt x="236" y="740"/>
                        <a:pt x="236" y="740"/>
                        <a:pt x="236" y="740"/>
                      </a:cubicBezTo>
                      <a:cubicBezTo>
                        <a:pt x="237" y="737"/>
                        <a:pt x="237" y="737"/>
                        <a:pt x="237" y="737"/>
                      </a:cubicBezTo>
                      <a:cubicBezTo>
                        <a:pt x="239" y="738"/>
                        <a:pt x="241" y="739"/>
                        <a:pt x="243" y="739"/>
                      </a:cubicBezTo>
                      <a:cubicBezTo>
                        <a:pt x="242" y="742"/>
                        <a:pt x="242" y="742"/>
                        <a:pt x="242" y="742"/>
                      </a:cubicBezTo>
                      <a:cubicBezTo>
                        <a:pt x="242" y="742"/>
                        <a:pt x="242" y="742"/>
                        <a:pt x="242" y="742"/>
                      </a:cubicBezTo>
                      <a:cubicBezTo>
                        <a:pt x="243" y="740"/>
                        <a:pt x="243" y="740"/>
                        <a:pt x="243" y="740"/>
                      </a:cubicBezTo>
                      <a:cubicBezTo>
                        <a:pt x="245" y="740"/>
                        <a:pt x="247" y="741"/>
                        <a:pt x="249" y="742"/>
                      </a:cubicBezTo>
                      <a:cubicBezTo>
                        <a:pt x="248" y="745"/>
                        <a:pt x="248" y="745"/>
                        <a:pt x="248" y="745"/>
                      </a:cubicBezTo>
                      <a:cubicBezTo>
                        <a:pt x="249" y="745"/>
                        <a:pt x="249" y="745"/>
                        <a:pt x="249" y="745"/>
                      </a:cubicBezTo>
                      <a:cubicBezTo>
                        <a:pt x="250" y="742"/>
                        <a:pt x="250" y="742"/>
                        <a:pt x="250" y="742"/>
                      </a:cubicBezTo>
                      <a:cubicBezTo>
                        <a:pt x="251" y="743"/>
                        <a:pt x="253" y="744"/>
                        <a:pt x="255" y="744"/>
                      </a:cubicBezTo>
                      <a:cubicBezTo>
                        <a:pt x="254" y="747"/>
                        <a:pt x="254" y="747"/>
                        <a:pt x="254" y="747"/>
                      </a:cubicBezTo>
                      <a:cubicBezTo>
                        <a:pt x="255" y="747"/>
                        <a:pt x="255" y="747"/>
                        <a:pt x="255" y="747"/>
                      </a:cubicBezTo>
                      <a:cubicBezTo>
                        <a:pt x="256" y="745"/>
                        <a:pt x="256" y="745"/>
                        <a:pt x="256" y="745"/>
                      </a:cubicBezTo>
                      <a:cubicBezTo>
                        <a:pt x="257" y="745"/>
                        <a:pt x="259" y="746"/>
                        <a:pt x="261" y="746"/>
                      </a:cubicBezTo>
                      <a:cubicBezTo>
                        <a:pt x="259" y="752"/>
                        <a:pt x="259" y="752"/>
                        <a:pt x="259" y="752"/>
                      </a:cubicBezTo>
                      <a:cubicBezTo>
                        <a:pt x="259" y="752"/>
                        <a:pt x="259" y="752"/>
                        <a:pt x="259" y="752"/>
                      </a:cubicBezTo>
                      <a:cubicBezTo>
                        <a:pt x="257" y="759"/>
                        <a:pt x="257" y="759"/>
                        <a:pt x="257" y="759"/>
                      </a:cubicBezTo>
                      <a:cubicBezTo>
                        <a:pt x="257" y="759"/>
                        <a:pt x="257" y="759"/>
                        <a:pt x="257" y="759"/>
                      </a:cubicBezTo>
                      <a:cubicBezTo>
                        <a:pt x="260" y="752"/>
                        <a:pt x="260" y="752"/>
                        <a:pt x="260" y="752"/>
                      </a:cubicBezTo>
                      <a:cubicBezTo>
                        <a:pt x="261" y="752"/>
                        <a:pt x="261" y="752"/>
                        <a:pt x="261" y="752"/>
                      </a:cubicBezTo>
                      <a:cubicBezTo>
                        <a:pt x="262" y="747"/>
                        <a:pt x="262" y="747"/>
                        <a:pt x="262" y="747"/>
                      </a:cubicBezTo>
                      <a:cubicBezTo>
                        <a:pt x="264" y="748"/>
                        <a:pt x="266" y="748"/>
                        <a:pt x="267" y="749"/>
                      </a:cubicBezTo>
                      <a:cubicBezTo>
                        <a:pt x="266" y="752"/>
                        <a:pt x="266" y="752"/>
                        <a:pt x="266" y="752"/>
                      </a:cubicBezTo>
                      <a:cubicBezTo>
                        <a:pt x="267" y="752"/>
                        <a:pt x="267" y="752"/>
                        <a:pt x="267" y="752"/>
                      </a:cubicBezTo>
                      <a:cubicBezTo>
                        <a:pt x="268" y="749"/>
                        <a:pt x="268" y="749"/>
                        <a:pt x="268" y="749"/>
                      </a:cubicBezTo>
                      <a:cubicBezTo>
                        <a:pt x="270" y="750"/>
                        <a:pt x="272" y="750"/>
                        <a:pt x="274" y="751"/>
                      </a:cubicBezTo>
                      <a:cubicBezTo>
                        <a:pt x="273" y="754"/>
                        <a:pt x="273" y="754"/>
                        <a:pt x="273" y="754"/>
                      </a:cubicBezTo>
                      <a:cubicBezTo>
                        <a:pt x="274" y="754"/>
                        <a:pt x="274" y="754"/>
                        <a:pt x="274" y="754"/>
                      </a:cubicBezTo>
                      <a:cubicBezTo>
                        <a:pt x="274" y="751"/>
                        <a:pt x="274" y="751"/>
                        <a:pt x="274" y="751"/>
                      </a:cubicBezTo>
                      <a:cubicBezTo>
                        <a:pt x="276" y="752"/>
                        <a:pt x="278" y="752"/>
                        <a:pt x="280" y="753"/>
                      </a:cubicBezTo>
                      <a:cubicBezTo>
                        <a:pt x="279" y="756"/>
                        <a:pt x="279" y="756"/>
                        <a:pt x="279" y="756"/>
                      </a:cubicBezTo>
                      <a:cubicBezTo>
                        <a:pt x="280" y="756"/>
                        <a:pt x="280" y="756"/>
                        <a:pt x="280" y="756"/>
                      </a:cubicBezTo>
                      <a:cubicBezTo>
                        <a:pt x="281" y="753"/>
                        <a:pt x="281" y="753"/>
                        <a:pt x="281" y="753"/>
                      </a:cubicBezTo>
                      <a:cubicBezTo>
                        <a:pt x="283" y="754"/>
                        <a:pt x="284" y="754"/>
                        <a:pt x="286" y="755"/>
                      </a:cubicBezTo>
                      <a:cubicBezTo>
                        <a:pt x="285" y="758"/>
                        <a:pt x="285" y="758"/>
                        <a:pt x="285" y="758"/>
                      </a:cubicBezTo>
                      <a:cubicBezTo>
                        <a:pt x="286" y="758"/>
                        <a:pt x="286" y="758"/>
                        <a:pt x="286" y="758"/>
                      </a:cubicBezTo>
                      <a:cubicBezTo>
                        <a:pt x="287" y="755"/>
                        <a:pt x="287" y="755"/>
                        <a:pt x="287" y="755"/>
                      </a:cubicBezTo>
                      <a:cubicBezTo>
                        <a:pt x="289" y="756"/>
                        <a:pt x="291" y="756"/>
                        <a:pt x="293" y="757"/>
                      </a:cubicBezTo>
                      <a:cubicBezTo>
                        <a:pt x="292" y="759"/>
                        <a:pt x="292" y="759"/>
                        <a:pt x="292" y="759"/>
                      </a:cubicBezTo>
                      <a:cubicBezTo>
                        <a:pt x="293" y="760"/>
                        <a:pt x="293" y="760"/>
                        <a:pt x="293" y="760"/>
                      </a:cubicBezTo>
                      <a:cubicBezTo>
                        <a:pt x="293" y="757"/>
                        <a:pt x="293" y="757"/>
                        <a:pt x="293" y="757"/>
                      </a:cubicBezTo>
                      <a:cubicBezTo>
                        <a:pt x="295" y="757"/>
                        <a:pt x="297" y="758"/>
                        <a:pt x="299" y="758"/>
                      </a:cubicBezTo>
                      <a:cubicBezTo>
                        <a:pt x="298" y="761"/>
                        <a:pt x="298" y="761"/>
                        <a:pt x="298" y="761"/>
                      </a:cubicBezTo>
                      <a:cubicBezTo>
                        <a:pt x="299" y="761"/>
                        <a:pt x="299" y="761"/>
                        <a:pt x="299" y="761"/>
                      </a:cubicBezTo>
                      <a:cubicBezTo>
                        <a:pt x="300" y="758"/>
                        <a:pt x="300" y="758"/>
                        <a:pt x="300" y="758"/>
                      </a:cubicBezTo>
                      <a:cubicBezTo>
                        <a:pt x="302" y="759"/>
                        <a:pt x="304" y="759"/>
                        <a:pt x="305" y="760"/>
                      </a:cubicBezTo>
                      <a:cubicBezTo>
                        <a:pt x="305" y="763"/>
                        <a:pt x="305" y="763"/>
                        <a:pt x="305" y="763"/>
                      </a:cubicBezTo>
                      <a:cubicBezTo>
                        <a:pt x="306" y="763"/>
                        <a:pt x="306" y="763"/>
                        <a:pt x="306" y="763"/>
                      </a:cubicBezTo>
                      <a:cubicBezTo>
                        <a:pt x="306" y="760"/>
                        <a:pt x="306" y="760"/>
                        <a:pt x="306" y="760"/>
                      </a:cubicBezTo>
                      <a:cubicBezTo>
                        <a:pt x="308" y="760"/>
                        <a:pt x="310" y="761"/>
                        <a:pt x="312" y="761"/>
                      </a:cubicBezTo>
                      <a:cubicBezTo>
                        <a:pt x="311" y="764"/>
                        <a:pt x="311" y="764"/>
                        <a:pt x="311" y="764"/>
                      </a:cubicBezTo>
                      <a:cubicBezTo>
                        <a:pt x="312" y="764"/>
                        <a:pt x="312" y="764"/>
                        <a:pt x="312" y="764"/>
                      </a:cubicBezTo>
                      <a:cubicBezTo>
                        <a:pt x="313" y="761"/>
                        <a:pt x="313" y="761"/>
                        <a:pt x="313" y="761"/>
                      </a:cubicBezTo>
                      <a:cubicBezTo>
                        <a:pt x="315" y="762"/>
                        <a:pt x="316" y="762"/>
                        <a:pt x="318" y="763"/>
                      </a:cubicBezTo>
                      <a:cubicBezTo>
                        <a:pt x="318" y="765"/>
                        <a:pt x="318" y="765"/>
                        <a:pt x="318" y="765"/>
                      </a:cubicBezTo>
                      <a:cubicBezTo>
                        <a:pt x="319" y="766"/>
                        <a:pt x="319" y="766"/>
                        <a:pt x="319" y="766"/>
                      </a:cubicBezTo>
                      <a:cubicBezTo>
                        <a:pt x="319" y="763"/>
                        <a:pt x="319" y="763"/>
                        <a:pt x="319" y="763"/>
                      </a:cubicBezTo>
                      <a:cubicBezTo>
                        <a:pt x="321" y="763"/>
                        <a:pt x="323" y="763"/>
                        <a:pt x="324" y="764"/>
                      </a:cubicBezTo>
                      <a:cubicBezTo>
                        <a:pt x="323" y="769"/>
                        <a:pt x="323" y="769"/>
                        <a:pt x="323" y="769"/>
                      </a:cubicBezTo>
                      <a:cubicBezTo>
                        <a:pt x="324" y="769"/>
                        <a:pt x="324" y="769"/>
                        <a:pt x="324" y="769"/>
                      </a:cubicBezTo>
                      <a:cubicBezTo>
                        <a:pt x="323" y="777"/>
                        <a:pt x="323" y="777"/>
                        <a:pt x="323" y="777"/>
                      </a:cubicBezTo>
                      <a:cubicBezTo>
                        <a:pt x="323" y="777"/>
                        <a:pt x="323" y="777"/>
                        <a:pt x="323" y="777"/>
                      </a:cubicBezTo>
                      <a:cubicBezTo>
                        <a:pt x="325" y="769"/>
                        <a:pt x="325" y="769"/>
                        <a:pt x="325" y="769"/>
                      </a:cubicBezTo>
                      <a:cubicBezTo>
                        <a:pt x="325" y="769"/>
                        <a:pt x="325" y="769"/>
                        <a:pt x="325" y="769"/>
                      </a:cubicBezTo>
                      <a:cubicBezTo>
                        <a:pt x="326" y="764"/>
                        <a:pt x="326" y="764"/>
                        <a:pt x="326" y="764"/>
                      </a:cubicBezTo>
                      <a:cubicBezTo>
                        <a:pt x="328" y="764"/>
                        <a:pt x="330" y="765"/>
                        <a:pt x="331" y="765"/>
                      </a:cubicBezTo>
                      <a:cubicBezTo>
                        <a:pt x="331" y="768"/>
                        <a:pt x="331" y="768"/>
                        <a:pt x="331" y="768"/>
                      </a:cubicBezTo>
                      <a:cubicBezTo>
                        <a:pt x="332" y="768"/>
                        <a:pt x="332" y="768"/>
                        <a:pt x="332" y="768"/>
                      </a:cubicBezTo>
                      <a:cubicBezTo>
                        <a:pt x="332" y="765"/>
                        <a:pt x="332" y="765"/>
                        <a:pt x="332" y="765"/>
                      </a:cubicBezTo>
                      <a:cubicBezTo>
                        <a:pt x="334" y="765"/>
                        <a:pt x="336" y="765"/>
                        <a:pt x="338" y="766"/>
                      </a:cubicBezTo>
                      <a:cubicBezTo>
                        <a:pt x="337" y="769"/>
                        <a:pt x="337" y="769"/>
                        <a:pt x="337" y="769"/>
                      </a:cubicBezTo>
                      <a:cubicBezTo>
                        <a:pt x="338" y="769"/>
                        <a:pt x="338" y="769"/>
                        <a:pt x="338" y="769"/>
                      </a:cubicBezTo>
                      <a:cubicBezTo>
                        <a:pt x="339" y="766"/>
                        <a:pt x="339" y="766"/>
                        <a:pt x="339" y="766"/>
                      </a:cubicBezTo>
                      <a:cubicBezTo>
                        <a:pt x="341" y="766"/>
                        <a:pt x="342" y="766"/>
                        <a:pt x="344" y="767"/>
                      </a:cubicBezTo>
                      <a:cubicBezTo>
                        <a:pt x="344" y="770"/>
                        <a:pt x="344" y="770"/>
                        <a:pt x="344" y="770"/>
                      </a:cubicBezTo>
                      <a:cubicBezTo>
                        <a:pt x="345" y="770"/>
                        <a:pt x="345" y="770"/>
                        <a:pt x="345" y="770"/>
                      </a:cubicBezTo>
                      <a:cubicBezTo>
                        <a:pt x="345" y="767"/>
                        <a:pt x="345" y="767"/>
                        <a:pt x="345" y="767"/>
                      </a:cubicBezTo>
                      <a:cubicBezTo>
                        <a:pt x="347" y="767"/>
                        <a:pt x="349" y="767"/>
                        <a:pt x="351" y="767"/>
                      </a:cubicBezTo>
                      <a:cubicBezTo>
                        <a:pt x="351" y="770"/>
                        <a:pt x="351" y="770"/>
                        <a:pt x="351" y="770"/>
                      </a:cubicBezTo>
                      <a:cubicBezTo>
                        <a:pt x="351" y="770"/>
                        <a:pt x="351" y="770"/>
                        <a:pt x="351" y="770"/>
                      </a:cubicBezTo>
                      <a:cubicBezTo>
                        <a:pt x="352" y="767"/>
                        <a:pt x="352" y="767"/>
                        <a:pt x="352" y="767"/>
                      </a:cubicBezTo>
                      <a:cubicBezTo>
                        <a:pt x="354" y="768"/>
                        <a:pt x="356" y="768"/>
                        <a:pt x="357" y="768"/>
                      </a:cubicBezTo>
                      <a:cubicBezTo>
                        <a:pt x="357" y="771"/>
                        <a:pt x="357" y="771"/>
                        <a:pt x="357" y="771"/>
                      </a:cubicBezTo>
                      <a:cubicBezTo>
                        <a:pt x="358" y="771"/>
                        <a:pt x="358" y="771"/>
                        <a:pt x="358" y="771"/>
                      </a:cubicBezTo>
                      <a:cubicBezTo>
                        <a:pt x="358" y="768"/>
                        <a:pt x="358" y="768"/>
                        <a:pt x="358" y="768"/>
                      </a:cubicBezTo>
                      <a:cubicBezTo>
                        <a:pt x="360" y="768"/>
                        <a:pt x="362" y="768"/>
                        <a:pt x="364" y="769"/>
                      </a:cubicBezTo>
                      <a:cubicBezTo>
                        <a:pt x="364" y="772"/>
                        <a:pt x="364" y="772"/>
                        <a:pt x="364" y="772"/>
                      </a:cubicBezTo>
                      <a:cubicBezTo>
                        <a:pt x="365" y="772"/>
                        <a:pt x="365" y="772"/>
                        <a:pt x="365" y="772"/>
                      </a:cubicBezTo>
                      <a:cubicBezTo>
                        <a:pt x="365" y="769"/>
                        <a:pt x="365" y="769"/>
                        <a:pt x="365" y="769"/>
                      </a:cubicBezTo>
                      <a:cubicBezTo>
                        <a:pt x="367" y="769"/>
                        <a:pt x="369" y="769"/>
                        <a:pt x="371" y="769"/>
                      </a:cubicBezTo>
                      <a:cubicBezTo>
                        <a:pt x="370" y="772"/>
                        <a:pt x="370" y="772"/>
                        <a:pt x="370" y="772"/>
                      </a:cubicBezTo>
                      <a:cubicBezTo>
                        <a:pt x="371" y="772"/>
                        <a:pt x="371" y="772"/>
                        <a:pt x="371" y="772"/>
                      </a:cubicBezTo>
                      <a:cubicBezTo>
                        <a:pt x="371" y="769"/>
                        <a:pt x="371" y="769"/>
                        <a:pt x="371" y="769"/>
                      </a:cubicBezTo>
                      <a:cubicBezTo>
                        <a:pt x="373" y="769"/>
                        <a:pt x="375" y="769"/>
                        <a:pt x="377" y="769"/>
                      </a:cubicBezTo>
                      <a:cubicBezTo>
                        <a:pt x="377" y="772"/>
                        <a:pt x="377" y="772"/>
                        <a:pt x="377" y="772"/>
                      </a:cubicBezTo>
                      <a:cubicBezTo>
                        <a:pt x="378" y="772"/>
                        <a:pt x="378" y="772"/>
                        <a:pt x="378" y="772"/>
                      </a:cubicBezTo>
                      <a:cubicBezTo>
                        <a:pt x="378" y="769"/>
                        <a:pt x="378" y="769"/>
                        <a:pt x="378" y="769"/>
                      </a:cubicBezTo>
                      <a:cubicBezTo>
                        <a:pt x="380" y="769"/>
                        <a:pt x="382" y="769"/>
                        <a:pt x="384" y="769"/>
                      </a:cubicBezTo>
                      <a:cubicBezTo>
                        <a:pt x="384" y="772"/>
                        <a:pt x="384" y="772"/>
                        <a:pt x="384" y="772"/>
                      </a:cubicBezTo>
                      <a:cubicBezTo>
                        <a:pt x="385" y="772"/>
                        <a:pt x="385" y="772"/>
                        <a:pt x="385" y="772"/>
                      </a:cubicBezTo>
                      <a:cubicBezTo>
                        <a:pt x="385" y="769"/>
                        <a:pt x="385" y="769"/>
                        <a:pt x="385" y="769"/>
                      </a:cubicBezTo>
                      <a:cubicBezTo>
                        <a:pt x="386" y="769"/>
                        <a:pt x="388" y="769"/>
                        <a:pt x="390" y="769"/>
                      </a:cubicBezTo>
                      <a:cubicBezTo>
                        <a:pt x="390" y="775"/>
                        <a:pt x="390" y="775"/>
                        <a:pt x="390" y="775"/>
                      </a:cubicBezTo>
                      <a:cubicBezTo>
                        <a:pt x="390" y="775"/>
                        <a:pt x="390" y="775"/>
                        <a:pt x="390" y="775"/>
                      </a:cubicBezTo>
                      <a:cubicBezTo>
                        <a:pt x="390" y="783"/>
                        <a:pt x="390" y="783"/>
                        <a:pt x="390" y="783"/>
                      </a:cubicBezTo>
                      <a:cubicBezTo>
                        <a:pt x="391" y="783"/>
                        <a:pt x="391" y="783"/>
                        <a:pt x="391" y="783"/>
                      </a:cubicBezTo>
                      <a:cubicBezTo>
                        <a:pt x="391" y="775"/>
                        <a:pt x="391" y="775"/>
                        <a:pt x="391" y="775"/>
                      </a:cubicBezTo>
                      <a:cubicBezTo>
                        <a:pt x="392" y="775"/>
                        <a:pt x="392" y="775"/>
                        <a:pt x="392" y="775"/>
                      </a:cubicBezTo>
                      <a:cubicBezTo>
                        <a:pt x="392" y="769"/>
                        <a:pt x="392" y="769"/>
                        <a:pt x="392" y="769"/>
                      </a:cubicBezTo>
                      <a:cubicBezTo>
                        <a:pt x="393" y="769"/>
                        <a:pt x="395" y="769"/>
                        <a:pt x="397" y="769"/>
                      </a:cubicBezTo>
                      <a:cubicBezTo>
                        <a:pt x="397" y="772"/>
                        <a:pt x="397" y="772"/>
                        <a:pt x="397" y="772"/>
                      </a:cubicBezTo>
                      <a:cubicBezTo>
                        <a:pt x="398" y="772"/>
                        <a:pt x="398" y="772"/>
                        <a:pt x="398" y="772"/>
                      </a:cubicBezTo>
                      <a:cubicBezTo>
                        <a:pt x="398" y="769"/>
                        <a:pt x="398" y="769"/>
                        <a:pt x="398" y="769"/>
                      </a:cubicBezTo>
                      <a:cubicBezTo>
                        <a:pt x="400" y="769"/>
                        <a:pt x="402" y="769"/>
                        <a:pt x="404" y="769"/>
                      </a:cubicBezTo>
                      <a:cubicBezTo>
                        <a:pt x="404" y="772"/>
                        <a:pt x="404" y="772"/>
                        <a:pt x="404" y="772"/>
                      </a:cubicBezTo>
                      <a:cubicBezTo>
                        <a:pt x="404" y="772"/>
                        <a:pt x="404" y="772"/>
                        <a:pt x="404" y="772"/>
                      </a:cubicBezTo>
                      <a:cubicBezTo>
                        <a:pt x="404" y="769"/>
                        <a:pt x="404" y="769"/>
                        <a:pt x="404" y="769"/>
                      </a:cubicBezTo>
                      <a:cubicBezTo>
                        <a:pt x="406" y="769"/>
                        <a:pt x="408" y="769"/>
                        <a:pt x="410" y="769"/>
                      </a:cubicBezTo>
                      <a:cubicBezTo>
                        <a:pt x="410" y="772"/>
                        <a:pt x="410" y="772"/>
                        <a:pt x="410" y="772"/>
                      </a:cubicBezTo>
                      <a:cubicBezTo>
                        <a:pt x="411" y="772"/>
                        <a:pt x="411" y="772"/>
                        <a:pt x="411" y="772"/>
                      </a:cubicBezTo>
                      <a:cubicBezTo>
                        <a:pt x="411" y="769"/>
                        <a:pt x="411" y="769"/>
                        <a:pt x="411" y="769"/>
                      </a:cubicBezTo>
                      <a:cubicBezTo>
                        <a:pt x="413" y="769"/>
                        <a:pt x="415" y="769"/>
                        <a:pt x="417" y="769"/>
                      </a:cubicBezTo>
                      <a:cubicBezTo>
                        <a:pt x="417" y="772"/>
                        <a:pt x="417" y="772"/>
                        <a:pt x="417" y="772"/>
                      </a:cubicBezTo>
                      <a:cubicBezTo>
                        <a:pt x="418" y="772"/>
                        <a:pt x="418" y="772"/>
                        <a:pt x="418" y="772"/>
                      </a:cubicBezTo>
                      <a:cubicBezTo>
                        <a:pt x="418" y="769"/>
                        <a:pt x="418" y="769"/>
                        <a:pt x="418" y="769"/>
                      </a:cubicBezTo>
                      <a:cubicBezTo>
                        <a:pt x="419" y="768"/>
                        <a:pt x="421" y="768"/>
                        <a:pt x="423" y="768"/>
                      </a:cubicBezTo>
                      <a:cubicBezTo>
                        <a:pt x="424" y="771"/>
                        <a:pt x="424" y="771"/>
                        <a:pt x="424" y="771"/>
                      </a:cubicBezTo>
                      <a:cubicBezTo>
                        <a:pt x="424" y="771"/>
                        <a:pt x="424" y="771"/>
                        <a:pt x="424" y="771"/>
                      </a:cubicBezTo>
                      <a:cubicBezTo>
                        <a:pt x="424" y="768"/>
                        <a:pt x="424" y="768"/>
                        <a:pt x="424" y="768"/>
                      </a:cubicBezTo>
                      <a:cubicBezTo>
                        <a:pt x="426" y="768"/>
                        <a:pt x="428" y="768"/>
                        <a:pt x="430" y="767"/>
                      </a:cubicBezTo>
                      <a:cubicBezTo>
                        <a:pt x="430" y="770"/>
                        <a:pt x="430" y="770"/>
                        <a:pt x="430" y="770"/>
                      </a:cubicBezTo>
                      <a:cubicBezTo>
                        <a:pt x="431" y="770"/>
                        <a:pt x="431" y="770"/>
                        <a:pt x="431" y="770"/>
                      </a:cubicBezTo>
                      <a:cubicBezTo>
                        <a:pt x="431" y="767"/>
                        <a:pt x="431" y="767"/>
                        <a:pt x="431" y="767"/>
                      </a:cubicBezTo>
                      <a:cubicBezTo>
                        <a:pt x="433" y="767"/>
                        <a:pt x="435" y="767"/>
                        <a:pt x="436" y="767"/>
                      </a:cubicBezTo>
                      <a:cubicBezTo>
                        <a:pt x="437" y="770"/>
                        <a:pt x="437" y="770"/>
                        <a:pt x="437" y="770"/>
                      </a:cubicBezTo>
                      <a:cubicBezTo>
                        <a:pt x="438" y="770"/>
                        <a:pt x="438" y="770"/>
                        <a:pt x="438" y="770"/>
                      </a:cubicBezTo>
                      <a:cubicBezTo>
                        <a:pt x="437" y="767"/>
                        <a:pt x="437" y="767"/>
                        <a:pt x="437" y="767"/>
                      </a:cubicBezTo>
                      <a:cubicBezTo>
                        <a:pt x="439" y="766"/>
                        <a:pt x="441" y="766"/>
                        <a:pt x="443" y="766"/>
                      </a:cubicBezTo>
                      <a:cubicBezTo>
                        <a:pt x="443" y="769"/>
                        <a:pt x="443" y="769"/>
                        <a:pt x="443" y="769"/>
                      </a:cubicBezTo>
                      <a:cubicBezTo>
                        <a:pt x="444" y="769"/>
                        <a:pt x="444" y="769"/>
                        <a:pt x="444" y="769"/>
                      </a:cubicBezTo>
                      <a:cubicBezTo>
                        <a:pt x="444" y="766"/>
                        <a:pt x="444" y="766"/>
                        <a:pt x="444" y="766"/>
                      </a:cubicBezTo>
                      <a:cubicBezTo>
                        <a:pt x="446" y="765"/>
                        <a:pt x="448" y="765"/>
                        <a:pt x="450" y="765"/>
                      </a:cubicBezTo>
                      <a:cubicBezTo>
                        <a:pt x="450" y="768"/>
                        <a:pt x="450" y="768"/>
                        <a:pt x="450" y="768"/>
                      </a:cubicBezTo>
                      <a:cubicBezTo>
                        <a:pt x="451" y="768"/>
                        <a:pt x="451" y="768"/>
                        <a:pt x="451" y="768"/>
                      </a:cubicBezTo>
                      <a:cubicBezTo>
                        <a:pt x="450" y="765"/>
                        <a:pt x="450" y="765"/>
                        <a:pt x="450" y="765"/>
                      </a:cubicBezTo>
                      <a:cubicBezTo>
                        <a:pt x="452" y="765"/>
                        <a:pt x="454" y="764"/>
                        <a:pt x="456" y="764"/>
                      </a:cubicBezTo>
                      <a:cubicBezTo>
                        <a:pt x="456" y="769"/>
                        <a:pt x="456" y="769"/>
                        <a:pt x="456" y="769"/>
                      </a:cubicBezTo>
                      <a:cubicBezTo>
                        <a:pt x="457" y="769"/>
                        <a:pt x="457" y="769"/>
                        <a:pt x="457" y="769"/>
                      </a:cubicBezTo>
                      <a:cubicBezTo>
                        <a:pt x="458" y="777"/>
                        <a:pt x="458" y="777"/>
                        <a:pt x="458" y="777"/>
                      </a:cubicBezTo>
                      <a:cubicBezTo>
                        <a:pt x="459" y="777"/>
                        <a:pt x="459" y="777"/>
                        <a:pt x="459" y="777"/>
                      </a:cubicBezTo>
                      <a:cubicBezTo>
                        <a:pt x="458" y="769"/>
                        <a:pt x="458" y="769"/>
                        <a:pt x="458" y="769"/>
                      </a:cubicBezTo>
                      <a:cubicBezTo>
                        <a:pt x="458" y="769"/>
                        <a:pt x="458" y="769"/>
                        <a:pt x="458" y="769"/>
                      </a:cubicBezTo>
                      <a:cubicBezTo>
                        <a:pt x="457" y="764"/>
                        <a:pt x="457" y="764"/>
                        <a:pt x="457" y="764"/>
                      </a:cubicBezTo>
                      <a:cubicBezTo>
                        <a:pt x="459" y="763"/>
                        <a:pt x="461" y="763"/>
                        <a:pt x="463" y="763"/>
                      </a:cubicBezTo>
                      <a:cubicBezTo>
                        <a:pt x="463" y="766"/>
                        <a:pt x="463" y="766"/>
                        <a:pt x="463" y="766"/>
                      </a:cubicBezTo>
                      <a:cubicBezTo>
                        <a:pt x="464" y="765"/>
                        <a:pt x="464" y="765"/>
                        <a:pt x="464" y="765"/>
                      </a:cubicBezTo>
                      <a:cubicBezTo>
                        <a:pt x="463" y="763"/>
                        <a:pt x="463" y="763"/>
                        <a:pt x="463" y="763"/>
                      </a:cubicBezTo>
                      <a:cubicBezTo>
                        <a:pt x="465" y="762"/>
                        <a:pt x="467" y="762"/>
                        <a:pt x="469" y="761"/>
                      </a:cubicBezTo>
                      <a:cubicBezTo>
                        <a:pt x="470" y="764"/>
                        <a:pt x="470" y="764"/>
                        <a:pt x="470" y="764"/>
                      </a:cubicBezTo>
                      <a:cubicBezTo>
                        <a:pt x="470" y="764"/>
                        <a:pt x="470" y="764"/>
                        <a:pt x="470" y="764"/>
                      </a:cubicBezTo>
                      <a:cubicBezTo>
                        <a:pt x="470" y="761"/>
                        <a:pt x="470" y="761"/>
                        <a:pt x="470" y="761"/>
                      </a:cubicBezTo>
                      <a:cubicBezTo>
                        <a:pt x="472" y="761"/>
                        <a:pt x="474" y="760"/>
                        <a:pt x="475" y="760"/>
                      </a:cubicBezTo>
                      <a:cubicBezTo>
                        <a:pt x="476" y="763"/>
                        <a:pt x="476" y="763"/>
                        <a:pt x="476" y="763"/>
                      </a:cubicBezTo>
                      <a:cubicBezTo>
                        <a:pt x="477" y="763"/>
                        <a:pt x="477" y="763"/>
                        <a:pt x="477" y="763"/>
                      </a:cubicBezTo>
                      <a:cubicBezTo>
                        <a:pt x="476" y="760"/>
                        <a:pt x="476" y="760"/>
                        <a:pt x="476" y="760"/>
                      </a:cubicBezTo>
                      <a:cubicBezTo>
                        <a:pt x="478" y="759"/>
                        <a:pt x="480" y="759"/>
                        <a:pt x="482" y="758"/>
                      </a:cubicBezTo>
                      <a:cubicBezTo>
                        <a:pt x="483" y="761"/>
                        <a:pt x="483" y="761"/>
                        <a:pt x="483" y="761"/>
                      </a:cubicBezTo>
                      <a:cubicBezTo>
                        <a:pt x="483" y="761"/>
                        <a:pt x="483" y="761"/>
                        <a:pt x="483" y="761"/>
                      </a:cubicBezTo>
                      <a:cubicBezTo>
                        <a:pt x="483" y="758"/>
                        <a:pt x="483" y="758"/>
                        <a:pt x="483" y="758"/>
                      </a:cubicBezTo>
                      <a:cubicBezTo>
                        <a:pt x="485" y="758"/>
                        <a:pt x="486" y="757"/>
                        <a:pt x="488" y="757"/>
                      </a:cubicBezTo>
                      <a:cubicBezTo>
                        <a:pt x="489" y="760"/>
                        <a:pt x="489" y="760"/>
                        <a:pt x="489" y="760"/>
                      </a:cubicBezTo>
                      <a:cubicBezTo>
                        <a:pt x="490" y="759"/>
                        <a:pt x="490" y="759"/>
                        <a:pt x="490" y="759"/>
                      </a:cubicBezTo>
                      <a:cubicBezTo>
                        <a:pt x="489" y="757"/>
                        <a:pt x="489" y="757"/>
                        <a:pt x="489" y="757"/>
                      </a:cubicBezTo>
                      <a:cubicBezTo>
                        <a:pt x="491" y="756"/>
                        <a:pt x="493" y="756"/>
                        <a:pt x="495" y="755"/>
                      </a:cubicBezTo>
                      <a:cubicBezTo>
                        <a:pt x="495" y="758"/>
                        <a:pt x="495" y="758"/>
                        <a:pt x="495" y="758"/>
                      </a:cubicBezTo>
                      <a:cubicBezTo>
                        <a:pt x="496" y="758"/>
                        <a:pt x="496" y="758"/>
                        <a:pt x="496" y="758"/>
                      </a:cubicBezTo>
                      <a:cubicBezTo>
                        <a:pt x="495" y="755"/>
                        <a:pt x="495" y="755"/>
                        <a:pt x="495" y="755"/>
                      </a:cubicBezTo>
                      <a:cubicBezTo>
                        <a:pt x="497" y="754"/>
                        <a:pt x="499" y="754"/>
                        <a:pt x="501" y="753"/>
                      </a:cubicBezTo>
                      <a:cubicBezTo>
                        <a:pt x="502" y="756"/>
                        <a:pt x="502" y="756"/>
                        <a:pt x="502" y="756"/>
                      </a:cubicBezTo>
                      <a:cubicBezTo>
                        <a:pt x="503" y="756"/>
                        <a:pt x="503" y="756"/>
                        <a:pt x="503" y="756"/>
                      </a:cubicBezTo>
                      <a:cubicBezTo>
                        <a:pt x="502" y="753"/>
                        <a:pt x="502" y="753"/>
                        <a:pt x="502" y="753"/>
                      </a:cubicBezTo>
                      <a:cubicBezTo>
                        <a:pt x="504" y="752"/>
                        <a:pt x="505" y="752"/>
                        <a:pt x="507" y="751"/>
                      </a:cubicBezTo>
                      <a:cubicBezTo>
                        <a:pt x="508" y="754"/>
                        <a:pt x="508" y="754"/>
                        <a:pt x="508" y="754"/>
                      </a:cubicBezTo>
                      <a:cubicBezTo>
                        <a:pt x="509" y="754"/>
                        <a:pt x="509" y="754"/>
                        <a:pt x="509" y="754"/>
                      </a:cubicBezTo>
                      <a:cubicBezTo>
                        <a:pt x="508" y="751"/>
                        <a:pt x="508" y="751"/>
                        <a:pt x="508" y="751"/>
                      </a:cubicBezTo>
                      <a:cubicBezTo>
                        <a:pt x="510" y="750"/>
                        <a:pt x="512" y="750"/>
                        <a:pt x="514" y="749"/>
                      </a:cubicBezTo>
                      <a:cubicBezTo>
                        <a:pt x="514" y="752"/>
                        <a:pt x="514" y="752"/>
                        <a:pt x="514" y="752"/>
                      </a:cubicBezTo>
                      <a:cubicBezTo>
                        <a:pt x="515" y="752"/>
                        <a:pt x="515" y="752"/>
                        <a:pt x="515" y="752"/>
                      </a:cubicBezTo>
                      <a:cubicBezTo>
                        <a:pt x="514" y="749"/>
                        <a:pt x="514" y="749"/>
                        <a:pt x="514" y="749"/>
                      </a:cubicBezTo>
                      <a:cubicBezTo>
                        <a:pt x="516" y="748"/>
                        <a:pt x="518" y="748"/>
                        <a:pt x="519" y="747"/>
                      </a:cubicBezTo>
                      <a:cubicBezTo>
                        <a:pt x="521" y="752"/>
                        <a:pt x="521" y="752"/>
                        <a:pt x="521" y="752"/>
                      </a:cubicBezTo>
                      <a:cubicBezTo>
                        <a:pt x="522" y="752"/>
                        <a:pt x="522" y="752"/>
                        <a:pt x="522" y="752"/>
                      </a:cubicBezTo>
                      <a:cubicBezTo>
                        <a:pt x="524" y="759"/>
                        <a:pt x="524" y="759"/>
                        <a:pt x="524" y="759"/>
                      </a:cubicBezTo>
                      <a:cubicBezTo>
                        <a:pt x="525" y="759"/>
                        <a:pt x="525" y="759"/>
                        <a:pt x="525" y="759"/>
                      </a:cubicBezTo>
                      <a:cubicBezTo>
                        <a:pt x="522" y="752"/>
                        <a:pt x="522" y="752"/>
                        <a:pt x="522" y="752"/>
                      </a:cubicBezTo>
                      <a:cubicBezTo>
                        <a:pt x="523" y="752"/>
                        <a:pt x="523" y="752"/>
                        <a:pt x="523" y="752"/>
                      </a:cubicBezTo>
                      <a:cubicBezTo>
                        <a:pt x="521" y="746"/>
                        <a:pt x="521" y="746"/>
                        <a:pt x="521" y="746"/>
                      </a:cubicBezTo>
                      <a:cubicBezTo>
                        <a:pt x="523" y="746"/>
                        <a:pt x="524" y="745"/>
                        <a:pt x="526" y="745"/>
                      </a:cubicBezTo>
                      <a:cubicBezTo>
                        <a:pt x="527" y="747"/>
                        <a:pt x="527" y="747"/>
                        <a:pt x="527" y="747"/>
                      </a:cubicBezTo>
                      <a:cubicBezTo>
                        <a:pt x="528" y="747"/>
                        <a:pt x="528" y="747"/>
                        <a:pt x="528" y="747"/>
                      </a:cubicBezTo>
                      <a:cubicBezTo>
                        <a:pt x="527" y="744"/>
                        <a:pt x="527" y="744"/>
                        <a:pt x="527" y="744"/>
                      </a:cubicBezTo>
                      <a:cubicBezTo>
                        <a:pt x="528" y="744"/>
                        <a:pt x="530" y="743"/>
                        <a:pt x="532" y="742"/>
                      </a:cubicBezTo>
                      <a:cubicBezTo>
                        <a:pt x="533" y="745"/>
                        <a:pt x="533" y="745"/>
                        <a:pt x="533" y="745"/>
                      </a:cubicBezTo>
                      <a:cubicBezTo>
                        <a:pt x="534" y="745"/>
                        <a:pt x="534" y="745"/>
                        <a:pt x="534" y="745"/>
                      </a:cubicBezTo>
                      <a:cubicBezTo>
                        <a:pt x="533" y="742"/>
                        <a:pt x="533" y="742"/>
                        <a:pt x="533" y="742"/>
                      </a:cubicBezTo>
                      <a:cubicBezTo>
                        <a:pt x="535" y="741"/>
                        <a:pt x="536" y="740"/>
                        <a:pt x="538" y="740"/>
                      </a:cubicBezTo>
                      <a:cubicBezTo>
                        <a:pt x="539" y="742"/>
                        <a:pt x="539" y="742"/>
                        <a:pt x="539" y="742"/>
                      </a:cubicBezTo>
                      <a:cubicBezTo>
                        <a:pt x="540" y="742"/>
                        <a:pt x="540" y="742"/>
                        <a:pt x="540" y="742"/>
                      </a:cubicBezTo>
                      <a:cubicBezTo>
                        <a:pt x="539" y="739"/>
                        <a:pt x="539" y="739"/>
                        <a:pt x="539" y="739"/>
                      </a:cubicBezTo>
                      <a:cubicBezTo>
                        <a:pt x="541" y="739"/>
                        <a:pt x="542" y="738"/>
                        <a:pt x="544" y="737"/>
                      </a:cubicBezTo>
                      <a:cubicBezTo>
                        <a:pt x="545" y="740"/>
                        <a:pt x="545" y="740"/>
                        <a:pt x="545" y="740"/>
                      </a:cubicBezTo>
                      <a:cubicBezTo>
                        <a:pt x="546" y="739"/>
                        <a:pt x="546" y="739"/>
                        <a:pt x="546" y="739"/>
                      </a:cubicBezTo>
                      <a:cubicBezTo>
                        <a:pt x="545" y="737"/>
                        <a:pt x="545" y="737"/>
                        <a:pt x="545" y="737"/>
                      </a:cubicBezTo>
                      <a:cubicBezTo>
                        <a:pt x="547" y="736"/>
                        <a:pt x="548" y="735"/>
                        <a:pt x="550" y="734"/>
                      </a:cubicBezTo>
                      <a:cubicBezTo>
                        <a:pt x="551" y="737"/>
                        <a:pt x="551" y="737"/>
                        <a:pt x="551" y="737"/>
                      </a:cubicBezTo>
                      <a:cubicBezTo>
                        <a:pt x="552" y="737"/>
                        <a:pt x="552" y="737"/>
                        <a:pt x="552" y="737"/>
                      </a:cubicBezTo>
                      <a:cubicBezTo>
                        <a:pt x="551" y="734"/>
                        <a:pt x="551" y="734"/>
                        <a:pt x="551" y="734"/>
                      </a:cubicBezTo>
                      <a:cubicBezTo>
                        <a:pt x="553" y="733"/>
                        <a:pt x="554" y="732"/>
                        <a:pt x="556" y="731"/>
                      </a:cubicBezTo>
                      <a:cubicBezTo>
                        <a:pt x="557" y="734"/>
                        <a:pt x="557" y="734"/>
                        <a:pt x="557" y="734"/>
                      </a:cubicBezTo>
                      <a:cubicBezTo>
                        <a:pt x="558" y="734"/>
                        <a:pt x="558" y="734"/>
                        <a:pt x="558" y="734"/>
                      </a:cubicBezTo>
                      <a:cubicBezTo>
                        <a:pt x="557" y="731"/>
                        <a:pt x="557" y="731"/>
                        <a:pt x="557" y="731"/>
                      </a:cubicBezTo>
                      <a:cubicBezTo>
                        <a:pt x="559" y="730"/>
                        <a:pt x="560" y="729"/>
                        <a:pt x="562" y="729"/>
                      </a:cubicBezTo>
                      <a:cubicBezTo>
                        <a:pt x="563" y="731"/>
                        <a:pt x="563" y="731"/>
                        <a:pt x="563" y="731"/>
                      </a:cubicBezTo>
                      <a:cubicBezTo>
                        <a:pt x="564" y="731"/>
                        <a:pt x="564" y="731"/>
                        <a:pt x="564" y="731"/>
                      </a:cubicBezTo>
                      <a:cubicBezTo>
                        <a:pt x="563" y="728"/>
                        <a:pt x="563" y="728"/>
                        <a:pt x="563" y="728"/>
                      </a:cubicBezTo>
                      <a:cubicBezTo>
                        <a:pt x="564" y="727"/>
                        <a:pt x="566" y="726"/>
                        <a:pt x="568" y="726"/>
                      </a:cubicBezTo>
                      <a:cubicBezTo>
                        <a:pt x="569" y="728"/>
                        <a:pt x="569" y="728"/>
                        <a:pt x="569" y="728"/>
                      </a:cubicBezTo>
                      <a:cubicBezTo>
                        <a:pt x="570" y="728"/>
                        <a:pt x="570" y="728"/>
                        <a:pt x="570" y="728"/>
                      </a:cubicBezTo>
                      <a:cubicBezTo>
                        <a:pt x="569" y="725"/>
                        <a:pt x="569" y="725"/>
                        <a:pt x="569" y="725"/>
                      </a:cubicBezTo>
                      <a:cubicBezTo>
                        <a:pt x="570" y="724"/>
                        <a:pt x="572" y="723"/>
                        <a:pt x="574" y="722"/>
                      </a:cubicBezTo>
                      <a:cubicBezTo>
                        <a:pt x="575" y="725"/>
                        <a:pt x="575" y="725"/>
                        <a:pt x="575" y="725"/>
                      </a:cubicBezTo>
                      <a:cubicBezTo>
                        <a:pt x="576" y="724"/>
                        <a:pt x="576" y="724"/>
                        <a:pt x="576" y="724"/>
                      </a:cubicBezTo>
                      <a:cubicBezTo>
                        <a:pt x="574" y="722"/>
                        <a:pt x="574" y="722"/>
                        <a:pt x="574" y="722"/>
                      </a:cubicBezTo>
                      <a:cubicBezTo>
                        <a:pt x="576" y="721"/>
                        <a:pt x="577" y="720"/>
                        <a:pt x="579" y="719"/>
                      </a:cubicBezTo>
                      <a:cubicBezTo>
                        <a:pt x="582" y="724"/>
                        <a:pt x="582" y="724"/>
                        <a:pt x="582" y="724"/>
                      </a:cubicBezTo>
                      <a:cubicBezTo>
                        <a:pt x="582" y="724"/>
                        <a:pt x="582" y="724"/>
                        <a:pt x="582" y="724"/>
                      </a:cubicBezTo>
                      <a:cubicBezTo>
                        <a:pt x="586" y="730"/>
                        <a:pt x="586" y="730"/>
                        <a:pt x="586" y="730"/>
                      </a:cubicBezTo>
                      <a:cubicBezTo>
                        <a:pt x="587" y="730"/>
                        <a:pt x="587" y="730"/>
                        <a:pt x="587" y="730"/>
                      </a:cubicBezTo>
                      <a:cubicBezTo>
                        <a:pt x="583" y="723"/>
                        <a:pt x="583" y="723"/>
                        <a:pt x="583" y="723"/>
                      </a:cubicBezTo>
                      <a:cubicBezTo>
                        <a:pt x="583" y="723"/>
                        <a:pt x="583" y="723"/>
                        <a:pt x="583" y="723"/>
                      </a:cubicBezTo>
                      <a:cubicBezTo>
                        <a:pt x="581" y="718"/>
                        <a:pt x="581" y="718"/>
                        <a:pt x="581" y="718"/>
                      </a:cubicBezTo>
                      <a:cubicBezTo>
                        <a:pt x="582" y="718"/>
                        <a:pt x="584" y="717"/>
                        <a:pt x="585" y="716"/>
                      </a:cubicBezTo>
                      <a:cubicBezTo>
                        <a:pt x="587" y="718"/>
                        <a:pt x="587" y="718"/>
                        <a:pt x="587" y="718"/>
                      </a:cubicBezTo>
                      <a:cubicBezTo>
                        <a:pt x="587" y="718"/>
                        <a:pt x="587" y="718"/>
                        <a:pt x="587" y="718"/>
                      </a:cubicBezTo>
                      <a:cubicBezTo>
                        <a:pt x="586" y="715"/>
                        <a:pt x="586" y="715"/>
                        <a:pt x="586" y="715"/>
                      </a:cubicBezTo>
                      <a:cubicBezTo>
                        <a:pt x="587" y="714"/>
                        <a:pt x="589" y="713"/>
                        <a:pt x="591" y="712"/>
                      </a:cubicBezTo>
                      <a:cubicBezTo>
                        <a:pt x="592" y="715"/>
                        <a:pt x="592" y="715"/>
                        <a:pt x="592" y="715"/>
                      </a:cubicBezTo>
                      <a:cubicBezTo>
                        <a:pt x="593" y="714"/>
                        <a:pt x="593" y="714"/>
                        <a:pt x="593" y="714"/>
                      </a:cubicBezTo>
                      <a:cubicBezTo>
                        <a:pt x="591" y="712"/>
                        <a:pt x="591" y="712"/>
                        <a:pt x="591" y="712"/>
                      </a:cubicBezTo>
                      <a:cubicBezTo>
                        <a:pt x="593" y="711"/>
                        <a:pt x="595" y="710"/>
                        <a:pt x="596" y="709"/>
                      </a:cubicBezTo>
                      <a:cubicBezTo>
                        <a:pt x="598" y="711"/>
                        <a:pt x="598" y="711"/>
                        <a:pt x="598" y="711"/>
                      </a:cubicBezTo>
                      <a:cubicBezTo>
                        <a:pt x="599" y="711"/>
                        <a:pt x="599" y="711"/>
                        <a:pt x="599" y="711"/>
                      </a:cubicBezTo>
                      <a:cubicBezTo>
                        <a:pt x="597" y="708"/>
                        <a:pt x="597" y="708"/>
                        <a:pt x="597" y="708"/>
                      </a:cubicBezTo>
                      <a:cubicBezTo>
                        <a:pt x="599" y="707"/>
                        <a:pt x="600" y="706"/>
                        <a:pt x="602" y="705"/>
                      </a:cubicBezTo>
                      <a:cubicBezTo>
                        <a:pt x="603" y="708"/>
                        <a:pt x="603" y="708"/>
                        <a:pt x="603" y="708"/>
                      </a:cubicBezTo>
                      <a:cubicBezTo>
                        <a:pt x="604" y="707"/>
                        <a:pt x="604" y="707"/>
                        <a:pt x="604" y="707"/>
                      </a:cubicBezTo>
                      <a:cubicBezTo>
                        <a:pt x="602" y="705"/>
                        <a:pt x="602" y="705"/>
                        <a:pt x="602" y="705"/>
                      </a:cubicBezTo>
                      <a:cubicBezTo>
                        <a:pt x="604" y="704"/>
                        <a:pt x="606" y="702"/>
                        <a:pt x="607" y="701"/>
                      </a:cubicBezTo>
                      <a:cubicBezTo>
                        <a:pt x="609" y="704"/>
                        <a:pt x="609" y="704"/>
                        <a:pt x="609" y="704"/>
                      </a:cubicBezTo>
                      <a:cubicBezTo>
                        <a:pt x="610" y="703"/>
                        <a:pt x="610" y="703"/>
                        <a:pt x="610" y="703"/>
                      </a:cubicBezTo>
                      <a:cubicBezTo>
                        <a:pt x="608" y="701"/>
                        <a:pt x="608" y="701"/>
                        <a:pt x="608" y="701"/>
                      </a:cubicBezTo>
                      <a:cubicBezTo>
                        <a:pt x="609" y="700"/>
                        <a:pt x="611" y="699"/>
                        <a:pt x="613" y="697"/>
                      </a:cubicBezTo>
                      <a:cubicBezTo>
                        <a:pt x="614" y="700"/>
                        <a:pt x="614" y="700"/>
                        <a:pt x="614" y="700"/>
                      </a:cubicBezTo>
                      <a:cubicBezTo>
                        <a:pt x="615" y="699"/>
                        <a:pt x="615" y="699"/>
                        <a:pt x="615" y="699"/>
                      </a:cubicBezTo>
                      <a:cubicBezTo>
                        <a:pt x="613" y="697"/>
                        <a:pt x="613" y="697"/>
                        <a:pt x="613" y="697"/>
                      </a:cubicBezTo>
                      <a:cubicBezTo>
                        <a:pt x="615" y="696"/>
                        <a:pt x="616" y="695"/>
                        <a:pt x="618" y="694"/>
                      </a:cubicBezTo>
                      <a:cubicBezTo>
                        <a:pt x="620" y="696"/>
                        <a:pt x="620" y="696"/>
                        <a:pt x="620" y="696"/>
                      </a:cubicBezTo>
                      <a:cubicBezTo>
                        <a:pt x="620" y="695"/>
                        <a:pt x="620" y="695"/>
                        <a:pt x="620" y="695"/>
                      </a:cubicBezTo>
                      <a:cubicBezTo>
                        <a:pt x="619" y="693"/>
                        <a:pt x="619" y="693"/>
                        <a:pt x="619" y="693"/>
                      </a:cubicBezTo>
                      <a:cubicBezTo>
                        <a:pt x="620" y="692"/>
                        <a:pt x="622" y="691"/>
                        <a:pt x="623" y="690"/>
                      </a:cubicBezTo>
                      <a:cubicBezTo>
                        <a:pt x="625" y="692"/>
                        <a:pt x="625" y="692"/>
                        <a:pt x="625" y="692"/>
                      </a:cubicBezTo>
                      <a:cubicBezTo>
                        <a:pt x="626" y="691"/>
                        <a:pt x="626" y="691"/>
                        <a:pt x="626" y="691"/>
                      </a:cubicBezTo>
                      <a:cubicBezTo>
                        <a:pt x="624" y="689"/>
                        <a:pt x="624" y="689"/>
                        <a:pt x="624" y="689"/>
                      </a:cubicBezTo>
                      <a:cubicBezTo>
                        <a:pt x="625" y="688"/>
                        <a:pt x="627" y="687"/>
                        <a:pt x="628" y="685"/>
                      </a:cubicBezTo>
                      <a:cubicBezTo>
                        <a:pt x="630" y="688"/>
                        <a:pt x="630" y="688"/>
                        <a:pt x="630" y="688"/>
                      </a:cubicBezTo>
                      <a:cubicBezTo>
                        <a:pt x="631" y="687"/>
                        <a:pt x="631" y="687"/>
                        <a:pt x="631" y="687"/>
                      </a:cubicBezTo>
                      <a:cubicBezTo>
                        <a:pt x="629" y="685"/>
                        <a:pt x="629" y="685"/>
                        <a:pt x="629" y="685"/>
                      </a:cubicBezTo>
                      <a:cubicBezTo>
                        <a:pt x="630" y="684"/>
                        <a:pt x="632" y="683"/>
                        <a:pt x="633" y="682"/>
                      </a:cubicBezTo>
                      <a:cubicBezTo>
                        <a:pt x="637" y="686"/>
                        <a:pt x="637" y="686"/>
                        <a:pt x="637" y="686"/>
                      </a:cubicBezTo>
                      <a:cubicBezTo>
                        <a:pt x="637" y="685"/>
                        <a:pt x="637" y="685"/>
                        <a:pt x="637" y="685"/>
                      </a:cubicBezTo>
                      <a:cubicBezTo>
                        <a:pt x="642" y="691"/>
                        <a:pt x="642" y="691"/>
                        <a:pt x="642" y="691"/>
                      </a:cubicBezTo>
                      <a:cubicBezTo>
                        <a:pt x="642" y="691"/>
                        <a:pt x="642" y="691"/>
                        <a:pt x="642" y="691"/>
                      </a:cubicBezTo>
                      <a:cubicBezTo>
                        <a:pt x="637" y="685"/>
                        <a:pt x="637" y="685"/>
                        <a:pt x="637" y="685"/>
                      </a:cubicBezTo>
                      <a:cubicBezTo>
                        <a:pt x="638" y="685"/>
                        <a:pt x="638" y="685"/>
                        <a:pt x="638" y="685"/>
                      </a:cubicBezTo>
                      <a:cubicBezTo>
                        <a:pt x="634" y="680"/>
                        <a:pt x="634" y="680"/>
                        <a:pt x="634" y="680"/>
                      </a:cubicBezTo>
                      <a:cubicBezTo>
                        <a:pt x="636" y="679"/>
                        <a:pt x="637" y="678"/>
                        <a:pt x="638" y="677"/>
                      </a:cubicBezTo>
                      <a:cubicBezTo>
                        <a:pt x="640" y="679"/>
                        <a:pt x="640" y="679"/>
                        <a:pt x="640" y="679"/>
                      </a:cubicBezTo>
                      <a:cubicBezTo>
                        <a:pt x="641" y="679"/>
                        <a:pt x="641" y="679"/>
                        <a:pt x="641" y="679"/>
                      </a:cubicBezTo>
                      <a:cubicBezTo>
                        <a:pt x="639" y="676"/>
                        <a:pt x="639" y="676"/>
                        <a:pt x="639" y="676"/>
                      </a:cubicBezTo>
                      <a:cubicBezTo>
                        <a:pt x="640" y="675"/>
                        <a:pt x="642" y="674"/>
                        <a:pt x="643" y="673"/>
                      </a:cubicBezTo>
                      <a:cubicBezTo>
                        <a:pt x="645" y="675"/>
                        <a:pt x="645" y="675"/>
                        <a:pt x="645" y="675"/>
                      </a:cubicBezTo>
                      <a:cubicBezTo>
                        <a:pt x="646" y="674"/>
                        <a:pt x="646" y="674"/>
                        <a:pt x="646" y="674"/>
                      </a:cubicBezTo>
                      <a:cubicBezTo>
                        <a:pt x="644" y="672"/>
                        <a:pt x="644" y="672"/>
                        <a:pt x="644" y="672"/>
                      </a:cubicBezTo>
                      <a:cubicBezTo>
                        <a:pt x="645" y="671"/>
                        <a:pt x="647" y="669"/>
                        <a:pt x="648" y="668"/>
                      </a:cubicBezTo>
                      <a:cubicBezTo>
                        <a:pt x="650" y="670"/>
                        <a:pt x="650" y="670"/>
                        <a:pt x="650" y="670"/>
                      </a:cubicBezTo>
                      <a:cubicBezTo>
                        <a:pt x="651" y="670"/>
                        <a:pt x="651" y="670"/>
                        <a:pt x="651" y="670"/>
                      </a:cubicBezTo>
                      <a:cubicBezTo>
                        <a:pt x="649" y="668"/>
                        <a:pt x="649" y="668"/>
                        <a:pt x="649" y="668"/>
                      </a:cubicBezTo>
                      <a:cubicBezTo>
                        <a:pt x="650" y="666"/>
                        <a:pt x="652" y="665"/>
                        <a:pt x="653" y="664"/>
                      </a:cubicBezTo>
                      <a:cubicBezTo>
                        <a:pt x="655" y="666"/>
                        <a:pt x="655" y="666"/>
                        <a:pt x="655" y="666"/>
                      </a:cubicBezTo>
                      <a:cubicBezTo>
                        <a:pt x="656" y="665"/>
                        <a:pt x="656" y="665"/>
                        <a:pt x="656" y="665"/>
                      </a:cubicBezTo>
                      <a:cubicBezTo>
                        <a:pt x="654" y="663"/>
                        <a:pt x="654" y="663"/>
                        <a:pt x="654" y="663"/>
                      </a:cubicBezTo>
                      <a:cubicBezTo>
                        <a:pt x="655" y="662"/>
                        <a:pt x="656" y="660"/>
                        <a:pt x="658" y="659"/>
                      </a:cubicBezTo>
                      <a:cubicBezTo>
                        <a:pt x="660" y="661"/>
                        <a:pt x="660" y="661"/>
                        <a:pt x="660" y="661"/>
                      </a:cubicBezTo>
                      <a:cubicBezTo>
                        <a:pt x="660" y="661"/>
                        <a:pt x="660" y="661"/>
                        <a:pt x="660" y="661"/>
                      </a:cubicBezTo>
                      <a:cubicBezTo>
                        <a:pt x="658" y="658"/>
                        <a:pt x="658" y="658"/>
                        <a:pt x="658" y="658"/>
                      </a:cubicBezTo>
                      <a:cubicBezTo>
                        <a:pt x="660" y="657"/>
                        <a:pt x="661" y="656"/>
                        <a:pt x="662" y="654"/>
                      </a:cubicBezTo>
                      <a:cubicBezTo>
                        <a:pt x="664" y="656"/>
                        <a:pt x="664" y="656"/>
                        <a:pt x="664" y="656"/>
                      </a:cubicBezTo>
                      <a:cubicBezTo>
                        <a:pt x="665" y="656"/>
                        <a:pt x="665" y="656"/>
                        <a:pt x="665" y="656"/>
                      </a:cubicBezTo>
                      <a:cubicBezTo>
                        <a:pt x="663" y="654"/>
                        <a:pt x="663" y="654"/>
                        <a:pt x="663" y="654"/>
                      </a:cubicBezTo>
                      <a:cubicBezTo>
                        <a:pt x="664" y="652"/>
                        <a:pt x="666" y="651"/>
                        <a:pt x="667" y="649"/>
                      </a:cubicBezTo>
                      <a:cubicBezTo>
                        <a:pt x="669" y="651"/>
                        <a:pt x="669" y="651"/>
                        <a:pt x="669" y="651"/>
                      </a:cubicBezTo>
                      <a:cubicBezTo>
                        <a:pt x="670" y="651"/>
                        <a:pt x="670" y="651"/>
                        <a:pt x="670" y="651"/>
                      </a:cubicBezTo>
                      <a:cubicBezTo>
                        <a:pt x="667" y="649"/>
                        <a:pt x="667" y="649"/>
                        <a:pt x="667" y="649"/>
                      </a:cubicBezTo>
                      <a:cubicBezTo>
                        <a:pt x="669" y="647"/>
                        <a:pt x="670" y="646"/>
                        <a:pt x="671" y="645"/>
                      </a:cubicBezTo>
                      <a:cubicBezTo>
                        <a:pt x="674" y="647"/>
                        <a:pt x="674" y="647"/>
                        <a:pt x="674" y="647"/>
                      </a:cubicBezTo>
                      <a:cubicBezTo>
                        <a:pt x="674" y="646"/>
                        <a:pt x="674" y="646"/>
                        <a:pt x="674" y="646"/>
                      </a:cubicBezTo>
                      <a:cubicBezTo>
                        <a:pt x="672" y="644"/>
                        <a:pt x="672" y="644"/>
                        <a:pt x="672" y="644"/>
                      </a:cubicBezTo>
                      <a:cubicBezTo>
                        <a:pt x="673" y="643"/>
                        <a:pt x="674" y="641"/>
                        <a:pt x="676" y="640"/>
                      </a:cubicBezTo>
                      <a:cubicBezTo>
                        <a:pt x="678" y="642"/>
                        <a:pt x="678" y="642"/>
                        <a:pt x="678" y="642"/>
                      </a:cubicBezTo>
                      <a:cubicBezTo>
                        <a:pt x="678" y="641"/>
                        <a:pt x="678" y="641"/>
                        <a:pt x="678" y="641"/>
                      </a:cubicBezTo>
                      <a:cubicBezTo>
                        <a:pt x="676" y="639"/>
                        <a:pt x="676" y="639"/>
                        <a:pt x="676" y="639"/>
                      </a:cubicBezTo>
                      <a:cubicBezTo>
                        <a:pt x="677" y="638"/>
                        <a:pt x="679" y="636"/>
                        <a:pt x="680" y="635"/>
                      </a:cubicBezTo>
                      <a:cubicBezTo>
                        <a:pt x="684" y="639"/>
                        <a:pt x="684" y="639"/>
                        <a:pt x="684" y="639"/>
                      </a:cubicBezTo>
                      <a:cubicBezTo>
                        <a:pt x="684" y="638"/>
                        <a:pt x="684" y="638"/>
                        <a:pt x="684" y="638"/>
                      </a:cubicBezTo>
                      <a:cubicBezTo>
                        <a:pt x="690" y="643"/>
                        <a:pt x="690" y="643"/>
                        <a:pt x="690" y="643"/>
                      </a:cubicBezTo>
                      <a:cubicBezTo>
                        <a:pt x="691" y="643"/>
                        <a:pt x="691" y="643"/>
                        <a:pt x="691" y="643"/>
                      </a:cubicBezTo>
                      <a:cubicBezTo>
                        <a:pt x="685" y="638"/>
                        <a:pt x="685" y="638"/>
                        <a:pt x="685" y="638"/>
                      </a:cubicBezTo>
                      <a:cubicBezTo>
                        <a:pt x="685" y="637"/>
                        <a:pt x="685" y="637"/>
                        <a:pt x="685" y="637"/>
                      </a:cubicBezTo>
                      <a:cubicBezTo>
                        <a:pt x="681" y="634"/>
                        <a:pt x="681" y="634"/>
                        <a:pt x="681" y="634"/>
                      </a:cubicBezTo>
                      <a:cubicBezTo>
                        <a:pt x="682" y="632"/>
                        <a:pt x="683" y="631"/>
                        <a:pt x="684" y="630"/>
                      </a:cubicBezTo>
                      <a:cubicBezTo>
                        <a:pt x="687" y="631"/>
                        <a:pt x="687" y="631"/>
                        <a:pt x="687" y="631"/>
                      </a:cubicBezTo>
                      <a:cubicBezTo>
                        <a:pt x="687" y="631"/>
                        <a:pt x="687" y="631"/>
                        <a:pt x="687" y="631"/>
                      </a:cubicBezTo>
                      <a:cubicBezTo>
                        <a:pt x="685" y="629"/>
                        <a:pt x="685" y="629"/>
                        <a:pt x="685" y="629"/>
                      </a:cubicBezTo>
                      <a:cubicBezTo>
                        <a:pt x="686" y="627"/>
                        <a:pt x="687" y="626"/>
                        <a:pt x="688" y="624"/>
                      </a:cubicBezTo>
                      <a:cubicBezTo>
                        <a:pt x="691" y="626"/>
                        <a:pt x="691" y="626"/>
                        <a:pt x="691" y="626"/>
                      </a:cubicBezTo>
                      <a:cubicBezTo>
                        <a:pt x="691" y="626"/>
                        <a:pt x="691" y="626"/>
                        <a:pt x="691" y="626"/>
                      </a:cubicBezTo>
                      <a:cubicBezTo>
                        <a:pt x="689" y="624"/>
                        <a:pt x="689" y="624"/>
                        <a:pt x="689" y="624"/>
                      </a:cubicBezTo>
                      <a:cubicBezTo>
                        <a:pt x="690" y="622"/>
                        <a:pt x="691" y="621"/>
                        <a:pt x="692" y="619"/>
                      </a:cubicBezTo>
                      <a:cubicBezTo>
                        <a:pt x="695" y="621"/>
                        <a:pt x="695" y="621"/>
                        <a:pt x="695" y="621"/>
                      </a:cubicBezTo>
                      <a:cubicBezTo>
                        <a:pt x="695" y="620"/>
                        <a:pt x="695" y="620"/>
                        <a:pt x="695" y="620"/>
                      </a:cubicBezTo>
                      <a:cubicBezTo>
                        <a:pt x="693" y="619"/>
                        <a:pt x="693" y="619"/>
                        <a:pt x="693" y="619"/>
                      </a:cubicBezTo>
                      <a:cubicBezTo>
                        <a:pt x="694" y="617"/>
                        <a:pt x="695" y="615"/>
                        <a:pt x="696" y="614"/>
                      </a:cubicBezTo>
                      <a:cubicBezTo>
                        <a:pt x="699" y="616"/>
                        <a:pt x="699" y="616"/>
                        <a:pt x="699" y="616"/>
                      </a:cubicBezTo>
                      <a:cubicBezTo>
                        <a:pt x="699" y="615"/>
                        <a:pt x="699" y="615"/>
                        <a:pt x="699" y="615"/>
                      </a:cubicBezTo>
                      <a:cubicBezTo>
                        <a:pt x="697" y="613"/>
                        <a:pt x="697" y="613"/>
                        <a:pt x="697" y="613"/>
                      </a:cubicBezTo>
                      <a:cubicBezTo>
                        <a:pt x="698" y="612"/>
                        <a:pt x="699" y="610"/>
                        <a:pt x="700" y="609"/>
                      </a:cubicBezTo>
                      <a:cubicBezTo>
                        <a:pt x="703" y="610"/>
                        <a:pt x="703" y="610"/>
                        <a:pt x="703" y="610"/>
                      </a:cubicBezTo>
                      <a:cubicBezTo>
                        <a:pt x="703" y="610"/>
                        <a:pt x="703" y="610"/>
                        <a:pt x="703" y="610"/>
                      </a:cubicBezTo>
                      <a:cubicBezTo>
                        <a:pt x="701" y="608"/>
                        <a:pt x="701" y="608"/>
                        <a:pt x="701" y="608"/>
                      </a:cubicBezTo>
                      <a:cubicBezTo>
                        <a:pt x="702" y="606"/>
                        <a:pt x="703" y="605"/>
                        <a:pt x="704" y="603"/>
                      </a:cubicBezTo>
                      <a:cubicBezTo>
                        <a:pt x="706" y="605"/>
                        <a:pt x="706" y="605"/>
                        <a:pt x="706" y="605"/>
                      </a:cubicBezTo>
                      <a:cubicBezTo>
                        <a:pt x="707" y="604"/>
                        <a:pt x="707" y="604"/>
                        <a:pt x="707" y="604"/>
                      </a:cubicBezTo>
                      <a:cubicBezTo>
                        <a:pt x="704" y="602"/>
                        <a:pt x="704" y="602"/>
                        <a:pt x="704" y="602"/>
                      </a:cubicBezTo>
                      <a:cubicBezTo>
                        <a:pt x="705" y="601"/>
                        <a:pt x="706" y="599"/>
                        <a:pt x="708" y="598"/>
                      </a:cubicBezTo>
                      <a:cubicBezTo>
                        <a:pt x="710" y="599"/>
                        <a:pt x="710" y="599"/>
                        <a:pt x="710" y="599"/>
                      </a:cubicBezTo>
                      <a:cubicBezTo>
                        <a:pt x="710" y="599"/>
                        <a:pt x="710" y="599"/>
                        <a:pt x="710" y="599"/>
                      </a:cubicBezTo>
                      <a:cubicBezTo>
                        <a:pt x="708" y="597"/>
                        <a:pt x="708" y="597"/>
                        <a:pt x="708" y="597"/>
                      </a:cubicBezTo>
                      <a:cubicBezTo>
                        <a:pt x="709" y="595"/>
                        <a:pt x="710" y="594"/>
                        <a:pt x="711" y="592"/>
                      </a:cubicBezTo>
                      <a:cubicBezTo>
                        <a:pt x="714" y="594"/>
                        <a:pt x="714" y="594"/>
                        <a:pt x="714" y="594"/>
                      </a:cubicBezTo>
                      <a:cubicBezTo>
                        <a:pt x="714" y="593"/>
                        <a:pt x="714" y="593"/>
                        <a:pt x="714" y="593"/>
                      </a:cubicBezTo>
                      <a:cubicBezTo>
                        <a:pt x="712" y="591"/>
                        <a:pt x="712" y="591"/>
                        <a:pt x="712" y="591"/>
                      </a:cubicBezTo>
                      <a:cubicBezTo>
                        <a:pt x="713" y="590"/>
                        <a:pt x="714" y="588"/>
                        <a:pt x="715" y="586"/>
                      </a:cubicBezTo>
                      <a:cubicBezTo>
                        <a:pt x="717" y="588"/>
                        <a:pt x="717" y="588"/>
                        <a:pt x="717" y="588"/>
                      </a:cubicBezTo>
                      <a:cubicBezTo>
                        <a:pt x="717" y="587"/>
                        <a:pt x="717" y="587"/>
                        <a:pt x="717" y="587"/>
                      </a:cubicBezTo>
                      <a:cubicBezTo>
                        <a:pt x="715" y="586"/>
                        <a:pt x="715" y="586"/>
                        <a:pt x="715" y="586"/>
                      </a:cubicBezTo>
                      <a:cubicBezTo>
                        <a:pt x="716" y="584"/>
                        <a:pt x="717" y="583"/>
                        <a:pt x="718" y="581"/>
                      </a:cubicBezTo>
                      <a:cubicBezTo>
                        <a:pt x="722" y="584"/>
                        <a:pt x="722" y="584"/>
                        <a:pt x="722" y="584"/>
                      </a:cubicBezTo>
                      <a:cubicBezTo>
                        <a:pt x="723" y="583"/>
                        <a:pt x="723" y="583"/>
                        <a:pt x="723" y="583"/>
                      </a:cubicBezTo>
                      <a:cubicBezTo>
                        <a:pt x="729" y="587"/>
                        <a:pt x="729" y="587"/>
                        <a:pt x="729" y="587"/>
                      </a:cubicBezTo>
                      <a:cubicBezTo>
                        <a:pt x="730" y="587"/>
                        <a:pt x="730" y="587"/>
                        <a:pt x="730" y="587"/>
                      </a:cubicBezTo>
                      <a:cubicBezTo>
                        <a:pt x="723" y="583"/>
                        <a:pt x="723" y="583"/>
                        <a:pt x="723" y="583"/>
                      </a:cubicBezTo>
                      <a:cubicBezTo>
                        <a:pt x="723" y="582"/>
                        <a:pt x="723" y="582"/>
                        <a:pt x="723" y="582"/>
                      </a:cubicBezTo>
                      <a:cubicBezTo>
                        <a:pt x="719" y="580"/>
                        <a:pt x="719" y="580"/>
                        <a:pt x="719" y="580"/>
                      </a:cubicBezTo>
                      <a:cubicBezTo>
                        <a:pt x="719" y="578"/>
                        <a:pt x="720" y="577"/>
                        <a:pt x="721" y="575"/>
                      </a:cubicBezTo>
                      <a:cubicBezTo>
                        <a:pt x="724" y="576"/>
                        <a:pt x="724" y="576"/>
                        <a:pt x="724" y="576"/>
                      </a:cubicBezTo>
                      <a:cubicBezTo>
                        <a:pt x="724" y="576"/>
                        <a:pt x="724" y="576"/>
                        <a:pt x="724" y="576"/>
                      </a:cubicBezTo>
                      <a:cubicBezTo>
                        <a:pt x="722" y="574"/>
                        <a:pt x="722" y="574"/>
                        <a:pt x="722" y="574"/>
                      </a:cubicBezTo>
                      <a:cubicBezTo>
                        <a:pt x="723" y="573"/>
                        <a:pt x="723" y="571"/>
                        <a:pt x="724" y="569"/>
                      </a:cubicBezTo>
                      <a:cubicBezTo>
                        <a:pt x="727" y="571"/>
                        <a:pt x="727" y="571"/>
                        <a:pt x="727" y="571"/>
                      </a:cubicBezTo>
                      <a:cubicBezTo>
                        <a:pt x="727" y="570"/>
                        <a:pt x="727" y="570"/>
                        <a:pt x="727" y="570"/>
                      </a:cubicBezTo>
                      <a:cubicBezTo>
                        <a:pt x="725" y="569"/>
                        <a:pt x="725" y="569"/>
                        <a:pt x="725" y="569"/>
                      </a:cubicBezTo>
                      <a:cubicBezTo>
                        <a:pt x="726" y="567"/>
                        <a:pt x="727" y="565"/>
                        <a:pt x="727" y="563"/>
                      </a:cubicBezTo>
                      <a:cubicBezTo>
                        <a:pt x="730" y="565"/>
                        <a:pt x="730" y="565"/>
                        <a:pt x="730" y="565"/>
                      </a:cubicBezTo>
                      <a:cubicBezTo>
                        <a:pt x="730" y="564"/>
                        <a:pt x="730" y="564"/>
                        <a:pt x="730" y="564"/>
                      </a:cubicBezTo>
                      <a:cubicBezTo>
                        <a:pt x="728" y="563"/>
                        <a:pt x="728" y="563"/>
                        <a:pt x="728" y="563"/>
                      </a:cubicBezTo>
                      <a:cubicBezTo>
                        <a:pt x="729" y="561"/>
                        <a:pt x="730" y="559"/>
                        <a:pt x="730" y="557"/>
                      </a:cubicBezTo>
                      <a:cubicBezTo>
                        <a:pt x="733" y="559"/>
                        <a:pt x="733" y="559"/>
                        <a:pt x="733" y="559"/>
                      </a:cubicBezTo>
                      <a:cubicBezTo>
                        <a:pt x="733" y="558"/>
                        <a:pt x="733" y="558"/>
                        <a:pt x="733" y="558"/>
                      </a:cubicBezTo>
                      <a:cubicBezTo>
                        <a:pt x="731" y="557"/>
                        <a:pt x="731" y="557"/>
                        <a:pt x="731" y="557"/>
                      </a:cubicBezTo>
                      <a:cubicBezTo>
                        <a:pt x="732" y="555"/>
                        <a:pt x="732" y="553"/>
                        <a:pt x="733" y="551"/>
                      </a:cubicBezTo>
                      <a:cubicBezTo>
                        <a:pt x="736" y="553"/>
                        <a:pt x="736" y="553"/>
                        <a:pt x="736" y="553"/>
                      </a:cubicBezTo>
                      <a:cubicBezTo>
                        <a:pt x="736" y="552"/>
                        <a:pt x="736" y="552"/>
                        <a:pt x="736" y="552"/>
                      </a:cubicBezTo>
                      <a:cubicBezTo>
                        <a:pt x="734" y="551"/>
                        <a:pt x="734" y="551"/>
                        <a:pt x="734" y="551"/>
                      </a:cubicBezTo>
                      <a:cubicBezTo>
                        <a:pt x="734" y="549"/>
                        <a:pt x="735" y="547"/>
                        <a:pt x="736" y="545"/>
                      </a:cubicBezTo>
                      <a:cubicBezTo>
                        <a:pt x="739" y="547"/>
                        <a:pt x="739" y="547"/>
                        <a:pt x="739" y="547"/>
                      </a:cubicBezTo>
                      <a:cubicBezTo>
                        <a:pt x="739" y="546"/>
                        <a:pt x="739" y="546"/>
                        <a:pt x="739" y="546"/>
                      </a:cubicBezTo>
                      <a:cubicBezTo>
                        <a:pt x="736" y="545"/>
                        <a:pt x="736" y="545"/>
                        <a:pt x="736" y="545"/>
                      </a:cubicBezTo>
                      <a:cubicBezTo>
                        <a:pt x="737" y="543"/>
                        <a:pt x="738" y="541"/>
                        <a:pt x="739" y="539"/>
                      </a:cubicBezTo>
                      <a:cubicBezTo>
                        <a:pt x="741" y="541"/>
                        <a:pt x="741" y="541"/>
                        <a:pt x="741" y="541"/>
                      </a:cubicBezTo>
                      <a:cubicBezTo>
                        <a:pt x="742" y="540"/>
                        <a:pt x="742" y="540"/>
                        <a:pt x="742" y="540"/>
                      </a:cubicBezTo>
                      <a:cubicBezTo>
                        <a:pt x="739" y="539"/>
                        <a:pt x="739" y="539"/>
                        <a:pt x="739" y="539"/>
                      </a:cubicBezTo>
                      <a:cubicBezTo>
                        <a:pt x="740" y="537"/>
                        <a:pt x="740" y="535"/>
                        <a:pt x="741" y="533"/>
                      </a:cubicBezTo>
                      <a:cubicBezTo>
                        <a:pt x="744" y="534"/>
                        <a:pt x="744" y="534"/>
                        <a:pt x="744" y="534"/>
                      </a:cubicBezTo>
                      <a:cubicBezTo>
                        <a:pt x="744" y="534"/>
                        <a:pt x="744" y="534"/>
                        <a:pt x="744" y="534"/>
                      </a:cubicBezTo>
                      <a:cubicBezTo>
                        <a:pt x="741" y="533"/>
                        <a:pt x="741" y="533"/>
                        <a:pt x="741" y="533"/>
                      </a:cubicBezTo>
                      <a:cubicBezTo>
                        <a:pt x="742" y="531"/>
                        <a:pt x="743" y="529"/>
                        <a:pt x="744" y="527"/>
                      </a:cubicBezTo>
                      <a:cubicBezTo>
                        <a:pt x="746" y="528"/>
                        <a:pt x="746" y="528"/>
                        <a:pt x="746" y="528"/>
                      </a:cubicBezTo>
                      <a:cubicBezTo>
                        <a:pt x="747" y="527"/>
                        <a:pt x="747" y="527"/>
                        <a:pt x="747" y="527"/>
                      </a:cubicBezTo>
                      <a:cubicBezTo>
                        <a:pt x="744" y="526"/>
                        <a:pt x="744" y="526"/>
                        <a:pt x="744" y="526"/>
                      </a:cubicBezTo>
                      <a:cubicBezTo>
                        <a:pt x="744" y="525"/>
                        <a:pt x="745" y="523"/>
                        <a:pt x="746" y="521"/>
                      </a:cubicBezTo>
                      <a:cubicBezTo>
                        <a:pt x="751" y="523"/>
                        <a:pt x="751" y="523"/>
                        <a:pt x="751" y="523"/>
                      </a:cubicBezTo>
                      <a:cubicBezTo>
                        <a:pt x="751" y="523"/>
                        <a:pt x="751" y="523"/>
                        <a:pt x="751" y="523"/>
                      </a:cubicBezTo>
                      <a:cubicBezTo>
                        <a:pt x="758" y="525"/>
                        <a:pt x="758" y="525"/>
                        <a:pt x="758" y="525"/>
                      </a:cubicBezTo>
                      <a:cubicBezTo>
                        <a:pt x="758" y="525"/>
                        <a:pt x="758" y="525"/>
                        <a:pt x="758" y="525"/>
                      </a:cubicBezTo>
                      <a:cubicBezTo>
                        <a:pt x="751" y="522"/>
                        <a:pt x="751" y="522"/>
                        <a:pt x="751" y="522"/>
                      </a:cubicBezTo>
                      <a:cubicBezTo>
                        <a:pt x="751" y="522"/>
                        <a:pt x="751" y="522"/>
                        <a:pt x="751" y="522"/>
                      </a:cubicBezTo>
                      <a:cubicBezTo>
                        <a:pt x="746" y="520"/>
                        <a:pt x="746" y="520"/>
                        <a:pt x="746" y="520"/>
                      </a:cubicBezTo>
                      <a:cubicBezTo>
                        <a:pt x="747" y="518"/>
                        <a:pt x="748" y="516"/>
                        <a:pt x="748" y="515"/>
                      </a:cubicBezTo>
                      <a:cubicBezTo>
                        <a:pt x="751" y="516"/>
                        <a:pt x="751" y="516"/>
                        <a:pt x="751" y="516"/>
                      </a:cubicBezTo>
                      <a:cubicBezTo>
                        <a:pt x="751" y="515"/>
                        <a:pt x="751" y="515"/>
                        <a:pt x="751" y="515"/>
                      </a:cubicBezTo>
                      <a:cubicBezTo>
                        <a:pt x="748" y="514"/>
                        <a:pt x="748" y="514"/>
                        <a:pt x="748" y="514"/>
                      </a:cubicBezTo>
                      <a:cubicBezTo>
                        <a:pt x="749" y="512"/>
                        <a:pt x="750" y="510"/>
                        <a:pt x="750" y="509"/>
                      </a:cubicBezTo>
                      <a:cubicBezTo>
                        <a:pt x="753" y="509"/>
                        <a:pt x="753" y="509"/>
                        <a:pt x="753" y="509"/>
                      </a:cubicBezTo>
                      <a:cubicBezTo>
                        <a:pt x="753" y="509"/>
                        <a:pt x="753" y="509"/>
                        <a:pt x="753" y="509"/>
                      </a:cubicBezTo>
                      <a:cubicBezTo>
                        <a:pt x="750" y="508"/>
                        <a:pt x="750" y="508"/>
                        <a:pt x="750" y="508"/>
                      </a:cubicBezTo>
                      <a:cubicBezTo>
                        <a:pt x="751" y="506"/>
                        <a:pt x="752" y="504"/>
                        <a:pt x="752" y="502"/>
                      </a:cubicBezTo>
                      <a:cubicBezTo>
                        <a:pt x="755" y="503"/>
                        <a:pt x="755" y="503"/>
                        <a:pt x="755" y="503"/>
                      </a:cubicBezTo>
                      <a:cubicBezTo>
                        <a:pt x="755" y="502"/>
                        <a:pt x="755" y="502"/>
                        <a:pt x="755" y="502"/>
                      </a:cubicBezTo>
                      <a:cubicBezTo>
                        <a:pt x="752" y="501"/>
                        <a:pt x="752" y="501"/>
                        <a:pt x="752" y="501"/>
                      </a:cubicBezTo>
                      <a:cubicBezTo>
                        <a:pt x="753" y="500"/>
                        <a:pt x="753" y="498"/>
                        <a:pt x="754" y="496"/>
                      </a:cubicBezTo>
                      <a:cubicBezTo>
                        <a:pt x="757" y="497"/>
                        <a:pt x="757" y="497"/>
                        <a:pt x="757" y="497"/>
                      </a:cubicBezTo>
                      <a:cubicBezTo>
                        <a:pt x="757" y="496"/>
                        <a:pt x="757" y="496"/>
                        <a:pt x="757" y="496"/>
                      </a:cubicBezTo>
                      <a:cubicBezTo>
                        <a:pt x="754" y="495"/>
                        <a:pt x="754" y="495"/>
                        <a:pt x="754" y="495"/>
                      </a:cubicBezTo>
                      <a:cubicBezTo>
                        <a:pt x="755" y="493"/>
                        <a:pt x="755" y="491"/>
                        <a:pt x="756" y="489"/>
                      </a:cubicBezTo>
                      <a:cubicBezTo>
                        <a:pt x="759" y="490"/>
                        <a:pt x="759" y="490"/>
                        <a:pt x="759" y="490"/>
                      </a:cubicBezTo>
                      <a:cubicBezTo>
                        <a:pt x="759" y="489"/>
                        <a:pt x="759" y="489"/>
                        <a:pt x="759" y="489"/>
                      </a:cubicBezTo>
                      <a:cubicBezTo>
                        <a:pt x="756" y="489"/>
                        <a:pt x="756" y="489"/>
                        <a:pt x="756" y="489"/>
                      </a:cubicBezTo>
                      <a:cubicBezTo>
                        <a:pt x="757" y="487"/>
                        <a:pt x="757" y="485"/>
                        <a:pt x="757" y="483"/>
                      </a:cubicBezTo>
                      <a:cubicBezTo>
                        <a:pt x="760" y="484"/>
                        <a:pt x="760" y="484"/>
                        <a:pt x="760" y="484"/>
                      </a:cubicBezTo>
                      <a:cubicBezTo>
                        <a:pt x="760" y="483"/>
                        <a:pt x="760" y="483"/>
                        <a:pt x="760" y="483"/>
                      </a:cubicBezTo>
                      <a:cubicBezTo>
                        <a:pt x="758" y="482"/>
                        <a:pt x="758" y="482"/>
                        <a:pt x="758" y="482"/>
                      </a:cubicBezTo>
                      <a:cubicBezTo>
                        <a:pt x="758" y="480"/>
                        <a:pt x="759" y="479"/>
                        <a:pt x="759" y="477"/>
                      </a:cubicBezTo>
                      <a:cubicBezTo>
                        <a:pt x="762" y="477"/>
                        <a:pt x="762" y="477"/>
                        <a:pt x="762" y="477"/>
                      </a:cubicBezTo>
                      <a:cubicBezTo>
                        <a:pt x="762" y="477"/>
                        <a:pt x="762" y="477"/>
                        <a:pt x="762" y="477"/>
                      </a:cubicBezTo>
                      <a:cubicBezTo>
                        <a:pt x="759" y="476"/>
                        <a:pt x="759" y="476"/>
                        <a:pt x="759" y="476"/>
                      </a:cubicBezTo>
                      <a:cubicBezTo>
                        <a:pt x="760" y="474"/>
                        <a:pt x="760" y="472"/>
                        <a:pt x="760" y="470"/>
                      </a:cubicBezTo>
                      <a:cubicBezTo>
                        <a:pt x="763" y="471"/>
                        <a:pt x="763" y="471"/>
                        <a:pt x="763" y="471"/>
                      </a:cubicBezTo>
                      <a:cubicBezTo>
                        <a:pt x="763" y="470"/>
                        <a:pt x="763" y="470"/>
                        <a:pt x="763" y="470"/>
                      </a:cubicBezTo>
                      <a:cubicBezTo>
                        <a:pt x="761" y="469"/>
                        <a:pt x="761" y="469"/>
                        <a:pt x="761" y="469"/>
                      </a:cubicBezTo>
                      <a:cubicBezTo>
                        <a:pt x="761" y="468"/>
                        <a:pt x="761" y="466"/>
                        <a:pt x="762" y="464"/>
                      </a:cubicBezTo>
                      <a:cubicBezTo>
                        <a:pt x="765" y="464"/>
                        <a:pt x="765" y="464"/>
                        <a:pt x="765" y="464"/>
                      </a:cubicBezTo>
                      <a:cubicBezTo>
                        <a:pt x="765" y="464"/>
                        <a:pt x="765" y="464"/>
                        <a:pt x="765" y="464"/>
                      </a:cubicBezTo>
                      <a:cubicBezTo>
                        <a:pt x="762" y="463"/>
                        <a:pt x="762" y="463"/>
                        <a:pt x="762" y="463"/>
                      </a:cubicBezTo>
                      <a:cubicBezTo>
                        <a:pt x="762" y="461"/>
                        <a:pt x="763" y="460"/>
                        <a:pt x="763" y="458"/>
                      </a:cubicBezTo>
                      <a:cubicBezTo>
                        <a:pt x="768" y="459"/>
                        <a:pt x="768" y="459"/>
                        <a:pt x="768" y="459"/>
                      </a:cubicBezTo>
                      <a:cubicBezTo>
                        <a:pt x="768" y="458"/>
                        <a:pt x="768" y="458"/>
                        <a:pt x="768" y="458"/>
                      </a:cubicBezTo>
                      <a:cubicBezTo>
                        <a:pt x="776" y="460"/>
                        <a:pt x="776" y="460"/>
                        <a:pt x="776" y="460"/>
                      </a:cubicBezTo>
                      <a:cubicBezTo>
                        <a:pt x="776" y="459"/>
                        <a:pt x="776" y="459"/>
                        <a:pt x="776" y="459"/>
                      </a:cubicBezTo>
                      <a:cubicBezTo>
                        <a:pt x="768" y="457"/>
                        <a:pt x="768" y="457"/>
                        <a:pt x="768" y="457"/>
                      </a:cubicBezTo>
                      <a:cubicBezTo>
                        <a:pt x="768" y="457"/>
                        <a:pt x="768" y="457"/>
                        <a:pt x="768" y="457"/>
                      </a:cubicBezTo>
                      <a:cubicBezTo>
                        <a:pt x="763" y="456"/>
                        <a:pt x="763" y="456"/>
                        <a:pt x="763" y="456"/>
                      </a:cubicBezTo>
                      <a:cubicBezTo>
                        <a:pt x="763" y="454"/>
                        <a:pt x="764" y="453"/>
                        <a:pt x="764" y="451"/>
                      </a:cubicBezTo>
                      <a:cubicBezTo>
                        <a:pt x="767" y="451"/>
                        <a:pt x="767" y="451"/>
                        <a:pt x="767" y="451"/>
                      </a:cubicBezTo>
                      <a:cubicBezTo>
                        <a:pt x="767" y="450"/>
                        <a:pt x="767" y="450"/>
                        <a:pt x="767" y="450"/>
                      </a:cubicBezTo>
                      <a:cubicBezTo>
                        <a:pt x="764" y="450"/>
                        <a:pt x="764" y="450"/>
                        <a:pt x="764" y="450"/>
                      </a:cubicBezTo>
                      <a:cubicBezTo>
                        <a:pt x="764" y="448"/>
                        <a:pt x="765" y="446"/>
                        <a:pt x="765" y="444"/>
                      </a:cubicBezTo>
                      <a:cubicBezTo>
                        <a:pt x="768" y="445"/>
                        <a:pt x="768" y="445"/>
                        <a:pt x="768" y="445"/>
                      </a:cubicBezTo>
                      <a:cubicBezTo>
                        <a:pt x="768" y="444"/>
                        <a:pt x="768" y="444"/>
                        <a:pt x="768" y="444"/>
                      </a:cubicBezTo>
                      <a:cubicBezTo>
                        <a:pt x="765" y="443"/>
                        <a:pt x="765" y="443"/>
                        <a:pt x="765" y="443"/>
                      </a:cubicBezTo>
                      <a:cubicBezTo>
                        <a:pt x="765" y="442"/>
                        <a:pt x="766" y="440"/>
                        <a:pt x="766" y="438"/>
                      </a:cubicBezTo>
                      <a:cubicBezTo>
                        <a:pt x="769" y="438"/>
                        <a:pt x="769" y="438"/>
                        <a:pt x="769" y="438"/>
                      </a:cubicBezTo>
                      <a:cubicBezTo>
                        <a:pt x="769" y="437"/>
                        <a:pt x="769" y="437"/>
                        <a:pt x="769" y="437"/>
                      </a:cubicBezTo>
                      <a:cubicBezTo>
                        <a:pt x="766" y="437"/>
                        <a:pt x="766" y="437"/>
                        <a:pt x="766" y="437"/>
                      </a:cubicBezTo>
                      <a:cubicBezTo>
                        <a:pt x="766" y="435"/>
                        <a:pt x="766" y="433"/>
                        <a:pt x="767" y="431"/>
                      </a:cubicBezTo>
                      <a:cubicBezTo>
                        <a:pt x="770" y="431"/>
                        <a:pt x="770" y="431"/>
                        <a:pt x="770" y="431"/>
                      </a:cubicBezTo>
                      <a:cubicBezTo>
                        <a:pt x="770" y="431"/>
                        <a:pt x="770" y="431"/>
                        <a:pt x="770" y="431"/>
                      </a:cubicBezTo>
                      <a:cubicBezTo>
                        <a:pt x="767" y="430"/>
                        <a:pt x="767" y="430"/>
                        <a:pt x="767" y="430"/>
                      </a:cubicBezTo>
                      <a:cubicBezTo>
                        <a:pt x="767" y="428"/>
                        <a:pt x="767" y="426"/>
                        <a:pt x="767" y="425"/>
                      </a:cubicBezTo>
                      <a:cubicBezTo>
                        <a:pt x="770" y="425"/>
                        <a:pt x="770" y="425"/>
                        <a:pt x="770" y="425"/>
                      </a:cubicBezTo>
                      <a:cubicBezTo>
                        <a:pt x="770" y="424"/>
                        <a:pt x="770" y="424"/>
                        <a:pt x="770" y="424"/>
                      </a:cubicBezTo>
                      <a:cubicBezTo>
                        <a:pt x="767" y="424"/>
                        <a:pt x="767" y="424"/>
                        <a:pt x="767" y="424"/>
                      </a:cubicBezTo>
                      <a:cubicBezTo>
                        <a:pt x="767" y="422"/>
                        <a:pt x="768" y="420"/>
                        <a:pt x="768" y="418"/>
                      </a:cubicBezTo>
                      <a:cubicBezTo>
                        <a:pt x="771" y="418"/>
                        <a:pt x="771" y="418"/>
                        <a:pt x="771" y="418"/>
                      </a:cubicBezTo>
                      <a:cubicBezTo>
                        <a:pt x="771" y="417"/>
                        <a:pt x="771" y="417"/>
                        <a:pt x="771" y="417"/>
                      </a:cubicBezTo>
                      <a:cubicBezTo>
                        <a:pt x="768" y="417"/>
                        <a:pt x="768" y="417"/>
                        <a:pt x="768" y="417"/>
                      </a:cubicBezTo>
                      <a:cubicBezTo>
                        <a:pt x="768" y="415"/>
                        <a:pt x="768" y="413"/>
                        <a:pt x="768" y="411"/>
                      </a:cubicBezTo>
                      <a:cubicBezTo>
                        <a:pt x="771" y="412"/>
                        <a:pt x="771" y="412"/>
                        <a:pt x="771" y="412"/>
                      </a:cubicBezTo>
                      <a:cubicBezTo>
                        <a:pt x="771" y="411"/>
                        <a:pt x="771" y="411"/>
                        <a:pt x="771" y="411"/>
                      </a:cubicBezTo>
                      <a:cubicBezTo>
                        <a:pt x="768" y="411"/>
                        <a:pt x="768" y="411"/>
                        <a:pt x="768" y="411"/>
                      </a:cubicBezTo>
                      <a:cubicBezTo>
                        <a:pt x="768" y="409"/>
                        <a:pt x="768" y="407"/>
                        <a:pt x="768" y="405"/>
                      </a:cubicBezTo>
                      <a:cubicBezTo>
                        <a:pt x="771" y="405"/>
                        <a:pt x="771" y="405"/>
                        <a:pt x="771" y="405"/>
                      </a:cubicBezTo>
                      <a:cubicBezTo>
                        <a:pt x="771" y="404"/>
                        <a:pt x="771" y="404"/>
                        <a:pt x="771" y="404"/>
                      </a:cubicBezTo>
                      <a:cubicBezTo>
                        <a:pt x="768" y="404"/>
                        <a:pt x="768" y="404"/>
                        <a:pt x="768" y="404"/>
                      </a:cubicBezTo>
                      <a:cubicBezTo>
                        <a:pt x="768" y="402"/>
                        <a:pt x="769" y="400"/>
                        <a:pt x="769" y="398"/>
                      </a:cubicBezTo>
                      <a:cubicBezTo>
                        <a:pt x="772" y="398"/>
                        <a:pt x="772" y="398"/>
                        <a:pt x="772" y="398"/>
                      </a:cubicBezTo>
                      <a:cubicBezTo>
                        <a:pt x="772" y="397"/>
                        <a:pt x="772" y="397"/>
                        <a:pt x="772" y="397"/>
                      </a:cubicBezTo>
                      <a:cubicBezTo>
                        <a:pt x="769" y="397"/>
                        <a:pt x="769" y="397"/>
                        <a:pt x="769" y="397"/>
                      </a:cubicBezTo>
                      <a:cubicBezTo>
                        <a:pt x="769" y="396"/>
                        <a:pt x="769" y="394"/>
                        <a:pt x="769" y="392"/>
                      </a:cubicBezTo>
                      <a:cubicBezTo>
                        <a:pt x="774" y="392"/>
                        <a:pt x="774" y="392"/>
                        <a:pt x="774" y="392"/>
                      </a:cubicBezTo>
                      <a:cubicBezTo>
                        <a:pt x="774" y="392"/>
                        <a:pt x="774" y="392"/>
                        <a:pt x="774" y="392"/>
                      </a:cubicBezTo>
                      <a:cubicBezTo>
                        <a:pt x="782" y="392"/>
                        <a:pt x="782" y="392"/>
                        <a:pt x="782" y="392"/>
                      </a:cubicBezTo>
                      <a:lnTo>
                        <a:pt x="782" y="391"/>
                      </a:lnTo>
                      <a:close/>
                      <a:moveTo>
                        <a:pt x="767" y="397"/>
                      </a:moveTo>
                      <a:cubicBezTo>
                        <a:pt x="764" y="397"/>
                        <a:pt x="764" y="397"/>
                        <a:pt x="764" y="397"/>
                      </a:cubicBezTo>
                      <a:cubicBezTo>
                        <a:pt x="764" y="398"/>
                        <a:pt x="764" y="398"/>
                        <a:pt x="764" y="398"/>
                      </a:cubicBezTo>
                      <a:cubicBezTo>
                        <a:pt x="767" y="398"/>
                        <a:pt x="767" y="398"/>
                        <a:pt x="767" y="398"/>
                      </a:cubicBezTo>
                      <a:cubicBezTo>
                        <a:pt x="767" y="400"/>
                        <a:pt x="767" y="402"/>
                        <a:pt x="767" y="404"/>
                      </a:cubicBezTo>
                      <a:cubicBezTo>
                        <a:pt x="764" y="404"/>
                        <a:pt x="764" y="404"/>
                        <a:pt x="764" y="404"/>
                      </a:cubicBezTo>
                      <a:cubicBezTo>
                        <a:pt x="764" y="405"/>
                        <a:pt x="764" y="405"/>
                        <a:pt x="764" y="405"/>
                      </a:cubicBezTo>
                      <a:cubicBezTo>
                        <a:pt x="767" y="405"/>
                        <a:pt x="767" y="405"/>
                        <a:pt x="767" y="405"/>
                      </a:cubicBezTo>
                      <a:cubicBezTo>
                        <a:pt x="767" y="407"/>
                        <a:pt x="767" y="409"/>
                        <a:pt x="767" y="411"/>
                      </a:cubicBezTo>
                      <a:cubicBezTo>
                        <a:pt x="764" y="410"/>
                        <a:pt x="764" y="410"/>
                        <a:pt x="764" y="410"/>
                      </a:cubicBezTo>
                      <a:cubicBezTo>
                        <a:pt x="763" y="411"/>
                        <a:pt x="763" y="411"/>
                        <a:pt x="763" y="411"/>
                      </a:cubicBezTo>
                      <a:cubicBezTo>
                        <a:pt x="766" y="411"/>
                        <a:pt x="766" y="411"/>
                        <a:pt x="766" y="411"/>
                      </a:cubicBezTo>
                      <a:cubicBezTo>
                        <a:pt x="766" y="413"/>
                        <a:pt x="766" y="415"/>
                        <a:pt x="766" y="417"/>
                      </a:cubicBezTo>
                      <a:cubicBezTo>
                        <a:pt x="763" y="417"/>
                        <a:pt x="763" y="417"/>
                        <a:pt x="763" y="417"/>
                      </a:cubicBezTo>
                      <a:cubicBezTo>
                        <a:pt x="763" y="418"/>
                        <a:pt x="763" y="418"/>
                        <a:pt x="763" y="418"/>
                      </a:cubicBezTo>
                      <a:cubicBezTo>
                        <a:pt x="766" y="418"/>
                        <a:pt x="766" y="418"/>
                        <a:pt x="766" y="418"/>
                      </a:cubicBezTo>
                      <a:cubicBezTo>
                        <a:pt x="766" y="420"/>
                        <a:pt x="766" y="422"/>
                        <a:pt x="766" y="424"/>
                      </a:cubicBezTo>
                      <a:cubicBezTo>
                        <a:pt x="763" y="423"/>
                        <a:pt x="763" y="423"/>
                        <a:pt x="763" y="423"/>
                      </a:cubicBezTo>
                      <a:cubicBezTo>
                        <a:pt x="763" y="424"/>
                        <a:pt x="763" y="424"/>
                        <a:pt x="763" y="424"/>
                      </a:cubicBezTo>
                      <a:cubicBezTo>
                        <a:pt x="766" y="424"/>
                        <a:pt x="766" y="424"/>
                        <a:pt x="766" y="424"/>
                      </a:cubicBezTo>
                      <a:cubicBezTo>
                        <a:pt x="765" y="426"/>
                        <a:pt x="765" y="428"/>
                        <a:pt x="765" y="430"/>
                      </a:cubicBezTo>
                      <a:cubicBezTo>
                        <a:pt x="762" y="430"/>
                        <a:pt x="762" y="430"/>
                        <a:pt x="762" y="430"/>
                      </a:cubicBezTo>
                      <a:cubicBezTo>
                        <a:pt x="762" y="431"/>
                        <a:pt x="762" y="431"/>
                        <a:pt x="762" y="431"/>
                      </a:cubicBezTo>
                      <a:cubicBezTo>
                        <a:pt x="765" y="431"/>
                        <a:pt x="765" y="431"/>
                        <a:pt x="765" y="431"/>
                      </a:cubicBezTo>
                      <a:cubicBezTo>
                        <a:pt x="765" y="433"/>
                        <a:pt x="765" y="435"/>
                        <a:pt x="764" y="437"/>
                      </a:cubicBezTo>
                      <a:cubicBezTo>
                        <a:pt x="761" y="436"/>
                        <a:pt x="761" y="436"/>
                        <a:pt x="761" y="436"/>
                      </a:cubicBezTo>
                      <a:cubicBezTo>
                        <a:pt x="761" y="437"/>
                        <a:pt x="761" y="437"/>
                        <a:pt x="761" y="437"/>
                      </a:cubicBezTo>
                      <a:cubicBezTo>
                        <a:pt x="764" y="437"/>
                        <a:pt x="764" y="437"/>
                        <a:pt x="764" y="437"/>
                      </a:cubicBezTo>
                      <a:cubicBezTo>
                        <a:pt x="764" y="439"/>
                        <a:pt x="764" y="441"/>
                        <a:pt x="763" y="443"/>
                      </a:cubicBezTo>
                      <a:cubicBezTo>
                        <a:pt x="760" y="443"/>
                        <a:pt x="760" y="443"/>
                        <a:pt x="760" y="443"/>
                      </a:cubicBezTo>
                      <a:cubicBezTo>
                        <a:pt x="760" y="444"/>
                        <a:pt x="760" y="444"/>
                        <a:pt x="760" y="444"/>
                      </a:cubicBezTo>
                      <a:cubicBezTo>
                        <a:pt x="763" y="444"/>
                        <a:pt x="763" y="444"/>
                        <a:pt x="763" y="444"/>
                      </a:cubicBezTo>
                      <a:cubicBezTo>
                        <a:pt x="763" y="446"/>
                        <a:pt x="763" y="448"/>
                        <a:pt x="762" y="450"/>
                      </a:cubicBezTo>
                      <a:cubicBezTo>
                        <a:pt x="759" y="449"/>
                        <a:pt x="759" y="449"/>
                        <a:pt x="759" y="449"/>
                      </a:cubicBezTo>
                      <a:cubicBezTo>
                        <a:pt x="759" y="450"/>
                        <a:pt x="759" y="450"/>
                        <a:pt x="759" y="450"/>
                      </a:cubicBezTo>
                      <a:cubicBezTo>
                        <a:pt x="762" y="451"/>
                        <a:pt x="762" y="451"/>
                        <a:pt x="762" y="451"/>
                      </a:cubicBezTo>
                      <a:cubicBezTo>
                        <a:pt x="762" y="452"/>
                        <a:pt x="762" y="454"/>
                        <a:pt x="761" y="456"/>
                      </a:cubicBezTo>
                      <a:cubicBezTo>
                        <a:pt x="756" y="455"/>
                        <a:pt x="756" y="455"/>
                        <a:pt x="756" y="455"/>
                      </a:cubicBezTo>
                      <a:cubicBezTo>
                        <a:pt x="756" y="455"/>
                        <a:pt x="756" y="455"/>
                        <a:pt x="756" y="455"/>
                      </a:cubicBezTo>
                      <a:cubicBezTo>
                        <a:pt x="748" y="454"/>
                        <a:pt x="748" y="454"/>
                        <a:pt x="748" y="454"/>
                      </a:cubicBezTo>
                      <a:cubicBezTo>
                        <a:pt x="748" y="455"/>
                        <a:pt x="748" y="455"/>
                        <a:pt x="748" y="455"/>
                      </a:cubicBezTo>
                      <a:cubicBezTo>
                        <a:pt x="756" y="456"/>
                        <a:pt x="756" y="456"/>
                        <a:pt x="756" y="456"/>
                      </a:cubicBezTo>
                      <a:cubicBezTo>
                        <a:pt x="756" y="457"/>
                        <a:pt x="756" y="457"/>
                        <a:pt x="756" y="457"/>
                      </a:cubicBezTo>
                      <a:cubicBezTo>
                        <a:pt x="761" y="457"/>
                        <a:pt x="761" y="457"/>
                        <a:pt x="761" y="457"/>
                      </a:cubicBezTo>
                      <a:cubicBezTo>
                        <a:pt x="761" y="459"/>
                        <a:pt x="761" y="461"/>
                        <a:pt x="760" y="463"/>
                      </a:cubicBezTo>
                      <a:cubicBezTo>
                        <a:pt x="757" y="462"/>
                        <a:pt x="757" y="462"/>
                        <a:pt x="757" y="462"/>
                      </a:cubicBezTo>
                      <a:cubicBezTo>
                        <a:pt x="757" y="463"/>
                        <a:pt x="757" y="463"/>
                        <a:pt x="757" y="463"/>
                      </a:cubicBezTo>
                      <a:cubicBezTo>
                        <a:pt x="760" y="463"/>
                        <a:pt x="760" y="463"/>
                        <a:pt x="760" y="463"/>
                      </a:cubicBezTo>
                      <a:cubicBezTo>
                        <a:pt x="760" y="465"/>
                        <a:pt x="759" y="467"/>
                        <a:pt x="759" y="469"/>
                      </a:cubicBezTo>
                      <a:cubicBezTo>
                        <a:pt x="756" y="468"/>
                        <a:pt x="756" y="468"/>
                        <a:pt x="756" y="468"/>
                      </a:cubicBezTo>
                      <a:cubicBezTo>
                        <a:pt x="756" y="469"/>
                        <a:pt x="756" y="469"/>
                        <a:pt x="756" y="469"/>
                      </a:cubicBezTo>
                      <a:cubicBezTo>
                        <a:pt x="759" y="470"/>
                        <a:pt x="759" y="470"/>
                        <a:pt x="759" y="470"/>
                      </a:cubicBezTo>
                      <a:cubicBezTo>
                        <a:pt x="758" y="472"/>
                        <a:pt x="758" y="474"/>
                        <a:pt x="757" y="476"/>
                      </a:cubicBezTo>
                      <a:cubicBezTo>
                        <a:pt x="755" y="475"/>
                        <a:pt x="755" y="475"/>
                        <a:pt x="755" y="475"/>
                      </a:cubicBezTo>
                      <a:cubicBezTo>
                        <a:pt x="754" y="476"/>
                        <a:pt x="754" y="476"/>
                        <a:pt x="754" y="476"/>
                      </a:cubicBezTo>
                      <a:cubicBezTo>
                        <a:pt x="757" y="476"/>
                        <a:pt x="757" y="476"/>
                        <a:pt x="757" y="476"/>
                      </a:cubicBezTo>
                      <a:cubicBezTo>
                        <a:pt x="757" y="478"/>
                        <a:pt x="756" y="480"/>
                        <a:pt x="756" y="482"/>
                      </a:cubicBezTo>
                      <a:cubicBezTo>
                        <a:pt x="753" y="481"/>
                        <a:pt x="753" y="481"/>
                        <a:pt x="753" y="481"/>
                      </a:cubicBezTo>
                      <a:cubicBezTo>
                        <a:pt x="753" y="482"/>
                        <a:pt x="753" y="482"/>
                        <a:pt x="753" y="482"/>
                      </a:cubicBezTo>
                      <a:cubicBezTo>
                        <a:pt x="756" y="483"/>
                        <a:pt x="756" y="483"/>
                        <a:pt x="756" y="483"/>
                      </a:cubicBezTo>
                      <a:cubicBezTo>
                        <a:pt x="755" y="485"/>
                        <a:pt x="755" y="486"/>
                        <a:pt x="754" y="488"/>
                      </a:cubicBezTo>
                      <a:cubicBezTo>
                        <a:pt x="751" y="488"/>
                        <a:pt x="751" y="488"/>
                        <a:pt x="751" y="488"/>
                      </a:cubicBezTo>
                      <a:cubicBezTo>
                        <a:pt x="751" y="488"/>
                        <a:pt x="751" y="488"/>
                        <a:pt x="751" y="488"/>
                      </a:cubicBezTo>
                      <a:cubicBezTo>
                        <a:pt x="754" y="489"/>
                        <a:pt x="754" y="489"/>
                        <a:pt x="754" y="489"/>
                      </a:cubicBezTo>
                      <a:cubicBezTo>
                        <a:pt x="754" y="491"/>
                        <a:pt x="753" y="493"/>
                        <a:pt x="753" y="495"/>
                      </a:cubicBezTo>
                      <a:cubicBezTo>
                        <a:pt x="750" y="494"/>
                        <a:pt x="750" y="494"/>
                        <a:pt x="750" y="494"/>
                      </a:cubicBezTo>
                      <a:cubicBezTo>
                        <a:pt x="749" y="495"/>
                        <a:pt x="749" y="495"/>
                        <a:pt x="749" y="495"/>
                      </a:cubicBezTo>
                      <a:cubicBezTo>
                        <a:pt x="752" y="495"/>
                        <a:pt x="752" y="495"/>
                        <a:pt x="752" y="495"/>
                      </a:cubicBezTo>
                      <a:cubicBezTo>
                        <a:pt x="752" y="497"/>
                        <a:pt x="751" y="499"/>
                        <a:pt x="751" y="501"/>
                      </a:cubicBezTo>
                      <a:cubicBezTo>
                        <a:pt x="748" y="500"/>
                        <a:pt x="748" y="500"/>
                        <a:pt x="748" y="500"/>
                      </a:cubicBezTo>
                      <a:cubicBezTo>
                        <a:pt x="748" y="501"/>
                        <a:pt x="748" y="501"/>
                        <a:pt x="748" y="501"/>
                      </a:cubicBezTo>
                      <a:cubicBezTo>
                        <a:pt x="750" y="502"/>
                        <a:pt x="750" y="502"/>
                        <a:pt x="750" y="502"/>
                      </a:cubicBezTo>
                      <a:cubicBezTo>
                        <a:pt x="750" y="504"/>
                        <a:pt x="749" y="505"/>
                        <a:pt x="749" y="507"/>
                      </a:cubicBezTo>
                      <a:cubicBezTo>
                        <a:pt x="746" y="506"/>
                        <a:pt x="746" y="506"/>
                        <a:pt x="746" y="506"/>
                      </a:cubicBezTo>
                      <a:cubicBezTo>
                        <a:pt x="746" y="507"/>
                        <a:pt x="746" y="507"/>
                        <a:pt x="746" y="507"/>
                      </a:cubicBezTo>
                      <a:cubicBezTo>
                        <a:pt x="748" y="508"/>
                        <a:pt x="748" y="508"/>
                        <a:pt x="748" y="508"/>
                      </a:cubicBezTo>
                      <a:cubicBezTo>
                        <a:pt x="748" y="510"/>
                        <a:pt x="747" y="512"/>
                        <a:pt x="747" y="513"/>
                      </a:cubicBezTo>
                      <a:cubicBezTo>
                        <a:pt x="744" y="512"/>
                        <a:pt x="744" y="512"/>
                        <a:pt x="744" y="512"/>
                      </a:cubicBezTo>
                      <a:cubicBezTo>
                        <a:pt x="744" y="513"/>
                        <a:pt x="744" y="513"/>
                        <a:pt x="744" y="513"/>
                      </a:cubicBezTo>
                      <a:cubicBezTo>
                        <a:pt x="746" y="514"/>
                        <a:pt x="746" y="514"/>
                        <a:pt x="746" y="514"/>
                      </a:cubicBezTo>
                      <a:cubicBezTo>
                        <a:pt x="746" y="516"/>
                        <a:pt x="745" y="518"/>
                        <a:pt x="745" y="519"/>
                      </a:cubicBezTo>
                      <a:cubicBezTo>
                        <a:pt x="739" y="517"/>
                        <a:pt x="739" y="517"/>
                        <a:pt x="739" y="517"/>
                      </a:cubicBezTo>
                      <a:cubicBezTo>
                        <a:pt x="739" y="518"/>
                        <a:pt x="739" y="518"/>
                        <a:pt x="739" y="518"/>
                      </a:cubicBezTo>
                      <a:cubicBezTo>
                        <a:pt x="732" y="515"/>
                        <a:pt x="732" y="515"/>
                        <a:pt x="732" y="515"/>
                      </a:cubicBezTo>
                      <a:cubicBezTo>
                        <a:pt x="732" y="516"/>
                        <a:pt x="732" y="516"/>
                        <a:pt x="732" y="516"/>
                      </a:cubicBezTo>
                      <a:cubicBezTo>
                        <a:pt x="739" y="518"/>
                        <a:pt x="739" y="518"/>
                        <a:pt x="739" y="518"/>
                      </a:cubicBezTo>
                      <a:cubicBezTo>
                        <a:pt x="739" y="519"/>
                        <a:pt x="739" y="519"/>
                        <a:pt x="739" y="519"/>
                      </a:cubicBezTo>
                      <a:cubicBezTo>
                        <a:pt x="744" y="521"/>
                        <a:pt x="744" y="521"/>
                        <a:pt x="744" y="521"/>
                      </a:cubicBezTo>
                      <a:cubicBezTo>
                        <a:pt x="743" y="523"/>
                        <a:pt x="743" y="524"/>
                        <a:pt x="742" y="526"/>
                      </a:cubicBezTo>
                      <a:cubicBezTo>
                        <a:pt x="739" y="525"/>
                        <a:pt x="739" y="525"/>
                        <a:pt x="739" y="525"/>
                      </a:cubicBezTo>
                      <a:cubicBezTo>
                        <a:pt x="739" y="525"/>
                        <a:pt x="739" y="525"/>
                        <a:pt x="739" y="525"/>
                      </a:cubicBezTo>
                      <a:cubicBezTo>
                        <a:pt x="742" y="527"/>
                        <a:pt x="742" y="527"/>
                        <a:pt x="742" y="527"/>
                      </a:cubicBezTo>
                      <a:cubicBezTo>
                        <a:pt x="741" y="528"/>
                        <a:pt x="740" y="530"/>
                        <a:pt x="740" y="532"/>
                      </a:cubicBezTo>
                      <a:cubicBezTo>
                        <a:pt x="737" y="531"/>
                        <a:pt x="737" y="531"/>
                        <a:pt x="737" y="531"/>
                      </a:cubicBezTo>
                      <a:cubicBezTo>
                        <a:pt x="737" y="532"/>
                        <a:pt x="737" y="532"/>
                        <a:pt x="737" y="532"/>
                      </a:cubicBezTo>
                      <a:cubicBezTo>
                        <a:pt x="739" y="533"/>
                        <a:pt x="739" y="533"/>
                        <a:pt x="739" y="533"/>
                      </a:cubicBezTo>
                      <a:cubicBezTo>
                        <a:pt x="739" y="534"/>
                        <a:pt x="738" y="536"/>
                        <a:pt x="737" y="538"/>
                      </a:cubicBezTo>
                      <a:cubicBezTo>
                        <a:pt x="734" y="537"/>
                        <a:pt x="734" y="537"/>
                        <a:pt x="734" y="537"/>
                      </a:cubicBezTo>
                      <a:cubicBezTo>
                        <a:pt x="734" y="538"/>
                        <a:pt x="734" y="538"/>
                        <a:pt x="734" y="538"/>
                      </a:cubicBezTo>
                      <a:cubicBezTo>
                        <a:pt x="737" y="539"/>
                        <a:pt x="737" y="539"/>
                        <a:pt x="737" y="539"/>
                      </a:cubicBezTo>
                      <a:cubicBezTo>
                        <a:pt x="736" y="540"/>
                        <a:pt x="735" y="542"/>
                        <a:pt x="735" y="544"/>
                      </a:cubicBezTo>
                      <a:cubicBezTo>
                        <a:pt x="732" y="543"/>
                        <a:pt x="732" y="543"/>
                        <a:pt x="732" y="543"/>
                      </a:cubicBezTo>
                      <a:cubicBezTo>
                        <a:pt x="732" y="544"/>
                        <a:pt x="732" y="544"/>
                        <a:pt x="732" y="544"/>
                      </a:cubicBezTo>
                      <a:cubicBezTo>
                        <a:pt x="734" y="545"/>
                        <a:pt x="734" y="545"/>
                        <a:pt x="734" y="545"/>
                      </a:cubicBezTo>
                      <a:cubicBezTo>
                        <a:pt x="734" y="546"/>
                        <a:pt x="733" y="548"/>
                        <a:pt x="732" y="550"/>
                      </a:cubicBezTo>
                      <a:cubicBezTo>
                        <a:pt x="729" y="549"/>
                        <a:pt x="729" y="549"/>
                        <a:pt x="729" y="549"/>
                      </a:cubicBezTo>
                      <a:cubicBezTo>
                        <a:pt x="729" y="549"/>
                        <a:pt x="729" y="549"/>
                        <a:pt x="729" y="549"/>
                      </a:cubicBezTo>
                      <a:cubicBezTo>
                        <a:pt x="732" y="551"/>
                        <a:pt x="732" y="551"/>
                        <a:pt x="732" y="551"/>
                      </a:cubicBezTo>
                      <a:cubicBezTo>
                        <a:pt x="731" y="552"/>
                        <a:pt x="730" y="554"/>
                        <a:pt x="729" y="556"/>
                      </a:cubicBezTo>
                      <a:cubicBezTo>
                        <a:pt x="726" y="555"/>
                        <a:pt x="726" y="555"/>
                        <a:pt x="726" y="555"/>
                      </a:cubicBezTo>
                      <a:cubicBezTo>
                        <a:pt x="726" y="555"/>
                        <a:pt x="726" y="555"/>
                        <a:pt x="726" y="555"/>
                      </a:cubicBezTo>
                      <a:cubicBezTo>
                        <a:pt x="729" y="557"/>
                        <a:pt x="729" y="557"/>
                        <a:pt x="729" y="557"/>
                      </a:cubicBezTo>
                      <a:cubicBezTo>
                        <a:pt x="728" y="558"/>
                        <a:pt x="727" y="560"/>
                        <a:pt x="726" y="562"/>
                      </a:cubicBezTo>
                      <a:cubicBezTo>
                        <a:pt x="724" y="560"/>
                        <a:pt x="724" y="560"/>
                        <a:pt x="724" y="560"/>
                      </a:cubicBezTo>
                      <a:cubicBezTo>
                        <a:pt x="723" y="561"/>
                        <a:pt x="723" y="561"/>
                        <a:pt x="723" y="561"/>
                      </a:cubicBezTo>
                      <a:cubicBezTo>
                        <a:pt x="726" y="563"/>
                        <a:pt x="726" y="563"/>
                        <a:pt x="726" y="563"/>
                      </a:cubicBezTo>
                      <a:cubicBezTo>
                        <a:pt x="725" y="564"/>
                        <a:pt x="724" y="566"/>
                        <a:pt x="723" y="568"/>
                      </a:cubicBezTo>
                      <a:cubicBezTo>
                        <a:pt x="721" y="566"/>
                        <a:pt x="721" y="566"/>
                        <a:pt x="721" y="566"/>
                      </a:cubicBezTo>
                      <a:cubicBezTo>
                        <a:pt x="720" y="567"/>
                        <a:pt x="720" y="567"/>
                        <a:pt x="720" y="567"/>
                      </a:cubicBezTo>
                      <a:cubicBezTo>
                        <a:pt x="723" y="568"/>
                        <a:pt x="723" y="568"/>
                        <a:pt x="723" y="568"/>
                      </a:cubicBezTo>
                      <a:cubicBezTo>
                        <a:pt x="722" y="570"/>
                        <a:pt x="721" y="572"/>
                        <a:pt x="720" y="573"/>
                      </a:cubicBezTo>
                      <a:cubicBezTo>
                        <a:pt x="717" y="572"/>
                        <a:pt x="717" y="572"/>
                        <a:pt x="717" y="572"/>
                      </a:cubicBezTo>
                      <a:cubicBezTo>
                        <a:pt x="717" y="573"/>
                        <a:pt x="717" y="573"/>
                        <a:pt x="717" y="573"/>
                      </a:cubicBezTo>
                      <a:cubicBezTo>
                        <a:pt x="720" y="574"/>
                        <a:pt x="720" y="574"/>
                        <a:pt x="720" y="574"/>
                      </a:cubicBezTo>
                      <a:cubicBezTo>
                        <a:pt x="719" y="576"/>
                        <a:pt x="718" y="577"/>
                        <a:pt x="717" y="579"/>
                      </a:cubicBezTo>
                      <a:cubicBezTo>
                        <a:pt x="712" y="576"/>
                        <a:pt x="712" y="576"/>
                        <a:pt x="712" y="576"/>
                      </a:cubicBezTo>
                      <a:cubicBezTo>
                        <a:pt x="712" y="576"/>
                        <a:pt x="712" y="576"/>
                        <a:pt x="712" y="576"/>
                      </a:cubicBezTo>
                      <a:cubicBezTo>
                        <a:pt x="705" y="573"/>
                        <a:pt x="705" y="573"/>
                        <a:pt x="705" y="573"/>
                      </a:cubicBezTo>
                      <a:cubicBezTo>
                        <a:pt x="705" y="573"/>
                        <a:pt x="705" y="573"/>
                        <a:pt x="705" y="573"/>
                      </a:cubicBezTo>
                      <a:cubicBezTo>
                        <a:pt x="712" y="577"/>
                        <a:pt x="712" y="577"/>
                        <a:pt x="712" y="577"/>
                      </a:cubicBezTo>
                      <a:cubicBezTo>
                        <a:pt x="711" y="578"/>
                        <a:pt x="711" y="578"/>
                        <a:pt x="711" y="578"/>
                      </a:cubicBezTo>
                      <a:cubicBezTo>
                        <a:pt x="716" y="580"/>
                        <a:pt x="716" y="580"/>
                        <a:pt x="716" y="580"/>
                      </a:cubicBezTo>
                      <a:cubicBezTo>
                        <a:pt x="715" y="582"/>
                        <a:pt x="714" y="583"/>
                        <a:pt x="713" y="585"/>
                      </a:cubicBezTo>
                      <a:cubicBezTo>
                        <a:pt x="711" y="583"/>
                        <a:pt x="711" y="583"/>
                        <a:pt x="711" y="583"/>
                      </a:cubicBezTo>
                      <a:cubicBezTo>
                        <a:pt x="711" y="584"/>
                        <a:pt x="711" y="584"/>
                        <a:pt x="711" y="584"/>
                      </a:cubicBezTo>
                      <a:cubicBezTo>
                        <a:pt x="713" y="585"/>
                        <a:pt x="713" y="585"/>
                        <a:pt x="713" y="585"/>
                      </a:cubicBezTo>
                      <a:cubicBezTo>
                        <a:pt x="712" y="587"/>
                        <a:pt x="711" y="589"/>
                        <a:pt x="710" y="590"/>
                      </a:cubicBezTo>
                      <a:cubicBezTo>
                        <a:pt x="708" y="589"/>
                        <a:pt x="708" y="589"/>
                        <a:pt x="708" y="589"/>
                      </a:cubicBezTo>
                      <a:cubicBezTo>
                        <a:pt x="707" y="590"/>
                        <a:pt x="707" y="590"/>
                        <a:pt x="707" y="590"/>
                      </a:cubicBezTo>
                      <a:cubicBezTo>
                        <a:pt x="710" y="591"/>
                        <a:pt x="710" y="591"/>
                        <a:pt x="710" y="591"/>
                      </a:cubicBezTo>
                      <a:cubicBezTo>
                        <a:pt x="709" y="593"/>
                        <a:pt x="707" y="594"/>
                        <a:pt x="706" y="596"/>
                      </a:cubicBezTo>
                      <a:cubicBezTo>
                        <a:pt x="704" y="594"/>
                        <a:pt x="704" y="594"/>
                        <a:pt x="704" y="594"/>
                      </a:cubicBezTo>
                      <a:cubicBezTo>
                        <a:pt x="704" y="595"/>
                        <a:pt x="704" y="595"/>
                        <a:pt x="704" y="595"/>
                      </a:cubicBezTo>
                      <a:cubicBezTo>
                        <a:pt x="706" y="597"/>
                        <a:pt x="706" y="597"/>
                        <a:pt x="706" y="597"/>
                      </a:cubicBezTo>
                      <a:cubicBezTo>
                        <a:pt x="705" y="598"/>
                        <a:pt x="704" y="600"/>
                        <a:pt x="703" y="601"/>
                      </a:cubicBezTo>
                      <a:cubicBezTo>
                        <a:pt x="700" y="600"/>
                        <a:pt x="700" y="600"/>
                        <a:pt x="700" y="600"/>
                      </a:cubicBezTo>
                      <a:cubicBezTo>
                        <a:pt x="700" y="600"/>
                        <a:pt x="700" y="600"/>
                        <a:pt x="700" y="600"/>
                      </a:cubicBezTo>
                      <a:cubicBezTo>
                        <a:pt x="702" y="602"/>
                        <a:pt x="702" y="602"/>
                        <a:pt x="702" y="602"/>
                      </a:cubicBezTo>
                      <a:cubicBezTo>
                        <a:pt x="701" y="604"/>
                        <a:pt x="700" y="605"/>
                        <a:pt x="699" y="607"/>
                      </a:cubicBezTo>
                      <a:cubicBezTo>
                        <a:pt x="697" y="605"/>
                        <a:pt x="697" y="605"/>
                        <a:pt x="697" y="605"/>
                      </a:cubicBezTo>
                      <a:cubicBezTo>
                        <a:pt x="696" y="606"/>
                        <a:pt x="696" y="606"/>
                        <a:pt x="696" y="606"/>
                      </a:cubicBezTo>
                      <a:cubicBezTo>
                        <a:pt x="699" y="607"/>
                        <a:pt x="699" y="607"/>
                        <a:pt x="699" y="607"/>
                      </a:cubicBezTo>
                      <a:cubicBezTo>
                        <a:pt x="698" y="609"/>
                        <a:pt x="696" y="611"/>
                        <a:pt x="695" y="612"/>
                      </a:cubicBezTo>
                      <a:cubicBezTo>
                        <a:pt x="693" y="610"/>
                        <a:pt x="693" y="610"/>
                        <a:pt x="693" y="610"/>
                      </a:cubicBezTo>
                      <a:cubicBezTo>
                        <a:pt x="693" y="611"/>
                        <a:pt x="693" y="611"/>
                        <a:pt x="693" y="611"/>
                      </a:cubicBezTo>
                      <a:cubicBezTo>
                        <a:pt x="695" y="613"/>
                        <a:pt x="695" y="613"/>
                        <a:pt x="695" y="613"/>
                      </a:cubicBezTo>
                      <a:cubicBezTo>
                        <a:pt x="694" y="614"/>
                        <a:pt x="693" y="616"/>
                        <a:pt x="691" y="617"/>
                      </a:cubicBezTo>
                      <a:cubicBezTo>
                        <a:pt x="689" y="616"/>
                        <a:pt x="689" y="616"/>
                        <a:pt x="689" y="616"/>
                      </a:cubicBezTo>
                      <a:cubicBezTo>
                        <a:pt x="689" y="616"/>
                        <a:pt x="689" y="616"/>
                        <a:pt x="689" y="616"/>
                      </a:cubicBezTo>
                      <a:cubicBezTo>
                        <a:pt x="691" y="618"/>
                        <a:pt x="691" y="618"/>
                        <a:pt x="691" y="618"/>
                      </a:cubicBezTo>
                      <a:cubicBezTo>
                        <a:pt x="690" y="620"/>
                        <a:pt x="689" y="621"/>
                        <a:pt x="687" y="623"/>
                      </a:cubicBezTo>
                      <a:cubicBezTo>
                        <a:pt x="685" y="621"/>
                        <a:pt x="685" y="621"/>
                        <a:pt x="685" y="621"/>
                      </a:cubicBezTo>
                      <a:cubicBezTo>
                        <a:pt x="685" y="622"/>
                        <a:pt x="685" y="622"/>
                        <a:pt x="685" y="622"/>
                      </a:cubicBezTo>
                      <a:cubicBezTo>
                        <a:pt x="687" y="623"/>
                        <a:pt x="687" y="623"/>
                        <a:pt x="687" y="623"/>
                      </a:cubicBezTo>
                      <a:cubicBezTo>
                        <a:pt x="686" y="625"/>
                        <a:pt x="684" y="626"/>
                        <a:pt x="683" y="628"/>
                      </a:cubicBezTo>
                      <a:cubicBezTo>
                        <a:pt x="681" y="626"/>
                        <a:pt x="681" y="626"/>
                        <a:pt x="681" y="626"/>
                      </a:cubicBezTo>
                      <a:cubicBezTo>
                        <a:pt x="681" y="627"/>
                        <a:pt x="681" y="627"/>
                        <a:pt x="681" y="627"/>
                      </a:cubicBezTo>
                      <a:cubicBezTo>
                        <a:pt x="683" y="628"/>
                        <a:pt x="683" y="628"/>
                        <a:pt x="683" y="628"/>
                      </a:cubicBezTo>
                      <a:cubicBezTo>
                        <a:pt x="682" y="630"/>
                        <a:pt x="681" y="631"/>
                        <a:pt x="679" y="632"/>
                      </a:cubicBezTo>
                      <a:cubicBezTo>
                        <a:pt x="675" y="629"/>
                        <a:pt x="675" y="629"/>
                        <a:pt x="675" y="629"/>
                      </a:cubicBezTo>
                      <a:cubicBezTo>
                        <a:pt x="675" y="629"/>
                        <a:pt x="675" y="629"/>
                        <a:pt x="675" y="629"/>
                      </a:cubicBezTo>
                      <a:cubicBezTo>
                        <a:pt x="669" y="624"/>
                        <a:pt x="669" y="624"/>
                        <a:pt x="669" y="624"/>
                      </a:cubicBezTo>
                      <a:cubicBezTo>
                        <a:pt x="669" y="625"/>
                        <a:pt x="669" y="625"/>
                        <a:pt x="669" y="625"/>
                      </a:cubicBezTo>
                      <a:cubicBezTo>
                        <a:pt x="675" y="630"/>
                        <a:pt x="675" y="630"/>
                        <a:pt x="675" y="630"/>
                      </a:cubicBezTo>
                      <a:cubicBezTo>
                        <a:pt x="674" y="630"/>
                        <a:pt x="674" y="630"/>
                        <a:pt x="674" y="630"/>
                      </a:cubicBezTo>
                      <a:cubicBezTo>
                        <a:pt x="678" y="634"/>
                        <a:pt x="678" y="634"/>
                        <a:pt x="678" y="634"/>
                      </a:cubicBezTo>
                      <a:cubicBezTo>
                        <a:pt x="677" y="635"/>
                        <a:pt x="676" y="637"/>
                        <a:pt x="675" y="638"/>
                      </a:cubicBezTo>
                      <a:cubicBezTo>
                        <a:pt x="673" y="636"/>
                        <a:pt x="673" y="636"/>
                        <a:pt x="673" y="636"/>
                      </a:cubicBezTo>
                      <a:cubicBezTo>
                        <a:pt x="672" y="637"/>
                        <a:pt x="672" y="637"/>
                        <a:pt x="672" y="637"/>
                      </a:cubicBezTo>
                      <a:cubicBezTo>
                        <a:pt x="674" y="638"/>
                        <a:pt x="674" y="638"/>
                        <a:pt x="674" y="638"/>
                      </a:cubicBezTo>
                      <a:cubicBezTo>
                        <a:pt x="673" y="640"/>
                        <a:pt x="672" y="641"/>
                        <a:pt x="670" y="643"/>
                      </a:cubicBezTo>
                      <a:cubicBezTo>
                        <a:pt x="668" y="641"/>
                        <a:pt x="668" y="641"/>
                        <a:pt x="668" y="641"/>
                      </a:cubicBezTo>
                      <a:cubicBezTo>
                        <a:pt x="668" y="641"/>
                        <a:pt x="668" y="641"/>
                        <a:pt x="668" y="641"/>
                      </a:cubicBezTo>
                      <a:cubicBezTo>
                        <a:pt x="670" y="643"/>
                        <a:pt x="670" y="643"/>
                        <a:pt x="670" y="643"/>
                      </a:cubicBezTo>
                      <a:cubicBezTo>
                        <a:pt x="669" y="645"/>
                        <a:pt x="667" y="646"/>
                        <a:pt x="666" y="648"/>
                      </a:cubicBezTo>
                      <a:cubicBezTo>
                        <a:pt x="664" y="646"/>
                        <a:pt x="664" y="646"/>
                        <a:pt x="664" y="646"/>
                      </a:cubicBezTo>
                      <a:cubicBezTo>
                        <a:pt x="663" y="646"/>
                        <a:pt x="663" y="646"/>
                        <a:pt x="663" y="646"/>
                      </a:cubicBezTo>
                      <a:cubicBezTo>
                        <a:pt x="666" y="648"/>
                        <a:pt x="666" y="648"/>
                        <a:pt x="666" y="648"/>
                      </a:cubicBezTo>
                      <a:cubicBezTo>
                        <a:pt x="664" y="650"/>
                        <a:pt x="663" y="651"/>
                        <a:pt x="662" y="652"/>
                      </a:cubicBezTo>
                      <a:cubicBezTo>
                        <a:pt x="660" y="650"/>
                        <a:pt x="660" y="650"/>
                        <a:pt x="660" y="650"/>
                      </a:cubicBezTo>
                      <a:cubicBezTo>
                        <a:pt x="659" y="651"/>
                        <a:pt x="659" y="651"/>
                        <a:pt x="659" y="651"/>
                      </a:cubicBezTo>
                      <a:cubicBezTo>
                        <a:pt x="661" y="653"/>
                        <a:pt x="661" y="653"/>
                        <a:pt x="661" y="653"/>
                      </a:cubicBezTo>
                      <a:cubicBezTo>
                        <a:pt x="660" y="654"/>
                        <a:pt x="658" y="656"/>
                        <a:pt x="657" y="657"/>
                      </a:cubicBezTo>
                      <a:cubicBezTo>
                        <a:pt x="655" y="655"/>
                        <a:pt x="655" y="655"/>
                        <a:pt x="655" y="655"/>
                      </a:cubicBezTo>
                      <a:cubicBezTo>
                        <a:pt x="654" y="656"/>
                        <a:pt x="654" y="656"/>
                        <a:pt x="654" y="656"/>
                      </a:cubicBezTo>
                      <a:cubicBezTo>
                        <a:pt x="656" y="658"/>
                        <a:pt x="656" y="658"/>
                        <a:pt x="656" y="658"/>
                      </a:cubicBezTo>
                      <a:cubicBezTo>
                        <a:pt x="655" y="659"/>
                        <a:pt x="654" y="660"/>
                        <a:pt x="652" y="662"/>
                      </a:cubicBezTo>
                      <a:cubicBezTo>
                        <a:pt x="650" y="660"/>
                        <a:pt x="650" y="660"/>
                        <a:pt x="650" y="660"/>
                      </a:cubicBezTo>
                      <a:cubicBezTo>
                        <a:pt x="650" y="660"/>
                        <a:pt x="650" y="660"/>
                        <a:pt x="650" y="660"/>
                      </a:cubicBezTo>
                      <a:cubicBezTo>
                        <a:pt x="652" y="662"/>
                        <a:pt x="652" y="662"/>
                        <a:pt x="652" y="662"/>
                      </a:cubicBezTo>
                      <a:cubicBezTo>
                        <a:pt x="650" y="664"/>
                        <a:pt x="649" y="665"/>
                        <a:pt x="648" y="666"/>
                      </a:cubicBezTo>
                      <a:cubicBezTo>
                        <a:pt x="646" y="664"/>
                        <a:pt x="646" y="664"/>
                        <a:pt x="646" y="664"/>
                      </a:cubicBezTo>
                      <a:cubicBezTo>
                        <a:pt x="645" y="665"/>
                        <a:pt x="645" y="665"/>
                        <a:pt x="645" y="665"/>
                      </a:cubicBezTo>
                      <a:cubicBezTo>
                        <a:pt x="647" y="667"/>
                        <a:pt x="647" y="667"/>
                        <a:pt x="647" y="667"/>
                      </a:cubicBezTo>
                      <a:cubicBezTo>
                        <a:pt x="646" y="668"/>
                        <a:pt x="644" y="669"/>
                        <a:pt x="643" y="671"/>
                      </a:cubicBezTo>
                      <a:cubicBezTo>
                        <a:pt x="641" y="669"/>
                        <a:pt x="641" y="669"/>
                        <a:pt x="641" y="669"/>
                      </a:cubicBezTo>
                      <a:cubicBezTo>
                        <a:pt x="640" y="669"/>
                        <a:pt x="640" y="669"/>
                        <a:pt x="640" y="669"/>
                      </a:cubicBezTo>
                      <a:cubicBezTo>
                        <a:pt x="642" y="671"/>
                        <a:pt x="642" y="671"/>
                        <a:pt x="642" y="671"/>
                      </a:cubicBezTo>
                      <a:cubicBezTo>
                        <a:pt x="641" y="672"/>
                        <a:pt x="639" y="674"/>
                        <a:pt x="638" y="675"/>
                      </a:cubicBezTo>
                      <a:cubicBezTo>
                        <a:pt x="636" y="673"/>
                        <a:pt x="636" y="673"/>
                        <a:pt x="636" y="673"/>
                      </a:cubicBezTo>
                      <a:cubicBezTo>
                        <a:pt x="635" y="673"/>
                        <a:pt x="635" y="673"/>
                        <a:pt x="635" y="673"/>
                      </a:cubicBezTo>
                      <a:cubicBezTo>
                        <a:pt x="637" y="676"/>
                        <a:pt x="637" y="676"/>
                        <a:pt x="637" y="676"/>
                      </a:cubicBezTo>
                      <a:cubicBezTo>
                        <a:pt x="636" y="677"/>
                        <a:pt x="635" y="678"/>
                        <a:pt x="633" y="679"/>
                      </a:cubicBezTo>
                      <a:cubicBezTo>
                        <a:pt x="630" y="675"/>
                        <a:pt x="630" y="675"/>
                        <a:pt x="630" y="675"/>
                      </a:cubicBezTo>
                      <a:cubicBezTo>
                        <a:pt x="629" y="675"/>
                        <a:pt x="629" y="675"/>
                        <a:pt x="629" y="675"/>
                      </a:cubicBezTo>
                      <a:cubicBezTo>
                        <a:pt x="624" y="669"/>
                        <a:pt x="624" y="669"/>
                        <a:pt x="624" y="669"/>
                      </a:cubicBezTo>
                      <a:cubicBezTo>
                        <a:pt x="624" y="670"/>
                        <a:pt x="624" y="670"/>
                        <a:pt x="624" y="670"/>
                      </a:cubicBezTo>
                      <a:cubicBezTo>
                        <a:pt x="629" y="676"/>
                        <a:pt x="629" y="676"/>
                        <a:pt x="629" y="676"/>
                      </a:cubicBezTo>
                      <a:cubicBezTo>
                        <a:pt x="628" y="676"/>
                        <a:pt x="628" y="676"/>
                        <a:pt x="628" y="676"/>
                      </a:cubicBezTo>
                      <a:cubicBezTo>
                        <a:pt x="632" y="680"/>
                        <a:pt x="632" y="680"/>
                        <a:pt x="632" y="680"/>
                      </a:cubicBezTo>
                      <a:cubicBezTo>
                        <a:pt x="630" y="681"/>
                        <a:pt x="629" y="682"/>
                        <a:pt x="628" y="684"/>
                      </a:cubicBezTo>
                      <a:cubicBezTo>
                        <a:pt x="626" y="681"/>
                        <a:pt x="626" y="681"/>
                        <a:pt x="626" y="681"/>
                      </a:cubicBezTo>
                      <a:cubicBezTo>
                        <a:pt x="625" y="682"/>
                        <a:pt x="625" y="682"/>
                        <a:pt x="625" y="682"/>
                      </a:cubicBezTo>
                      <a:cubicBezTo>
                        <a:pt x="627" y="684"/>
                        <a:pt x="627" y="684"/>
                        <a:pt x="627" y="684"/>
                      </a:cubicBezTo>
                      <a:cubicBezTo>
                        <a:pt x="626" y="685"/>
                        <a:pt x="624" y="686"/>
                        <a:pt x="623" y="688"/>
                      </a:cubicBezTo>
                      <a:cubicBezTo>
                        <a:pt x="621" y="685"/>
                        <a:pt x="621" y="685"/>
                        <a:pt x="621" y="685"/>
                      </a:cubicBezTo>
                      <a:cubicBezTo>
                        <a:pt x="620" y="686"/>
                        <a:pt x="620" y="686"/>
                        <a:pt x="620" y="686"/>
                      </a:cubicBezTo>
                      <a:cubicBezTo>
                        <a:pt x="622" y="688"/>
                        <a:pt x="622" y="688"/>
                        <a:pt x="622" y="688"/>
                      </a:cubicBezTo>
                      <a:cubicBezTo>
                        <a:pt x="621" y="689"/>
                        <a:pt x="619" y="690"/>
                        <a:pt x="617" y="692"/>
                      </a:cubicBezTo>
                      <a:cubicBezTo>
                        <a:pt x="616" y="689"/>
                        <a:pt x="616" y="689"/>
                        <a:pt x="616" y="689"/>
                      </a:cubicBezTo>
                      <a:cubicBezTo>
                        <a:pt x="615" y="690"/>
                        <a:pt x="615" y="690"/>
                        <a:pt x="615" y="690"/>
                      </a:cubicBezTo>
                      <a:cubicBezTo>
                        <a:pt x="617" y="692"/>
                        <a:pt x="617" y="692"/>
                        <a:pt x="617" y="692"/>
                      </a:cubicBezTo>
                      <a:cubicBezTo>
                        <a:pt x="615" y="693"/>
                        <a:pt x="614" y="694"/>
                        <a:pt x="612" y="696"/>
                      </a:cubicBezTo>
                      <a:cubicBezTo>
                        <a:pt x="610" y="693"/>
                        <a:pt x="610" y="693"/>
                        <a:pt x="610" y="693"/>
                      </a:cubicBezTo>
                      <a:cubicBezTo>
                        <a:pt x="610" y="694"/>
                        <a:pt x="610" y="694"/>
                        <a:pt x="610" y="694"/>
                      </a:cubicBezTo>
                      <a:cubicBezTo>
                        <a:pt x="612" y="696"/>
                        <a:pt x="612" y="696"/>
                        <a:pt x="612" y="696"/>
                      </a:cubicBezTo>
                      <a:cubicBezTo>
                        <a:pt x="610" y="697"/>
                        <a:pt x="608" y="698"/>
                        <a:pt x="607" y="699"/>
                      </a:cubicBezTo>
                      <a:cubicBezTo>
                        <a:pt x="605" y="697"/>
                        <a:pt x="605" y="697"/>
                        <a:pt x="605" y="697"/>
                      </a:cubicBezTo>
                      <a:cubicBezTo>
                        <a:pt x="605" y="697"/>
                        <a:pt x="605" y="697"/>
                        <a:pt x="605" y="697"/>
                      </a:cubicBezTo>
                      <a:cubicBezTo>
                        <a:pt x="606" y="700"/>
                        <a:pt x="606" y="700"/>
                        <a:pt x="606" y="700"/>
                      </a:cubicBezTo>
                      <a:cubicBezTo>
                        <a:pt x="605" y="701"/>
                        <a:pt x="603" y="702"/>
                        <a:pt x="601" y="703"/>
                      </a:cubicBezTo>
                      <a:cubicBezTo>
                        <a:pt x="600" y="701"/>
                        <a:pt x="600" y="701"/>
                        <a:pt x="600" y="701"/>
                      </a:cubicBezTo>
                      <a:cubicBezTo>
                        <a:pt x="599" y="701"/>
                        <a:pt x="599" y="701"/>
                        <a:pt x="599" y="701"/>
                      </a:cubicBezTo>
                      <a:cubicBezTo>
                        <a:pt x="601" y="704"/>
                        <a:pt x="601" y="704"/>
                        <a:pt x="601" y="704"/>
                      </a:cubicBezTo>
                      <a:cubicBezTo>
                        <a:pt x="599" y="705"/>
                        <a:pt x="598" y="706"/>
                        <a:pt x="596" y="707"/>
                      </a:cubicBezTo>
                      <a:cubicBezTo>
                        <a:pt x="594" y="704"/>
                        <a:pt x="594" y="704"/>
                        <a:pt x="594" y="704"/>
                      </a:cubicBezTo>
                      <a:cubicBezTo>
                        <a:pt x="594" y="705"/>
                        <a:pt x="594" y="705"/>
                        <a:pt x="594" y="705"/>
                      </a:cubicBezTo>
                      <a:cubicBezTo>
                        <a:pt x="595" y="707"/>
                        <a:pt x="595" y="707"/>
                        <a:pt x="595" y="707"/>
                      </a:cubicBezTo>
                      <a:cubicBezTo>
                        <a:pt x="594" y="708"/>
                        <a:pt x="592" y="709"/>
                        <a:pt x="590" y="710"/>
                      </a:cubicBezTo>
                      <a:cubicBezTo>
                        <a:pt x="589" y="708"/>
                        <a:pt x="589" y="708"/>
                        <a:pt x="589" y="708"/>
                      </a:cubicBezTo>
                      <a:cubicBezTo>
                        <a:pt x="588" y="708"/>
                        <a:pt x="588" y="708"/>
                        <a:pt x="588" y="708"/>
                      </a:cubicBezTo>
                      <a:cubicBezTo>
                        <a:pt x="590" y="711"/>
                        <a:pt x="590" y="711"/>
                        <a:pt x="590" y="711"/>
                      </a:cubicBezTo>
                      <a:cubicBezTo>
                        <a:pt x="588" y="712"/>
                        <a:pt x="587" y="713"/>
                        <a:pt x="585" y="714"/>
                      </a:cubicBezTo>
                      <a:cubicBezTo>
                        <a:pt x="583" y="711"/>
                        <a:pt x="583" y="711"/>
                        <a:pt x="583" y="711"/>
                      </a:cubicBezTo>
                      <a:cubicBezTo>
                        <a:pt x="583" y="712"/>
                        <a:pt x="583" y="712"/>
                        <a:pt x="583" y="712"/>
                      </a:cubicBezTo>
                      <a:cubicBezTo>
                        <a:pt x="584" y="714"/>
                        <a:pt x="584" y="714"/>
                        <a:pt x="584" y="714"/>
                      </a:cubicBezTo>
                      <a:cubicBezTo>
                        <a:pt x="583" y="715"/>
                        <a:pt x="581" y="716"/>
                        <a:pt x="580" y="717"/>
                      </a:cubicBezTo>
                      <a:cubicBezTo>
                        <a:pt x="577" y="712"/>
                        <a:pt x="577" y="712"/>
                        <a:pt x="577" y="712"/>
                      </a:cubicBezTo>
                      <a:cubicBezTo>
                        <a:pt x="576" y="712"/>
                        <a:pt x="576" y="712"/>
                        <a:pt x="576" y="712"/>
                      </a:cubicBezTo>
                      <a:cubicBezTo>
                        <a:pt x="573" y="706"/>
                        <a:pt x="573" y="706"/>
                        <a:pt x="573" y="706"/>
                      </a:cubicBezTo>
                      <a:cubicBezTo>
                        <a:pt x="572" y="706"/>
                        <a:pt x="572" y="706"/>
                        <a:pt x="572" y="706"/>
                      </a:cubicBezTo>
                      <a:cubicBezTo>
                        <a:pt x="576" y="713"/>
                        <a:pt x="576" y="713"/>
                        <a:pt x="576" y="713"/>
                      </a:cubicBezTo>
                      <a:cubicBezTo>
                        <a:pt x="575" y="713"/>
                        <a:pt x="575" y="713"/>
                        <a:pt x="575" y="713"/>
                      </a:cubicBezTo>
                      <a:cubicBezTo>
                        <a:pt x="578" y="718"/>
                        <a:pt x="578" y="718"/>
                        <a:pt x="578" y="718"/>
                      </a:cubicBezTo>
                      <a:cubicBezTo>
                        <a:pt x="577" y="719"/>
                        <a:pt x="575" y="719"/>
                        <a:pt x="573" y="720"/>
                      </a:cubicBezTo>
                      <a:cubicBezTo>
                        <a:pt x="572" y="718"/>
                        <a:pt x="572" y="718"/>
                        <a:pt x="572" y="718"/>
                      </a:cubicBezTo>
                      <a:cubicBezTo>
                        <a:pt x="571" y="718"/>
                        <a:pt x="571" y="718"/>
                        <a:pt x="571" y="718"/>
                      </a:cubicBezTo>
                      <a:cubicBezTo>
                        <a:pt x="573" y="721"/>
                        <a:pt x="573" y="721"/>
                        <a:pt x="573" y="721"/>
                      </a:cubicBezTo>
                      <a:cubicBezTo>
                        <a:pt x="571" y="722"/>
                        <a:pt x="569" y="723"/>
                        <a:pt x="568" y="723"/>
                      </a:cubicBezTo>
                      <a:cubicBezTo>
                        <a:pt x="566" y="721"/>
                        <a:pt x="566" y="721"/>
                        <a:pt x="566" y="721"/>
                      </a:cubicBezTo>
                      <a:cubicBezTo>
                        <a:pt x="566" y="721"/>
                        <a:pt x="566" y="721"/>
                        <a:pt x="566" y="721"/>
                      </a:cubicBezTo>
                      <a:cubicBezTo>
                        <a:pt x="567" y="724"/>
                        <a:pt x="567" y="724"/>
                        <a:pt x="567" y="724"/>
                      </a:cubicBezTo>
                      <a:cubicBezTo>
                        <a:pt x="565" y="725"/>
                        <a:pt x="564" y="726"/>
                        <a:pt x="562" y="727"/>
                      </a:cubicBezTo>
                      <a:cubicBezTo>
                        <a:pt x="561" y="724"/>
                        <a:pt x="561" y="724"/>
                        <a:pt x="561" y="724"/>
                      </a:cubicBezTo>
                      <a:cubicBezTo>
                        <a:pt x="560" y="724"/>
                        <a:pt x="560" y="724"/>
                        <a:pt x="560" y="724"/>
                      </a:cubicBezTo>
                      <a:cubicBezTo>
                        <a:pt x="561" y="727"/>
                        <a:pt x="561" y="727"/>
                        <a:pt x="561" y="727"/>
                      </a:cubicBezTo>
                      <a:cubicBezTo>
                        <a:pt x="560" y="728"/>
                        <a:pt x="558" y="729"/>
                        <a:pt x="556" y="729"/>
                      </a:cubicBezTo>
                      <a:cubicBezTo>
                        <a:pt x="555" y="727"/>
                        <a:pt x="555" y="727"/>
                        <a:pt x="555" y="727"/>
                      </a:cubicBezTo>
                      <a:cubicBezTo>
                        <a:pt x="554" y="727"/>
                        <a:pt x="554" y="727"/>
                        <a:pt x="554" y="727"/>
                      </a:cubicBezTo>
                      <a:cubicBezTo>
                        <a:pt x="555" y="730"/>
                        <a:pt x="555" y="730"/>
                        <a:pt x="555" y="730"/>
                      </a:cubicBezTo>
                      <a:cubicBezTo>
                        <a:pt x="554" y="731"/>
                        <a:pt x="552" y="732"/>
                        <a:pt x="550" y="732"/>
                      </a:cubicBezTo>
                      <a:cubicBezTo>
                        <a:pt x="549" y="730"/>
                        <a:pt x="549" y="730"/>
                        <a:pt x="549" y="730"/>
                      </a:cubicBezTo>
                      <a:cubicBezTo>
                        <a:pt x="548" y="730"/>
                        <a:pt x="548" y="730"/>
                        <a:pt x="548" y="730"/>
                      </a:cubicBezTo>
                      <a:cubicBezTo>
                        <a:pt x="549" y="733"/>
                        <a:pt x="549" y="733"/>
                        <a:pt x="549" y="733"/>
                      </a:cubicBezTo>
                      <a:cubicBezTo>
                        <a:pt x="548" y="733"/>
                        <a:pt x="546" y="734"/>
                        <a:pt x="544" y="735"/>
                      </a:cubicBezTo>
                      <a:cubicBezTo>
                        <a:pt x="543" y="732"/>
                        <a:pt x="543" y="732"/>
                        <a:pt x="543" y="732"/>
                      </a:cubicBezTo>
                      <a:cubicBezTo>
                        <a:pt x="542" y="733"/>
                        <a:pt x="542" y="733"/>
                        <a:pt x="542" y="733"/>
                      </a:cubicBezTo>
                      <a:cubicBezTo>
                        <a:pt x="543" y="735"/>
                        <a:pt x="543" y="735"/>
                        <a:pt x="543" y="735"/>
                      </a:cubicBezTo>
                      <a:cubicBezTo>
                        <a:pt x="542" y="736"/>
                        <a:pt x="540" y="737"/>
                        <a:pt x="538" y="738"/>
                      </a:cubicBezTo>
                      <a:cubicBezTo>
                        <a:pt x="537" y="735"/>
                        <a:pt x="537" y="735"/>
                        <a:pt x="537" y="735"/>
                      </a:cubicBezTo>
                      <a:cubicBezTo>
                        <a:pt x="536" y="735"/>
                        <a:pt x="536" y="735"/>
                        <a:pt x="536" y="735"/>
                      </a:cubicBezTo>
                      <a:cubicBezTo>
                        <a:pt x="537" y="738"/>
                        <a:pt x="537" y="738"/>
                        <a:pt x="537" y="738"/>
                      </a:cubicBezTo>
                      <a:cubicBezTo>
                        <a:pt x="536" y="739"/>
                        <a:pt x="534" y="740"/>
                        <a:pt x="532" y="740"/>
                      </a:cubicBezTo>
                      <a:cubicBezTo>
                        <a:pt x="531" y="737"/>
                        <a:pt x="531" y="737"/>
                        <a:pt x="531" y="737"/>
                      </a:cubicBezTo>
                      <a:cubicBezTo>
                        <a:pt x="530" y="738"/>
                        <a:pt x="530" y="738"/>
                        <a:pt x="530" y="738"/>
                      </a:cubicBezTo>
                      <a:cubicBezTo>
                        <a:pt x="531" y="741"/>
                        <a:pt x="531" y="741"/>
                        <a:pt x="531" y="741"/>
                      </a:cubicBezTo>
                      <a:cubicBezTo>
                        <a:pt x="530" y="741"/>
                        <a:pt x="528" y="742"/>
                        <a:pt x="526" y="743"/>
                      </a:cubicBezTo>
                      <a:cubicBezTo>
                        <a:pt x="525" y="740"/>
                        <a:pt x="525" y="740"/>
                        <a:pt x="525" y="740"/>
                      </a:cubicBezTo>
                      <a:cubicBezTo>
                        <a:pt x="524" y="740"/>
                        <a:pt x="524" y="740"/>
                        <a:pt x="524" y="740"/>
                      </a:cubicBezTo>
                      <a:cubicBezTo>
                        <a:pt x="525" y="743"/>
                        <a:pt x="525" y="743"/>
                        <a:pt x="525" y="743"/>
                      </a:cubicBezTo>
                      <a:cubicBezTo>
                        <a:pt x="524" y="744"/>
                        <a:pt x="522" y="744"/>
                        <a:pt x="520" y="745"/>
                      </a:cubicBezTo>
                      <a:cubicBezTo>
                        <a:pt x="518" y="740"/>
                        <a:pt x="518" y="740"/>
                        <a:pt x="518" y="740"/>
                      </a:cubicBezTo>
                      <a:cubicBezTo>
                        <a:pt x="518" y="740"/>
                        <a:pt x="518" y="740"/>
                        <a:pt x="518" y="740"/>
                      </a:cubicBezTo>
                      <a:cubicBezTo>
                        <a:pt x="515" y="733"/>
                        <a:pt x="515" y="733"/>
                        <a:pt x="515" y="733"/>
                      </a:cubicBezTo>
                      <a:cubicBezTo>
                        <a:pt x="515" y="733"/>
                        <a:pt x="515" y="733"/>
                        <a:pt x="515" y="733"/>
                      </a:cubicBezTo>
                      <a:cubicBezTo>
                        <a:pt x="517" y="740"/>
                        <a:pt x="517" y="740"/>
                        <a:pt x="517" y="740"/>
                      </a:cubicBezTo>
                      <a:cubicBezTo>
                        <a:pt x="517" y="740"/>
                        <a:pt x="517" y="740"/>
                        <a:pt x="517" y="740"/>
                      </a:cubicBezTo>
                      <a:cubicBezTo>
                        <a:pt x="519" y="745"/>
                        <a:pt x="519" y="745"/>
                        <a:pt x="519" y="745"/>
                      </a:cubicBezTo>
                      <a:cubicBezTo>
                        <a:pt x="517" y="746"/>
                        <a:pt x="515" y="747"/>
                        <a:pt x="514" y="747"/>
                      </a:cubicBezTo>
                      <a:cubicBezTo>
                        <a:pt x="513" y="744"/>
                        <a:pt x="513" y="744"/>
                        <a:pt x="513" y="744"/>
                      </a:cubicBezTo>
                      <a:cubicBezTo>
                        <a:pt x="512" y="745"/>
                        <a:pt x="512" y="745"/>
                        <a:pt x="512" y="745"/>
                      </a:cubicBezTo>
                      <a:cubicBezTo>
                        <a:pt x="513" y="747"/>
                        <a:pt x="513" y="747"/>
                        <a:pt x="513" y="747"/>
                      </a:cubicBezTo>
                      <a:cubicBezTo>
                        <a:pt x="511" y="748"/>
                        <a:pt x="509" y="749"/>
                        <a:pt x="507" y="749"/>
                      </a:cubicBezTo>
                      <a:cubicBezTo>
                        <a:pt x="506" y="746"/>
                        <a:pt x="506" y="746"/>
                        <a:pt x="506" y="746"/>
                      </a:cubicBezTo>
                      <a:cubicBezTo>
                        <a:pt x="506" y="747"/>
                        <a:pt x="506" y="747"/>
                        <a:pt x="506" y="747"/>
                      </a:cubicBezTo>
                      <a:cubicBezTo>
                        <a:pt x="507" y="750"/>
                        <a:pt x="507" y="750"/>
                        <a:pt x="507" y="750"/>
                      </a:cubicBezTo>
                      <a:cubicBezTo>
                        <a:pt x="505" y="750"/>
                        <a:pt x="503" y="751"/>
                        <a:pt x="501" y="751"/>
                      </a:cubicBezTo>
                      <a:cubicBezTo>
                        <a:pt x="500" y="748"/>
                        <a:pt x="500" y="748"/>
                        <a:pt x="500" y="748"/>
                      </a:cubicBezTo>
                      <a:cubicBezTo>
                        <a:pt x="500" y="749"/>
                        <a:pt x="500" y="749"/>
                        <a:pt x="500" y="749"/>
                      </a:cubicBezTo>
                      <a:cubicBezTo>
                        <a:pt x="500" y="752"/>
                        <a:pt x="500" y="752"/>
                        <a:pt x="500" y="752"/>
                      </a:cubicBezTo>
                      <a:cubicBezTo>
                        <a:pt x="499" y="752"/>
                        <a:pt x="497" y="753"/>
                        <a:pt x="495" y="753"/>
                      </a:cubicBezTo>
                      <a:cubicBezTo>
                        <a:pt x="494" y="750"/>
                        <a:pt x="494" y="750"/>
                        <a:pt x="494" y="750"/>
                      </a:cubicBezTo>
                      <a:cubicBezTo>
                        <a:pt x="493" y="750"/>
                        <a:pt x="493" y="750"/>
                        <a:pt x="493" y="750"/>
                      </a:cubicBezTo>
                      <a:cubicBezTo>
                        <a:pt x="494" y="753"/>
                        <a:pt x="494" y="753"/>
                        <a:pt x="494" y="753"/>
                      </a:cubicBezTo>
                      <a:cubicBezTo>
                        <a:pt x="492" y="754"/>
                        <a:pt x="490" y="754"/>
                        <a:pt x="489" y="755"/>
                      </a:cubicBezTo>
                      <a:cubicBezTo>
                        <a:pt x="488" y="752"/>
                        <a:pt x="488" y="752"/>
                        <a:pt x="488" y="752"/>
                      </a:cubicBezTo>
                      <a:cubicBezTo>
                        <a:pt x="487" y="752"/>
                        <a:pt x="487" y="752"/>
                        <a:pt x="487" y="752"/>
                      </a:cubicBezTo>
                      <a:cubicBezTo>
                        <a:pt x="488" y="755"/>
                        <a:pt x="488" y="755"/>
                        <a:pt x="488" y="755"/>
                      </a:cubicBezTo>
                      <a:cubicBezTo>
                        <a:pt x="486" y="756"/>
                        <a:pt x="484" y="756"/>
                        <a:pt x="482" y="757"/>
                      </a:cubicBezTo>
                      <a:cubicBezTo>
                        <a:pt x="481" y="754"/>
                        <a:pt x="481" y="754"/>
                        <a:pt x="481" y="754"/>
                      </a:cubicBezTo>
                      <a:cubicBezTo>
                        <a:pt x="481" y="754"/>
                        <a:pt x="481" y="754"/>
                        <a:pt x="481" y="754"/>
                      </a:cubicBezTo>
                      <a:cubicBezTo>
                        <a:pt x="481" y="757"/>
                        <a:pt x="481" y="757"/>
                        <a:pt x="481" y="757"/>
                      </a:cubicBezTo>
                      <a:cubicBezTo>
                        <a:pt x="480" y="757"/>
                        <a:pt x="478" y="758"/>
                        <a:pt x="476" y="758"/>
                      </a:cubicBezTo>
                      <a:cubicBezTo>
                        <a:pt x="475" y="755"/>
                        <a:pt x="475" y="755"/>
                        <a:pt x="475" y="755"/>
                      </a:cubicBezTo>
                      <a:cubicBezTo>
                        <a:pt x="474" y="755"/>
                        <a:pt x="474" y="755"/>
                        <a:pt x="474" y="755"/>
                      </a:cubicBezTo>
                      <a:cubicBezTo>
                        <a:pt x="475" y="758"/>
                        <a:pt x="475" y="758"/>
                        <a:pt x="475" y="758"/>
                      </a:cubicBezTo>
                      <a:cubicBezTo>
                        <a:pt x="473" y="759"/>
                        <a:pt x="471" y="759"/>
                        <a:pt x="469" y="760"/>
                      </a:cubicBezTo>
                      <a:cubicBezTo>
                        <a:pt x="469" y="757"/>
                        <a:pt x="469" y="757"/>
                        <a:pt x="469" y="757"/>
                      </a:cubicBezTo>
                      <a:cubicBezTo>
                        <a:pt x="468" y="757"/>
                        <a:pt x="468" y="757"/>
                        <a:pt x="468" y="757"/>
                      </a:cubicBezTo>
                      <a:cubicBezTo>
                        <a:pt x="469" y="760"/>
                        <a:pt x="469" y="760"/>
                        <a:pt x="469" y="760"/>
                      </a:cubicBezTo>
                      <a:cubicBezTo>
                        <a:pt x="467" y="760"/>
                        <a:pt x="465" y="760"/>
                        <a:pt x="463" y="761"/>
                      </a:cubicBezTo>
                      <a:cubicBezTo>
                        <a:pt x="462" y="758"/>
                        <a:pt x="462" y="758"/>
                        <a:pt x="462" y="758"/>
                      </a:cubicBezTo>
                      <a:cubicBezTo>
                        <a:pt x="462" y="758"/>
                        <a:pt x="462" y="758"/>
                        <a:pt x="462" y="758"/>
                      </a:cubicBezTo>
                      <a:cubicBezTo>
                        <a:pt x="462" y="761"/>
                        <a:pt x="462" y="761"/>
                        <a:pt x="462" y="761"/>
                      </a:cubicBezTo>
                      <a:cubicBezTo>
                        <a:pt x="460" y="761"/>
                        <a:pt x="459" y="762"/>
                        <a:pt x="457" y="762"/>
                      </a:cubicBezTo>
                      <a:cubicBezTo>
                        <a:pt x="456" y="757"/>
                        <a:pt x="456" y="757"/>
                        <a:pt x="456" y="757"/>
                      </a:cubicBezTo>
                      <a:cubicBezTo>
                        <a:pt x="456" y="757"/>
                        <a:pt x="456" y="757"/>
                        <a:pt x="456" y="757"/>
                      </a:cubicBezTo>
                      <a:cubicBezTo>
                        <a:pt x="454" y="749"/>
                        <a:pt x="454" y="749"/>
                        <a:pt x="454" y="749"/>
                      </a:cubicBezTo>
                      <a:cubicBezTo>
                        <a:pt x="453" y="749"/>
                        <a:pt x="453" y="749"/>
                        <a:pt x="453" y="749"/>
                      </a:cubicBezTo>
                      <a:cubicBezTo>
                        <a:pt x="455" y="757"/>
                        <a:pt x="455" y="757"/>
                        <a:pt x="455" y="757"/>
                      </a:cubicBezTo>
                      <a:cubicBezTo>
                        <a:pt x="454" y="757"/>
                        <a:pt x="454" y="757"/>
                        <a:pt x="454" y="757"/>
                      </a:cubicBezTo>
                      <a:cubicBezTo>
                        <a:pt x="455" y="762"/>
                        <a:pt x="455" y="762"/>
                        <a:pt x="455" y="762"/>
                      </a:cubicBezTo>
                      <a:cubicBezTo>
                        <a:pt x="454" y="763"/>
                        <a:pt x="452" y="763"/>
                        <a:pt x="450" y="763"/>
                      </a:cubicBezTo>
                      <a:cubicBezTo>
                        <a:pt x="450" y="760"/>
                        <a:pt x="450" y="760"/>
                        <a:pt x="450" y="760"/>
                      </a:cubicBezTo>
                      <a:cubicBezTo>
                        <a:pt x="449" y="760"/>
                        <a:pt x="449" y="760"/>
                        <a:pt x="449" y="760"/>
                      </a:cubicBezTo>
                      <a:cubicBezTo>
                        <a:pt x="449" y="763"/>
                        <a:pt x="449" y="763"/>
                        <a:pt x="449" y="763"/>
                      </a:cubicBezTo>
                      <a:cubicBezTo>
                        <a:pt x="447" y="764"/>
                        <a:pt x="445" y="764"/>
                        <a:pt x="444" y="764"/>
                      </a:cubicBezTo>
                      <a:cubicBezTo>
                        <a:pt x="443" y="761"/>
                        <a:pt x="443" y="761"/>
                        <a:pt x="443" y="761"/>
                      </a:cubicBezTo>
                      <a:cubicBezTo>
                        <a:pt x="442" y="761"/>
                        <a:pt x="442" y="761"/>
                        <a:pt x="442" y="761"/>
                      </a:cubicBezTo>
                      <a:cubicBezTo>
                        <a:pt x="443" y="764"/>
                        <a:pt x="443" y="764"/>
                        <a:pt x="443" y="764"/>
                      </a:cubicBezTo>
                      <a:cubicBezTo>
                        <a:pt x="441" y="764"/>
                        <a:pt x="439" y="765"/>
                        <a:pt x="437" y="765"/>
                      </a:cubicBezTo>
                      <a:cubicBezTo>
                        <a:pt x="437" y="762"/>
                        <a:pt x="437" y="762"/>
                        <a:pt x="437" y="762"/>
                      </a:cubicBezTo>
                      <a:cubicBezTo>
                        <a:pt x="436" y="762"/>
                        <a:pt x="436" y="762"/>
                        <a:pt x="436" y="762"/>
                      </a:cubicBezTo>
                      <a:cubicBezTo>
                        <a:pt x="436" y="765"/>
                        <a:pt x="436" y="765"/>
                        <a:pt x="436" y="765"/>
                      </a:cubicBezTo>
                      <a:cubicBezTo>
                        <a:pt x="434" y="765"/>
                        <a:pt x="432" y="766"/>
                        <a:pt x="431" y="766"/>
                      </a:cubicBezTo>
                      <a:cubicBezTo>
                        <a:pt x="430" y="763"/>
                        <a:pt x="430" y="763"/>
                        <a:pt x="430" y="763"/>
                      </a:cubicBezTo>
                      <a:cubicBezTo>
                        <a:pt x="429" y="763"/>
                        <a:pt x="429" y="763"/>
                        <a:pt x="429" y="763"/>
                      </a:cubicBezTo>
                      <a:cubicBezTo>
                        <a:pt x="430" y="766"/>
                        <a:pt x="430" y="766"/>
                        <a:pt x="430" y="766"/>
                      </a:cubicBezTo>
                      <a:cubicBezTo>
                        <a:pt x="428" y="766"/>
                        <a:pt x="426" y="766"/>
                        <a:pt x="424" y="766"/>
                      </a:cubicBezTo>
                      <a:cubicBezTo>
                        <a:pt x="424" y="763"/>
                        <a:pt x="424" y="763"/>
                        <a:pt x="424" y="763"/>
                      </a:cubicBezTo>
                      <a:cubicBezTo>
                        <a:pt x="423" y="763"/>
                        <a:pt x="423" y="763"/>
                        <a:pt x="423" y="763"/>
                      </a:cubicBezTo>
                      <a:cubicBezTo>
                        <a:pt x="423" y="766"/>
                        <a:pt x="423" y="766"/>
                        <a:pt x="423" y="766"/>
                      </a:cubicBezTo>
                      <a:cubicBezTo>
                        <a:pt x="421" y="767"/>
                        <a:pt x="419" y="767"/>
                        <a:pt x="417" y="767"/>
                      </a:cubicBezTo>
                      <a:cubicBezTo>
                        <a:pt x="417" y="764"/>
                        <a:pt x="417" y="764"/>
                        <a:pt x="417" y="764"/>
                      </a:cubicBezTo>
                      <a:cubicBezTo>
                        <a:pt x="416" y="764"/>
                        <a:pt x="416" y="764"/>
                        <a:pt x="416" y="764"/>
                      </a:cubicBezTo>
                      <a:cubicBezTo>
                        <a:pt x="417" y="767"/>
                        <a:pt x="417" y="767"/>
                        <a:pt x="417" y="767"/>
                      </a:cubicBezTo>
                      <a:cubicBezTo>
                        <a:pt x="415" y="767"/>
                        <a:pt x="413" y="767"/>
                        <a:pt x="411" y="767"/>
                      </a:cubicBezTo>
                      <a:cubicBezTo>
                        <a:pt x="411" y="764"/>
                        <a:pt x="411" y="764"/>
                        <a:pt x="411" y="764"/>
                      </a:cubicBezTo>
                      <a:cubicBezTo>
                        <a:pt x="410" y="764"/>
                        <a:pt x="410" y="764"/>
                        <a:pt x="410" y="764"/>
                      </a:cubicBezTo>
                      <a:cubicBezTo>
                        <a:pt x="410" y="767"/>
                        <a:pt x="410" y="767"/>
                        <a:pt x="410" y="767"/>
                      </a:cubicBezTo>
                      <a:cubicBezTo>
                        <a:pt x="408" y="767"/>
                        <a:pt x="406" y="767"/>
                        <a:pt x="404" y="768"/>
                      </a:cubicBezTo>
                      <a:cubicBezTo>
                        <a:pt x="404" y="765"/>
                        <a:pt x="404" y="765"/>
                        <a:pt x="404" y="765"/>
                      </a:cubicBezTo>
                      <a:cubicBezTo>
                        <a:pt x="403" y="765"/>
                        <a:pt x="403" y="765"/>
                        <a:pt x="403" y="765"/>
                      </a:cubicBezTo>
                      <a:cubicBezTo>
                        <a:pt x="404" y="768"/>
                        <a:pt x="404" y="768"/>
                        <a:pt x="404" y="768"/>
                      </a:cubicBezTo>
                      <a:cubicBezTo>
                        <a:pt x="402" y="768"/>
                        <a:pt x="400" y="768"/>
                        <a:pt x="398" y="768"/>
                      </a:cubicBezTo>
                      <a:cubicBezTo>
                        <a:pt x="398" y="765"/>
                        <a:pt x="398" y="765"/>
                        <a:pt x="398" y="765"/>
                      </a:cubicBezTo>
                      <a:cubicBezTo>
                        <a:pt x="397" y="765"/>
                        <a:pt x="397" y="765"/>
                        <a:pt x="397" y="765"/>
                      </a:cubicBezTo>
                      <a:cubicBezTo>
                        <a:pt x="397" y="768"/>
                        <a:pt x="397" y="768"/>
                        <a:pt x="397" y="768"/>
                      </a:cubicBezTo>
                      <a:cubicBezTo>
                        <a:pt x="395" y="768"/>
                        <a:pt x="393" y="768"/>
                        <a:pt x="392" y="768"/>
                      </a:cubicBezTo>
                      <a:cubicBezTo>
                        <a:pt x="392" y="762"/>
                        <a:pt x="392" y="762"/>
                        <a:pt x="392" y="762"/>
                      </a:cubicBezTo>
                      <a:cubicBezTo>
                        <a:pt x="391" y="762"/>
                        <a:pt x="391" y="762"/>
                        <a:pt x="391" y="762"/>
                      </a:cubicBezTo>
                      <a:cubicBezTo>
                        <a:pt x="391" y="755"/>
                        <a:pt x="391" y="755"/>
                        <a:pt x="391" y="755"/>
                      </a:cubicBezTo>
                      <a:cubicBezTo>
                        <a:pt x="390" y="755"/>
                        <a:pt x="390" y="755"/>
                        <a:pt x="390" y="755"/>
                      </a:cubicBezTo>
                      <a:cubicBezTo>
                        <a:pt x="390" y="762"/>
                        <a:pt x="390" y="762"/>
                        <a:pt x="390" y="762"/>
                      </a:cubicBezTo>
                      <a:cubicBezTo>
                        <a:pt x="390" y="762"/>
                        <a:pt x="390" y="762"/>
                        <a:pt x="390" y="762"/>
                      </a:cubicBezTo>
                      <a:cubicBezTo>
                        <a:pt x="390" y="768"/>
                        <a:pt x="390" y="768"/>
                        <a:pt x="390" y="768"/>
                      </a:cubicBezTo>
                      <a:cubicBezTo>
                        <a:pt x="388" y="768"/>
                        <a:pt x="386" y="768"/>
                        <a:pt x="385" y="768"/>
                      </a:cubicBezTo>
                      <a:cubicBezTo>
                        <a:pt x="385" y="765"/>
                        <a:pt x="385" y="765"/>
                        <a:pt x="385" y="765"/>
                      </a:cubicBezTo>
                      <a:cubicBezTo>
                        <a:pt x="384" y="765"/>
                        <a:pt x="384" y="765"/>
                        <a:pt x="384" y="765"/>
                      </a:cubicBezTo>
                      <a:cubicBezTo>
                        <a:pt x="384" y="768"/>
                        <a:pt x="384" y="768"/>
                        <a:pt x="384" y="768"/>
                      </a:cubicBezTo>
                      <a:cubicBezTo>
                        <a:pt x="382" y="768"/>
                        <a:pt x="380" y="768"/>
                        <a:pt x="378" y="768"/>
                      </a:cubicBezTo>
                      <a:cubicBezTo>
                        <a:pt x="378" y="765"/>
                        <a:pt x="378" y="765"/>
                        <a:pt x="378" y="765"/>
                      </a:cubicBezTo>
                      <a:cubicBezTo>
                        <a:pt x="377" y="765"/>
                        <a:pt x="377" y="765"/>
                        <a:pt x="377" y="765"/>
                      </a:cubicBezTo>
                      <a:cubicBezTo>
                        <a:pt x="377" y="768"/>
                        <a:pt x="377" y="768"/>
                        <a:pt x="377" y="768"/>
                      </a:cubicBezTo>
                      <a:cubicBezTo>
                        <a:pt x="375" y="767"/>
                        <a:pt x="373" y="767"/>
                        <a:pt x="372" y="767"/>
                      </a:cubicBezTo>
                      <a:cubicBezTo>
                        <a:pt x="372" y="764"/>
                        <a:pt x="372" y="764"/>
                        <a:pt x="372" y="764"/>
                      </a:cubicBezTo>
                      <a:cubicBezTo>
                        <a:pt x="371" y="764"/>
                        <a:pt x="371" y="764"/>
                        <a:pt x="371" y="764"/>
                      </a:cubicBezTo>
                      <a:cubicBezTo>
                        <a:pt x="371" y="767"/>
                        <a:pt x="371" y="767"/>
                        <a:pt x="371" y="767"/>
                      </a:cubicBezTo>
                      <a:cubicBezTo>
                        <a:pt x="369" y="767"/>
                        <a:pt x="367" y="767"/>
                        <a:pt x="365" y="767"/>
                      </a:cubicBezTo>
                      <a:cubicBezTo>
                        <a:pt x="365" y="764"/>
                        <a:pt x="365" y="764"/>
                        <a:pt x="365" y="764"/>
                      </a:cubicBezTo>
                      <a:cubicBezTo>
                        <a:pt x="364" y="764"/>
                        <a:pt x="364" y="764"/>
                        <a:pt x="364" y="764"/>
                      </a:cubicBezTo>
                      <a:cubicBezTo>
                        <a:pt x="364" y="767"/>
                        <a:pt x="364" y="767"/>
                        <a:pt x="364" y="767"/>
                      </a:cubicBezTo>
                      <a:cubicBezTo>
                        <a:pt x="362" y="767"/>
                        <a:pt x="360" y="767"/>
                        <a:pt x="358" y="766"/>
                      </a:cubicBezTo>
                      <a:cubicBezTo>
                        <a:pt x="359" y="763"/>
                        <a:pt x="359" y="763"/>
                        <a:pt x="359" y="763"/>
                      </a:cubicBezTo>
                      <a:cubicBezTo>
                        <a:pt x="358" y="763"/>
                        <a:pt x="358" y="763"/>
                        <a:pt x="358" y="763"/>
                      </a:cubicBezTo>
                      <a:cubicBezTo>
                        <a:pt x="358" y="766"/>
                        <a:pt x="358" y="766"/>
                        <a:pt x="358" y="766"/>
                      </a:cubicBezTo>
                      <a:cubicBezTo>
                        <a:pt x="356" y="766"/>
                        <a:pt x="354" y="766"/>
                        <a:pt x="352" y="766"/>
                      </a:cubicBezTo>
                      <a:cubicBezTo>
                        <a:pt x="352" y="763"/>
                        <a:pt x="352" y="763"/>
                        <a:pt x="352" y="763"/>
                      </a:cubicBezTo>
                      <a:cubicBezTo>
                        <a:pt x="351" y="763"/>
                        <a:pt x="351" y="763"/>
                        <a:pt x="351" y="763"/>
                      </a:cubicBezTo>
                      <a:cubicBezTo>
                        <a:pt x="351" y="766"/>
                        <a:pt x="351" y="766"/>
                        <a:pt x="351" y="766"/>
                      </a:cubicBezTo>
                      <a:cubicBezTo>
                        <a:pt x="349" y="766"/>
                        <a:pt x="347" y="765"/>
                        <a:pt x="345" y="765"/>
                      </a:cubicBezTo>
                      <a:cubicBezTo>
                        <a:pt x="346" y="762"/>
                        <a:pt x="346" y="762"/>
                        <a:pt x="346" y="762"/>
                      </a:cubicBezTo>
                      <a:cubicBezTo>
                        <a:pt x="345" y="762"/>
                        <a:pt x="345" y="762"/>
                        <a:pt x="345" y="762"/>
                      </a:cubicBezTo>
                      <a:cubicBezTo>
                        <a:pt x="345" y="765"/>
                        <a:pt x="345" y="765"/>
                        <a:pt x="345" y="765"/>
                      </a:cubicBezTo>
                      <a:cubicBezTo>
                        <a:pt x="343" y="765"/>
                        <a:pt x="341" y="764"/>
                        <a:pt x="339" y="764"/>
                      </a:cubicBezTo>
                      <a:cubicBezTo>
                        <a:pt x="339" y="761"/>
                        <a:pt x="339" y="761"/>
                        <a:pt x="339" y="761"/>
                      </a:cubicBezTo>
                      <a:cubicBezTo>
                        <a:pt x="338" y="761"/>
                        <a:pt x="338" y="761"/>
                        <a:pt x="338" y="761"/>
                      </a:cubicBezTo>
                      <a:cubicBezTo>
                        <a:pt x="338" y="764"/>
                        <a:pt x="338" y="764"/>
                        <a:pt x="338" y="764"/>
                      </a:cubicBezTo>
                      <a:cubicBezTo>
                        <a:pt x="336" y="764"/>
                        <a:pt x="334" y="764"/>
                        <a:pt x="332" y="763"/>
                      </a:cubicBezTo>
                      <a:cubicBezTo>
                        <a:pt x="333" y="760"/>
                        <a:pt x="333" y="760"/>
                        <a:pt x="333" y="760"/>
                      </a:cubicBezTo>
                      <a:cubicBezTo>
                        <a:pt x="332" y="760"/>
                        <a:pt x="332" y="760"/>
                        <a:pt x="332" y="760"/>
                      </a:cubicBezTo>
                      <a:cubicBezTo>
                        <a:pt x="332" y="763"/>
                        <a:pt x="332" y="763"/>
                        <a:pt x="332" y="763"/>
                      </a:cubicBezTo>
                      <a:cubicBezTo>
                        <a:pt x="330" y="763"/>
                        <a:pt x="328" y="763"/>
                        <a:pt x="326" y="762"/>
                      </a:cubicBezTo>
                      <a:cubicBezTo>
                        <a:pt x="327" y="757"/>
                        <a:pt x="327" y="757"/>
                        <a:pt x="327" y="757"/>
                      </a:cubicBezTo>
                      <a:cubicBezTo>
                        <a:pt x="327" y="757"/>
                        <a:pt x="327" y="757"/>
                        <a:pt x="327" y="757"/>
                      </a:cubicBezTo>
                      <a:cubicBezTo>
                        <a:pt x="328" y="749"/>
                        <a:pt x="328" y="749"/>
                        <a:pt x="328" y="749"/>
                      </a:cubicBezTo>
                      <a:cubicBezTo>
                        <a:pt x="327" y="749"/>
                        <a:pt x="327" y="749"/>
                        <a:pt x="327" y="749"/>
                      </a:cubicBezTo>
                      <a:cubicBezTo>
                        <a:pt x="326" y="757"/>
                        <a:pt x="326" y="757"/>
                        <a:pt x="326" y="757"/>
                      </a:cubicBezTo>
                      <a:cubicBezTo>
                        <a:pt x="326" y="757"/>
                        <a:pt x="326" y="757"/>
                        <a:pt x="326" y="757"/>
                      </a:cubicBezTo>
                      <a:cubicBezTo>
                        <a:pt x="325" y="762"/>
                        <a:pt x="325" y="762"/>
                        <a:pt x="325" y="762"/>
                      </a:cubicBezTo>
                      <a:cubicBezTo>
                        <a:pt x="323" y="762"/>
                        <a:pt x="321" y="761"/>
                        <a:pt x="319" y="761"/>
                      </a:cubicBezTo>
                      <a:cubicBezTo>
                        <a:pt x="320" y="758"/>
                        <a:pt x="320" y="758"/>
                        <a:pt x="320" y="758"/>
                      </a:cubicBezTo>
                      <a:cubicBezTo>
                        <a:pt x="319" y="758"/>
                        <a:pt x="319" y="758"/>
                        <a:pt x="319" y="758"/>
                      </a:cubicBezTo>
                      <a:cubicBezTo>
                        <a:pt x="319" y="761"/>
                        <a:pt x="319" y="761"/>
                        <a:pt x="319" y="761"/>
                      </a:cubicBezTo>
                      <a:cubicBezTo>
                        <a:pt x="317" y="760"/>
                        <a:pt x="315" y="760"/>
                        <a:pt x="313" y="760"/>
                      </a:cubicBezTo>
                      <a:cubicBezTo>
                        <a:pt x="314" y="757"/>
                        <a:pt x="314" y="757"/>
                        <a:pt x="314" y="757"/>
                      </a:cubicBezTo>
                      <a:cubicBezTo>
                        <a:pt x="313" y="757"/>
                        <a:pt x="313" y="757"/>
                        <a:pt x="313" y="757"/>
                      </a:cubicBezTo>
                      <a:cubicBezTo>
                        <a:pt x="312" y="760"/>
                        <a:pt x="312" y="760"/>
                        <a:pt x="312" y="760"/>
                      </a:cubicBezTo>
                      <a:cubicBezTo>
                        <a:pt x="310" y="759"/>
                        <a:pt x="308" y="759"/>
                        <a:pt x="307" y="758"/>
                      </a:cubicBezTo>
                      <a:cubicBezTo>
                        <a:pt x="307" y="755"/>
                        <a:pt x="307" y="755"/>
                        <a:pt x="307" y="755"/>
                      </a:cubicBezTo>
                      <a:cubicBezTo>
                        <a:pt x="306" y="755"/>
                        <a:pt x="306" y="755"/>
                        <a:pt x="306" y="755"/>
                      </a:cubicBezTo>
                      <a:cubicBezTo>
                        <a:pt x="306" y="758"/>
                        <a:pt x="306" y="758"/>
                        <a:pt x="306" y="758"/>
                      </a:cubicBezTo>
                      <a:cubicBezTo>
                        <a:pt x="304" y="758"/>
                        <a:pt x="302" y="757"/>
                        <a:pt x="300" y="757"/>
                      </a:cubicBezTo>
                      <a:cubicBezTo>
                        <a:pt x="301" y="754"/>
                        <a:pt x="301" y="754"/>
                        <a:pt x="301" y="754"/>
                      </a:cubicBezTo>
                      <a:cubicBezTo>
                        <a:pt x="300" y="754"/>
                        <a:pt x="300" y="754"/>
                        <a:pt x="300" y="754"/>
                      </a:cubicBezTo>
                      <a:cubicBezTo>
                        <a:pt x="299" y="757"/>
                        <a:pt x="299" y="757"/>
                        <a:pt x="299" y="757"/>
                      </a:cubicBezTo>
                      <a:cubicBezTo>
                        <a:pt x="298" y="756"/>
                        <a:pt x="296" y="756"/>
                        <a:pt x="294" y="755"/>
                      </a:cubicBezTo>
                      <a:cubicBezTo>
                        <a:pt x="295" y="752"/>
                        <a:pt x="295" y="752"/>
                        <a:pt x="295" y="752"/>
                      </a:cubicBezTo>
                      <a:cubicBezTo>
                        <a:pt x="294" y="752"/>
                        <a:pt x="294" y="752"/>
                        <a:pt x="294" y="752"/>
                      </a:cubicBezTo>
                      <a:cubicBezTo>
                        <a:pt x="293" y="755"/>
                        <a:pt x="293" y="755"/>
                        <a:pt x="293" y="755"/>
                      </a:cubicBezTo>
                      <a:cubicBezTo>
                        <a:pt x="291" y="754"/>
                        <a:pt x="289" y="754"/>
                        <a:pt x="287" y="753"/>
                      </a:cubicBezTo>
                      <a:cubicBezTo>
                        <a:pt x="288" y="750"/>
                        <a:pt x="288" y="750"/>
                        <a:pt x="288" y="750"/>
                      </a:cubicBezTo>
                      <a:cubicBezTo>
                        <a:pt x="288" y="750"/>
                        <a:pt x="288" y="750"/>
                        <a:pt x="288" y="750"/>
                      </a:cubicBezTo>
                      <a:cubicBezTo>
                        <a:pt x="287" y="753"/>
                        <a:pt x="287" y="753"/>
                        <a:pt x="287" y="753"/>
                      </a:cubicBezTo>
                      <a:cubicBezTo>
                        <a:pt x="285" y="753"/>
                        <a:pt x="283" y="752"/>
                        <a:pt x="281" y="752"/>
                      </a:cubicBezTo>
                      <a:cubicBezTo>
                        <a:pt x="282" y="749"/>
                        <a:pt x="282" y="749"/>
                        <a:pt x="282" y="749"/>
                      </a:cubicBezTo>
                      <a:cubicBezTo>
                        <a:pt x="281" y="748"/>
                        <a:pt x="281" y="748"/>
                        <a:pt x="281" y="748"/>
                      </a:cubicBezTo>
                      <a:cubicBezTo>
                        <a:pt x="280" y="751"/>
                        <a:pt x="280" y="751"/>
                        <a:pt x="280" y="751"/>
                      </a:cubicBezTo>
                      <a:cubicBezTo>
                        <a:pt x="279" y="751"/>
                        <a:pt x="277" y="750"/>
                        <a:pt x="275" y="750"/>
                      </a:cubicBezTo>
                      <a:cubicBezTo>
                        <a:pt x="276" y="747"/>
                        <a:pt x="276" y="747"/>
                        <a:pt x="276" y="747"/>
                      </a:cubicBezTo>
                      <a:cubicBezTo>
                        <a:pt x="275" y="746"/>
                        <a:pt x="275" y="746"/>
                        <a:pt x="275" y="746"/>
                      </a:cubicBezTo>
                      <a:cubicBezTo>
                        <a:pt x="274" y="749"/>
                        <a:pt x="274" y="749"/>
                        <a:pt x="274" y="749"/>
                      </a:cubicBezTo>
                      <a:cubicBezTo>
                        <a:pt x="272" y="749"/>
                        <a:pt x="271" y="748"/>
                        <a:pt x="269" y="747"/>
                      </a:cubicBezTo>
                      <a:cubicBezTo>
                        <a:pt x="270" y="745"/>
                        <a:pt x="270" y="745"/>
                        <a:pt x="270" y="745"/>
                      </a:cubicBezTo>
                      <a:cubicBezTo>
                        <a:pt x="269" y="744"/>
                        <a:pt x="269" y="744"/>
                        <a:pt x="269" y="744"/>
                      </a:cubicBezTo>
                      <a:cubicBezTo>
                        <a:pt x="268" y="747"/>
                        <a:pt x="268" y="747"/>
                        <a:pt x="268" y="747"/>
                      </a:cubicBezTo>
                      <a:cubicBezTo>
                        <a:pt x="266" y="747"/>
                        <a:pt x="265" y="746"/>
                        <a:pt x="263" y="745"/>
                      </a:cubicBezTo>
                      <a:cubicBezTo>
                        <a:pt x="265" y="740"/>
                        <a:pt x="265" y="740"/>
                        <a:pt x="265" y="740"/>
                      </a:cubicBezTo>
                      <a:cubicBezTo>
                        <a:pt x="264" y="740"/>
                        <a:pt x="264" y="740"/>
                        <a:pt x="264" y="740"/>
                      </a:cubicBezTo>
                      <a:cubicBezTo>
                        <a:pt x="267" y="733"/>
                        <a:pt x="267" y="733"/>
                        <a:pt x="267" y="733"/>
                      </a:cubicBezTo>
                      <a:cubicBezTo>
                        <a:pt x="266" y="733"/>
                        <a:pt x="266" y="733"/>
                        <a:pt x="266" y="733"/>
                      </a:cubicBezTo>
                      <a:cubicBezTo>
                        <a:pt x="264" y="740"/>
                        <a:pt x="264" y="740"/>
                        <a:pt x="264" y="740"/>
                      </a:cubicBezTo>
                      <a:cubicBezTo>
                        <a:pt x="263" y="740"/>
                        <a:pt x="263" y="740"/>
                        <a:pt x="263" y="740"/>
                      </a:cubicBezTo>
                      <a:cubicBezTo>
                        <a:pt x="261" y="745"/>
                        <a:pt x="261" y="745"/>
                        <a:pt x="261" y="745"/>
                      </a:cubicBezTo>
                      <a:cubicBezTo>
                        <a:pt x="260" y="744"/>
                        <a:pt x="258" y="744"/>
                        <a:pt x="256" y="743"/>
                      </a:cubicBezTo>
                      <a:cubicBezTo>
                        <a:pt x="257" y="740"/>
                        <a:pt x="257" y="740"/>
                        <a:pt x="257" y="740"/>
                      </a:cubicBezTo>
                      <a:cubicBezTo>
                        <a:pt x="257" y="740"/>
                        <a:pt x="257" y="740"/>
                        <a:pt x="257" y="740"/>
                      </a:cubicBezTo>
                      <a:cubicBezTo>
                        <a:pt x="256" y="743"/>
                        <a:pt x="256" y="743"/>
                        <a:pt x="256" y="743"/>
                      </a:cubicBezTo>
                      <a:cubicBezTo>
                        <a:pt x="254" y="742"/>
                        <a:pt x="252" y="741"/>
                        <a:pt x="250" y="741"/>
                      </a:cubicBezTo>
                      <a:cubicBezTo>
                        <a:pt x="251" y="738"/>
                        <a:pt x="251" y="738"/>
                        <a:pt x="251" y="738"/>
                      </a:cubicBezTo>
                      <a:cubicBezTo>
                        <a:pt x="251" y="737"/>
                        <a:pt x="251" y="737"/>
                        <a:pt x="251" y="737"/>
                      </a:cubicBezTo>
                      <a:cubicBezTo>
                        <a:pt x="250" y="740"/>
                        <a:pt x="250" y="740"/>
                        <a:pt x="250" y="740"/>
                      </a:cubicBezTo>
                      <a:cubicBezTo>
                        <a:pt x="248" y="740"/>
                        <a:pt x="246" y="739"/>
                        <a:pt x="244" y="738"/>
                      </a:cubicBezTo>
                      <a:cubicBezTo>
                        <a:pt x="245" y="735"/>
                        <a:pt x="245" y="735"/>
                        <a:pt x="245" y="735"/>
                      </a:cubicBezTo>
                      <a:cubicBezTo>
                        <a:pt x="245" y="735"/>
                        <a:pt x="245" y="735"/>
                        <a:pt x="245" y="735"/>
                      </a:cubicBezTo>
                      <a:cubicBezTo>
                        <a:pt x="243" y="738"/>
                        <a:pt x="243" y="738"/>
                        <a:pt x="243" y="738"/>
                      </a:cubicBezTo>
                      <a:cubicBezTo>
                        <a:pt x="242" y="737"/>
                        <a:pt x="240" y="736"/>
                        <a:pt x="238" y="735"/>
                      </a:cubicBezTo>
                      <a:cubicBezTo>
                        <a:pt x="239" y="733"/>
                        <a:pt x="239" y="733"/>
                        <a:pt x="239" y="733"/>
                      </a:cubicBezTo>
                      <a:cubicBezTo>
                        <a:pt x="239" y="732"/>
                        <a:pt x="239" y="732"/>
                        <a:pt x="239" y="732"/>
                      </a:cubicBezTo>
                      <a:cubicBezTo>
                        <a:pt x="237" y="735"/>
                        <a:pt x="237" y="735"/>
                        <a:pt x="237" y="735"/>
                      </a:cubicBezTo>
                      <a:cubicBezTo>
                        <a:pt x="236" y="734"/>
                        <a:pt x="234" y="733"/>
                        <a:pt x="232" y="733"/>
                      </a:cubicBezTo>
                      <a:cubicBezTo>
                        <a:pt x="233" y="730"/>
                        <a:pt x="233" y="730"/>
                        <a:pt x="233" y="730"/>
                      </a:cubicBezTo>
                      <a:cubicBezTo>
                        <a:pt x="233" y="730"/>
                        <a:pt x="233" y="730"/>
                        <a:pt x="233" y="730"/>
                      </a:cubicBezTo>
                      <a:cubicBezTo>
                        <a:pt x="231" y="732"/>
                        <a:pt x="231" y="732"/>
                        <a:pt x="231" y="732"/>
                      </a:cubicBezTo>
                      <a:cubicBezTo>
                        <a:pt x="230" y="732"/>
                        <a:pt x="228" y="731"/>
                        <a:pt x="226" y="730"/>
                      </a:cubicBezTo>
                      <a:cubicBezTo>
                        <a:pt x="228" y="727"/>
                        <a:pt x="228" y="727"/>
                        <a:pt x="228" y="727"/>
                      </a:cubicBezTo>
                      <a:cubicBezTo>
                        <a:pt x="227" y="727"/>
                        <a:pt x="227" y="727"/>
                        <a:pt x="227" y="727"/>
                      </a:cubicBezTo>
                      <a:cubicBezTo>
                        <a:pt x="226" y="729"/>
                        <a:pt x="226" y="729"/>
                        <a:pt x="226" y="729"/>
                      </a:cubicBezTo>
                      <a:cubicBezTo>
                        <a:pt x="224" y="729"/>
                        <a:pt x="222" y="728"/>
                        <a:pt x="220" y="727"/>
                      </a:cubicBezTo>
                      <a:cubicBezTo>
                        <a:pt x="222" y="724"/>
                        <a:pt x="222" y="724"/>
                        <a:pt x="222" y="724"/>
                      </a:cubicBezTo>
                      <a:cubicBezTo>
                        <a:pt x="221" y="724"/>
                        <a:pt x="221" y="724"/>
                        <a:pt x="221" y="724"/>
                      </a:cubicBezTo>
                      <a:cubicBezTo>
                        <a:pt x="220" y="727"/>
                        <a:pt x="220" y="727"/>
                        <a:pt x="220" y="727"/>
                      </a:cubicBezTo>
                      <a:cubicBezTo>
                        <a:pt x="218" y="726"/>
                        <a:pt x="216" y="725"/>
                        <a:pt x="215" y="724"/>
                      </a:cubicBezTo>
                      <a:cubicBezTo>
                        <a:pt x="216" y="721"/>
                        <a:pt x="216" y="721"/>
                        <a:pt x="216" y="721"/>
                      </a:cubicBezTo>
                      <a:cubicBezTo>
                        <a:pt x="215" y="721"/>
                        <a:pt x="215" y="721"/>
                        <a:pt x="215" y="721"/>
                      </a:cubicBezTo>
                      <a:cubicBezTo>
                        <a:pt x="214" y="723"/>
                        <a:pt x="214" y="723"/>
                        <a:pt x="214" y="723"/>
                      </a:cubicBezTo>
                      <a:cubicBezTo>
                        <a:pt x="212" y="723"/>
                        <a:pt x="210" y="722"/>
                        <a:pt x="209" y="721"/>
                      </a:cubicBezTo>
                      <a:cubicBezTo>
                        <a:pt x="210" y="718"/>
                        <a:pt x="210" y="718"/>
                        <a:pt x="210" y="718"/>
                      </a:cubicBezTo>
                      <a:cubicBezTo>
                        <a:pt x="210" y="718"/>
                        <a:pt x="210" y="718"/>
                        <a:pt x="210" y="718"/>
                      </a:cubicBezTo>
                      <a:cubicBezTo>
                        <a:pt x="208" y="720"/>
                        <a:pt x="208" y="720"/>
                        <a:pt x="208" y="720"/>
                      </a:cubicBezTo>
                      <a:cubicBezTo>
                        <a:pt x="207" y="719"/>
                        <a:pt x="205" y="719"/>
                        <a:pt x="204" y="718"/>
                      </a:cubicBezTo>
                      <a:cubicBezTo>
                        <a:pt x="206" y="713"/>
                        <a:pt x="206" y="713"/>
                        <a:pt x="206" y="713"/>
                      </a:cubicBezTo>
                      <a:cubicBezTo>
                        <a:pt x="206" y="713"/>
                        <a:pt x="206" y="713"/>
                        <a:pt x="206" y="713"/>
                      </a:cubicBezTo>
                      <a:cubicBezTo>
                        <a:pt x="210" y="706"/>
                        <a:pt x="210" y="706"/>
                        <a:pt x="210" y="706"/>
                      </a:cubicBezTo>
                      <a:cubicBezTo>
                        <a:pt x="209" y="706"/>
                        <a:pt x="209" y="706"/>
                        <a:pt x="209" y="706"/>
                      </a:cubicBezTo>
                      <a:cubicBezTo>
                        <a:pt x="205" y="712"/>
                        <a:pt x="205" y="712"/>
                        <a:pt x="205" y="712"/>
                      </a:cubicBezTo>
                      <a:cubicBezTo>
                        <a:pt x="205" y="712"/>
                        <a:pt x="205" y="712"/>
                        <a:pt x="205" y="712"/>
                      </a:cubicBezTo>
                      <a:cubicBezTo>
                        <a:pt x="202" y="717"/>
                        <a:pt x="202" y="717"/>
                        <a:pt x="202" y="717"/>
                      </a:cubicBezTo>
                      <a:cubicBezTo>
                        <a:pt x="200" y="716"/>
                        <a:pt x="199" y="715"/>
                        <a:pt x="197" y="714"/>
                      </a:cubicBezTo>
                      <a:cubicBezTo>
                        <a:pt x="199" y="712"/>
                        <a:pt x="199" y="712"/>
                        <a:pt x="199" y="712"/>
                      </a:cubicBezTo>
                      <a:cubicBezTo>
                        <a:pt x="198" y="711"/>
                        <a:pt x="198" y="711"/>
                        <a:pt x="198" y="711"/>
                      </a:cubicBezTo>
                      <a:cubicBezTo>
                        <a:pt x="197" y="714"/>
                        <a:pt x="197" y="714"/>
                        <a:pt x="197" y="714"/>
                      </a:cubicBezTo>
                      <a:cubicBezTo>
                        <a:pt x="195" y="713"/>
                        <a:pt x="193" y="712"/>
                        <a:pt x="192" y="711"/>
                      </a:cubicBezTo>
                      <a:cubicBezTo>
                        <a:pt x="193" y="708"/>
                        <a:pt x="193" y="708"/>
                        <a:pt x="193" y="708"/>
                      </a:cubicBezTo>
                      <a:cubicBezTo>
                        <a:pt x="193" y="708"/>
                        <a:pt x="193" y="708"/>
                        <a:pt x="193" y="708"/>
                      </a:cubicBezTo>
                      <a:cubicBezTo>
                        <a:pt x="191" y="710"/>
                        <a:pt x="191" y="710"/>
                        <a:pt x="191" y="710"/>
                      </a:cubicBezTo>
                      <a:cubicBezTo>
                        <a:pt x="190" y="709"/>
                        <a:pt x="188" y="708"/>
                        <a:pt x="186" y="707"/>
                      </a:cubicBezTo>
                      <a:cubicBezTo>
                        <a:pt x="188" y="705"/>
                        <a:pt x="188" y="705"/>
                        <a:pt x="188" y="705"/>
                      </a:cubicBezTo>
                      <a:cubicBezTo>
                        <a:pt x="187" y="704"/>
                        <a:pt x="187" y="704"/>
                        <a:pt x="187" y="704"/>
                      </a:cubicBezTo>
                      <a:cubicBezTo>
                        <a:pt x="186" y="707"/>
                        <a:pt x="186" y="707"/>
                        <a:pt x="186" y="707"/>
                      </a:cubicBezTo>
                      <a:cubicBezTo>
                        <a:pt x="184" y="706"/>
                        <a:pt x="182" y="705"/>
                        <a:pt x="181" y="704"/>
                      </a:cubicBezTo>
                      <a:cubicBezTo>
                        <a:pt x="182" y="701"/>
                        <a:pt x="182" y="701"/>
                        <a:pt x="182" y="701"/>
                      </a:cubicBezTo>
                      <a:cubicBezTo>
                        <a:pt x="182" y="701"/>
                        <a:pt x="182" y="701"/>
                        <a:pt x="182" y="701"/>
                      </a:cubicBezTo>
                      <a:cubicBezTo>
                        <a:pt x="180" y="703"/>
                        <a:pt x="180" y="703"/>
                        <a:pt x="180" y="703"/>
                      </a:cubicBezTo>
                      <a:cubicBezTo>
                        <a:pt x="179" y="702"/>
                        <a:pt x="177" y="701"/>
                        <a:pt x="175" y="700"/>
                      </a:cubicBezTo>
                      <a:cubicBezTo>
                        <a:pt x="177" y="697"/>
                        <a:pt x="177" y="697"/>
                        <a:pt x="177" y="697"/>
                      </a:cubicBezTo>
                      <a:cubicBezTo>
                        <a:pt x="176" y="697"/>
                        <a:pt x="176" y="697"/>
                        <a:pt x="176" y="697"/>
                      </a:cubicBezTo>
                      <a:cubicBezTo>
                        <a:pt x="175" y="699"/>
                        <a:pt x="175" y="699"/>
                        <a:pt x="175" y="699"/>
                      </a:cubicBezTo>
                      <a:cubicBezTo>
                        <a:pt x="173" y="698"/>
                        <a:pt x="172" y="697"/>
                        <a:pt x="170" y="696"/>
                      </a:cubicBezTo>
                      <a:cubicBezTo>
                        <a:pt x="172" y="694"/>
                        <a:pt x="172" y="694"/>
                        <a:pt x="172" y="694"/>
                      </a:cubicBezTo>
                      <a:cubicBezTo>
                        <a:pt x="171" y="693"/>
                        <a:pt x="171" y="693"/>
                        <a:pt x="171" y="693"/>
                      </a:cubicBezTo>
                      <a:cubicBezTo>
                        <a:pt x="169" y="696"/>
                        <a:pt x="169" y="696"/>
                        <a:pt x="169" y="696"/>
                      </a:cubicBezTo>
                      <a:cubicBezTo>
                        <a:pt x="168" y="694"/>
                        <a:pt x="166" y="693"/>
                        <a:pt x="165" y="692"/>
                      </a:cubicBezTo>
                      <a:cubicBezTo>
                        <a:pt x="167" y="690"/>
                        <a:pt x="167" y="690"/>
                        <a:pt x="167" y="690"/>
                      </a:cubicBezTo>
                      <a:cubicBezTo>
                        <a:pt x="166" y="689"/>
                        <a:pt x="166" y="689"/>
                        <a:pt x="166" y="689"/>
                      </a:cubicBezTo>
                      <a:cubicBezTo>
                        <a:pt x="164" y="692"/>
                        <a:pt x="164" y="692"/>
                        <a:pt x="164" y="692"/>
                      </a:cubicBezTo>
                      <a:cubicBezTo>
                        <a:pt x="163" y="690"/>
                        <a:pt x="161" y="689"/>
                        <a:pt x="160" y="688"/>
                      </a:cubicBezTo>
                      <a:cubicBezTo>
                        <a:pt x="161" y="686"/>
                        <a:pt x="161" y="686"/>
                        <a:pt x="161" y="686"/>
                      </a:cubicBezTo>
                      <a:cubicBezTo>
                        <a:pt x="161" y="685"/>
                        <a:pt x="161" y="685"/>
                        <a:pt x="161" y="685"/>
                      </a:cubicBezTo>
                      <a:cubicBezTo>
                        <a:pt x="159" y="688"/>
                        <a:pt x="159" y="688"/>
                        <a:pt x="159" y="688"/>
                      </a:cubicBezTo>
                      <a:cubicBezTo>
                        <a:pt x="157" y="686"/>
                        <a:pt x="156" y="685"/>
                        <a:pt x="154" y="684"/>
                      </a:cubicBezTo>
                      <a:cubicBezTo>
                        <a:pt x="156" y="682"/>
                        <a:pt x="156" y="682"/>
                        <a:pt x="156" y="682"/>
                      </a:cubicBezTo>
                      <a:cubicBezTo>
                        <a:pt x="156" y="681"/>
                        <a:pt x="156" y="681"/>
                        <a:pt x="156" y="681"/>
                      </a:cubicBezTo>
                      <a:cubicBezTo>
                        <a:pt x="154" y="683"/>
                        <a:pt x="154" y="683"/>
                        <a:pt x="154" y="683"/>
                      </a:cubicBezTo>
                      <a:cubicBezTo>
                        <a:pt x="153" y="682"/>
                        <a:pt x="151" y="681"/>
                        <a:pt x="150" y="680"/>
                      </a:cubicBezTo>
                      <a:cubicBezTo>
                        <a:pt x="153" y="676"/>
                        <a:pt x="153" y="676"/>
                        <a:pt x="153" y="676"/>
                      </a:cubicBezTo>
                      <a:cubicBezTo>
                        <a:pt x="153" y="676"/>
                        <a:pt x="153" y="676"/>
                        <a:pt x="153" y="676"/>
                      </a:cubicBezTo>
                      <a:cubicBezTo>
                        <a:pt x="158" y="670"/>
                        <a:pt x="158" y="670"/>
                        <a:pt x="158" y="670"/>
                      </a:cubicBezTo>
                      <a:cubicBezTo>
                        <a:pt x="157" y="669"/>
                        <a:pt x="157" y="669"/>
                        <a:pt x="157" y="669"/>
                      </a:cubicBezTo>
                      <a:cubicBezTo>
                        <a:pt x="152" y="675"/>
                        <a:pt x="152" y="675"/>
                        <a:pt x="152" y="675"/>
                      </a:cubicBezTo>
                      <a:cubicBezTo>
                        <a:pt x="152" y="675"/>
                        <a:pt x="152" y="675"/>
                        <a:pt x="152" y="675"/>
                      </a:cubicBezTo>
                      <a:cubicBezTo>
                        <a:pt x="148" y="679"/>
                        <a:pt x="148" y="679"/>
                        <a:pt x="148" y="679"/>
                      </a:cubicBezTo>
                      <a:cubicBezTo>
                        <a:pt x="147" y="678"/>
                        <a:pt x="146" y="677"/>
                        <a:pt x="144" y="676"/>
                      </a:cubicBezTo>
                      <a:cubicBezTo>
                        <a:pt x="146" y="673"/>
                        <a:pt x="146" y="673"/>
                        <a:pt x="146" y="673"/>
                      </a:cubicBezTo>
                      <a:cubicBezTo>
                        <a:pt x="146" y="673"/>
                        <a:pt x="146" y="673"/>
                        <a:pt x="146" y="673"/>
                      </a:cubicBezTo>
                      <a:cubicBezTo>
                        <a:pt x="144" y="675"/>
                        <a:pt x="144" y="675"/>
                        <a:pt x="144" y="675"/>
                      </a:cubicBezTo>
                      <a:cubicBezTo>
                        <a:pt x="142" y="674"/>
                        <a:pt x="141" y="672"/>
                        <a:pt x="139" y="671"/>
                      </a:cubicBezTo>
                      <a:cubicBezTo>
                        <a:pt x="141" y="669"/>
                        <a:pt x="141" y="669"/>
                        <a:pt x="141" y="669"/>
                      </a:cubicBezTo>
                      <a:cubicBezTo>
                        <a:pt x="141" y="669"/>
                        <a:pt x="141" y="669"/>
                        <a:pt x="141" y="669"/>
                      </a:cubicBezTo>
                      <a:cubicBezTo>
                        <a:pt x="139" y="671"/>
                        <a:pt x="139" y="671"/>
                        <a:pt x="139" y="671"/>
                      </a:cubicBezTo>
                      <a:cubicBezTo>
                        <a:pt x="137" y="669"/>
                        <a:pt x="136" y="668"/>
                        <a:pt x="135" y="667"/>
                      </a:cubicBezTo>
                      <a:cubicBezTo>
                        <a:pt x="137" y="665"/>
                        <a:pt x="137" y="665"/>
                        <a:pt x="137" y="665"/>
                      </a:cubicBezTo>
                      <a:cubicBezTo>
                        <a:pt x="136" y="664"/>
                        <a:pt x="136" y="664"/>
                        <a:pt x="136" y="664"/>
                      </a:cubicBezTo>
                      <a:cubicBezTo>
                        <a:pt x="134" y="666"/>
                        <a:pt x="134" y="666"/>
                        <a:pt x="134" y="666"/>
                      </a:cubicBezTo>
                      <a:cubicBezTo>
                        <a:pt x="133" y="665"/>
                        <a:pt x="131" y="664"/>
                        <a:pt x="130" y="662"/>
                      </a:cubicBezTo>
                      <a:cubicBezTo>
                        <a:pt x="132" y="660"/>
                        <a:pt x="132" y="660"/>
                        <a:pt x="132" y="660"/>
                      </a:cubicBezTo>
                      <a:cubicBezTo>
                        <a:pt x="131" y="660"/>
                        <a:pt x="131" y="660"/>
                        <a:pt x="131" y="660"/>
                      </a:cubicBezTo>
                      <a:cubicBezTo>
                        <a:pt x="129" y="662"/>
                        <a:pt x="129" y="662"/>
                        <a:pt x="129" y="662"/>
                      </a:cubicBezTo>
                      <a:cubicBezTo>
                        <a:pt x="128" y="660"/>
                        <a:pt x="127" y="659"/>
                        <a:pt x="125" y="658"/>
                      </a:cubicBezTo>
                      <a:cubicBezTo>
                        <a:pt x="127" y="656"/>
                        <a:pt x="127" y="656"/>
                        <a:pt x="127" y="656"/>
                      </a:cubicBezTo>
                      <a:cubicBezTo>
                        <a:pt x="127" y="655"/>
                        <a:pt x="127" y="655"/>
                        <a:pt x="127" y="655"/>
                      </a:cubicBezTo>
                      <a:cubicBezTo>
                        <a:pt x="125" y="657"/>
                        <a:pt x="125" y="657"/>
                        <a:pt x="125" y="657"/>
                      </a:cubicBezTo>
                      <a:cubicBezTo>
                        <a:pt x="123" y="656"/>
                        <a:pt x="122" y="654"/>
                        <a:pt x="121" y="653"/>
                      </a:cubicBezTo>
                      <a:cubicBezTo>
                        <a:pt x="123" y="651"/>
                        <a:pt x="123" y="651"/>
                        <a:pt x="123" y="651"/>
                      </a:cubicBezTo>
                      <a:cubicBezTo>
                        <a:pt x="122" y="650"/>
                        <a:pt x="122" y="650"/>
                        <a:pt x="122" y="650"/>
                      </a:cubicBezTo>
                      <a:cubicBezTo>
                        <a:pt x="120" y="652"/>
                        <a:pt x="120" y="652"/>
                        <a:pt x="120" y="652"/>
                      </a:cubicBezTo>
                      <a:cubicBezTo>
                        <a:pt x="119" y="651"/>
                        <a:pt x="117" y="650"/>
                        <a:pt x="116" y="648"/>
                      </a:cubicBezTo>
                      <a:cubicBezTo>
                        <a:pt x="118" y="646"/>
                        <a:pt x="118" y="646"/>
                        <a:pt x="118" y="646"/>
                      </a:cubicBezTo>
                      <a:cubicBezTo>
                        <a:pt x="118" y="646"/>
                        <a:pt x="118" y="646"/>
                        <a:pt x="118" y="646"/>
                      </a:cubicBezTo>
                      <a:cubicBezTo>
                        <a:pt x="116" y="648"/>
                        <a:pt x="116" y="648"/>
                        <a:pt x="116" y="648"/>
                      </a:cubicBezTo>
                      <a:cubicBezTo>
                        <a:pt x="114" y="646"/>
                        <a:pt x="113" y="645"/>
                        <a:pt x="112" y="643"/>
                      </a:cubicBezTo>
                      <a:cubicBezTo>
                        <a:pt x="114" y="641"/>
                        <a:pt x="114" y="641"/>
                        <a:pt x="114" y="641"/>
                      </a:cubicBezTo>
                      <a:cubicBezTo>
                        <a:pt x="113" y="641"/>
                        <a:pt x="113" y="641"/>
                        <a:pt x="113" y="641"/>
                      </a:cubicBezTo>
                      <a:cubicBezTo>
                        <a:pt x="111" y="643"/>
                        <a:pt x="111" y="643"/>
                        <a:pt x="111" y="643"/>
                      </a:cubicBezTo>
                      <a:cubicBezTo>
                        <a:pt x="110" y="641"/>
                        <a:pt x="109" y="640"/>
                        <a:pt x="107" y="638"/>
                      </a:cubicBezTo>
                      <a:cubicBezTo>
                        <a:pt x="109" y="637"/>
                        <a:pt x="109" y="637"/>
                        <a:pt x="109" y="637"/>
                      </a:cubicBezTo>
                      <a:cubicBezTo>
                        <a:pt x="109" y="636"/>
                        <a:pt x="109" y="636"/>
                        <a:pt x="109" y="636"/>
                      </a:cubicBezTo>
                      <a:cubicBezTo>
                        <a:pt x="107" y="638"/>
                        <a:pt x="107" y="638"/>
                        <a:pt x="107" y="638"/>
                      </a:cubicBezTo>
                      <a:cubicBezTo>
                        <a:pt x="106" y="637"/>
                        <a:pt x="104" y="635"/>
                        <a:pt x="103" y="634"/>
                      </a:cubicBezTo>
                      <a:cubicBezTo>
                        <a:pt x="107" y="630"/>
                        <a:pt x="107" y="630"/>
                        <a:pt x="107" y="630"/>
                      </a:cubicBezTo>
                      <a:cubicBezTo>
                        <a:pt x="107" y="630"/>
                        <a:pt x="107" y="630"/>
                        <a:pt x="107" y="630"/>
                      </a:cubicBezTo>
                      <a:cubicBezTo>
                        <a:pt x="113" y="625"/>
                        <a:pt x="113" y="625"/>
                        <a:pt x="113" y="625"/>
                      </a:cubicBezTo>
                      <a:cubicBezTo>
                        <a:pt x="113" y="624"/>
                        <a:pt x="113" y="624"/>
                        <a:pt x="113" y="624"/>
                      </a:cubicBezTo>
                      <a:cubicBezTo>
                        <a:pt x="107" y="629"/>
                        <a:pt x="107" y="629"/>
                        <a:pt x="107" y="629"/>
                      </a:cubicBezTo>
                      <a:cubicBezTo>
                        <a:pt x="106" y="629"/>
                        <a:pt x="106" y="629"/>
                        <a:pt x="106" y="629"/>
                      </a:cubicBezTo>
                      <a:cubicBezTo>
                        <a:pt x="102" y="632"/>
                        <a:pt x="102" y="632"/>
                        <a:pt x="102" y="632"/>
                      </a:cubicBezTo>
                      <a:cubicBezTo>
                        <a:pt x="101" y="631"/>
                        <a:pt x="100" y="630"/>
                        <a:pt x="99" y="628"/>
                      </a:cubicBezTo>
                      <a:cubicBezTo>
                        <a:pt x="101" y="627"/>
                        <a:pt x="101" y="627"/>
                        <a:pt x="101" y="627"/>
                      </a:cubicBezTo>
                      <a:cubicBezTo>
                        <a:pt x="101" y="626"/>
                        <a:pt x="101" y="626"/>
                        <a:pt x="101" y="626"/>
                      </a:cubicBezTo>
                      <a:cubicBezTo>
                        <a:pt x="98" y="628"/>
                        <a:pt x="98" y="628"/>
                        <a:pt x="98" y="628"/>
                      </a:cubicBezTo>
                      <a:cubicBezTo>
                        <a:pt x="97" y="626"/>
                        <a:pt x="96" y="625"/>
                        <a:pt x="95" y="623"/>
                      </a:cubicBezTo>
                      <a:cubicBezTo>
                        <a:pt x="97" y="622"/>
                        <a:pt x="97" y="622"/>
                        <a:pt x="97" y="622"/>
                      </a:cubicBezTo>
                      <a:cubicBezTo>
                        <a:pt x="96" y="621"/>
                        <a:pt x="96" y="621"/>
                        <a:pt x="96" y="621"/>
                      </a:cubicBezTo>
                      <a:cubicBezTo>
                        <a:pt x="94" y="623"/>
                        <a:pt x="94" y="623"/>
                        <a:pt x="94" y="623"/>
                      </a:cubicBezTo>
                      <a:cubicBezTo>
                        <a:pt x="93" y="621"/>
                        <a:pt x="92" y="620"/>
                        <a:pt x="91" y="618"/>
                      </a:cubicBezTo>
                      <a:cubicBezTo>
                        <a:pt x="93" y="616"/>
                        <a:pt x="93" y="616"/>
                        <a:pt x="93" y="616"/>
                      </a:cubicBezTo>
                      <a:cubicBezTo>
                        <a:pt x="93" y="616"/>
                        <a:pt x="93" y="616"/>
                        <a:pt x="93" y="616"/>
                      </a:cubicBezTo>
                      <a:cubicBezTo>
                        <a:pt x="90" y="617"/>
                        <a:pt x="90" y="617"/>
                        <a:pt x="90" y="617"/>
                      </a:cubicBezTo>
                      <a:cubicBezTo>
                        <a:pt x="89" y="616"/>
                        <a:pt x="88" y="614"/>
                        <a:pt x="87" y="613"/>
                      </a:cubicBezTo>
                      <a:cubicBezTo>
                        <a:pt x="89" y="611"/>
                        <a:pt x="89" y="611"/>
                        <a:pt x="89" y="611"/>
                      </a:cubicBezTo>
                      <a:cubicBezTo>
                        <a:pt x="89" y="610"/>
                        <a:pt x="89" y="610"/>
                        <a:pt x="89" y="610"/>
                      </a:cubicBezTo>
                      <a:cubicBezTo>
                        <a:pt x="86" y="612"/>
                        <a:pt x="86" y="612"/>
                        <a:pt x="86" y="612"/>
                      </a:cubicBezTo>
                      <a:cubicBezTo>
                        <a:pt x="85" y="611"/>
                        <a:pt x="84" y="609"/>
                        <a:pt x="83" y="607"/>
                      </a:cubicBezTo>
                      <a:cubicBezTo>
                        <a:pt x="85" y="606"/>
                        <a:pt x="85" y="606"/>
                        <a:pt x="85" y="606"/>
                      </a:cubicBezTo>
                      <a:cubicBezTo>
                        <a:pt x="85" y="605"/>
                        <a:pt x="85" y="605"/>
                        <a:pt x="85" y="605"/>
                      </a:cubicBezTo>
                      <a:cubicBezTo>
                        <a:pt x="83" y="607"/>
                        <a:pt x="83" y="607"/>
                        <a:pt x="83" y="607"/>
                      </a:cubicBezTo>
                      <a:cubicBezTo>
                        <a:pt x="81" y="605"/>
                        <a:pt x="80" y="604"/>
                        <a:pt x="79" y="602"/>
                      </a:cubicBezTo>
                      <a:cubicBezTo>
                        <a:pt x="82" y="600"/>
                        <a:pt x="82" y="600"/>
                        <a:pt x="82" y="600"/>
                      </a:cubicBezTo>
                      <a:cubicBezTo>
                        <a:pt x="81" y="600"/>
                        <a:pt x="81" y="600"/>
                        <a:pt x="81" y="600"/>
                      </a:cubicBezTo>
                      <a:cubicBezTo>
                        <a:pt x="79" y="601"/>
                        <a:pt x="79" y="601"/>
                        <a:pt x="79" y="601"/>
                      </a:cubicBezTo>
                      <a:cubicBezTo>
                        <a:pt x="78" y="600"/>
                        <a:pt x="77" y="598"/>
                        <a:pt x="76" y="597"/>
                      </a:cubicBezTo>
                      <a:cubicBezTo>
                        <a:pt x="78" y="595"/>
                        <a:pt x="78" y="595"/>
                        <a:pt x="78" y="595"/>
                      </a:cubicBezTo>
                      <a:cubicBezTo>
                        <a:pt x="78" y="594"/>
                        <a:pt x="78" y="594"/>
                        <a:pt x="78" y="594"/>
                      </a:cubicBezTo>
                      <a:cubicBezTo>
                        <a:pt x="75" y="596"/>
                        <a:pt x="75" y="596"/>
                        <a:pt x="75" y="596"/>
                      </a:cubicBezTo>
                      <a:cubicBezTo>
                        <a:pt x="74" y="594"/>
                        <a:pt x="73" y="593"/>
                        <a:pt x="72" y="591"/>
                      </a:cubicBezTo>
                      <a:cubicBezTo>
                        <a:pt x="75" y="590"/>
                        <a:pt x="75" y="590"/>
                        <a:pt x="75" y="590"/>
                      </a:cubicBezTo>
                      <a:cubicBezTo>
                        <a:pt x="74" y="589"/>
                        <a:pt x="74" y="589"/>
                        <a:pt x="74" y="589"/>
                      </a:cubicBezTo>
                      <a:cubicBezTo>
                        <a:pt x="72" y="590"/>
                        <a:pt x="72" y="590"/>
                        <a:pt x="72" y="590"/>
                      </a:cubicBezTo>
                      <a:cubicBezTo>
                        <a:pt x="71" y="589"/>
                        <a:pt x="70" y="587"/>
                        <a:pt x="69" y="585"/>
                      </a:cubicBezTo>
                      <a:cubicBezTo>
                        <a:pt x="71" y="584"/>
                        <a:pt x="71" y="584"/>
                        <a:pt x="71" y="584"/>
                      </a:cubicBezTo>
                      <a:cubicBezTo>
                        <a:pt x="71" y="583"/>
                        <a:pt x="71" y="583"/>
                        <a:pt x="71" y="583"/>
                      </a:cubicBezTo>
                      <a:cubicBezTo>
                        <a:pt x="68" y="585"/>
                        <a:pt x="68" y="585"/>
                        <a:pt x="68" y="585"/>
                      </a:cubicBezTo>
                      <a:cubicBezTo>
                        <a:pt x="67" y="583"/>
                        <a:pt x="66" y="582"/>
                        <a:pt x="66" y="580"/>
                      </a:cubicBezTo>
                      <a:cubicBezTo>
                        <a:pt x="70" y="578"/>
                        <a:pt x="70" y="578"/>
                        <a:pt x="70" y="578"/>
                      </a:cubicBezTo>
                      <a:cubicBezTo>
                        <a:pt x="70" y="577"/>
                        <a:pt x="70" y="577"/>
                        <a:pt x="70" y="577"/>
                      </a:cubicBezTo>
                      <a:cubicBezTo>
                        <a:pt x="77" y="573"/>
                        <a:pt x="77" y="573"/>
                        <a:pt x="77" y="573"/>
                      </a:cubicBezTo>
                      <a:cubicBezTo>
                        <a:pt x="76" y="573"/>
                        <a:pt x="76" y="573"/>
                        <a:pt x="76" y="573"/>
                      </a:cubicBezTo>
                      <a:cubicBezTo>
                        <a:pt x="70" y="576"/>
                        <a:pt x="70" y="576"/>
                        <a:pt x="70" y="576"/>
                      </a:cubicBezTo>
                      <a:cubicBezTo>
                        <a:pt x="69" y="576"/>
                        <a:pt x="69" y="576"/>
                        <a:pt x="69" y="576"/>
                      </a:cubicBezTo>
                      <a:cubicBezTo>
                        <a:pt x="65" y="579"/>
                        <a:pt x="65" y="579"/>
                        <a:pt x="65" y="579"/>
                      </a:cubicBezTo>
                      <a:cubicBezTo>
                        <a:pt x="64" y="577"/>
                        <a:pt x="63" y="576"/>
                        <a:pt x="62" y="574"/>
                      </a:cubicBezTo>
                      <a:cubicBezTo>
                        <a:pt x="65" y="573"/>
                        <a:pt x="65" y="573"/>
                        <a:pt x="65" y="573"/>
                      </a:cubicBezTo>
                      <a:cubicBezTo>
                        <a:pt x="64" y="572"/>
                        <a:pt x="64" y="572"/>
                        <a:pt x="64" y="572"/>
                      </a:cubicBezTo>
                      <a:cubicBezTo>
                        <a:pt x="62" y="573"/>
                        <a:pt x="62" y="573"/>
                        <a:pt x="62" y="573"/>
                      </a:cubicBezTo>
                      <a:cubicBezTo>
                        <a:pt x="61" y="572"/>
                        <a:pt x="60" y="570"/>
                        <a:pt x="59" y="568"/>
                      </a:cubicBezTo>
                      <a:cubicBezTo>
                        <a:pt x="61" y="567"/>
                        <a:pt x="61" y="567"/>
                        <a:pt x="61" y="567"/>
                      </a:cubicBezTo>
                      <a:cubicBezTo>
                        <a:pt x="61" y="566"/>
                        <a:pt x="61" y="566"/>
                        <a:pt x="61" y="566"/>
                      </a:cubicBezTo>
                      <a:cubicBezTo>
                        <a:pt x="59" y="568"/>
                        <a:pt x="59" y="568"/>
                        <a:pt x="59" y="568"/>
                      </a:cubicBezTo>
                      <a:cubicBezTo>
                        <a:pt x="58" y="566"/>
                        <a:pt x="57" y="564"/>
                        <a:pt x="56" y="562"/>
                      </a:cubicBezTo>
                      <a:cubicBezTo>
                        <a:pt x="58" y="561"/>
                        <a:pt x="58" y="561"/>
                        <a:pt x="58" y="561"/>
                      </a:cubicBezTo>
                      <a:cubicBezTo>
                        <a:pt x="58" y="560"/>
                        <a:pt x="58" y="560"/>
                        <a:pt x="58" y="560"/>
                      </a:cubicBezTo>
                      <a:cubicBezTo>
                        <a:pt x="55" y="562"/>
                        <a:pt x="55" y="562"/>
                        <a:pt x="55" y="562"/>
                      </a:cubicBezTo>
                      <a:cubicBezTo>
                        <a:pt x="55" y="560"/>
                        <a:pt x="54" y="558"/>
                        <a:pt x="53" y="557"/>
                      </a:cubicBezTo>
                      <a:cubicBezTo>
                        <a:pt x="56" y="555"/>
                        <a:pt x="56" y="555"/>
                        <a:pt x="56" y="555"/>
                      </a:cubicBezTo>
                      <a:cubicBezTo>
                        <a:pt x="55" y="555"/>
                        <a:pt x="55" y="555"/>
                        <a:pt x="55" y="555"/>
                      </a:cubicBezTo>
                      <a:cubicBezTo>
                        <a:pt x="53" y="556"/>
                        <a:pt x="53" y="556"/>
                        <a:pt x="53" y="556"/>
                      </a:cubicBezTo>
                      <a:cubicBezTo>
                        <a:pt x="52" y="554"/>
                        <a:pt x="51" y="552"/>
                        <a:pt x="50" y="551"/>
                      </a:cubicBezTo>
                      <a:cubicBezTo>
                        <a:pt x="53" y="549"/>
                        <a:pt x="53" y="549"/>
                        <a:pt x="53" y="549"/>
                      </a:cubicBezTo>
                      <a:cubicBezTo>
                        <a:pt x="52" y="549"/>
                        <a:pt x="52" y="549"/>
                        <a:pt x="52" y="549"/>
                      </a:cubicBezTo>
                      <a:cubicBezTo>
                        <a:pt x="50" y="550"/>
                        <a:pt x="50" y="550"/>
                        <a:pt x="50" y="550"/>
                      </a:cubicBezTo>
                      <a:cubicBezTo>
                        <a:pt x="49" y="548"/>
                        <a:pt x="48" y="546"/>
                        <a:pt x="47" y="545"/>
                      </a:cubicBezTo>
                      <a:cubicBezTo>
                        <a:pt x="50" y="544"/>
                        <a:pt x="50" y="544"/>
                        <a:pt x="50" y="544"/>
                      </a:cubicBezTo>
                      <a:cubicBezTo>
                        <a:pt x="50" y="543"/>
                        <a:pt x="50" y="543"/>
                        <a:pt x="50" y="543"/>
                      </a:cubicBezTo>
                      <a:cubicBezTo>
                        <a:pt x="47" y="544"/>
                        <a:pt x="47" y="544"/>
                        <a:pt x="47" y="544"/>
                      </a:cubicBezTo>
                      <a:cubicBezTo>
                        <a:pt x="46" y="542"/>
                        <a:pt x="45" y="540"/>
                        <a:pt x="45" y="539"/>
                      </a:cubicBezTo>
                      <a:cubicBezTo>
                        <a:pt x="47" y="538"/>
                        <a:pt x="47" y="538"/>
                        <a:pt x="47" y="538"/>
                      </a:cubicBezTo>
                      <a:cubicBezTo>
                        <a:pt x="47" y="537"/>
                        <a:pt x="47" y="537"/>
                        <a:pt x="47" y="537"/>
                      </a:cubicBezTo>
                      <a:cubicBezTo>
                        <a:pt x="44" y="538"/>
                        <a:pt x="44" y="538"/>
                        <a:pt x="44" y="538"/>
                      </a:cubicBezTo>
                      <a:cubicBezTo>
                        <a:pt x="44" y="536"/>
                        <a:pt x="43" y="534"/>
                        <a:pt x="42" y="533"/>
                      </a:cubicBezTo>
                      <a:cubicBezTo>
                        <a:pt x="45" y="532"/>
                        <a:pt x="45" y="532"/>
                        <a:pt x="45" y="532"/>
                      </a:cubicBezTo>
                      <a:cubicBezTo>
                        <a:pt x="45" y="531"/>
                        <a:pt x="45" y="531"/>
                        <a:pt x="45" y="531"/>
                      </a:cubicBezTo>
                      <a:cubicBezTo>
                        <a:pt x="42" y="532"/>
                        <a:pt x="42" y="532"/>
                        <a:pt x="42" y="532"/>
                      </a:cubicBezTo>
                      <a:cubicBezTo>
                        <a:pt x="41" y="530"/>
                        <a:pt x="40" y="528"/>
                        <a:pt x="40" y="527"/>
                      </a:cubicBezTo>
                      <a:cubicBezTo>
                        <a:pt x="43" y="525"/>
                        <a:pt x="43" y="525"/>
                        <a:pt x="43" y="525"/>
                      </a:cubicBezTo>
                      <a:cubicBezTo>
                        <a:pt x="42" y="525"/>
                        <a:pt x="42" y="525"/>
                        <a:pt x="42" y="525"/>
                      </a:cubicBezTo>
                      <a:cubicBezTo>
                        <a:pt x="39" y="526"/>
                        <a:pt x="39" y="526"/>
                        <a:pt x="39" y="526"/>
                      </a:cubicBezTo>
                      <a:cubicBezTo>
                        <a:pt x="39" y="524"/>
                        <a:pt x="38" y="523"/>
                        <a:pt x="38" y="521"/>
                      </a:cubicBezTo>
                      <a:cubicBezTo>
                        <a:pt x="43" y="519"/>
                        <a:pt x="43" y="519"/>
                        <a:pt x="43" y="519"/>
                      </a:cubicBezTo>
                      <a:cubicBezTo>
                        <a:pt x="43" y="518"/>
                        <a:pt x="43" y="518"/>
                        <a:pt x="43" y="518"/>
                      </a:cubicBezTo>
                      <a:cubicBezTo>
                        <a:pt x="50" y="516"/>
                        <a:pt x="50" y="516"/>
                        <a:pt x="50" y="516"/>
                      </a:cubicBezTo>
                      <a:cubicBezTo>
                        <a:pt x="50" y="515"/>
                        <a:pt x="50" y="515"/>
                        <a:pt x="50" y="515"/>
                      </a:cubicBezTo>
                      <a:cubicBezTo>
                        <a:pt x="42" y="518"/>
                        <a:pt x="42" y="518"/>
                        <a:pt x="42" y="518"/>
                      </a:cubicBezTo>
                      <a:cubicBezTo>
                        <a:pt x="42" y="517"/>
                        <a:pt x="42" y="517"/>
                        <a:pt x="42" y="517"/>
                      </a:cubicBezTo>
                      <a:cubicBezTo>
                        <a:pt x="37" y="519"/>
                        <a:pt x="37" y="519"/>
                        <a:pt x="37" y="519"/>
                      </a:cubicBezTo>
                      <a:cubicBezTo>
                        <a:pt x="36" y="518"/>
                        <a:pt x="36" y="516"/>
                        <a:pt x="35" y="514"/>
                      </a:cubicBezTo>
                      <a:cubicBezTo>
                        <a:pt x="38" y="513"/>
                        <a:pt x="38" y="513"/>
                        <a:pt x="38" y="513"/>
                      </a:cubicBezTo>
                      <a:cubicBezTo>
                        <a:pt x="38" y="512"/>
                        <a:pt x="38" y="512"/>
                        <a:pt x="38" y="512"/>
                      </a:cubicBezTo>
                      <a:cubicBezTo>
                        <a:pt x="35" y="513"/>
                        <a:pt x="35" y="513"/>
                        <a:pt x="35" y="513"/>
                      </a:cubicBezTo>
                      <a:cubicBezTo>
                        <a:pt x="34" y="512"/>
                        <a:pt x="34" y="510"/>
                        <a:pt x="33" y="508"/>
                      </a:cubicBezTo>
                      <a:cubicBezTo>
                        <a:pt x="36" y="507"/>
                        <a:pt x="36" y="507"/>
                        <a:pt x="36" y="507"/>
                      </a:cubicBezTo>
                      <a:cubicBezTo>
                        <a:pt x="36" y="506"/>
                        <a:pt x="36" y="506"/>
                        <a:pt x="36" y="506"/>
                      </a:cubicBezTo>
                      <a:cubicBezTo>
                        <a:pt x="33" y="507"/>
                        <a:pt x="33" y="507"/>
                        <a:pt x="33" y="507"/>
                      </a:cubicBezTo>
                      <a:cubicBezTo>
                        <a:pt x="32" y="505"/>
                        <a:pt x="32" y="504"/>
                        <a:pt x="31" y="502"/>
                      </a:cubicBezTo>
                      <a:cubicBezTo>
                        <a:pt x="34" y="501"/>
                        <a:pt x="34" y="501"/>
                        <a:pt x="34" y="501"/>
                      </a:cubicBezTo>
                      <a:cubicBezTo>
                        <a:pt x="34" y="500"/>
                        <a:pt x="34" y="500"/>
                        <a:pt x="34" y="500"/>
                      </a:cubicBezTo>
                      <a:cubicBezTo>
                        <a:pt x="31" y="501"/>
                        <a:pt x="31" y="501"/>
                        <a:pt x="31" y="501"/>
                      </a:cubicBezTo>
                      <a:cubicBezTo>
                        <a:pt x="30" y="499"/>
                        <a:pt x="30" y="497"/>
                        <a:pt x="29" y="495"/>
                      </a:cubicBezTo>
                      <a:cubicBezTo>
                        <a:pt x="32" y="495"/>
                        <a:pt x="32" y="495"/>
                        <a:pt x="32" y="495"/>
                      </a:cubicBezTo>
                      <a:cubicBezTo>
                        <a:pt x="32" y="494"/>
                        <a:pt x="32" y="494"/>
                        <a:pt x="32" y="494"/>
                      </a:cubicBezTo>
                      <a:cubicBezTo>
                        <a:pt x="29" y="495"/>
                        <a:pt x="29" y="495"/>
                        <a:pt x="29" y="495"/>
                      </a:cubicBezTo>
                      <a:cubicBezTo>
                        <a:pt x="28" y="493"/>
                        <a:pt x="28" y="491"/>
                        <a:pt x="28" y="489"/>
                      </a:cubicBezTo>
                      <a:cubicBezTo>
                        <a:pt x="30" y="488"/>
                        <a:pt x="30" y="488"/>
                        <a:pt x="30" y="488"/>
                      </a:cubicBezTo>
                      <a:cubicBezTo>
                        <a:pt x="30" y="488"/>
                        <a:pt x="30" y="488"/>
                        <a:pt x="30" y="488"/>
                      </a:cubicBezTo>
                      <a:cubicBezTo>
                        <a:pt x="27" y="488"/>
                        <a:pt x="27" y="488"/>
                        <a:pt x="27" y="488"/>
                      </a:cubicBezTo>
                      <a:cubicBezTo>
                        <a:pt x="27" y="486"/>
                        <a:pt x="26" y="485"/>
                        <a:pt x="26" y="483"/>
                      </a:cubicBezTo>
                      <a:cubicBezTo>
                        <a:pt x="29" y="482"/>
                        <a:pt x="29" y="482"/>
                        <a:pt x="29" y="482"/>
                      </a:cubicBezTo>
                      <a:cubicBezTo>
                        <a:pt x="29" y="481"/>
                        <a:pt x="29" y="481"/>
                        <a:pt x="29" y="481"/>
                      </a:cubicBezTo>
                      <a:cubicBezTo>
                        <a:pt x="26" y="482"/>
                        <a:pt x="26" y="482"/>
                        <a:pt x="26" y="482"/>
                      </a:cubicBezTo>
                      <a:cubicBezTo>
                        <a:pt x="25" y="480"/>
                        <a:pt x="25" y="478"/>
                        <a:pt x="24" y="476"/>
                      </a:cubicBezTo>
                      <a:cubicBezTo>
                        <a:pt x="27" y="476"/>
                        <a:pt x="27" y="476"/>
                        <a:pt x="27" y="476"/>
                      </a:cubicBezTo>
                      <a:cubicBezTo>
                        <a:pt x="27" y="475"/>
                        <a:pt x="27" y="475"/>
                        <a:pt x="27" y="475"/>
                      </a:cubicBezTo>
                      <a:cubicBezTo>
                        <a:pt x="24" y="476"/>
                        <a:pt x="24" y="476"/>
                        <a:pt x="24" y="476"/>
                      </a:cubicBezTo>
                      <a:cubicBezTo>
                        <a:pt x="24" y="474"/>
                        <a:pt x="23" y="472"/>
                        <a:pt x="23" y="470"/>
                      </a:cubicBezTo>
                      <a:cubicBezTo>
                        <a:pt x="26" y="469"/>
                        <a:pt x="26" y="469"/>
                        <a:pt x="26" y="469"/>
                      </a:cubicBezTo>
                      <a:cubicBezTo>
                        <a:pt x="26" y="468"/>
                        <a:pt x="26" y="468"/>
                        <a:pt x="26" y="468"/>
                      </a:cubicBezTo>
                      <a:cubicBezTo>
                        <a:pt x="23" y="469"/>
                        <a:pt x="23" y="469"/>
                        <a:pt x="23" y="469"/>
                      </a:cubicBezTo>
                      <a:cubicBezTo>
                        <a:pt x="22" y="467"/>
                        <a:pt x="22" y="465"/>
                        <a:pt x="22" y="463"/>
                      </a:cubicBezTo>
                      <a:cubicBezTo>
                        <a:pt x="25" y="463"/>
                        <a:pt x="25" y="463"/>
                        <a:pt x="25" y="463"/>
                      </a:cubicBezTo>
                      <a:cubicBezTo>
                        <a:pt x="24" y="462"/>
                        <a:pt x="24" y="462"/>
                        <a:pt x="24" y="462"/>
                      </a:cubicBezTo>
                      <a:cubicBezTo>
                        <a:pt x="21" y="463"/>
                        <a:pt x="21" y="463"/>
                        <a:pt x="21" y="463"/>
                      </a:cubicBezTo>
                      <a:cubicBezTo>
                        <a:pt x="21" y="461"/>
                        <a:pt x="21" y="459"/>
                        <a:pt x="20" y="457"/>
                      </a:cubicBezTo>
                      <a:cubicBezTo>
                        <a:pt x="26" y="457"/>
                        <a:pt x="26" y="457"/>
                        <a:pt x="26" y="457"/>
                      </a:cubicBezTo>
                      <a:cubicBezTo>
                        <a:pt x="26" y="456"/>
                        <a:pt x="26" y="456"/>
                        <a:pt x="26" y="456"/>
                      </a:cubicBezTo>
                      <a:cubicBezTo>
                        <a:pt x="33" y="455"/>
                        <a:pt x="33" y="455"/>
                        <a:pt x="33" y="455"/>
                      </a:cubicBezTo>
                      <a:cubicBezTo>
                        <a:pt x="33" y="454"/>
                        <a:pt x="33" y="454"/>
                        <a:pt x="33" y="454"/>
                      </a:cubicBezTo>
                      <a:cubicBezTo>
                        <a:pt x="26" y="455"/>
                        <a:pt x="26" y="455"/>
                        <a:pt x="26" y="455"/>
                      </a:cubicBezTo>
                      <a:cubicBezTo>
                        <a:pt x="26" y="455"/>
                        <a:pt x="26" y="455"/>
                        <a:pt x="26" y="455"/>
                      </a:cubicBezTo>
                      <a:cubicBezTo>
                        <a:pt x="20" y="456"/>
                        <a:pt x="20" y="456"/>
                        <a:pt x="20" y="456"/>
                      </a:cubicBezTo>
                      <a:cubicBezTo>
                        <a:pt x="20" y="454"/>
                        <a:pt x="20" y="452"/>
                        <a:pt x="19" y="450"/>
                      </a:cubicBezTo>
                      <a:cubicBezTo>
                        <a:pt x="22" y="450"/>
                        <a:pt x="22" y="450"/>
                        <a:pt x="22" y="450"/>
                      </a:cubicBezTo>
                      <a:cubicBezTo>
                        <a:pt x="22" y="449"/>
                        <a:pt x="22" y="449"/>
                        <a:pt x="22" y="449"/>
                      </a:cubicBezTo>
                      <a:cubicBezTo>
                        <a:pt x="19" y="450"/>
                        <a:pt x="19" y="450"/>
                        <a:pt x="19" y="450"/>
                      </a:cubicBezTo>
                      <a:cubicBezTo>
                        <a:pt x="19" y="448"/>
                        <a:pt x="19" y="446"/>
                        <a:pt x="18" y="444"/>
                      </a:cubicBezTo>
                      <a:cubicBezTo>
                        <a:pt x="21" y="444"/>
                        <a:pt x="21" y="444"/>
                        <a:pt x="21" y="444"/>
                      </a:cubicBezTo>
                      <a:cubicBezTo>
                        <a:pt x="21" y="443"/>
                        <a:pt x="21" y="443"/>
                        <a:pt x="21" y="443"/>
                      </a:cubicBezTo>
                      <a:cubicBezTo>
                        <a:pt x="18" y="443"/>
                        <a:pt x="18" y="443"/>
                        <a:pt x="18" y="443"/>
                      </a:cubicBezTo>
                      <a:cubicBezTo>
                        <a:pt x="18" y="441"/>
                        <a:pt x="18" y="439"/>
                        <a:pt x="17" y="437"/>
                      </a:cubicBezTo>
                      <a:cubicBezTo>
                        <a:pt x="20" y="437"/>
                        <a:pt x="20" y="437"/>
                        <a:pt x="20" y="437"/>
                      </a:cubicBezTo>
                      <a:cubicBezTo>
                        <a:pt x="20" y="436"/>
                        <a:pt x="20" y="436"/>
                        <a:pt x="20" y="436"/>
                      </a:cubicBezTo>
                      <a:cubicBezTo>
                        <a:pt x="17" y="437"/>
                        <a:pt x="17" y="437"/>
                        <a:pt x="17" y="437"/>
                      </a:cubicBezTo>
                      <a:cubicBezTo>
                        <a:pt x="17" y="435"/>
                        <a:pt x="17" y="433"/>
                        <a:pt x="17" y="431"/>
                      </a:cubicBezTo>
                      <a:cubicBezTo>
                        <a:pt x="20" y="431"/>
                        <a:pt x="20" y="431"/>
                        <a:pt x="20" y="431"/>
                      </a:cubicBezTo>
                      <a:cubicBezTo>
                        <a:pt x="20" y="430"/>
                        <a:pt x="20" y="430"/>
                        <a:pt x="20" y="430"/>
                      </a:cubicBezTo>
                      <a:cubicBezTo>
                        <a:pt x="17" y="430"/>
                        <a:pt x="17" y="430"/>
                        <a:pt x="17" y="430"/>
                      </a:cubicBezTo>
                      <a:cubicBezTo>
                        <a:pt x="16" y="428"/>
                        <a:pt x="16" y="426"/>
                        <a:pt x="16" y="424"/>
                      </a:cubicBezTo>
                      <a:cubicBezTo>
                        <a:pt x="19" y="424"/>
                        <a:pt x="19" y="424"/>
                        <a:pt x="19" y="424"/>
                      </a:cubicBezTo>
                      <a:cubicBezTo>
                        <a:pt x="19" y="423"/>
                        <a:pt x="19" y="423"/>
                        <a:pt x="19" y="423"/>
                      </a:cubicBezTo>
                      <a:cubicBezTo>
                        <a:pt x="16" y="424"/>
                        <a:pt x="16" y="424"/>
                        <a:pt x="16" y="424"/>
                      </a:cubicBezTo>
                      <a:cubicBezTo>
                        <a:pt x="16" y="422"/>
                        <a:pt x="16" y="420"/>
                        <a:pt x="16" y="418"/>
                      </a:cubicBezTo>
                      <a:cubicBezTo>
                        <a:pt x="19" y="418"/>
                        <a:pt x="19" y="418"/>
                        <a:pt x="19" y="418"/>
                      </a:cubicBezTo>
                      <a:cubicBezTo>
                        <a:pt x="18" y="417"/>
                        <a:pt x="18" y="417"/>
                        <a:pt x="18" y="417"/>
                      </a:cubicBezTo>
                      <a:cubicBezTo>
                        <a:pt x="16" y="417"/>
                        <a:pt x="16" y="417"/>
                        <a:pt x="16" y="417"/>
                      </a:cubicBezTo>
                      <a:cubicBezTo>
                        <a:pt x="15" y="415"/>
                        <a:pt x="15" y="413"/>
                        <a:pt x="15" y="411"/>
                      </a:cubicBezTo>
                      <a:cubicBezTo>
                        <a:pt x="18" y="411"/>
                        <a:pt x="18" y="411"/>
                        <a:pt x="18" y="411"/>
                      </a:cubicBezTo>
                      <a:cubicBezTo>
                        <a:pt x="18" y="410"/>
                        <a:pt x="18" y="410"/>
                        <a:pt x="18" y="410"/>
                      </a:cubicBezTo>
                      <a:cubicBezTo>
                        <a:pt x="15" y="410"/>
                        <a:pt x="15" y="410"/>
                        <a:pt x="15" y="410"/>
                      </a:cubicBezTo>
                      <a:cubicBezTo>
                        <a:pt x="15" y="409"/>
                        <a:pt x="15" y="407"/>
                        <a:pt x="15" y="405"/>
                      </a:cubicBezTo>
                      <a:cubicBezTo>
                        <a:pt x="18" y="405"/>
                        <a:pt x="18" y="405"/>
                        <a:pt x="18" y="405"/>
                      </a:cubicBezTo>
                      <a:cubicBezTo>
                        <a:pt x="18" y="404"/>
                        <a:pt x="18" y="404"/>
                        <a:pt x="18" y="404"/>
                      </a:cubicBezTo>
                      <a:cubicBezTo>
                        <a:pt x="15" y="404"/>
                        <a:pt x="15" y="404"/>
                        <a:pt x="15" y="404"/>
                      </a:cubicBezTo>
                      <a:cubicBezTo>
                        <a:pt x="15" y="402"/>
                        <a:pt x="15" y="400"/>
                        <a:pt x="15" y="398"/>
                      </a:cubicBezTo>
                      <a:cubicBezTo>
                        <a:pt x="18" y="398"/>
                        <a:pt x="18" y="398"/>
                        <a:pt x="18" y="398"/>
                      </a:cubicBezTo>
                      <a:cubicBezTo>
                        <a:pt x="18" y="397"/>
                        <a:pt x="18" y="397"/>
                        <a:pt x="18" y="397"/>
                      </a:cubicBezTo>
                      <a:cubicBezTo>
                        <a:pt x="15" y="397"/>
                        <a:pt x="15" y="397"/>
                        <a:pt x="15" y="397"/>
                      </a:cubicBezTo>
                      <a:cubicBezTo>
                        <a:pt x="15" y="396"/>
                        <a:pt x="15" y="394"/>
                        <a:pt x="15" y="392"/>
                      </a:cubicBezTo>
                      <a:cubicBezTo>
                        <a:pt x="20" y="392"/>
                        <a:pt x="20" y="392"/>
                        <a:pt x="20" y="392"/>
                      </a:cubicBezTo>
                      <a:cubicBezTo>
                        <a:pt x="20" y="392"/>
                        <a:pt x="20" y="392"/>
                        <a:pt x="20" y="392"/>
                      </a:cubicBezTo>
                      <a:cubicBezTo>
                        <a:pt x="28" y="392"/>
                        <a:pt x="28" y="392"/>
                        <a:pt x="28" y="392"/>
                      </a:cubicBezTo>
                      <a:cubicBezTo>
                        <a:pt x="28" y="391"/>
                        <a:pt x="28" y="391"/>
                        <a:pt x="28" y="391"/>
                      </a:cubicBezTo>
                      <a:cubicBezTo>
                        <a:pt x="20" y="391"/>
                        <a:pt x="20" y="391"/>
                        <a:pt x="20" y="391"/>
                      </a:cubicBezTo>
                      <a:cubicBezTo>
                        <a:pt x="20" y="390"/>
                        <a:pt x="20" y="390"/>
                        <a:pt x="20" y="390"/>
                      </a:cubicBezTo>
                      <a:cubicBezTo>
                        <a:pt x="15" y="390"/>
                        <a:pt x="15" y="390"/>
                        <a:pt x="15" y="390"/>
                      </a:cubicBezTo>
                      <a:cubicBezTo>
                        <a:pt x="15" y="389"/>
                        <a:pt x="15" y="387"/>
                        <a:pt x="15" y="385"/>
                      </a:cubicBezTo>
                      <a:cubicBezTo>
                        <a:pt x="18" y="385"/>
                        <a:pt x="18" y="385"/>
                        <a:pt x="18" y="385"/>
                      </a:cubicBezTo>
                      <a:cubicBezTo>
                        <a:pt x="18" y="384"/>
                        <a:pt x="18" y="384"/>
                        <a:pt x="18" y="384"/>
                      </a:cubicBezTo>
                      <a:cubicBezTo>
                        <a:pt x="15" y="384"/>
                        <a:pt x="15" y="384"/>
                        <a:pt x="15" y="384"/>
                      </a:cubicBezTo>
                      <a:cubicBezTo>
                        <a:pt x="15" y="382"/>
                        <a:pt x="15" y="380"/>
                        <a:pt x="15" y="378"/>
                      </a:cubicBezTo>
                      <a:cubicBezTo>
                        <a:pt x="18" y="379"/>
                        <a:pt x="18" y="379"/>
                        <a:pt x="18" y="379"/>
                      </a:cubicBezTo>
                      <a:cubicBezTo>
                        <a:pt x="18" y="378"/>
                        <a:pt x="18" y="378"/>
                        <a:pt x="18" y="378"/>
                      </a:cubicBezTo>
                      <a:cubicBezTo>
                        <a:pt x="15" y="378"/>
                        <a:pt x="15" y="378"/>
                        <a:pt x="15" y="378"/>
                      </a:cubicBezTo>
                      <a:cubicBezTo>
                        <a:pt x="15" y="376"/>
                        <a:pt x="15" y="374"/>
                        <a:pt x="15" y="372"/>
                      </a:cubicBezTo>
                      <a:cubicBezTo>
                        <a:pt x="18" y="372"/>
                        <a:pt x="18" y="372"/>
                        <a:pt x="18" y="372"/>
                      </a:cubicBezTo>
                      <a:cubicBezTo>
                        <a:pt x="18" y="371"/>
                        <a:pt x="18" y="371"/>
                        <a:pt x="18" y="371"/>
                      </a:cubicBezTo>
                      <a:cubicBezTo>
                        <a:pt x="15" y="371"/>
                        <a:pt x="15" y="371"/>
                        <a:pt x="15" y="371"/>
                      </a:cubicBezTo>
                      <a:cubicBezTo>
                        <a:pt x="15" y="369"/>
                        <a:pt x="15" y="367"/>
                        <a:pt x="16" y="365"/>
                      </a:cubicBezTo>
                      <a:cubicBezTo>
                        <a:pt x="18" y="366"/>
                        <a:pt x="18" y="366"/>
                        <a:pt x="18" y="366"/>
                      </a:cubicBezTo>
                      <a:cubicBezTo>
                        <a:pt x="19" y="365"/>
                        <a:pt x="19" y="365"/>
                        <a:pt x="19" y="365"/>
                      </a:cubicBezTo>
                      <a:cubicBezTo>
                        <a:pt x="16" y="365"/>
                        <a:pt x="16" y="365"/>
                        <a:pt x="16" y="365"/>
                      </a:cubicBezTo>
                      <a:cubicBezTo>
                        <a:pt x="16" y="363"/>
                        <a:pt x="16" y="361"/>
                        <a:pt x="16" y="359"/>
                      </a:cubicBezTo>
                      <a:cubicBezTo>
                        <a:pt x="19" y="359"/>
                        <a:pt x="19" y="359"/>
                        <a:pt x="19" y="359"/>
                      </a:cubicBezTo>
                      <a:cubicBezTo>
                        <a:pt x="19" y="358"/>
                        <a:pt x="19" y="358"/>
                        <a:pt x="19" y="358"/>
                      </a:cubicBezTo>
                      <a:cubicBezTo>
                        <a:pt x="16" y="358"/>
                        <a:pt x="16" y="358"/>
                        <a:pt x="16" y="358"/>
                      </a:cubicBezTo>
                      <a:cubicBezTo>
                        <a:pt x="16" y="356"/>
                        <a:pt x="16" y="354"/>
                        <a:pt x="17" y="352"/>
                      </a:cubicBezTo>
                      <a:cubicBezTo>
                        <a:pt x="20" y="353"/>
                        <a:pt x="20" y="353"/>
                        <a:pt x="20" y="353"/>
                      </a:cubicBezTo>
                      <a:cubicBezTo>
                        <a:pt x="20" y="352"/>
                        <a:pt x="20" y="352"/>
                        <a:pt x="20" y="352"/>
                      </a:cubicBezTo>
                      <a:cubicBezTo>
                        <a:pt x="17" y="351"/>
                        <a:pt x="17" y="351"/>
                        <a:pt x="17" y="351"/>
                      </a:cubicBezTo>
                      <a:cubicBezTo>
                        <a:pt x="17" y="350"/>
                        <a:pt x="17" y="348"/>
                        <a:pt x="17" y="346"/>
                      </a:cubicBezTo>
                      <a:cubicBezTo>
                        <a:pt x="20" y="346"/>
                        <a:pt x="20" y="346"/>
                        <a:pt x="20" y="346"/>
                      </a:cubicBezTo>
                      <a:cubicBezTo>
                        <a:pt x="20" y="345"/>
                        <a:pt x="20" y="345"/>
                        <a:pt x="20" y="345"/>
                      </a:cubicBezTo>
                      <a:cubicBezTo>
                        <a:pt x="17" y="345"/>
                        <a:pt x="17" y="345"/>
                        <a:pt x="17" y="345"/>
                      </a:cubicBezTo>
                      <a:cubicBezTo>
                        <a:pt x="18" y="343"/>
                        <a:pt x="18" y="341"/>
                        <a:pt x="18" y="339"/>
                      </a:cubicBezTo>
                      <a:cubicBezTo>
                        <a:pt x="21" y="340"/>
                        <a:pt x="21" y="340"/>
                        <a:pt x="21" y="340"/>
                      </a:cubicBezTo>
                      <a:cubicBezTo>
                        <a:pt x="21" y="339"/>
                        <a:pt x="21" y="339"/>
                        <a:pt x="21" y="339"/>
                      </a:cubicBezTo>
                      <a:cubicBezTo>
                        <a:pt x="18" y="338"/>
                        <a:pt x="18" y="338"/>
                        <a:pt x="18" y="338"/>
                      </a:cubicBezTo>
                      <a:cubicBezTo>
                        <a:pt x="19" y="336"/>
                        <a:pt x="19" y="335"/>
                        <a:pt x="19" y="333"/>
                      </a:cubicBezTo>
                      <a:cubicBezTo>
                        <a:pt x="22" y="333"/>
                        <a:pt x="22" y="333"/>
                        <a:pt x="22" y="333"/>
                      </a:cubicBezTo>
                      <a:cubicBezTo>
                        <a:pt x="22" y="332"/>
                        <a:pt x="22" y="332"/>
                        <a:pt x="22" y="332"/>
                      </a:cubicBezTo>
                      <a:cubicBezTo>
                        <a:pt x="19" y="332"/>
                        <a:pt x="19" y="332"/>
                        <a:pt x="19" y="332"/>
                      </a:cubicBezTo>
                      <a:cubicBezTo>
                        <a:pt x="20" y="330"/>
                        <a:pt x="20" y="328"/>
                        <a:pt x="20" y="327"/>
                      </a:cubicBezTo>
                      <a:cubicBezTo>
                        <a:pt x="26" y="328"/>
                        <a:pt x="26" y="328"/>
                        <a:pt x="26" y="328"/>
                      </a:cubicBezTo>
                      <a:cubicBezTo>
                        <a:pt x="26" y="327"/>
                        <a:pt x="26" y="327"/>
                        <a:pt x="26" y="327"/>
                      </a:cubicBezTo>
                      <a:cubicBezTo>
                        <a:pt x="33" y="328"/>
                        <a:pt x="33" y="328"/>
                        <a:pt x="33" y="328"/>
                      </a:cubicBezTo>
                      <a:cubicBezTo>
                        <a:pt x="33" y="328"/>
                        <a:pt x="33" y="328"/>
                        <a:pt x="33" y="328"/>
                      </a:cubicBezTo>
                      <a:cubicBezTo>
                        <a:pt x="26" y="326"/>
                        <a:pt x="26" y="326"/>
                        <a:pt x="26" y="326"/>
                      </a:cubicBezTo>
                      <a:cubicBezTo>
                        <a:pt x="26" y="326"/>
                        <a:pt x="26" y="326"/>
                        <a:pt x="26" y="326"/>
                      </a:cubicBezTo>
                      <a:cubicBezTo>
                        <a:pt x="20" y="325"/>
                        <a:pt x="20" y="325"/>
                        <a:pt x="20" y="325"/>
                      </a:cubicBezTo>
                      <a:cubicBezTo>
                        <a:pt x="21" y="323"/>
                        <a:pt x="21" y="321"/>
                        <a:pt x="21" y="320"/>
                      </a:cubicBezTo>
                      <a:cubicBezTo>
                        <a:pt x="24" y="320"/>
                        <a:pt x="24" y="320"/>
                        <a:pt x="24" y="320"/>
                      </a:cubicBezTo>
                      <a:cubicBezTo>
                        <a:pt x="25" y="320"/>
                        <a:pt x="25" y="320"/>
                        <a:pt x="25" y="320"/>
                      </a:cubicBezTo>
                      <a:cubicBezTo>
                        <a:pt x="22" y="319"/>
                        <a:pt x="22" y="319"/>
                        <a:pt x="22" y="319"/>
                      </a:cubicBezTo>
                      <a:cubicBezTo>
                        <a:pt x="22" y="317"/>
                        <a:pt x="22" y="315"/>
                        <a:pt x="23" y="313"/>
                      </a:cubicBezTo>
                      <a:cubicBezTo>
                        <a:pt x="26" y="314"/>
                        <a:pt x="26" y="314"/>
                        <a:pt x="26" y="314"/>
                      </a:cubicBezTo>
                      <a:cubicBezTo>
                        <a:pt x="26" y="313"/>
                        <a:pt x="26" y="313"/>
                        <a:pt x="26" y="313"/>
                      </a:cubicBezTo>
                      <a:cubicBezTo>
                        <a:pt x="23" y="312"/>
                        <a:pt x="23" y="312"/>
                        <a:pt x="23" y="312"/>
                      </a:cubicBezTo>
                      <a:cubicBezTo>
                        <a:pt x="23" y="311"/>
                        <a:pt x="24" y="309"/>
                        <a:pt x="24" y="307"/>
                      </a:cubicBezTo>
                      <a:cubicBezTo>
                        <a:pt x="27" y="308"/>
                        <a:pt x="27" y="308"/>
                        <a:pt x="27" y="308"/>
                      </a:cubicBezTo>
                      <a:cubicBezTo>
                        <a:pt x="27" y="307"/>
                        <a:pt x="27" y="307"/>
                        <a:pt x="27" y="307"/>
                      </a:cubicBezTo>
                      <a:cubicBezTo>
                        <a:pt x="24" y="306"/>
                        <a:pt x="24" y="306"/>
                        <a:pt x="24" y="306"/>
                      </a:cubicBezTo>
                      <a:cubicBezTo>
                        <a:pt x="25" y="304"/>
                        <a:pt x="25" y="302"/>
                        <a:pt x="26" y="300"/>
                      </a:cubicBezTo>
                      <a:cubicBezTo>
                        <a:pt x="29" y="301"/>
                        <a:pt x="29" y="301"/>
                        <a:pt x="29" y="301"/>
                      </a:cubicBezTo>
                      <a:cubicBezTo>
                        <a:pt x="29" y="300"/>
                        <a:pt x="29" y="300"/>
                        <a:pt x="29" y="300"/>
                      </a:cubicBezTo>
                      <a:cubicBezTo>
                        <a:pt x="26" y="300"/>
                        <a:pt x="26" y="300"/>
                        <a:pt x="26" y="300"/>
                      </a:cubicBezTo>
                      <a:cubicBezTo>
                        <a:pt x="26" y="298"/>
                        <a:pt x="27" y="296"/>
                        <a:pt x="27" y="294"/>
                      </a:cubicBezTo>
                      <a:cubicBezTo>
                        <a:pt x="30" y="295"/>
                        <a:pt x="30" y="295"/>
                        <a:pt x="30" y="295"/>
                      </a:cubicBezTo>
                      <a:cubicBezTo>
                        <a:pt x="30" y="294"/>
                        <a:pt x="30" y="294"/>
                        <a:pt x="30" y="294"/>
                      </a:cubicBezTo>
                      <a:cubicBezTo>
                        <a:pt x="28" y="293"/>
                        <a:pt x="28" y="293"/>
                        <a:pt x="28" y="293"/>
                      </a:cubicBezTo>
                      <a:cubicBezTo>
                        <a:pt x="28" y="291"/>
                        <a:pt x="28" y="290"/>
                        <a:pt x="29" y="288"/>
                      </a:cubicBezTo>
                      <a:cubicBezTo>
                        <a:pt x="32" y="289"/>
                        <a:pt x="32" y="289"/>
                        <a:pt x="32" y="289"/>
                      </a:cubicBezTo>
                      <a:cubicBezTo>
                        <a:pt x="32" y="288"/>
                        <a:pt x="32" y="288"/>
                        <a:pt x="32" y="288"/>
                      </a:cubicBezTo>
                      <a:cubicBezTo>
                        <a:pt x="29" y="287"/>
                        <a:pt x="29" y="287"/>
                        <a:pt x="29" y="287"/>
                      </a:cubicBezTo>
                      <a:cubicBezTo>
                        <a:pt x="30" y="285"/>
                        <a:pt x="30" y="283"/>
                        <a:pt x="31" y="281"/>
                      </a:cubicBezTo>
                      <a:cubicBezTo>
                        <a:pt x="34" y="282"/>
                        <a:pt x="34" y="282"/>
                        <a:pt x="34" y="282"/>
                      </a:cubicBezTo>
                      <a:cubicBezTo>
                        <a:pt x="34" y="282"/>
                        <a:pt x="34" y="282"/>
                        <a:pt x="34" y="282"/>
                      </a:cubicBezTo>
                      <a:cubicBezTo>
                        <a:pt x="31" y="281"/>
                        <a:pt x="31" y="281"/>
                        <a:pt x="31" y="281"/>
                      </a:cubicBezTo>
                      <a:cubicBezTo>
                        <a:pt x="32" y="279"/>
                        <a:pt x="32" y="277"/>
                        <a:pt x="33" y="275"/>
                      </a:cubicBezTo>
                      <a:cubicBezTo>
                        <a:pt x="36" y="276"/>
                        <a:pt x="36" y="276"/>
                        <a:pt x="36" y="276"/>
                      </a:cubicBezTo>
                      <a:cubicBezTo>
                        <a:pt x="36" y="275"/>
                        <a:pt x="36" y="275"/>
                        <a:pt x="36" y="275"/>
                      </a:cubicBezTo>
                      <a:cubicBezTo>
                        <a:pt x="33" y="274"/>
                        <a:pt x="33" y="274"/>
                        <a:pt x="33" y="274"/>
                      </a:cubicBezTo>
                      <a:cubicBezTo>
                        <a:pt x="34" y="273"/>
                        <a:pt x="34" y="271"/>
                        <a:pt x="35" y="269"/>
                      </a:cubicBezTo>
                      <a:cubicBezTo>
                        <a:pt x="38" y="270"/>
                        <a:pt x="38" y="270"/>
                        <a:pt x="38" y="270"/>
                      </a:cubicBezTo>
                      <a:cubicBezTo>
                        <a:pt x="38" y="269"/>
                        <a:pt x="38" y="269"/>
                        <a:pt x="38" y="269"/>
                      </a:cubicBezTo>
                      <a:cubicBezTo>
                        <a:pt x="35" y="268"/>
                        <a:pt x="35" y="268"/>
                        <a:pt x="35" y="268"/>
                      </a:cubicBezTo>
                      <a:cubicBezTo>
                        <a:pt x="36" y="267"/>
                        <a:pt x="36" y="265"/>
                        <a:pt x="37" y="263"/>
                      </a:cubicBezTo>
                      <a:cubicBezTo>
                        <a:pt x="42" y="265"/>
                        <a:pt x="42" y="265"/>
                        <a:pt x="42" y="265"/>
                      </a:cubicBezTo>
                      <a:cubicBezTo>
                        <a:pt x="42" y="265"/>
                        <a:pt x="42" y="265"/>
                        <a:pt x="42" y="265"/>
                      </a:cubicBezTo>
                      <a:cubicBezTo>
                        <a:pt x="50" y="267"/>
                        <a:pt x="50" y="267"/>
                        <a:pt x="50" y="267"/>
                      </a:cubicBezTo>
                      <a:cubicBezTo>
                        <a:pt x="50" y="267"/>
                        <a:pt x="50" y="267"/>
                        <a:pt x="50" y="267"/>
                      </a:cubicBezTo>
                      <a:cubicBezTo>
                        <a:pt x="43" y="264"/>
                        <a:pt x="43" y="264"/>
                        <a:pt x="43" y="264"/>
                      </a:cubicBezTo>
                      <a:cubicBezTo>
                        <a:pt x="43" y="263"/>
                        <a:pt x="43" y="263"/>
                        <a:pt x="43" y="263"/>
                      </a:cubicBezTo>
                      <a:cubicBezTo>
                        <a:pt x="38" y="262"/>
                        <a:pt x="38" y="262"/>
                        <a:pt x="38" y="262"/>
                      </a:cubicBezTo>
                      <a:cubicBezTo>
                        <a:pt x="38" y="260"/>
                        <a:pt x="39" y="258"/>
                        <a:pt x="39" y="257"/>
                      </a:cubicBezTo>
                      <a:cubicBezTo>
                        <a:pt x="42" y="258"/>
                        <a:pt x="42" y="258"/>
                        <a:pt x="42" y="258"/>
                      </a:cubicBezTo>
                      <a:cubicBezTo>
                        <a:pt x="43" y="257"/>
                        <a:pt x="43" y="257"/>
                        <a:pt x="43" y="257"/>
                      </a:cubicBezTo>
                      <a:cubicBezTo>
                        <a:pt x="40" y="256"/>
                        <a:pt x="40" y="256"/>
                        <a:pt x="40" y="256"/>
                      </a:cubicBezTo>
                      <a:cubicBezTo>
                        <a:pt x="40" y="254"/>
                        <a:pt x="41" y="252"/>
                        <a:pt x="42" y="250"/>
                      </a:cubicBezTo>
                      <a:cubicBezTo>
                        <a:pt x="45" y="252"/>
                        <a:pt x="45" y="252"/>
                        <a:pt x="45" y="252"/>
                      </a:cubicBezTo>
                      <a:cubicBezTo>
                        <a:pt x="45" y="251"/>
                        <a:pt x="45" y="251"/>
                        <a:pt x="45" y="251"/>
                      </a:cubicBezTo>
                      <a:cubicBezTo>
                        <a:pt x="42" y="250"/>
                        <a:pt x="42" y="250"/>
                        <a:pt x="42" y="250"/>
                      </a:cubicBezTo>
                      <a:cubicBezTo>
                        <a:pt x="43" y="248"/>
                        <a:pt x="44" y="246"/>
                        <a:pt x="44" y="244"/>
                      </a:cubicBezTo>
                      <a:cubicBezTo>
                        <a:pt x="47" y="246"/>
                        <a:pt x="47" y="246"/>
                        <a:pt x="47" y="246"/>
                      </a:cubicBezTo>
                      <a:cubicBezTo>
                        <a:pt x="47" y="245"/>
                        <a:pt x="47" y="245"/>
                        <a:pt x="47" y="245"/>
                      </a:cubicBezTo>
                      <a:cubicBezTo>
                        <a:pt x="45" y="244"/>
                        <a:pt x="45" y="244"/>
                        <a:pt x="45" y="244"/>
                      </a:cubicBezTo>
                      <a:cubicBezTo>
                        <a:pt x="45" y="242"/>
                        <a:pt x="46" y="240"/>
                        <a:pt x="47" y="238"/>
                      </a:cubicBezTo>
                      <a:cubicBezTo>
                        <a:pt x="50" y="240"/>
                        <a:pt x="50" y="240"/>
                        <a:pt x="50" y="240"/>
                      </a:cubicBezTo>
                      <a:cubicBezTo>
                        <a:pt x="50" y="239"/>
                        <a:pt x="50" y="239"/>
                        <a:pt x="50" y="239"/>
                      </a:cubicBezTo>
                      <a:cubicBezTo>
                        <a:pt x="47" y="238"/>
                        <a:pt x="47" y="238"/>
                        <a:pt x="47" y="238"/>
                      </a:cubicBezTo>
                      <a:cubicBezTo>
                        <a:pt x="48" y="236"/>
                        <a:pt x="49" y="234"/>
                        <a:pt x="50" y="232"/>
                      </a:cubicBezTo>
                      <a:cubicBezTo>
                        <a:pt x="52" y="234"/>
                        <a:pt x="52" y="234"/>
                        <a:pt x="52" y="234"/>
                      </a:cubicBezTo>
                      <a:cubicBezTo>
                        <a:pt x="53" y="233"/>
                        <a:pt x="53" y="233"/>
                        <a:pt x="53" y="233"/>
                      </a:cubicBezTo>
                      <a:cubicBezTo>
                        <a:pt x="50" y="232"/>
                        <a:pt x="50" y="232"/>
                        <a:pt x="50" y="232"/>
                      </a:cubicBezTo>
                      <a:cubicBezTo>
                        <a:pt x="51" y="230"/>
                        <a:pt x="52" y="228"/>
                        <a:pt x="53" y="226"/>
                      </a:cubicBezTo>
                      <a:cubicBezTo>
                        <a:pt x="55" y="228"/>
                        <a:pt x="55" y="228"/>
                        <a:pt x="55" y="228"/>
                      </a:cubicBezTo>
                      <a:cubicBezTo>
                        <a:pt x="56" y="227"/>
                        <a:pt x="56" y="227"/>
                        <a:pt x="56" y="227"/>
                      </a:cubicBezTo>
                      <a:cubicBezTo>
                        <a:pt x="53" y="226"/>
                        <a:pt x="53" y="226"/>
                        <a:pt x="53" y="226"/>
                      </a:cubicBezTo>
                      <a:cubicBezTo>
                        <a:pt x="54" y="224"/>
                        <a:pt x="55" y="222"/>
                        <a:pt x="55" y="221"/>
                      </a:cubicBezTo>
                      <a:cubicBezTo>
                        <a:pt x="58" y="222"/>
                        <a:pt x="58" y="222"/>
                        <a:pt x="58" y="222"/>
                      </a:cubicBezTo>
                      <a:cubicBezTo>
                        <a:pt x="58" y="221"/>
                        <a:pt x="58" y="221"/>
                        <a:pt x="58" y="221"/>
                      </a:cubicBezTo>
                      <a:cubicBezTo>
                        <a:pt x="56" y="220"/>
                        <a:pt x="56" y="220"/>
                        <a:pt x="56" y="220"/>
                      </a:cubicBezTo>
                      <a:cubicBezTo>
                        <a:pt x="57" y="218"/>
                        <a:pt x="58" y="216"/>
                        <a:pt x="59" y="215"/>
                      </a:cubicBezTo>
                      <a:cubicBezTo>
                        <a:pt x="61" y="216"/>
                        <a:pt x="61" y="216"/>
                        <a:pt x="61" y="216"/>
                      </a:cubicBezTo>
                      <a:cubicBezTo>
                        <a:pt x="61" y="215"/>
                        <a:pt x="61" y="215"/>
                        <a:pt x="61" y="215"/>
                      </a:cubicBezTo>
                      <a:cubicBezTo>
                        <a:pt x="59" y="214"/>
                        <a:pt x="59" y="214"/>
                        <a:pt x="59" y="214"/>
                      </a:cubicBezTo>
                      <a:cubicBezTo>
                        <a:pt x="60" y="212"/>
                        <a:pt x="61" y="211"/>
                        <a:pt x="62" y="209"/>
                      </a:cubicBezTo>
                      <a:cubicBezTo>
                        <a:pt x="64" y="210"/>
                        <a:pt x="64" y="210"/>
                        <a:pt x="64" y="210"/>
                      </a:cubicBezTo>
                      <a:cubicBezTo>
                        <a:pt x="65" y="210"/>
                        <a:pt x="65" y="210"/>
                        <a:pt x="65" y="210"/>
                      </a:cubicBezTo>
                      <a:cubicBezTo>
                        <a:pt x="62" y="208"/>
                        <a:pt x="62" y="208"/>
                        <a:pt x="62" y="208"/>
                      </a:cubicBezTo>
                      <a:cubicBezTo>
                        <a:pt x="63" y="207"/>
                        <a:pt x="64" y="205"/>
                        <a:pt x="65" y="204"/>
                      </a:cubicBezTo>
                      <a:cubicBezTo>
                        <a:pt x="69" y="206"/>
                        <a:pt x="69" y="206"/>
                        <a:pt x="69" y="206"/>
                      </a:cubicBezTo>
                      <a:cubicBezTo>
                        <a:pt x="70" y="206"/>
                        <a:pt x="70" y="206"/>
                        <a:pt x="70" y="206"/>
                      </a:cubicBezTo>
                      <a:cubicBezTo>
                        <a:pt x="76" y="210"/>
                        <a:pt x="76" y="210"/>
                        <a:pt x="76" y="210"/>
                      </a:cubicBezTo>
                      <a:cubicBezTo>
                        <a:pt x="77" y="209"/>
                        <a:pt x="77" y="209"/>
                        <a:pt x="77" y="209"/>
                      </a:cubicBezTo>
                      <a:cubicBezTo>
                        <a:pt x="70" y="205"/>
                        <a:pt x="70" y="205"/>
                        <a:pt x="70" y="205"/>
                      </a:cubicBezTo>
                      <a:cubicBezTo>
                        <a:pt x="70" y="205"/>
                        <a:pt x="70" y="205"/>
                        <a:pt x="70" y="205"/>
                      </a:cubicBezTo>
                      <a:cubicBezTo>
                        <a:pt x="66" y="202"/>
                        <a:pt x="66" y="202"/>
                        <a:pt x="66" y="202"/>
                      </a:cubicBezTo>
                      <a:cubicBezTo>
                        <a:pt x="66" y="201"/>
                        <a:pt x="67" y="199"/>
                        <a:pt x="68" y="198"/>
                      </a:cubicBezTo>
                      <a:cubicBezTo>
                        <a:pt x="71" y="199"/>
                        <a:pt x="71" y="199"/>
                        <a:pt x="71" y="199"/>
                      </a:cubicBezTo>
                      <a:cubicBezTo>
                        <a:pt x="71" y="198"/>
                        <a:pt x="71" y="198"/>
                        <a:pt x="71" y="198"/>
                      </a:cubicBezTo>
                      <a:cubicBezTo>
                        <a:pt x="69" y="197"/>
                        <a:pt x="69" y="197"/>
                        <a:pt x="69" y="197"/>
                      </a:cubicBezTo>
                      <a:cubicBezTo>
                        <a:pt x="70" y="195"/>
                        <a:pt x="71" y="194"/>
                        <a:pt x="72" y="192"/>
                      </a:cubicBezTo>
                      <a:cubicBezTo>
                        <a:pt x="74" y="194"/>
                        <a:pt x="74" y="194"/>
                        <a:pt x="74" y="194"/>
                      </a:cubicBezTo>
                      <a:cubicBezTo>
                        <a:pt x="75" y="193"/>
                        <a:pt x="75" y="193"/>
                        <a:pt x="75" y="193"/>
                      </a:cubicBezTo>
                      <a:cubicBezTo>
                        <a:pt x="72" y="191"/>
                        <a:pt x="72" y="191"/>
                        <a:pt x="72" y="191"/>
                      </a:cubicBezTo>
                      <a:cubicBezTo>
                        <a:pt x="73" y="190"/>
                        <a:pt x="74" y="188"/>
                        <a:pt x="75" y="186"/>
                      </a:cubicBezTo>
                      <a:cubicBezTo>
                        <a:pt x="78" y="188"/>
                        <a:pt x="78" y="188"/>
                        <a:pt x="78" y="188"/>
                      </a:cubicBezTo>
                      <a:cubicBezTo>
                        <a:pt x="78" y="187"/>
                        <a:pt x="78" y="187"/>
                        <a:pt x="78" y="187"/>
                      </a:cubicBezTo>
                      <a:cubicBezTo>
                        <a:pt x="76" y="186"/>
                        <a:pt x="76" y="186"/>
                        <a:pt x="76" y="186"/>
                      </a:cubicBezTo>
                      <a:cubicBezTo>
                        <a:pt x="77" y="184"/>
                        <a:pt x="78" y="183"/>
                        <a:pt x="79" y="181"/>
                      </a:cubicBezTo>
                      <a:cubicBezTo>
                        <a:pt x="81" y="183"/>
                        <a:pt x="81" y="183"/>
                        <a:pt x="81" y="183"/>
                      </a:cubicBezTo>
                      <a:cubicBezTo>
                        <a:pt x="82" y="182"/>
                        <a:pt x="82" y="182"/>
                        <a:pt x="82" y="182"/>
                      </a:cubicBezTo>
                      <a:cubicBezTo>
                        <a:pt x="79" y="180"/>
                        <a:pt x="79" y="180"/>
                        <a:pt x="79" y="180"/>
                      </a:cubicBezTo>
                      <a:cubicBezTo>
                        <a:pt x="80" y="179"/>
                        <a:pt x="81" y="177"/>
                        <a:pt x="83" y="176"/>
                      </a:cubicBezTo>
                      <a:cubicBezTo>
                        <a:pt x="85" y="177"/>
                        <a:pt x="85" y="177"/>
                        <a:pt x="85" y="177"/>
                      </a:cubicBezTo>
                      <a:cubicBezTo>
                        <a:pt x="85" y="177"/>
                        <a:pt x="85" y="177"/>
                        <a:pt x="85" y="177"/>
                      </a:cubicBezTo>
                      <a:cubicBezTo>
                        <a:pt x="83" y="175"/>
                        <a:pt x="83" y="175"/>
                        <a:pt x="83" y="175"/>
                      </a:cubicBezTo>
                      <a:cubicBezTo>
                        <a:pt x="84" y="173"/>
                        <a:pt x="85" y="172"/>
                        <a:pt x="86" y="170"/>
                      </a:cubicBezTo>
                      <a:cubicBezTo>
                        <a:pt x="89" y="172"/>
                        <a:pt x="89" y="172"/>
                        <a:pt x="89" y="172"/>
                      </a:cubicBezTo>
                      <a:cubicBezTo>
                        <a:pt x="89" y="171"/>
                        <a:pt x="89" y="171"/>
                        <a:pt x="89" y="171"/>
                      </a:cubicBezTo>
                      <a:cubicBezTo>
                        <a:pt x="87" y="170"/>
                        <a:pt x="87" y="170"/>
                        <a:pt x="87" y="170"/>
                      </a:cubicBezTo>
                      <a:cubicBezTo>
                        <a:pt x="88" y="168"/>
                        <a:pt x="89" y="166"/>
                        <a:pt x="90" y="165"/>
                      </a:cubicBezTo>
                      <a:cubicBezTo>
                        <a:pt x="93" y="167"/>
                        <a:pt x="93" y="167"/>
                        <a:pt x="93" y="167"/>
                      </a:cubicBezTo>
                      <a:cubicBezTo>
                        <a:pt x="93" y="166"/>
                        <a:pt x="93" y="166"/>
                        <a:pt x="93" y="166"/>
                      </a:cubicBezTo>
                      <a:cubicBezTo>
                        <a:pt x="91" y="164"/>
                        <a:pt x="91" y="164"/>
                        <a:pt x="91" y="164"/>
                      </a:cubicBezTo>
                      <a:cubicBezTo>
                        <a:pt x="92" y="163"/>
                        <a:pt x="93" y="161"/>
                        <a:pt x="94" y="160"/>
                      </a:cubicBezTo>
                      <a:cubicBezTo>
                        <a:pt x="96" y="161"/>
                        <a:pt x="96" y="161"/>
                        <a:pt x="96" y="161"/>
                      </a:cubicBezTo>
                      <a:cubicBezTo>
                        <a:pt x="97" y="161"/>
                        <a:pt x="97" y="161"/>
                        <a:pt x="97" y="161"/>
                      </a:cubicBezTo>
                      <a:cubicBezTo>
                        <a:pt x="95" y="159"/>
                        <a:pt x="95" y="159"/>
                        <a:pt x="95" y="159"/>
                      </a:cubicBezTo>
                      <a:cubicBezTo>
                        <a:pt x="96" y="158"/>
                        <a:pt x="97" y="156"/>
                        <a:pt x="98" y="155"/>
                      </a:cubicBezTo>
                      <a:cubicBezTo>
                        <a:pt x="101" y="156"/>
                        <a:pt x="101" y="156"/>
                        <a:pt x="101" y="156"/>
                      </a:cubicBezTo>
                      <a:cubicBezTo>
                        <a:pt x="101" y="156"/>
                        <a:pt x="101" y="156"/>
                        <a:pt x="101" y="156"/>
                      </a:cubicBezTo>
                      <a:cubicBezTo>
                        <a:pt x="99" y="154"/>
                        <a:pt x="99" y="154"/>
                        <a:pt x="99" y="154"/>
                      </a:cubicBezTo>
                      <a:cubicBezTo>
                        <a:pt x="100" y="153"/>
                        <a:pt x="101" y="151"/>
                        <a:pt x="102" y="150"/>
                      </a:cubicBezTo>
                      <a:cubicBezTo>
                        <a:pt x="106" y="153"/>
                        <a:pt x="106" y="153"/>
                        <a:pt x="106" y="153"/>
                      </a:cubicBezTo>
                      <a:cubicBezTo>
                        <a:pt x="107" y="153"/>
                        <a:pt x="107" y="153"/>
                        <a:pt x="107" y="153"/>
                      </a:cubicBezTo>
                      <a:cubicBezTo>
                        <a:pt x="113" y="158"/>
                        <a:pt x="113" y="158"/>
                        <a:pt x="113" y="158"/>
                      </a:cubicBezTo>
                      <a:cubicBezTo>
                        <a:pt x="113" y="157"/>
                        <a:pt x="113" y="157"/>
                        <a:pt x="113" y="157"/>
                      </a:cubicBezTo>
                      <a:cubicBezTo>
                        <a:pt x="107" y="152"/>
                        <a:pt x="107" y="152"/>
                        <a:pt x="107" y="152"/>
                      </a:cubicBezTo>
                      <a:cubicBezTo>
                        <a:pt x="107" y="152"/>
                        <a:pt x="107" y="152"/>
                        <a:pt x="107" y="152"/>
                      </a:cubicBezTo>
                      <a:cubicBezTo>
                        <a:pt x="103" y="149"/>
                        <a:pt x="103" y="149"/>
                        <a:pt x="103" y="149"/>
                      </a:cubicBezTo>
                      <a:cubicBezTo>
                        <a:pt x="104" y="147"/>
                        <a:pt x="106" y="146"/>
                        <a:pt x="107" y="144"/>
                      </a:cubicBezTo>
                      <a:cubicBezTo>
                        <a:pt x="109" y="146"/>
                        <a:pt x="109" y="146"/>
                        <a:pt x="109" y="146"/>
                      </a:cubicBezTo>
                      <a:cubicBezTo>
                        <a:pt x="109" y="146"/>
                        <a:pt x="109" y="146"/>
                        <a:pt x="109" y="146"/>
                      </a:cubicBezTo>
                      <a:cubicBezTo>
                        <a:pt x="107" y="144"/>
                        <a:pt x="107" y="144"/>
                        <a:pt x="107" y="144"/>
                      </a:cubicBezTo>
                      <a:cubicBezTo>
                        <a:pt x="109" y="142"/>
                        <a:pt x="110" y="141"/>
                        <a:pt x="111" y="140"/>
                      </a:cubicBezTo>
                      <a:cubicBezTo>
                        <a:pt x="113" y="141"/>
                        <a:pt x="113" y="141"/>
                        <a:pt x="113" y="141"/>
                      </a:cubicBezTo>
                      <a:cubicBezTo>
                        <a:pt x="114" y="141"/>
                        <a:pt x="114" y="141"/>
                        <a:pt x="114" y="141"/>
                      </a:cubicBezTo>
                      <a:cubicBezTo>
                        <a:pt x="112" y="139"/>
                        <a:pt x="112" y="139"/>
                        <a:pt x="112" y="139"/>
                      </a:cubicBezTo>
                      <a:cubicBezTo>
                        <a:pt x="113" y="138"/>
                        <a:pt x="114" y="136"/>
                        <a:pt x="116" y="135"/>
                      </a:cubicBezTo>
                      <a:cubicBezTo>
                        <a:pt x="118" y="137"/>
                        <a:pt x="118" y="137"/>
                        <a:pt x="118" y="137"/>
                      </a:cubicBezTo>
                      <a:cubicBezTo>
                        <a:pt x="118" y="136"/>
                        <a:pt x="118" y="136"/>
                        <a:pt x="118" y="136"/>
                      </a:cubicBezTo>
                      <a:cubicBezTo>
                        <a:pt x="116" y="134"/>
                        <a:pt x="116" y="134"/>
                        <a:pt x="116" y="134"/>
                      </a:cubicBezTo>
                      <a:cubicBezTo>
                        <a:pt x="117" y="133"/>
                        <a:pt x="119" y="131"/>
                        <a:pt x="120" y="130"/>
                      </a:cubicBezTo>
                      <a:cubicBezTo>
                        <a:pt x="122" y="132"/>
                        <a:pt x="122" y="132"/>
                        <a:pt x="122" y="132"/>
                      </a:cubicBezTo>
                      <a:cubicBezTo>
                        <a:pt x="123" y="131"/>
                        <a:pt x="123" y="131"/>
                        <a:pt x="123" y="131"/>
                      </a:cubicBezTo>
                      <a:cubicBezTo>
                        <a:pt x="121" y="129"/>
                        <a:pt x="121" y="129"/>
                        <a:pt x="121" y="129"/>
                      </a:cubicBezTo>
                      <a:cubicBezTo>
                        <a:pt x="122" y="128"/>
                        <a:pt x="123" y="127"/>
                        <a:pt x="125" y="125"/>
                      </a:cubicBezTo>
                      <a:cubicBezTo>
                        <a:pt x="127" y="127"/>
                        <a:pt x="127" y="127"/>
                        <a:pt x="127" y="127"/>
                      </a:cubicBezTo>
                      <a:cubicBezTo>
                        <a:pt x="127" y="127"/>
                        <a:pt x="127" y="127"/>
                        <a:pt x="127" y="127"/>
                      </a:cubicBezTo>
                      <a:cubicBezTo>
                        <a:pt x="125" y="125"/>
                        <a:pt x="125" y="125"/>
                        <a:pt x="125" y="125"/>
                      </a:cubicBezTo>
                      <a:cubicBezTo>
                        <a:pt x="127" y="123"/>
                        <a:pt x="128" y="122"/>
                        <a:pt x="129" y="121"/>
                      </a:cubicBezTo>
                      <a:cubicBezTo>
                        <a:pt x="131" y="123"/>
                        <a:pt x="131" y="123"/>
                        <a:pt x="131" y="123"/>
                      </a:cubicBezTo>
                      <a:cubicBezTo>
                        <a:pt x="132" y="122"/>
                        <a:pt x="132" y="122"/>
                        <a:pt x="132" y="122"/>
                      </a:cubicBezTo>
                      <a:cubicBezTo>
                        <a:pt x="130" y="120"/>
                        <a:pt x="130" y="120"/>
                        <a:pt x="130" y="120"/>
                      </a:cubicBezTo>
                      <a:cubicBezTo>
                        <a:pt x="131" y="119"/>
                        <a:pt x="133" y="117"/>
                        <a:pt x="134" y="116"/>
                      </a:cubicBezTo>
                      <a:cubicBezTo>
                        <a:pt x="136" y="118"/>
                        <a:pt x="136" y="118"/>
                        <a:pt x="136" y="118"/>
                      </a:cubicBezTo>
                      <a:cubicBezTo>
                        <a:pt x="137" y="118"/>
                        <a:pt x="137" y="118"/>
                        <a:pt x="137" y="118"/>
                      </a:cubicBezTo>
                      <a:cubicBezTo>
                        <a:pt x="135" y="116"/>
                        <a:pt x="135" y="116"/>
                        <a:pt x="135" y="116"/>
                      </a:cubicBezTo>
                      <a:cubicBezTo>
                        <a:pt x="136" y="114"/>
                        <a:pt x="137" y="113"/>
                        <a:pt x="139" y="112"/>
                      </a:cubicBezTo>
                      <a:cubicBezTo>
                        <a:pt x="141" y="114"/>
                        <a:pt x="141" y="114"/>
                        <a:pt x="141" y="114"/>
                      </a:cubicBezTo>
                      <a:cubicBezTo>
                        <a:pt x="141" y="113"/>
                        <a:pt x="141" y="113"/>
                        <a:pt x="141" y="113"/>
                      </a:cubicBezTo>
                      <a:cubicBezTo>
                        <a:pt x="139" y="111"/>
                        <a:pt x="139" y="111"/>
                        <a:pt x="139" y="111"/>
                      </a:cubicBezTo>
                      <a:cubicBezTo>
                        <a:pt x="141" y="110"/>
                        <a:pt x="142" y="109"/>
                        <a:pt x="144" y="107"/>
                      </a:cubicBezTo>
                      <a:cubicBezTo>
                        <a:pt x="146" y="109"/>
                        <a:pt x="146" y="109"/>
                        <a:pt x="146" y="109"/>
                      </a:cubicBezTo>
                      <a:cubicBezTo>
                        <a:pt x="146" y="109"/>
                        <a:pt x="146" y="109"/>
                        <a:pt x="146" y="109"/>
                      </a:cubicBezTo>
                      <a:cubicBezTo>
                        <a:pt x="144" y="107"/>
                        <a:pt x="144" y="107"/>
                        <a:pt x="144" y="107"/>
                      </a:cubicBezTo>
                      <a:cubicBezTo>
                        <a:pt x="146" y="106"/>
                        <a:pt x="147" y="105"/>
                        <a:pt x="148" y="103"/>
                      </a:cubicBezTo>
                      <a:cubicBezTo>
                        <a:pt x="152" y="107"/>
                        <a:pt x="152" y="107"/>
                        <a:pt x="152" y="107"/>
                      </a:cubicBezTo>
                      <a:cubicBezTo>
                        <a:pt x="152" y="107"/>
                        <a:pt x="152" y="107"/>
                        <a:pt x="152" y="107"/>
                      </a:cubicBezTo>
                      <a:cubicBezTo>
                        <a:pt x="157" y="113"/>
                        <a:pt x="157" y="113"/>
                        <a:pt x="157" y="113"/>
                      </a:cubicBezTo>
                      <a:cubicBezTo>
                        <a:pt x="158" y="113"/>
                        <a:pt x="158" y="113"/>
                        <a:pt x="158" y="113"/>
                      </a:cubicBezTo>
                      <a:cubicBezTo>
                        <a:pt x="153" y="107"/>
                        <a:pt x="153" y="107"/>
                        <a:pt x="153" y="107"/>
                      </a:cubicBezTo>
                      <a:cubicBezTo>
                        <a:pt x="153" y="106"/>
                        <a:pt x="153" y="106"/>
                        <a:pt x="153" y="106"/>
                      </a:cubicBezTo>
                      <a:cubicBezTo>
                        <a:pt x="150" y="102"/>
                        <a:pt x="150" y="102"/>
                        <a:pt x="150" y="102"/>
                      </a:cubicBezTo>
                      <a:cubicBezTo>
                        <a:pt x="151" y="101"/>
                        <a:pt x="153" y="100"/>
                        <a:pt x="154" y="99"/>
                      </a:cubicBezTo>
                      <a:cubicBezTo>
                        <a:pt x="156" y="101"/>
                        <a:pt x="156" y="101"/>
                        <a:pt x="156" y="101"/>
                      </a:cubicBezTo>
                      <a:cubicBezTo>
                        <a:pt x="156" y="101"/>
                        <a:pt x="156" y="101"/>
                        <a:pt x="156" y="101"/>
                      </a:cubicBezTo>
                      <a:cubicBezTo>
                        <a:pt x="154" y="98"/>
                        <a:pt x="154" y="98"/>
                        <a:pt x="154" y="98"/>
                      </a:cubicBezTo>
                      <a:cubicBezTo>
                        <a:pt x="156" y="97"/>
                        <a:pt x="157" y="96"/>
                        <a:pt x="159" y="95"/>
                      </a:cubicBezTo>
                      <a:cubicBezTo>
                        <a:pt x="161" y="97"/>
                        <a:pt x="161" y="97"/>
                        <a:pt x="161" y="97"/>
                      </a:cubicBezTo>
                      <a:cubicBezTo>
                        <a:pt x="161" y="97"/>
                        <a:pt x="161" y="97"/>
                        <a:pt x="161" y="97"/>
                      </a:cubicBezTo>
                      <a:cubicBezTo>
                        <a:pt x="160" y="94"/>
                        <a:pt x="160" y="94"/>
                        <a:pt x="160" y="94"/>
                      </a:cubicBezTo>
                      <a:cubicBezTo>
                        <a:pt x="161" y="93"/>
                        <a:pt x="163" y="92"/>
                        <a:pt x="164" y="91"/>
                      </a:cubicBezTo>
                      <a:cubicBezTo>
                        <a:pt x="166" y="93"/>
                        <a:pt x="166" y="93"/>
                        <a:pt x="166" y="93"/>
                      </a:cubicBezTo>
                      <a:cubicBezTo>
                        <a:pt x="167" y="93"/>
                        <a:pt x="167" y="93"/>
                        <a:pt x="167" y="93"/>
                      </a:cubicBezTo>
                      <a:cubicBezTo>
                        <a:pt x="165" y="90"/>
                        <a:pt x="165" y="90"/>
                        <a:pt x="165" y="90"/>
                      </a:cubicBezTo>
                      <a:cubicBezTo>
                        <a:pt x="166" y="89"/>
                        <a:pt x="168" y="88"/>
                        <a:pt x="169" y="87"/>
                      </a:cubicBezTo>
                      <a:cubicBezTo>
                        <a:pt x="171" y="89"/>
                        <a:pt x="171" y="89"/>
                        <a:pt x="171" y="89"/>
                      </a:cubicBezTo>
                      <a:cubicBezTo>
                        <a:pt x="172" y="89"/>
                        <a:pt x="172" y="89"/>
                        <a:pt x="172" y="89"/>
                      </a:cubicBezTo>
                      <a:cubicBezTo>
                        <a:pt x="170" y="86"/>
                        <a:pt x="170" y="86"/>
                        <a:pt x="170" y="86"/>
                      </a:cubicBezTo>
                      <a:cubicBezTo>
                        <a:pt x="172" y="85"/>
                        <a:pt x="173" y="84"/>
                        <a:pt x="175" y="83"/>
                      </a:cubicBezTo>
                      <a:cubicBezTo>
                        <a:pt x="176" y="85"/>
                        <a:pt x="176" y="85"/>
                        <a:pt x="176" y="85"/>
                      </a:cubicBezTo>
                      <a:cubicBezTo>
                        <a:pt x="177" y="85"/>
                        <a:pt x="177" y="85"/>
                        <a:pt x="177" y="85"/>
                      </a:cubicBezTo>
                      <a:cubicBezTo>
                        <a:pt x="175" y="83"/>
                        <a:pt x="175" y="83"/>
                        <a:pt x="175" y="83"/>
                      </a:cubicBezTo>
                      <a:cubicBezTo>
                        <a:pt x="177" y="81"/>
                        <a:pt x="179" y="80"/>
                        <a:pt x="180" y="79"/>
                      </a:cubicBezTo>
                      <a:cubicBezTo>
                        <a:pt x="182" y="82"/>
                        <a:pt x="182" y="82"/>
                        <a:pt x="182" y="82"/>
                      </a:cubicBezTo>
                      <a:cubicBezTo>
                        <a:pt x="182" y="81"/>
                        <a:pt x="182" y="81"/>
                        <a:pt x="182" y="81"/>
                      </a:cubicBezTo>
                      <a:cubicBezTo>
                        <a:pt x="181" y="79"/>
                        <a:pt x="181" y="79"/>
                        <a:pt x="181" y="79"/>
                      </a:cubicBezTo>
                      <a:cubicBezTo>
                        <a:pt x="182" y="78"/>
                        <a:pt x="184" y="77"/>
                        <a:pt x="186" y="76"/>
                      </a:cubicBezTo>
                      <a:cubicBezTo>
                        <a:pt x="187" y="78"/>
                        <a:pt x="187" y="78"/>
                        <a:pt x="187" y="78"/>
                      </a:cubicBezTo>
                      <a:cubicBezTo>
                        <a:pt x="188" y="78"/>
                        <a:pt x="188" y="78"/>
                        <a:pt x="188" y="78"/>
                      </a:cubicBezTo>
                      <a:cubicBezTo>
                        <a:pt x="186" y="75"/>
                        <a:pt x="186" y="75"/>
                        <a:pt x="186" y="75"/>
                      </a:cubicBezTo>
                      <a:cubicBezTo>
                        <a:pt x="188" y="74"/>
                        <a:pt x="190" y="73"/>
                        <a:pt x="191" y="72"/>
                      </a:cubicBezTo>
                      <a:cubicBezTo>
                        <a:pt x="193" y="75"/>
                        <a:pt x="193" y="75"/>
                        <a:pt x="193" y="75"/>
                      </a:cubicBezTo>
                      <a:cubicBezTo>
                        <a:pt x="193" y="74"/>
                        <a:pt x="193" y="74"/>
                        <a:pt x="193" y="74"/>
                      </a:cubicBezTo>
                      <a:cubicBezTo>
                        <a:pt x="192" y="72"/>
                        <a:pt x="192" y="72"/>
                        <a:pt x="192" y="72"/>
                      </a:cubicBezTo>
                      <a:cubicBezTo>
                        <a:pt x="193" y="71"/>
                        <a:pt x="195" y="70"/>
                        <a:pt x="197" y="69"/>
                      </a:cubicBezTo>
                      <a:cubicBezTo>
                        <a:pt x="198" y="71"/>
                        <a:pt x="198" y="71"/>
                        <a:pt x="198" y="71"/>
                      </a:cubicBezTo>
                      <a:cubicBezTo>
                        <a:pt x="199" y="71"/>
                        <a:pt x="199" y="71"/>
                        <a:pt x="199" y="71"/>
                      </a:cubicBezTo>
                      <a:cubicBezTo>
                        <a:pt x="197" y="68"/>
                        <a:pt x="197" y="68"/>
                        <a:pt x="197" y="68"/>
                      </a:cubicBezTo>
                      <a:cubicBezTo>
                        <a:pt x="199" y="67"/>
                        <a:pt x="200" y="66"/>
                        <a:pt x="202" y="66"/>
                      </a:cubicBezTo>
                      <a:cubicBezTo>
                        <a:pt x="205" y="70"/>
                        <a:pt x="205" y="70"/>
                        <a:pt x="205" y="70"/>
                      </a:cubicBezTo>
                      <a:cubicBezTo>
                        <a:pt x="205" y="70"/>
                        <a:pt x="205" y="70"/>
                        <a:pt x="205" y="70"/>
                      </a:cubicBezTo>
                      <a:cubicBezTo>
                        <a:pt x="209" y="77"/>
                        <a:pt x="209" y="77"/>
                        <a:pt x="209" y="77"/>
                      </a:cubicBezTo>
                      <a:cubicBezTo>
                        <a:pt x="210" y="76"/>
                        <a:pt x="210" y="76"/>
                        <a:pt x="210" y="76"/>
                      </a:cubicBezTo>
                      <a:cubicBezTo>
                        <a:pt x="206" y="70"/>
                        <a:pt x="206" y="70"/>
                        <a:pt x="206" y="70"/>
                      </a:cubicBezTo>
                      <a:cubicBezTo>
                        <a:pt x="206" y="69"/>
                        <a:pt x="206" y="69"/>
                        <a:pt x="206" y="69"/>
                      </a:cubicBezTo>
                      <a:cubicBezTo>
                        <a:pt x="204" y="65"/>
                        <a:pt x="204" y="65"/>
                        <a:pt x="204" y="65"/>
                      </a:cubicBezTo>
                      <a:cubicBezTo>
                        <a:pt x="205" y="64"/>
                        <a:pt x="207" y="63"/>
                        <a:pt x="208" y="62"/>
                      </a:cubicBezTo>
                      <a:cubicBezTo>
                        <a:pt x="210" y="65"/>
                        <a:pt x="210" y="65"/>
                        <a:pt x="210" y="65"/>
                      </a:cubicBezTo>
                      <a:cubicBezTo>
                        <a:pt x="210" y="64"/>
                        <a:pt x="210" y="64"/>
                        <a:pt x="210" y="64"/>
                      </a:cubicBezTo>
                      <a:cubicBezTo>
                        <a:pt x="209" y="62"/>
                        <a:pt x="209" y="62"/>
                        <a:pt x="209" y="62"/>
                      </a:cubicBezTo>
                      <a:cubicBezTo>
                        <a:pt x="210" y="61"/>
                        <a:pt x="212" y="60"/>
                        <a:pt x="214" y="59"/>
                      </a:cubicBezTo>
                      <a:cubicBezTo>
                        <a:pt x="215" y="61"/>
                        <a:pt x="215" y="61"/>
                        <a:pt x="215" y="61"/>
                      </a:cubicBezTo>
                      <a:cubicBezTo>
                        <a:pt x="216" y="61"/>
                        <a:pt x="216" y="61"/>
                        <a:pt x="216" y="61"/>
                      </a:cubicBezTo>
                      <a:cubicBezTo>
                        <a:pt x="215" y="59"/>
                        <a:pt x="215" y="59"/>
                        <a:pt x="215" y="59"/>
                      </a:cubicBezTo>
                      <a:cubicBezTo>
                        <a:pt x="216" y="58"/>
                        <a:pt x="218" y="57"/>
                        <a:pt x="220" y="56"/>
                      </a:cubicBezTo>
                      <a:cubicBezTo>
                        <a:pt x="221" y="58"/>
                        <a:pt x="221" y="58"/>
                        <a:pt x="221" y="58"/>
                      </a:cubicBezTo>
                      <a:cubicBezTo>
                        <a:pt x="222" y="58"/>
                        <a:pt x="222" y="58"/>
                        <a:pt x="222" y="58"/>
                      </a:cubicBezTo>
                      <a:cubicBezTo>
                        <a:pt x="220" y="55"/>
                        <a:pt x="220" y="55"/>
                        <a:pt x="220" y="55"/>
                      </a:cubicBezTo>
                      <a:cubicBezTo>
                        <a:pt x="222" y="55"/>
                        <a:pt x="224" y="54"/>
                        <a:pt x="226" y="53"/>
                      </a:cubicBezTo>
                      <a:cubicBezTo>
                        <a:pt x="227" y="56"/>
                        <a:pt x="227" y="56"/>
                        <a:pt x="227" y="56"/>
                      </a:cubicBezTo>
                      <a:cubicBezTo>
                        <a:pt x="228" y="55"/>
                        <a:pt x="228" y="55"/>
                        <a:pt x="228" y="55"/>
                      </a:cubicBezTo>
                      <a:cubicBezTo>
                        <a:pt x="226" y="53"/>
                        <a:pt x="226" y="53"/>
                        <a:pt x="226" y="53"/>
                      </a:cubicBezTo>
                      <a:cubicBezTo>
                        <a:pt x="228" y="52"/>
                        <a:pt x="230" y="51"/>
                        <a:pt x="231" y="50"/>
                      </a:cubicBezTo>
                      <a:cubicBezTo>
                        <a:pt x="233" y="53"/>
                        <a:pt x="233" y="53"/>
                        <a:pt x="233" y="53"/>
                      </a:cubicBezTo>
                      <a:cubicBezTo>
                        <a:pt x="233" y="52"/>
                        <a:pt x="233" y="52"/>
                        <a:pt x="233" y="52"/>
                      </a:cubicBezTo>
                      <a:cubicBezTo>
                        <a:pt x="232" y="50"/>
                        <a:pt x="232" y="50"/>
                        <a:pt x="232" y="50"/>
                      </a:cubicBezTo>
                      <a:cubicBezTo>
                        <a:pt x="234" y="49"/>
                        <a:pt x="236" y="48"/>
                        <a:pt x="237" y="47"/>
                      </a:cubicBezTo>
                      <a:cubicBezTo>
                        <a:pt x="239" y="50"/>
                        <a:pt x="239" y="50"/>
                        <a:pt x="239" y="50"/>
                      </a:cubicBezTo>
                      <a:cubicBezTo>
                        <a:pt x="239" y="50"/>
                        <a:pt x="239" y="50"/>
                        <a:pt x="239" y="50"/>
                      </a:cubicBezTo>
                      <a:cubicBezTo>
                        <a:pt x="238" y="47"/>
                        <a:pt x="238" y="47"/>
                        <a:pt x="238" y="47"/>
                      </a:cubicBezTo>
                      <a:cubicBezTo>
                        <a:pt x="240" y="46"/>
                        <a:pt x="242" y="45"/>
                        <a:pt x="243" y="45"/>
                      </a:cubicBezTo>
                      <a:cubicBezTo>
                        <a:pt x="245" y="47"/>
                        <a:pt x="245" y="47"/>
                        <a:pt x="245" y="47"/>
                      </a:cubicBezTo>
                      <a:cubicBezTo>
                        <a:pt x="245" y="47"/>
                        <a:pt x="245" y="47"/>
                        <a:pt x="245" y="47"/>
                      </a:cubicBezTo>
                      <a:cubicBezTo>
                        <a:pt x="244" y="44"/>
                        <a:pt x="244" y="44"/>
                        <a:pt x="244" y="44"/>
                      </a:cubicBezTo>
                      <a:cubicBezTo>
                        <a:pt x="246" y="44"/>
                        <a:pt x="248" y="43"/>
                        <a:pt x="250" y="42"/>
                      </a:cubicBezTo>
                      <a:cubicBezTo>
                        <a:pt x="251" y="45"/>
                        <a:pt x="251" y="45"/>
                        <a:pt x="251" y="45"/>
                      </a:cubicBezTo>
                      <a:cubicBezTo>
                        <a:pt x="251" y="45"/>
                        <a:pt x="251" y="45"/>
                        <a:pt x="251" y="45"/>
                      </a:cubicBezTo>
                      <a:cubicBezTo>
                        <a:pt x="250" y="42"/>
                        <a:pt x="250" y="42"/>
                        <a:pt x="250" y="42"/>
                      </a:cubicBezTo>
                      <a:cubicBezTo>
                        <a:pt x="252" y="41"/>
                        <a:pt x="254" y="40"/>
                        <a:pt x="256" y="40"/>
                      </a:cubicBezTo>
                      <a:cubicBezTo>
                        <a:pt x="257" y="43"/>
                        <a:pt x="257" y="43"/>
                        <a:pt x="257" y="43"/>
                      </a:cubicBezTo>
                      <a:cubicBezTo>
                        <a:pt x="257" y="42"/>
                        <a:pt x="257" y="42"/>
                        <a:pt x="257" y="42"/>
                      </a:cubicBezTo>
                      <a:cubicBezTo>
                        <a:pt x="256" y="39"/>
                        <a:pt x="256" y="39"/>
                        <a:pt x="256" y="39"/>
                      </a:cubicBezTo>
                      <a:cubicBezTo>
                        <a:pt x="258" y="39"/>
                        <a:pt x="260" y="38"/>
                        <a:pt x="261" y="38"/>
                      </a:cubicBezTo>
                      <a:cubicBezTo>
                        <a:pt x="263" y="43"/>
                        <a:pt x="263" y="43"/>
                        <a:pt x="263" y="43"/>
                      </a:cubicBezTo>
                      <a:cubicBezTo>
                        <a:pt x="264" y="43"/>
                        <a:pt x="264" y="43"/>
                        <a:pt x="264" y="43"/>
                      </a:cubicBezTo>
                      <a:cubicBezTo>
                        <a:pt x="266" y="50"/>
                        <a:pt x="266" y="50"/>
                        <a:pt x="266" y="50"/>
                      </a:cubicBezTo>
                      <a:cubicBezTo>
                        <a:pt x="267" y="50"/>
                        <a:pt x="267" y="50"/>
                        <a:pt x="267" y="50"/>
                      </a:cubicBezTo>
                      <a:cubicBezTo>
                        <a:pt x="264" y="42"/>
                        <a:pt x="264" y="42"/>
                        <a:pt x="264" y="42"/>
                      </a:cubicBezTo>
                      <a:cubicBezTo>
                        <a:pt x="265" y="42"/>
                        <a:pt x="265" y="42"/>
                        <a:pt x="265" y="42"/>
                      </a:cubicBezTo>
                      <a:cubicBezTo>
                        <a:pt x="263" y="37"/>
                        <a:pt x="263" y="37"/>
                        <a:pt x="263" y="37"/>
                      </a:cubicBezTo>
                      <a:cubicBezTo>
                        <a:pt x="265" y="36"/>
                        <a:pt x="266" y="36"/>
                        <a:pt x="268" y="35"/>
                      </a:cubicBezTo>
                      <a:cubicBezTo>
                        <a:pt x="269" y="38"/>
                        <a:pt x="269" y="38"/>
                        <a:pt x="269" y="38"/>
                      </a:cubicBezTo>
                      <a:cubicBezTo>
                        <a:pt x="270" y="38"/>
                        <a:pt x="270" y="38"/>
                        <a:pt x="270" y="38"/>
                      </a:cubicBezTo>
                      <a:cubicBezTo>
                        <a:pt x="269" y="35"/>
                        <a:pt x="269" y="35"/>
                        <a:pt x="269" y="35"/>
                      </a:cubicBezTo>
                      <a:cubicBezTo>
                        <a:pt x="271" y="34"/>
                        <a:pt x="272" y="34"/>
                        <a:pt x="274" y="33"/>
                      </a:cubicBezTo>
                      <a:cubicBezTo>
                        <a:pt x="275" y="36"/>
                        <a:pt x="275" y="36"/>
                        <a:pt x="275" y="36"/>
                      </a:cubicBezTo>
                      <a:cubicBezTo>
                        <a:pt x="276" y="36"/>
                        <a:pt x="276" y="36"/>
                        <a:pt x="276" y="36"/>
                      </a:cubicBezTo>
                      <a:cubicBezTo>
                        <a:pt x="275" y="33"/>
                        <a:pt x="275" y="33"/>
                        <a:pt x="275" y="33"/>
                      </a:cubicBezTo>
                      <a:cubicBezTo>
                        <a:pt x="277" y="32"/>
                        <a:pt x="279" y="32"/>
                        <a:pt x="280" y="31"/>
                      </a:cubicBezTo>
                      <a:cubicBezTo>
                        <a:pt x="281" y="34"/>
                        <a:pt x="281" y="34"/>
                        <a:pt x="281" y="34"/>
                      </a:cubicBezTo>
                      <a:cubicBezTo>
                        <a:pt x="282" y="34"/>
                        <a:pt x="282" y="34"/>
                        <a:pt x="282" y="34"/>
                      </a:cubicBezTo>
                      <a:cubicBezTo>
                        <a:pt x="281" y="31"/>
                        <a:pt x="281" y="31"/>
                        <a:pt x="281" y="31"/>
                      </a:cubicBezTo>
                      <a:cubicBezTo>
                        <a:pt x="283" y="30"/>
                        <a:pt x="285" y="30"/>
                        <a:pt x="287" y="29"/>
                      </a:cubicBezTo>
                      <a:cubicBezTo>
                        <a:pt x="288" y="32"/>
                        <a:pt x="288" y="32"/>
                        <a:pt x="288" y="32"/>
                      </a:cubicBezTo>
                      <a:cubicBezTo>
                        <a:pt x="288" y="32"/>
                        <a:pt x="288" y="32"/>
                        <a:pt x="288" y="32"/>
                      </a:cubicBezTo>
                      <a:cubicBezTo>
                        <a:pt x="287" y="29"/>
                        <a:pt x="287" y="29"/>
                        <a:pt x="287" y="29"/>
                      </a:cubicBezTo>
                      <a:cubicBezTo>
                        <a:pt x="289" y="28"/>
                        <a:pt x="291" y="28"/>
                        <a:pt x="293" y="27"/>
                      </a:cubicBezTo>
                      <a:cubicBezTo>
                        <a:pt x="294" y="30"/>
                        <a:pt x="294" y="30"/>
                        <a:pt x="294" y="30"/>
                      </a:cubicBezTo>
                      <a:cubicBezTo>
                        <a:pt x="295" y="30"/>
                        <a:pt x="295" y="30"/>
                        <a:pt x="295" y="30"/>
                      </a:cubicBezTo>
                      <a:cubicBezTo>
                        <a:pt x="295" y="30"/>
                        <a:pt x="295" y="30"/>
                        <a:pt x="295" y="30"/>
                      </a:cubicBezTo>
                      <a:cubicBezTo>
                        <a:pt x="294" y="27"/>
                        <a:pt x="294" y="27"/>
                        <a:pt x="294" y="27"/>
                      </a:cubicBezTo>
                      <a:cubicBezTo>
                        <a:pt x="296" y="27"/>
                        <a:pt x="298" y="26"/>
                        <a:pt x="299" y="26"/>
                      </a:cubicBezTo>
                      <a:cubicBezTo>
                        <a:pt x="300" y="29"/>
                        <a:pt x="300" y="29"/>
                        <a:pt x="300" y="29"/>
                      </a:cubicBezTo>
                      <a:cubicBezTo>
                        <a:pt x="301" y="29"/>
                        <a:pt x="301" y="29"/>
                        <a:pt x="301" y="29"/>
                      </a:cubicBezTo>
                      <a:cubicBezTo>
                        <a:pt x="300" y="26"/>
                        <a:pt x="300" y="26"/>
                        <a:pt x="300" y="26"/>
                      </a:cubicBezTo>
                      <a:cubicBezTo>
                        <a:pt x="302" y="25"/>
                        <a:pt x="304" y="25"/>
                        <a:pt x="306" y="24"/>
                      </a:cubicBezTo>
                      <a:cubicBezTo>
                        <a:pt x="306" y="27"/>
                        <a:pt x="306" y="27"/>
                        <a:pt x="306" y="27"/>
                      </a:cubicBezTo>
                      <a:cubicBezTo>
                        <a:pt x="307" y="27"/>
                        <a:pt x="307" y="27"/>
                        <a:pt x="307" y="27"/>
                      </a:cubicBezTo>
                      <a:cubicBezTo>
                        <a:pt x="307" y="27"/>
                        <a:pt x="307" y="27"/>
                        <a:pt x="307" y="27"/>
                      </a:cubicBezTo>
                      <a:cubicBezTo>
                        <a:pt x="307" y="24"/>
                        <a:pt x="307" y="24"/>
                        <a:pt x="307" y="24"/>
                      </a:cubicBezTo>
                      <a:cubicBezTo>
                        <a:pt x="308" y="24"/>
                        <a:pt x="310" y="23"/>
                        <a:pt x="312" y="23"/>
                      </a:cubicBezTo>
                      <a:cubicBezTo>
                        <a:pt x="313" y="26"/>
                        <a:pt x="313" y="26"/>
                        <a:pt x="313" y="26"/>
                      </a:cubicBezTo>
                      <a:cubicBezTo>
                        <a:pt x="314" y="26"/>
                        <a:pt x="314" y="26"/>
                        <a:pt x="314" y="26"/>
                      </a:cubicBezTo>
                      <a:cubicBezTo>
                        <a:pt x="313" y="23"/>
                        <a:pt x="313" y="23"/>
                        <a:pt x="313" y="23"/>
                      </a:cubicBezTo>
                      <a:cubicBezTo>
                        <a:pt x="315" y="22"/>
                        <a:pt x="317" y="22"/>
                        <a:pt x="319" y="22"/>
                      </a:cubicBezTo>
                      <a:cubicBezTo>
                        <a:pt x="319" y="24"/>
                        <a:pt x="319" y="24"/>
                        <a:pt x="319" y="24"/>
                      </a:cubicBezTo>
                      <a:cubicBezTo>
                        <a:pt x="320" y="24"/>
                        <a:pt x="320" y="24"/>
                        <a:pt x="320" y="24"/>
                      </a:cubicBezTo>
                      <a:cubicBezTo>
                        <a:pt x="319" y="21"/>
                        <a:pt x="319" y="21"/>
                        <a:pt x="319" y="21"/>
                      </a:cubicBezTo>
                      <a:cubicBezTo>
                        <a:pt x="321" y="21"/>
                        <a:pt x="323" y="21"/>
                        <a:pt x="325" y="20"/>
                      </a:cubicBezTo>
                      <a:cubicBezTo>
                        <a:pt x="326" y="26"/>
                        <a:pt x="326" y="26"/>
                        <a:pt x="326" y="26"/>
                      </a:cubicBezTo>
                      <a:cubicBezTo>
                        <a:pt x="326" y="26"/>
                        <a:pt x="326" y="26"/>
                        <a:pt x="326" y="26"/>
                      </a:cubicBezTo>
                      <a:cubicBezTo>
                        <a:pt x="327" y="33"/>
                        <a:pt x="327" y="33"/>
                        <a:pt x="327" y="33"/>
                      </a:cubicBezTo>
                      <a:cubicBezTo>
                        <a:pt x="328" y="33"/>
                        <a:pt x="328" y="33"/>
                        <a:pt x="328" y="33"/>
                      </a:cubicBezTo>
                      <a:cubicBezTo>
                        <a:pt x="327" y="26"/>
                        <a:pt x="327" y="26"/>
                        <a:pt x="327" y="26"/>
                      </a:cubicBezTo>
                      <a:cubicBezTo>
                        <a:pt x="327" y="26"/>
                        <a:pt x="327" y="26"/>
                        <a:pt x="327" y="26"/>
                      </a:cubicBezTo>
                      <a:cubicBezTo>
                        <a:pt x="326" y="20"/>
                        <a:pt x="326" y="20"/>
                        <a:pt x="326" y="20"/>
                      </a:cubicBezTo>
                      <a:cubicBezTo>
                        <a:pt x="328" y="20"/>
                        <a:pt x="330" y="19"/>
                        <a:pt x="332" y="19"/>
                      </a:cubicBezTo>
                      <a:cubicBezTo>
                        <a:pt x="332" y="22"/>
                        <a:pt x="332" y="22"/>
                        <a:pt x="332" y="22"/>
                      </a:cubicBezTo>
                      <a:cubicBezTo>
                        <a:pt x="333" y="22"/>
                        <a:pt x="333" y="22"/>
                        <a:pt x="333" y="22"/>
                      </a:cubicBezTo>
                      <a:cubicBezTo>
                        <a:pt x="332" y="19"/>
                        <a:pt x="332" y="19"/>
                        <a:pt x="332" y="19"/>
                      </a:cubicBezTo>
                      <a:cubicBezTo>
                        <a:pt x="334" y="19"/>
                        <a:pt x="336" y="19"/>
                        <a:pt x="338" y="18"/>
                      </a:cubicBezTo>
                      <a:cubicBezTo>
                        <a:pt x="338" y="21"/>
                        <a:pt x="338" y="21"/>
                        <a:pt x="338" y="21"/>
                      </a:cubicBezTo>
                      <a:cubicBezTo>
                        <a:pt x="339" y="21"/>
                        <a:pt x="339" y="21"/>
                        <a:pt x="339" y="21"/>
                      </a:cubicBezTo>
                      <a:cubicBezTo>
                        <a:pt x="339" y="18"/>
                        <a:pt x="339" y="18"/>
                        <a:pt x="339" y="18"/>
                      </a:cubicBezTo>
                      <a:cubicBezTo>
                        <a:pt x="341" y="18"/>
                        <a:pt x="343" y="18"/>
                        <a:pt x="345" y="17"/>
                      </a:cubicBezTo>
                      <a:cubicBezTo>
                        <a:pt x="345" y="20"/>
                        <a:pt x="345" y="20"/>
                        <a:pt x="345" y="20"/>
                      </a:cubicBezTo>
                      <a:cubicBezTo>
                        <a:pt x="346" y="20"/>
                        <a:pt x="346" y="20"/>
                        <a:pt x="346" y="20"/>
                      </a:cubicBezTo>
                      <a:cubicBezTo>
                        <a:pt x="345" y="17"/>
                        <a:pt x="345" y="17"/>
                        <a:pt x="345" y="17"/>
                      </a:cubicBezTo>
                      <a:cubicBezTo>
                        <a:pt x="347" y="17"/>
                        <a:pt x="349" y="17"/>
                        <a:pt x="351" y="17"/>
                      </a:cubicBezTo>
                      <a:cubicBezTo>
                        <a:pt x="351" y="20"/>
                        <a:pt x="351" y="20"/>
                        <a:pt x="351" y="20"/>
                      </a:cubicBezTo>
                      <a:cubicBezTo>
                        <a:pt x="352" y="20"/>
                        <a:pt x="352" y="20"/>
                        <a:pt x="352" y="20"/>
                      </a:cubicBezTo>
                      <a:cubicBezTo>
                        <a:pt x="352" y="20"/>
                        <a:pt x="352" y="20"/>
                        <a:pt x="352" y="20"/>
                      </a:cubicBezTo>
                      <a:cubicBezTo>
                        <a:pt x="352" y="17"/>
                        <a:pt x="352" y="17"/>
                        <a:pt x="352" y="17"/>
                      </a:cubicBezTo>
                      <a:cubicBezTo>
                        <a:pt x="354" y="16"/>
                        <a:pt x="356" y="16"/>
                        <a:pt x="358" y="16"/>
                      </a:cubicBezTo>
                      <a:cubicBezTo>
                        <a:pt x="358" y="19"/>
                        <a:pt x="358" y="19"/>
                        <a:pt x="358" y="19"/>
                      </a:cubicBezTo>
                      <a:cubicBezTo>
                        <a:pt x="359" y="19"/>
                        <a:pt x="359" y="19"/>
                        <a:pt x="359" y="19"/>
                      </a:cubicBezTo>
                      <a:cubicBezTo>
                        <a:pt x="359" y="19"/>
                        <a:pt x="359" y="19"/>
                        <a:pt x="359" y="19"/>
                      </a:cubicBezTo>
                      <a:cubicBezTo>
                        <a:pt x="359" y="19"/>
                        <a:pt x="359" y="19"/>
                        <a:pt x="359" y="19"/>
                      </a:cubicBezTo>
                      <a:cubicBezTo>
                        <a:pt x="358" y="16"/>
                        <a:pt x="358" y="16"/>
                        <a:pt x="358" y="16"/>
                      </a:cubicBezTo>
                      <a:cubicBezTo>
                        <a:pt x="360" y="16"/>
                        <a:pt x="362" y="16"/>
                        <a:pt x="364" y="15"/>
                      </a:cubicBezTo>
                      <a:cubicBezTo>
                        <a:pt x="364" y="18"/>
                        <a:pt x="364" y="18"/>
                        <a:pt x="364" y="18"/>
                      </a:cubicBezTo>
                      <a:cubicBezTo>
                        <a:pt x="365" y="18"/>
                        <a:pt x="365" y="18"/>
                        <a:pt x="365" y="18"/>
                      </a:cubicBezTo>
                      <a:cubicBezTo>
                        <a:pt x="365" y="18"/>
                        <a:pt x="365" y="18"/>
                        <a:pt x="365" y="18"/>
                      </a:cubicBezTo>
                      <a:cubicBezTo>
                        <a:pt x="365" y="15"/>
                        <a:pt x="365" y="15"/>
                        <a:pt x="365" y="15"/>
                      </a:cubicBezTo>
                      <a:cubicBezTo>
                        <a:pt x="367" y="15"/>
                        <a:pt x="369" y="15"/>
                        <a:pt x="371" y="15"/>
                      </a:cubicBezTo>
                      <a:cubicBezTo>
                        <a:pt x="371" y="18"/>
                        <a:pt x="371" y="18"/>
                        <a:pt x="371" y="18"/>
                      </a:cubicBezTo>
                      <a:cubicBezTo>
                        <a:pt x="372" y="18"/>
                        <a:pt x="372" y="18"/>
                        <a:pt x="372" y="18"/>
                      </a:cubicBezTo>
                      <a:cubicBezTo>
                        <a:pt x="372" y="15"/>
                        <a:pt x="372" y="15"/>
                        <a:pt x="372" y="15"/>
                      </a:cubicBezTo>
                      <a:cubicBezTo>
                        <a:pt x="373" y="15"/>
                        <a:pt x="375" y="15"/>
                        <a:pt x="377" y="15"/>
                      </a:cubicBezTo>
                      <a:cubicBezTo>
                        <a:pt x="377" y="18"/>
                        <a:pt x="377" y="18"/>
                        <a:pt x="377" y="18"/>
                      </a:cubicBezTo>
                      <a:cubicBezTo>
                        <a:pt x="378" y="18"/>
                        <a:pt x="378" y="18"/>
                        <a:pt x="378" y="18"/>
                      </a:cubicBezTo>
                      <a:cubicBezTo>
                        <a:pt x="378" y="15"/>
                        <a:pt x="378" y="15"/>
                        <a:pt x="378" y="15"/>
                      </a:cubicBezTo>
                      <a:cubicBezTo>
                        <a:pt x="380" y="15"/>
                        <a:pt x="382" y="15"/>
                        <a:pt x="384" y="15"/>
                      </a:cubicBezTo>
                      <a:cubicBezTo>
                        <a:pt x="384" y="18"/>
                        <a:pt x="384" y="18"/>
                        <a:pt x="384" y="18"/>
                      </a:cubicBezTo>
                      <a:cubicBezTo>
                        <a:pt x="385" y="18"/>
                        <a:pt x="385" y="18"/>
                        <a:pt x="385" y="18"/>
                      </a:cubicBezTo>
                      <a:cubicBezTo>
                        <a:pt x="385" y="15"/>
                        <a:pt x="385" y="15"/>
                        <a:pt x="385" y="15"/>
                      </a:cubicBezTo>
                      <a:cubicBezTo>
                        <a:pt x="386" y="15"/>
                        <a:pt x="388" y="15"/>
                        <a:pt x="390" y="15"/>
                      </a:cubicBezTo>
                      <a:cubicBezTo>
                        <a:pt x="390" y="20"/>
                        <a:pt x="390" y="20"/>
                        <a:pt x="390" y="20"/>
                      </a:cubicBezTo>
                      <a:cubicBezTo>
                        <a:pt x="390" y="20"/>
                        <a:pt x="390" y="20"/>
                        <a:pt x="390" y="20"/>
                      </a:cubicBezTo>
                      <a:cubicBezTo>
                        <a:pt x="390" y="28"/>
                        <a:pt x="390" y="28"/>
                        <a:pt x="390" y="28"/>
                      </a:cubicBezTo>
                      <a:cubicBezTo>
                        <a:pt x="391" y="28"/>
                        <a:pt x="391" y="28"/>
                        <a:pt x="391" y="28"/>
                      </a:cubicBezTo>
                      <a:cubicBezTo>
                        <a:pt x="391" y="20"/>
                        <a:pt x="391" y="20"/>
                        <a:pt x="391" y="20"/>
                      </a:cubicBezTo>
                      <a:cubicBezTo>
                        <a:pt x="392" y="20"/>
                        <a:pt x="392" y="20"/>
                        <a:pt x="392" y="20"/>
                      </a:cubicBezTo>
                      <a:cubicBezTo>
                        <a:pt x="392" y="15"/>
                        <a:pt x="392" y="15"/>
                        <a:pt x="392" y="15"/>
                      </a:cubicBezTo>
                      <a:cubicBezTo>
                        <a:pt x="393" y="15"/>
                        <a:pt x="395" y="15"/>
                        <a:pt x="397" y="15"/>
                      </a:cubicBezTo>
                      <a:cubicBezTo>
                        <a:pt x="397" y="18"/>
                        <a:pt x="397" y="18"/>
                        <a:pt x="397" y="18"/>
                      </a:cubicBezTo>
                      <a:cubicBezTo>
                        <a:pt x="398" y="18"/>
                        <a:pt x="398" y="18"/>
                        <a:pt x="398" y="18"/>
                      </a:cubicBezTo>
                      <a:cubicBezTo>
                        <a:pt x="398" y="15"/>
                        <a:pt x="398" y="15"/>
                        <a:pt x="398" y="15"/>
                      </a:cubicBezTo>
                      <a:cubicBezTo>
                        <a:pt x="400" y="15"/>
                        <a:pt x="402" y="15"/>
                        <a:pt x="404" y="15"/>
                      </a:cubicBezTo>
                      <a:cubicBezTo>
                        <a:pt x="403" y="18"/>
                        <a:pt x="403" y="18"/>
                        <a:pt x="403" y="18"/>
                      </a:cubicBezTo>
                      <a:cubicBezTo>
                        <a:pt x="404" y="18"/>
                        <a:pt x="404" y="18"/>
                        <a:pt x="404" y="18"/>
                      </a:cubicBezTo>
                      <a:cubicBezTo>
                        <a:pt x="404" y="15"/>
                        <a:pt x="404" y="15"/>
                        <a:pt x="404" y="15"/>
                      </a:cubicBezTo>
                      <a:cubicBezTo>
                        <a:pt x="406" y="15"/>
                        <a:pt x="408" y="15"/>
                        <a:pt x="410" y="15"/>
                      </a:cubicBezTo>
                      <a:cubicBezTo>
                        <a:pt x="410" y="18"/>
                        <a:pt x="410" y="18"/>
                        <a:pt x="410" y="18"/>
                      </a:cubicBezTo>
                      <a:cubicBezTo>
                        <a:pt x="411" y="18"/>
                        <a:pt x="411" y="18"/>
                        <a:pt x="411" y="18"/>
                      </a:cubicBezTo>
                      <a:cubicBezTo>
                        <a:pt x="411" y="15"/>
                        <a:pt x="411" y="15"/>
                        <a:pt x="411" y="15"/>
                      </a:cubicBezTo>
                      <a:cubicBezTo>
                        <a:pt x="413" y="15"/>
                        <a:pt x="415" y="15"/>
                        <a:pt x="417" y="15"/>
                      </a:cubicBezTo>
                      <a:cubicBezTo>
                        <a:pt x="416" y="18"/>
                        <a:pt x="416" y="18"/>
                        <a:pt x="416" y="18"/>
                      </a:cubicBezTo>
                      <a:cubicBezTo>
                        <a:pt x="417" y="18"/>
                        <a:pt x="417" y="18"/>
                        <a:pt x="417" y="18"/>
                      </a:cubicBezTo>
                      <a:cubicBezTo>
                        <a:pt x="417" y="15"/>
                        <a:pt x="417" y="15"/>
                        <a:pt x="417" y="15"/>
                      </a:cubicBezTo>
                      <a:cubicBezTo>
                        <a:pt x="419" y="16"/>
                        <a:pt x="421" y="16"/>
                        <a:pt x="423" y="16"/>
                      </a:cubicBezTo>
                      <a:cubicBezTo>
                        <a:pt x="423" y="19"/>
                        <a:pt x="423" y="19"/>
                        <a:pt x="423" y="19"/>
                      </a:cubicBezTo>
                      <a:cubicBezTo>
                        <a:pt x="424" y="19"/>
                        <a:pt x="424" y="19"/>
                        <a:pt x="424" y="19"/>
                      </a:cubicBezTo>
                      <a:cubicBezTo>
                        <a:pt x="424" y="16"/>
                        <a:pt x="424" y="16"/>
                        <a:pt x="424" y="16"/>
                      </a:cubicBezTo>
                      <a:cubicBezTo>
                        <a:pt x="426" y="16"/>
                        <a:pt x="428" y="16"/>
                        <a:pt x="430" y="17"/>
                      </a:cubicBezTo>
                      <a:cubicBezTo>
                        <a:pt x="429" y="20"/>
                        <a:pt x="429" y="20"/>
                        <a:pt x="429" y="20"/>
                      </a:cubicBezTo>
                      <a:cubicBezTo>
                        <a:pt x="430" y="20"/>
                        <a:pt x="430" y="20"/>
                        <a:pt x="430" y="20"/>
                      </a:cubicBezTo>
                      <a:cubicBezTo>
                        <a:pt x="431" y="17"/>
                        <a:pt x="431" y="17"/>
                        <a:pt x="431" y="17"/>
                      </a:cubicBezTo>
                      <a:cubicBezTo>
                        <a:pt x="432" y="17"/>
                        <a:pt x="434" y="17"/>
                        <a:pt x="436" y="17"/>
                      </a:cubicBezTo>
                      <a:cubicBezTo>
                        <a:pt x="436" y="20"/>
                        <a:pt x="436" y="20"/>
                        <a:pt x="436" y="20"/>
                      </a:cubicBezTo>
                      <a:cubicBezTo>
                        <a:pt x="437" y="20"/>
                        <a:pt x="437" y="20"/>
                        <a:pt x="437" y="20"/>
                      </a:cubicBezTo>
                      <a:cubicBezTo>
                        <a:pt x="437" y="17"/>
                        <a:pt x="437" y="17"/>
                        <a:pt x="437" y="17"/>
                      </a:cubicBezTo>
                      <a:cubicBezTo>
                        <a:pt x="439" y="18"/>
                        <a:pt x="441" y="18"/>
                        <a:pt x="443" y="18"/>
                      </a:cubicBezTo>
                      <a:cubicBezTo>
                        <a:pt x="442" y="21"/>
                        <a:pt x="442" y="21"/>
                        <a:pt x="442" y="21"/>
                      </a:cubicBezTo>
                      <a:cubicBezTo>
                        <a:pt x="443" y="21"/>
                        <a:pt x="443" y="21"/>
                        <a:pt x="443" y="21"/>
                      </a:cubicBezTo>
                      <a:cubicBezTo>
                        <a:pt x="444" y="18"/>
                        <a:pt x="444" y="18"/>
                        <a:pt x="444" y="18"/>
                      </a:cubicBezTo>
                      <a:cubicBezTo>
                        <a:pt x="445" y="19"/>
                        <a:pt x="447" y="19"/>
                        <a:pt x="449" y="19"/>
                      </a:cubicBezTo>
                      <a:cubicBezTo>
                        <a:pt x="449" y="22"/>
                        <a:pt x="449" y="22"/>
                        <a:pt x="449" y="22"/>
                      </a:cubicBezTo>
                      <a:cubicBezTo>
                        <a:pt x="450" y="22"/>
                        <a:pt x="450" y="22"/>
                        <a:pt x="450" y="22"/>
                      </a:cubicBezTo>
                      <a:cubicBezTo>
                        <a:pt x="450" y="19"/>
                        <a:pt x="450" y="19"/>
                        <a:pt x="450" y="19"/>
                      </a:cubicBezTo>
                      <a:cubicBezTo>
                        <a:pt x="452" y="20"/>
                        <a:pt x="454" y="20"/>
                        <a:pt x="455" y="20"/>
                      </a:cubicBezTo>
                      <a:cubicBezTo>
                        <a:pt x="454" y="26"/>
                        <a:pt x="454" y="26"/>
                        <a:pt x="454" y="26"/>
                      </a:cubicBezTo>
                      <a:cubicBezTo>
                        <a:pt x="455" y="26"/>
                        <a:pt x="455" y="26"/>
                        <a:pt x="455" y="26"/>
                      </a:cubicBezTo>
                      <a:cubicBezTo>
                        <a:pt x="453" y="33"/>
                        <a:pt x="453" y="33"/>
                        <a:pt x="453" y="33"/>
                      </a:cubicBezTo>
                      <a:cubicBezTo>
                        <a:pt x="454" y="33"/>
                        <a:pt x="454" y="33"/>
                        <a:pt x="454" y="33"/>
                      </a:cubicBezTo>
                      <a:cubicBezTo>
                        <a:pt x="456" y="26"/>
                        <a:pt x="456" y="26"/>
                        <a:pt x="456" y="26"/>
                      </a:cubicBezTo>
                      <a:cubicBezTo>
                        <a:pt x="456" y="26"/>
                        <a:pt x="456" y="26"/>
                        <a:pt x="456" y="26"/>
                      </a:cubicBezTo>
                      <a:cubicBezTo>
                        <a:pt x="457" y="20"/>
                        <a:pt x="457" y="20"/>
                        <a:pt x="457" y="20"/>
                      </a:cubicBezTo>
                      <a:cubicBezTo>
                        <a:pt x="459" y="21"/>
                        <a:pt x="460" y="21"/>
                        <a:pt x="462" y="21"/>
                      </a:cubicBezTo>
                      <a:cubicBezTo>
                        <a:pt x="462" y="24"/>
                        <a:pt x="462" y="24"/>
                        <a:pt x="462" y="24"/>
                      </a:cubicBezTo>
                      <a:cubicBezTo>
                        <a:pt x="462" y="24"/>
                        <a:pt x="462" y="24"/>
                        <a:pt x="462" y="24"/>
                      </a:cubicBezTo>
                      <a:cubicBezTo>
                        <a:pt x="463" y="22"/>
                        <a:pt x="463" y="22"/>
                        <a:pt x="463" y="22"/>
                      </a:cubicBezTo>
                      <a:cubicBezTo>
                        <a:pt x="465" y="22"/>
                        <a:pt x="467" y="22"/>
                        <a:pt x="469" y="23"/>
                      </a:cubicBezTo>
                      <a:cubicBezTo>
                        <a:pt x="468" y="26"/>
                        <a:pt x="468" y="26"/>
                        <a:pt x="468" y="26"/>
                      </a:cubicBezTo>
                      <a:cubicBezTo>
                        <a:pt x="469" y="26"/>
                        <a:pt x="469" y="26"/>
                        <a:pt x="469" y="26"/>
                      </a:cubicBezTo>
                      <a:cubicBezTo>
                        <a:pt x="469" y="23"/>
                        <a:pt x="469" y="23"/>
                        <a:pt x="469" y="23"/>
                      </a:cubicBezTo>
                      <a:cubicBezTo>
                        <a:pt x="471" y="23"/>
                        <a:pt x="473" y="24"/>
                        <a:pt x="475" y="24"/>
                      </a:cubicBezTo>
                      <a:cubicBezTo>
                        <a:pt x="474" y="27"/>
                        <a:pt x="474" y="27"/>
                        <a:pt x="474" y="27"/>
                      </a:cubicBezTo>
                      <a:cubicBezTo>
                        <a:pt x="475" y="27"/>
                        <a:pt x="475" y="27"/>
                        <a:pt x="475" y="27"/>
                      </a:cubicBezTo>
                      <a:cubicBezTo>
                        <a:pt x="476" y="24"/>
                        <a:pt x="476" y="24"/>
                        <a:pt x="476" y="24"/>
                      </a:cubicBezTo>
                      <a:cubicBezTo>
                        <a:pt x="478" y="25"/>
                        <a:pt x="480" y="25"/>
                        <a:pt x="481" y="26"/>
                      </a:cubicBezTo>
                      <a:cubicBezTo>
                        <a:pt x="481" y="29"/>
                        <a:pt x="481" y="29"/>
                        <a:pt x="481" y="29"/>
                      </a:cubicBezTo>
                      <a:cubicBezTo>
                        <a:pt x="481" y="29"/>
                        <a:pt x="481" y="29"/>
                        <a:pt x="481" y="29"/>
                      </a:cubicBezTo>
                      <a:cubicBezTo>
                        <a:pt x="482" y="26"/>
                        <a:pt x="482" y="26"/>
                        <a:pt x="482" y="26"/>
                      </a:cubicBezTo>
                      <a:cubicBezTo>
                        <a:pt x="484" y="26"/>
                        <a:pt x="486" y="27"/>
                        <a:pt x="488" y="27"/>
                      </a:cubicBezTo>
                      <a:cubicBezTo>
                        <a:pt x="487" y="30"/>
                        <a:pt x="487" y="30"/>
                        <a:pt x="487" y="30"/>
                      </a:cubicBezTo>
                      <a:cubicBezTo>
                        <a:pt x="488" y="30"/>
                        <a:pt x="488" y="30"/>
                        <a:pt x="488" y="30"/>
                      </a:cubicBezTo>
                      <a:cubicBezTo>
                        <a:pt x="489" y="27"/>
                        <a:pt x="489" y="27"/>
                        <a:pt x="489" y="27"/>
                      </a:cubicBezTo>
                      <a:cubicBezTo>
                        <a:pt x="490" y="28"/>
                        <a:pt x="492" y="28"/>
                        <a:pt x="494" y="29"/>
                      </a:cubicBezTo>
                      <a:cubicBezTo>
                        <a:pt x="493" y="32"/>
                        <a:pt x="493" y="32"/>
                        <a:pt x="493" y="32"/>
                      </a:cubicBezTo>
                      <a:cubicBezTo>
                        <a:pt x="494" y="32"/>
                        <a:pt x="494" y="32"/>
                        <a:pt x="494" y="32"/>
                      </a:cubicBezTo>
                      <a:cubicBezTo>
                        <a:pt x="495" y="29"/>
                        <a:pt x="495" y="29"/>
                        <a:pt x="495" y="29"/>
                      </a:cubicBezTo>
                      <a:cubicBezTo>
                        <a:pt x="497" y="30"/>
                        <a:pt x="499" y="30"/>
                        <a:pt x="500" y="31"/>
                      </a:cubicBezTo>
                      <a:cubicBezTo>
                        <a:pt x="500" y="34"/>
                        <a:pt x="500" y="34"/>
                        <a:pt x="500" y="34"/>
                      </a:cubicBezTo>
                      <a:cubicBezTo>
                        <a:pt x="500" y="34"/>
                        <a:pt x="500" y="34"/>
                        <a:pt x="500" y="34"/>
                      </a:cubicBezTo>
                      <a:cubicBezTo>
                        <a:pt x="501" y="31"/>
                        <a:pt x="501" y="31"/>
                        <a:pt x="501" y="31"/>
                      </a:cubicBezTo>
                      <a:cubicBezTo>
                        <a:pt x="503" y="32"/>
                        <a:pt x="505" y="32"/>
                        <a:pt x="507" y="33"/>
                      </a:cubicBezTo>
                      <a:cubicBezTo>
                        <a:pt x="506" y="36"/>
                        <a:pt x="506" y="36"/>
                        <a:pt x="506" y="36"/>
                      </a:cubicBezTo>
                      <a:cubicBezTo>
                        <a:pt x="507" y="36"/>
                        <a:pt x="507" y="36"/>
                        <a:pt x="507" y="36"/>
                      </a:cubicBezTo>
                      <a:cubicBezTo>
                        <a:pt x="507" y="33"/>
                        <a:pt x="507" y="33"/>
                        <a:pt x="507" y="33"/>
                      </a:cubicBezTo>
                      <a:cubicBezTo>
                        <a:pt x="509" y="34"/>
                        <a:pt x="511" y="34"/>
                        <a:pt x="513" y="35"/>
                      </a:cubicBezTo>
                      <a:cubicBezTo>
                        <a:pt x="512" y="38"/>
                        <a:pt x="512" y="38"/>
                        <a:pt x="512" y="38"/>
                      </a:cubicBezTo>
                      <a:cubicBezTo>
                        <a:pt x="513" y="38"/>
                        <a:pt x="513" y="38"/>
                        <a:pt x="513" y="38"/>
                      </a:cubicBezTo>
                      <a:cubicBezTo>
                        <a:pt x="514" y="35"/>
                        <a:pt x="514" y="35"/>
                        <a:pt x="514" y="35"/>
                      </a:cubicBezTo>
                      <a:cubicBezTo>
                        <a:pt x="515" y="36"/>
                        <a:pt x="517" y="36"/>
                        <a:pt x="519" y="37"/>
                      </a:cubicBezTo>
                      <a:cubicBezTo>
                        <a:pt x="517" y="42"/>
                        <a:pt x="517" y="42"/>
                        <a:pt x="517" y="42"/>
                      </a:cubicBezTo>
                      <a:cubicBezTo>
                        <a:pt x="517" y="42"/>
                        <a:pt x="517" y="42"/>
                        <a:pt x="517" y="42"/>
                      </a:cubicBezTo>
                      <a:cubicBezTo>
                        <a:pt x="515" y="50"/>
                        <a:pt x="515" y="50"/>
                        <a:pt x="515" y="50"/>
                      </a:cubicBezTo>
                      <a:cubicBezTo>
                        <a:pt x="515" y="50"/>
                        <a:pt x="515" y="50"/>
                        <a:pt x="515" y="50"/>
                      </a:cubicBezTo>
                      <a:cubicBezTo>
                        <a:pt x="518" y="43"/>
                        <a:pt x="518" y="43"/>
                        <a:pt x="518" y="43"/>
                      </a:cubicBezTo>
                      <a:cubicBezTo>
                        <a:pt x="518" y="43"/>
                        <a:pt x="518" y="43"/>
                        <a:pt x="518" y="43"/>
                      </a:cubicBezTo>
                      <a:cubicBezTo>
                        <a:pt x="520" y="38"/>
                        <a:pt x="520" y="38"/>
                        <a:pt x="520" y="38"/>
                      </a:cubicBezTo>
                      <a:cubicBezTo>
                        <a:pt x="522" y="38"/>
                        <a:pt x="524" y="39"/>
                        <a:pt x="525" y="39"/>
                      </a:cubicBezTo>
                      <a:cubicBezTo>
                        <a:pt x="524" y="42"/>
                        <a:pt x="524" y="42"/>
                        <a:pt x="524" y="42"/>
                      </a:cubicBezTo>
                      <a:cubicBezTo>
                        <a:pt x="525" y="43"/>
                        <a:pt x="525" y="43"/>
                        <a:pt x="525" y="43"/>
                      </a:cubicBezTo>
                      <a:cubicBezTo>
                        <a:pt x="526" y="40"/>
                        <a:pt x="526" y="40"/>
                        <a:pt x="526" y="40"/>
                      </a:cubicBezTo>
                      <a:cubicBezTo>
                        <a:pt x="528" y="40"/>
                        <a:pt x="530" y="41"/>
                        <a:pt x="531" y="42"/>
                      </a:cubicBezTo>
                      <a:cubicBezTo>
                        <a:pt x="530" y="45"/>
                        <a:pt x="530" y="45"/>
                        <a:pt x="530" y="45"/>
                      </a:cubicBezTo>
                      <a:cubicBezTo>
                        <a:pt x="531" y="45"/>
                        <a:pt x="531" y="45"/>
                        <a:pt x="531" y="45"/>
                      </a:cubicBezTo>
                      <a:cubicBezTo>
                        <a:pt x="532" y="42"/>
                        <a:pt x="532" y="42"/>
                        <a:pt x="532" y="42"/>
                      </a:cubicBezTo>
                      <a:cubicBezTo>
                        <a:pt x="534" y="43"/>
                        <a:pt x="536" y="44"/>
                        <a:pt x="537" y="44"/>
                      </a:cubicBezTo>
                      <a:cubicBezTo>
                        <a:pt x="536" y="47"/>
                        <a:pt x="536" y="47"/>
                        <a:pt x="536" y="47"/>
                      </a:cubicBezTo>
                      <a:cubicBezTo>
                        <a:pt x="537" y="47"/>
                        <a:pt x="537" y="47"/>
                        <a:pt x="537" y="47"/>
                      </a:cubicBezTo>
                      <a:cubicBezTo>
                        <a:pt x="538" y="45"/>
                        <a:pt x="538" y="45"/>
                        <a:pt x="538" y="45"/>
                      </a:cubicBezTo>
                      <a:cubicBezTo>
                        <a:pt x="540" y="45"/>
                        <a:pt x="542" y="46"/>
                        <a:pt x="543" y="47"/>
                      </a:cubicBezTo>
                      <a:cubicBezTo>
                        <a:pt x="542" y="50"/>
                        <a:pt x="542" y="50"/>
                        <a:pt x="542" y="50"/>
                      </a:cubicBezTo>
                      <a:cubicBezTo>
                        <a:pt x="543" y="50"/>
                        <a:pt x="543" y="50"/>
                        <a:pt x="543" y="50"/>
                      </a:cubicBezTo>
                      <a:cubicBezTo>
                        <a:pt x="544" y="47"/>
                        <a:pt x="544" y="47"/>
                        <a:pt x="544" y="47"/>
                      </a:cubicBezTo>
                      <a:cubicBezTo>
                        <a:pt x="546" y="48"/>
                        <a:pt x="548" y="49"/>
                        <a:pt x="549" y="50"/>
                      </a:cubicBezTo>
                      <a:cubicBezTo>
                        <a:pt x="548" y="52"/>
                        <a:pt x="548" y="52"/>
                        <a:pt x="548" y="52"/>
                      </a:cubicBezTo>
                      <a:cubicBezTo>
                        <a:pt x="549" y="53"/>
                        <a:pt x="549" y="53"/>
                        <a:pt x="549" y="53"/>
                      </a:cubicBezTo>
                      <a:cubicBezTo>
                        <a:pt x="550" y="50"/>
                        <a:pt x="550" y="50"/>
                        <a:pt x="550" y="50"/>
                      </a:cubicBezTo>
                      <a:cubicBezTo>
                        <a:pt x="552" y="51"/>
                        <a:pt x="554" y="52"/>
                        <a:pt x="555" y="53"/>
                      </a:cubicBezTo>
                      <a:cubicBezTo>
                        <a:pt x="554" y="55"/>
                        <a:pt x="554" y="55"/>
                        <a:pt x="554" y="55"/>
                      </a:cubicBezTo>
                      <a:cubicBezTo>
                        <a:pt x="555" y="56"/>
                        <a:pt x="555" y="56"/>
                        <a:pt x="555" y="56"/>
                      </a:cubicBezTo>
                      <a:cubicBezTo>
                        <a:pt x="556" y="53"/>
                        <a:pt x="556" y="53"/>
                        <a:pt x="556" y="53"/>
                      </a:cubicBezTo>
                      <a:cubicBezTo>
                        <a:pt x="558" y="54"/>
                        <a:pt x="560" y="55"/>
                        <a:pt x="561" y="55"/>
                      </a:cubicBezTo>
                      <a:cubicBezTo>
                        <a:pt x="560" y="58"/>
                        <a:pt x="560" y="58"/>
                        <a:pt x="560" y="58"/>
                      </a:cubicBezTo>
                      <a:cubicBezTo>
                        <a:pt x="561" y="58"/>
                        <a:pt x="561" y="58"/>
                        <a:pt x="561" y="58"/>
                      </a:cubicBezTo>
                      <a:cubicBezTo>
                        <a:pt x="562" y="56"/>
                        <a:pt x="562" y="56"/>
                        <a:pt x="562" y="56"/>
                      </a:cubicBezTo>
                      <a:cubicBezTo>
                        <a:pt x="564" y="57"/>
                        <a:pt x="565" y="58"/>
                        <a:pt x="567" y="59"/>
                      </a:cubicBezTo>
                      <a:cubicBezTo>
                        <a:pt x="566" y="61"/>
                        <a:pt x="566" y="61"/>
                        <a:pt x="566" y="61"/>
                      </a:cubicBezTo>
                      <a:cubicBezTo>
                        <a:pt x="566" y="61"/>
                        <a:pt x="566" y="61"/>
                        <a:pt x="566" y="61"/>
                      </a:cubicBezTo>
                      <a:cubicBezTo>
                        <a:pt x="568" y="59"/>
                        <a:pt x="568" y="59"/>
                        <a:pt x="568" y="59"/>
                      </a:cubicBezTo>
                      <a:cubicBezTo>
                        <a:pt x="569" y="60"/>
                        <a:pt x="571" y="61"/>
                        <a:pt x="573" y="62"/>
                      </a:cubicBezTo>
                      <a:cubicBezTo>
                        <a:pt x="571" y="64"/>
                        <a:pt x="571" y="64"/>
                        <a:pt x="571" y="64"/>
                      </a:cubicBezTo>
                      <a:cubicBezTo>
                        <a:pt x="572" y="65"/>
                        <a:pt x="572" y="65"/>
                        <a:pt x="572" y="65"/>
                      </a:cubicBezTo>
                      <a:cubicBezTo>
                        <a:pt x="574" y="62"/>
                        <a:pt x="574" y="62"/>
                        <a:pt x="574" y="62"/>
                      </a:cubicBezTo>
                      <a:cubicBezTo>
                        <a:pt x="575" y="63"/>
                        <a:pt x="577" y="64"/>
                        <a:pt x="578" y="65"/>
                      </a:cubicBezTo>
                      <a:cubicBezTo>
                        <a:pt x="575" y="69"/>
                        <a:pt x="575" y="69"/>
                        <a:pt x="575" y="69"/>
                      </a:cubicBezTo>
                      <a:cubicBezTo>
                        <a:pt x="576" y="70"/>
                        <a:pt x="576" y="70"/>
                        <a:pt x="576" y="70"/>
                      </a:cubicBezTo>
                      <a:cubicBezTo>
                        <a:pt x="572" y="76"/>
                        <a:pt x="572" y="76"/>
                        <a:pt x="572" y="76"/>
                      </a:cubicBezTo>
                      <a:cubicBezTo>
                        <a:pt x="573" y="77"/>
                        <a:pt x="573" y="77"/>
                        <a:pt x="573" y="77"/>
                      </a:cubicBezTo>
                      <a:cubicBezTo>
                        <a:pt x="576" y="70"/>
                        <a:pt x="576" y="70"/>
                        <a:pt x="576" y="70"/>
                      </a:cubicBezTo>
                      <a:cubicBezTo>
                        <a:pt x="577" y="70"/>
                        <a:pt x="577" y="70"/>
                        <a:pt x="577" y="70"/>
                      </a:cubicBezTo>
                      <a:cubicBezTo>
                        <a:pt x="580" y="66"/>
                        <a:pt x="580" y="66"/>
                        <a:pt x="580" y="66"/>
                      </a:cubicBezTo>
                      <a:cubicBezTo>
                        <a:pt x="581" y="66"/>
                        <a:pt x="583" y="67"/>
                        <a:pt x="584" y="68"/>
                      </a:cubicBezTo>
                      <a:cubicBezTo>
                        <a:pt x="583" y="71"/>
                        <a:pt x="583" y="71"/>
                        <a:pt x="583" y="71"/>
                      </a:cubicBezTo>
                      <a:cubicBezTo>
                        <a:pt x="583" y="71"/>
                        <a:pt x="583" y="71"/>
                        <a:pt x="583" y="71"/>
                      </a:cubicBezTo>
                      <a:cubicBezTo>
                        <a:pt x="585" y="69"/>
                        <a:pt x="585" y="69"/>
                        <a:pt x="585" y="69"/>
                      </a:cubicBezTo>
                      <a:cubicBezTo>
                        <a:pt x="587" y="70"/>
                        <a:pt x="588" y="71"/>
                        <a:pt x="590" y="72"/>
                      </a:cubicBezTo>
                      <a:cubicBezTo>
                        <a:pt x="588" y="74"/>
                        <a:pt x="588" y="74"/>
                        <a:pt x="588" y="74"/>
                      </a:cubicBezTo>
                      <a:cubicBezTo>
                        <a:pt x="589" y="75"/>
                        <a:pt x="589" y="75"/>
                        <a:pt x="589" y="75"/>
                      </a:cubicBezTo>
                      <a:cubicBezTo>
                        <a:pt x="590" y="72"/>
                        <a:pt x="590" y="72"/>
                        <a:pt x="590" y="72"/>
                      </a:cubicBezTo>
                      <a:cubicBezTo>
                        <a:pt x="592" y="73"/>
                        <a:pt x="594" y="74"/>
                        <a:pt x="595" y="75"/>
                      </a:cubicBezTo>
                      <a:cubicBezTo>
                        <a:pt x="594" y="78"/>
                        <a:pt x="594" y="78"/>
                        <a:pt x="594" y="78"/>
                      </a:cubicBezTo>
                      <a:cubicBezTo>
                        <a:pt x="594" y="78"/>
                        <a:pt x="594" y="78"/>
                        <a:pt x="594" y="78"/>
                      </a:cubicBezTo>
                      <a:cubicBezTo>
                        <a:pt x="596" y="76"/>
                        <a:pt x="596" y="76"/>
                        <a:pt x="596" y="76"/>
                      </a:cubicBezTo>
                      <a:cubicBezTo>
                        <a:pt x="598" y="77"/>
                        <a:pt x="599" y="78"/>
                        <a:pt x="601" y="79"/>
                      </a:cubicBezTo>
                      <a:cubicBezTo>
                        <a:pt x="599" y="81"/>
                        <a:pt x="599" y="81"/>
                        <a:pt x="599" y="81"/>
                      </a:cubicBezTo>
                      <a:cubicBezTo>
                        <a:pt x="600" y="82"/>
                        <a:pt x="600" y="82"/>
                        <a:pt x="600" y="82"/>
                      </a:cubicBezTo>
                      <a:cubicBezTo>
                        <a:pt x="601" y="79"/>
                        <a:pt x="601" y="79"/>
                        <a:pt x="601" y="79"/>
                      </a:cubicBezTo>
                      <a:cubicBezTo>
                        <a:pt x="603" y="80"/>
                        <a:pt x="605" y="81"/>
                        <a:pt x="606" y="83"/>
                      </a:cubicBezTo>
                      <a:cubicBezTo>
                        <a:pt x="605" y="85"/>
                        <a:pt x="605" y="85"/>
                        <a:pt x="605" y="85"/>
                      </a:cubicBezTo>
                      <a:cubicBezTo>
                        <a:pt x="605" y="85"/>
                        <a:pt x="605" y="85"/>
                        <a:pt x="605" y="85"/>
                      </a:cubicBezTo>
                      <a:cubicBezTo>
                        <a:pt x="607" y="83"/>
                        <a:pt x="607" y="83"/>
                        <a:pt x="607" y="83"/>
                      </a:cubicBezTo>
                      <a:cubicBezTo>
                        <a:pt x="608" y="84"/>
                        <a:pt x="610" y="85"/>
                        <a:pt x="612" y="86"/>
                      </a:cubicBezTo>
                      <a:cubicBezTo>
                        <a:pt x="610" y="89"/>
                        <a:pt x="610" y="89"/>
                        <a:pt x="610" y="89"/>
                      </a:cubicBezTo>
                      <a:cubicBezTo>
                        <a:pt x="611" y="89"/>
                        <a:pt x="611" y="89"/>
                        <a:pt x="611" y="89"/>
                      </a:cubicBezTo>
                      <a:cubicBezTo>
                        <a:pt x="612" y="87"/>
                        <a:pt x="612" y="87"/>
                        <a:pt x="612" y="87"/>
                      </a:cubicBezTo>
                      <a:cubicBezTo>
                        <a:pt x="614" y="88"/>
                        <a:pt x="615" y="89"/>
                        <a:pt x="617" y="90"/>
                      </a:cubicBezTo>
                      <a:cubicBezTo>
                        <a:pt x="615" y="93"/>
                        <a:pt x="615" y="93"/>
                        <a:pt x="615" y="93"/>
                      </a:cubicBezTo>
                      <a:cubicBezTo>
                        <a:pt x="616" y="93"/>
                        <a:pt x="616" y="93"/>
                        <a:pt x="616" y="93"/>
                      </a:cubicBezTo>
                      <a:cubicBezTo>
                        <a:pt x="617" y="91"/>
                        <a:pt x="617" y="91"/>
                        <a:pt x="617" y="91"/>
                      </a:cubicBezTo>
                      <a:cubicBezTo>
                        <a:pt x="619" y="92"/>
                        <a:pt x="621" y="93"/>
                        <a:pt x="622" y="94"/>
                      </a:cubicBezTo>
                      <a:cubicBezTo>
                        <a:pt x="620" y="97"/>
                        <a:pt x="620" y="97"/>
                        <a:pt x="620" y="97"/>
                      </a:cubicBezTo>
                      <a:cubicBezTo>
                        <a:pt x="621" y="97"/>
                        <a:pt x="621" y="97"/>
                        <a:pt x="621" y="97"/>
                      </a:cubicBezTo>
                      <a:cubicBezTo>
                        <a:pt x="623" y="95"/>
                        <a:pt x="623" y="95"/>
                        <a:pt x="623" y="95"/>
                      </a:cubicBezTo>
                      <a:cubicBezTo>
                        <a:pt x="624" y="96"/>
                        <a:pt x="626" y="97"/>
                        <a:pt x="627" y="98"/>
                      </a:cubicBezTo>
                      <a:cubicBezTo>
                        <a:pt x="625" y="101"/>
                        <a:pt x="625" y="101"/>
                        <a:pt x="625" y="101"/>
                      </a:cubicBezTo>
                      <a:cubicBezTo>
                        <a:pt x="626" y="101"/>
                        <a:pt x="626" y="101"/>
                        <a:pt x="626" y="101"/>
                      </a:cubicBezTo>
                      <a:cubicBezTo>
                        <a:pt x="628" y="99"/>
                        <a:pt x="628" y="99"/>
                        <a:pt x="628" y="99"/>
                      </a:cubicBezTo>
                      <a:cubicBezTo>
                        <a:pt x="629" y="100"/>
                        <a:pt x="630" y="101"/>
                        <a:pt x="632" y="102"/>
                      </a:cubicBezTo>
                      <a:cubicBezTo>
                        <a:pt x="628" y="106"/>
                        <a:pt x="628" y="106"/>
                        <a:pt x="628" y="106"/>
                      </a:cubicBezTo>
                      <a:cubicBezTo>
                        <a:pt x="629" y="107"/>
                        <a:pt x="629" y="107"/>
                        <a:pt x="629" y="107"/>
                      </a:cubicBezTo>
                      <a:cubicBezTo>
                        <a:pt x="624" y="113"/>
                        <a:pt x="624" y="113"/>
                        <a:pt x="624" y="113"/>
                      </a:cubicBezTo>
                      <a:cubicBezTo>
                        <a:pt x="624" y="113"/>
                        <a:pt x="624" y="113"/>
                        <a:pt x="624" y="113"/>
                      </a:cubicBezTo>
                      <a:cubicBezTo>
                        <a:pt x="629" y="107"/>
                        <a:pt x="629" y="107"/>
                        <a:pt x="629" y="107"/>
                      </a:cubicBezTo>
                      <a:cubicBezTo>
                        <a:pt x="630" y="107"/>
                        <a:pt x="630" y="107"/>
                        <a:pt x="630" y="107"/>
                      </a:cubicBezTo>
                      <a:cubicBezTo>
                        <a:pt x="633" y="103"/>
                        <a:pt x="633" y="103"/>
                        <a:pt x="633" y="103"/>
                      </a:cubicBezTo>
                      <a:cubicBezTo>
                        <a:pt x="635" y="105"/>
                        <a:pt x="636" y="106"/>
                        <a:pt x="637" y="107"/>
                      </a:cubicBezTo>
                      <a:cubicBezTo>
                        <a:pt x="635" y="109"/>
                        <a:pt x="635" y="109"/>
                        <a:pt x="635" y="109"/>
                      </a:cubicBezTo>
                      <a:cubicBezTo>
                        <a:pt x="636" y="109"/>
                        <a:pt x="636" y="109"/>
                        <a:pt x="636" y="109"/>
                      </a:cubicBezTo>
                      <a:cubicBezTo>
                        <a:pt x="638" y="107"/>
                        <a:pt x="638" y="107"/>
                        <a:pt x="638" y="107"/>
                      </a:cubicBezTo>
                      <a:cubicBezTo>
                        <a:pt x="639" y="109"/>
                        <a:pt x="641" y="110"/>
                        <a:pt x="642" y="111"/>
                      </a:cubicBezTo>
                      <a:cubicBezTo>
                        <a:pt x="640" y="113"/>
                        <a:pt x="640" y="113"/>
                        <a:pt x="640" y="113"/>
                      </a:cubicBezTo>
                      <a:cubicBezTo>
                        <a:pt x="641" y="114"/>
                        <a:pt x="641" y="114"/>
                        <a:pt x="641" y="114"/>
                      </a:cubicBezTo>
                      <a:cubicBezTo>
                        <a:pt x="643" y="112"/>
                        <a:pt x="643" y="112"/>
                        <a:pt x="643" y="112"/>
                      </a:cubicBezTo>
                      <a:cubicBezTo>
                        <a:pt x="644" y="113"/>
                        <a:pt x="646" y="114"/>
                        <a:pt x="647" y="116"/>
                      </a:cubicBezTo>
                      <a:cubicBezTo>
                        <a:pt x="645" y="118"/>
                        <a:pt x="645" y="118"/>
                        <a:pt x="645" y="118"/>
                      </a:cubicBezTo>
                      <a:cubicBezTo>
                        <a:pt x="646" y="118"/>
                        <a:pt x="646" y="118"/>
                        <a:pt x="646" y="118"/>
                      </a:cubicBezTo>
                      <a:cubicBezTo>
                        <a:pt x="648" y="116"/>
                        <a:pt x="648" y="116"/>
                        <a:pt x="648" y="116"/>
                      </a:cubicBezTo>
                      <a:cubicBezTo>
                        <a:pt x="649" y="117"/>
                        <a:pt x="650" y="119"/>
                        <a:pt x="652" y="120"/>
                      </a:cubicBezTo>
                      <a:cubicBezTo>
                        <a:pt x="650" y="122"/>
                        <a:pt x="650" y="122"/>
                        <a:pt x="650" y="122"/>
                      </a:cubicBezTo>
                      <a:cubicBezTo>
                        <a:pt x="650" y="123"/>
                        <a:pt x="650" y="123"/>
                        <a:pt x="650" y="123"/>
                      </a:cubicBezTo>
                      <a:cubicBezTo>
                        <a:pt x="652" y="121"/>
                        <a:pt x="652" y="121"/>
                        <a:pt x="652" y="121"/>
                      </a:cubicBezTo>
                      <a:cubicBezTo>
                        <a:pt x="654" y="122"/>
                        <a:pt x="655" y="123"/>
                        <a:pt x="656" y="125"/>
                      </a:cubicBezTo>
                      <a:cubicBezTo>
                        <a:pt x="654" y="127"/>
                        <a:pt x="654" y="127"/>
                        <a:pt x="654" y="127"/>
                      </a:cubicBezTo>
                      <a:cubicBezTo>
                        <a:pt x="655" y="127"/>
                        <a:pt x="655" y="127"/>
                        <a:pt x="655" y="127"/>
                      </a:cubicBezTo>
                      <a:cubicBezTo>
                        <a:pt x="657" y="125"/>
                        <a:pt x="657" y="125"/>
                        <a:pt x="657" y="125"/>
                      </a:cubicBezTo>
                      <a:cubicBezTo>
                        <a:pt x="658" y="127"/>
                        <a:pt x="660" y="128"/>
                        <a:pt x="661" y="129"/>
                      </a:cubicBezTo>
                      <a:cubicBezTo>
                        <a:pt x="659" y="131"/>
                        <a:pt x="659" y="131"/>
                        <a:pt x="659" y="131"/>
                      </a:cubicBezTo>
                      <a:cubicBezTo>
                        <a:pt x="660" y="132"/>
                        <a:pt x="660" y="132"/>
                        <a:pt x="660" y="132"/>
                      </a:cubicBezTo>
                      <a:cubicBezTo>
                        <a:pt x="662" y="130"/>
                        <a:pt x="662" y="130"/>
                        <a:pt x="662" y="130"/>
                      </a:cubicBezTo>
                      <a:cubicBezTo>
                        <a:pt x="663" y="131"/>
                        <a:pt x="664" y="133"/>
                        <a:pt x="666" y="134"/>
                      </a:cubicBezTo>
                      <a:cubicBezTo>
                        <a:pt x="664" y="136"/>
                        <a:pt x="664" y="136"/>
                        <a:pt x="664" y="136"/>
                      </a:cubicBezTo>
                      <a:cubicBezTo>
                        <a:pt x="664" y="137"/>
                        <a:pt x="664" y="137"/>
                        <a:pt x="664" y="137"/>
                      </a:cubicBezTo>
                      <a:cubicBezTo>
                        <a:pt x="666" y="135"/>
                        <a:pt x="666" y="135"/>
                        <a:pt x="666" y="135"/>
                      </a:cubicBezTo>
                      <a:cubicBezTo>
                        <a:pt x="667" y="136"/>
                        <a:pt x="669" y="138"/>
                        <a:pt x="670" y="139"/>
                      </a:cubicBezTo>
                      <a:cubicBezTo>
                        <a:pt x="668" y="141"/>
                        <a:pt x="668" y="141"/>
                        <a:pt x="668" y="141"/>
                      </a:cubicBezTo>
                      <a:cubicBezTo>
                        <a:pt x="668" y="141"/>
                        <a:pt x="668" y="141"/>
                        <a:pt x="668" y="141"/>
                      </a:cubicBezTo>
                      <a:cubicBezTo>
                        <a:pt x="671" y="140"/>
                        <a:pt x="671" y="140"/>
                        <a:pt x="671" y="140"/>
                      </a:cubicBezTo>
                      <a:cubicBezTo>
                        <a:pt x="672" y="141"/>
                        <a:pt x="673" y="142"/>
                        <a:pt x="674" y="144"/>
                      </a:cubicBezTo>
                      <a:cubicBezTo>
                        <a:pt x="672" y="146"/>
                        <a:pt x="672" y="146"/>
                        <a:pt x="672" y="146"/>
                      </a:cubicBezTo>
                      <a:cubicBezTo>
                        <a:pt x="673" y="146"/>
                        <a:pt x="673" y="146"/>
                        <a:pt x="673" y="146"/>
                      </a:cubicBezTo>
                      <a:cubicBezTo>
                        <a:pt x="675" y="145"/>
                        <a:pt x="675" y="145"/>
                        <a:pt x="675" y="145"/>
                      </a:cubicBezTo>
                      <a:cubicBezTo>
                        <a:pt x="676" y="146"/>
                        <a:pt x="677" y="147"/>
                        <a:pt x="678" y="148"/>
                      </a:cubicBezTo>
                      <a:cubicBezTo>
                        <a:pt x="674" y="152"/>
                        <a:pt x="674" y="152"/>
                        <a:pt x="674" y="152"/>
                      </a:cubicBezTo>
                      <a:cubicBezTo>
                        <a:pt x="675" y="152"/>
                        <a:pt x="675" y="152"/>
                        <a:pt x="675" y="152"/>
                      </a:cubicBezTo>
                      <a:cubicBezTo>
                        <a:pt x="669" y="157"/>
                        <a:pt x="669" y="157"/>
                        <a:pt x="669" y="157"/>
                      </a:cubicBezTo>
                      <a:cubicBezTo>
                        <a:pt x="669" y="158"/>
                        <a:pt x="669" y="158"/>
                        <a:pt x="669" y="158"/>
                      </a:cubicBezTo>
                      <a:cubicBezTo>
                        <a:pt x="675" y="153"/>
                        <a:pt x="675" y="153"/>
                        <a:pt x="675" y="153"/>
                      </a:cubicBezTo>
                      <a:cubicBezTo>
                        <a:pt x="675" y="153"/>
                        <a:pt x="675" y="153"/>
                        <a:pt x="675" y="153"/>
                      </a:cubicBezTo>
                      <a:cubicBezTo>
                        <a:pt x="679" y="150"/>
                        <a:pt x="679" y="150"/>
                        <a:pt x="679" y="150"/>
                      </a:cubicBezTo>
                      <a:cubicBezTo>
                        <a:pt x="681" y="151"/>
                        <a:pt x="682" y="153"/>
                        <a:pt x="683" y="154"/>
                      </a:cubicBezTo>
                      <a:cubicBezTo>
                        <a:pt x="681" y="156"/>
                        <a:pt x="681" y="156"/>
                        <a:pt x="681" y="156"/>
                      </a:cubicBezTo>
                      <a:cubicBezTo>
                        <a:pt x="681" y="156"/>
                        <a:pt x="681" y="156"/>
                        <a:pt x="681" y="156"/>
                      </a:cubicBezTo>
                      <a:cubicBezTo>
                        <a:pt x="683" y="155"/>
                        <a:pt x="683" y="155"/>
                        <a:pt x="683" y="155"/>
                      </a:cubicBezTo>
                      <a:cubicBezTo>
                        <a:pt x="684" y="156"/>
                        <a:pt x="686" y="158"/>
                        <a:pt x="687" y="159"/>
                      </a:cubicBezTo>
                      <a:cubicBezTo>
                        <a:pt x="685" y="161"/>
                        <a:pt x="685" y="161"/>
                        <a:pt x="685" y="161"/>
                      </a:cubicBezTo>
                      <a:cubicBezTo>
                        <a:pt x="685" y="161"/>
                        <a:pt x="685" y="161"/>
                        <a:pt x="685" y="161"/>
                      </a:cubicBezTo>
                      <a:cubicBezTo>
                        <a:pt x="687" y="160"/>
                        <a:pt x="687" y="160"/>
                        <a:pt x="687" y="160"/>
                      </a:cubicBezTo>
                      <a:cubicBezTo>
                        <a:pt x="689" y="161"/>
                        <a:pt x="690" y="163"/>
                        <a:pt x="691" y="164"/>
                      </a:cubicBezTo>
                      <a:cubicBezTo>
                        <a:pt x="689" y="166"/>
                        <a:pt x="689" y="166"/>
                        <a:pt x="689" y="166"/>
                      </a:cubicBezTo>
                      <a:cubicBezTo>
                        <a:pt x="689" y="167"/>
                        <a:pt x="689" y="167"/>
                        <a:pt x="689" y="167"/>
                      </a:cubicBezTo>
                      <a:cubicBezTo>
                        <a:pt x="691" y="165"/>
                        <a:pt x="691" y="165"/>
                        <a:pt x="691" y="165"/>
                      </a:cubicBezTo>
                      <a:cubicBezTo>
                        <a:pt x="693" y="166"/>
                        <a:pt x="694" y="168"/>
                        <a:pt x="695" y="170"/>
                      </a:cubicBezTo>
                      <a:cubicBezTo>
                        <a:pt x="693" y="171"/>
                        <a:pt x="693" y="171"/>
                        <a:pt x="693" y="171"/>
                      </a:cubicBezTo>
                      <a:cubicBezTo>
                        <a:pt x="693" y="172"/>
                        <a:pt x="693" y="172"/>
                        <a:pt x="693" y="172"/>
                      </a:cubicBezTo>
                      <a:cubicBezTo>
                        <a:pt x="695" y="170"/>
                        <a:pt x="695" y="170"/>
                        <a:pt x="695" y="170"/>
                      </a:cubicBezTo>
                      <a:cubicBezTo>
                        <a:pt x="696" y="172"/>
                        <a:pt x="698" y="173"/>
                        <a:pt x="699" y="175"/>
                      </a:cubicBezTo>
                      <a:cubicBezTo>
                        <a:pt x="696" y="177"/>
                        <a:pt x="696" y="177"/>
                        <a:pt x="696" y="177"/>
                      </a:cubicBezTo>
                      <a:cubicBezTo>
                        <a:pt x="697" y="177"/>
                        <a:pt x="697" y="177"/>
                        <a:pt x="697" y="177"/>
                      </a:cubicBezTo>
                      <a:cubicBezTo>
                        <a:pt x="699" y="176"/>
                        <a:pt x="699" y="176"/>
                        <a:pt x="699" y="176"/>
                      </a:cubicBezTo>
                      <a:cubicBezTo>
                        <a:pt x="700" y="177"/>
                        <a:pt x="701" y="179"/>
                        <a:pt x="702" y="180"/>
                      </a:cubicBezTo>
                      <a:cubicBezTo>
                        <a:pt x="700" y="182"/>
                        <a:pt x="700" y="182"/>
                        <a:pt x="700" y="182"/>
                      </a:cubicBezTo>
                      <a:cubicBezTo>
                        <a:pt x="700" y="183"/>
                        <a:pt x="700" y="183"/>
                        <a:pt x="700" y="183"/>
                      </a:cubicBezTo>
                      <a:cubicBezTo>
                        <a:pt x="703" y="181"/>
                        <a:pt x="703" y="181"/>
                        <a:pt x="703" y="181"/>
                      </a:cubicBezTo>
                      <a:cubicBezTo>
                        <a:pt x="704" y="183"/>
                        <a:pt x="705" y="184"/>
                        <a:pt x="706" y="186"/>
                      </a:cubicBezTo>
                      <a:cubicBezTo>
                        <a:pt x="704" y="187"/>
                        <a:pt x="704" y="187"/>
                        <a:pt x="704" y="187"/>
                      </a:cubicBezTo>
                      <a:cubicBezTo>
                        <a:pt x="704" y="188"/>
                        <a:pt x="704" y="188"/>
                        <a:pt x="704" y="188"/>
                      </a:cubicBezTo>
                      <a:cubicBezTo>
                        <a:pt x="706" y="186"/>
                        <a:pt x="706" y="186"/>
                        <a:pt x="706" y="186"/>
                      </a:cubicBezTo>
                      <a:cubicBezTo>
                        <a:pt x="707" y="188"/>
                        <a:pt x="709" y="190"/>
                        <a:pt x="710" y="191"/>
                      </a:cubicBezTo>
                      <a:cubicBezTo>
                        <a:pt x="707" y="193"/>
                        <a:pt x="707" y="193"/>
                        <a:pt x="707" y="193"/>
                      </a:cubicBezTo>
                      <a:cubicBezTo>
                        <a:pt x="708" y="194"/>
                        <a:pt x="708" y="194"/>
                        <a:pt x="708" y="194"/>
                      </a:cubicBezTo>
                      <a:cubicBezTo>
                        <a:pt x="710" y="192"/>
                        <a:pt x="710" y="192"/>
                        <a:pt x="710" y="192"/>
                      </a:cubicBezTo>
                      <a:cubicBezTo>
                        <a:pt x="711" y="194"/>
                        <a:pt x="712" y="195"/>
                        <a:pt x="713" y="197"/>
                      </a:cubicBezTo>
                      <a:cubicBezTo>
                        <a:pt x="711" y="198"/>
                        <a:pt x="711" y="198"/>
                        <a:pt x="711" y="198"/>
                      </a:cubicBezTo>
                      <a:cubicBezTo>
                        <a:pt x="711" y="199"/>
                        <a:pt x="711" y="199"/>
                        <a:pt x="711" y="199"/>
                      </a:cubicBezTo>
                      <a:cubicBezTo>
                        <a:pt x="713" y="198"/>
                        <a:pt x="713" y="198"/>
                        <a:pt x="713" y="198"/>
                      </a:cubicBezTo>
                      <a:cubicBezTo>
                        <a:pt x="714" y="199"/>
                        <a:pt x="715" y="201"/>
                        <a:pt x="716" y="202"/>
                      </a:cubicBezTo>
                      <a:cubicBezTo>
                        <a:pt x="711" y="205"/>
                        <a:pt x="711" y="205"/>
                        <a:pt x="711" y="205"/>
                      </a:cubicBezTo>
                      <a:cubicBezTo>
                        <a:pt x="712" y="205"/>
                        <a:pt x="712" y="205"/>
                        <a:pt x="712" y="205"/>
                      </a:cubicBezTo>
                      <a:cubicBezTo>
                        <a:pt x="705" y="209"/>
                        <a:pt x="705" y="209"/>
                        <a:pt x="705" y="209"/>
                      </a:cubicBezTo>
                      <a:cubicBezTo>
                        <a:pt x="705" y="210"/>
                        <a:pt x="705" y="210"/>
                        <a:pt x="705" y="210"/>
                      </a:cubicBezTo>
                      <a:cubicBezTo>
                        <a:pt x="712" y="206"/>
                        <a:pt x="712" y="206"/>
                        <a:pt x="712" y="206"/>
                      </a:cubicBezTo>
                      <a:cubicBezTo>
                        <a:pt x="712" y="206"/>
                        <a:pt x="712" y="206"/>
                        <a:pt x="712" y="206"/>
                      </a:cubicBezTo>
                      <a:cubicBezTo>
                        <a:pt x="717" y="204"/>
                        <a:pt x="717" y="204"/>
                        <a:pt x="717" y="204"/>
                      </a:cubicBezTo>
                      <a:cubicBezTo>
                        <a:pt x="718" y="205"/>
                        <a:pt x="719" y="207"/>
                        <a:pt x="720" y="208"/>
                      </a:cubicBezTo>
                      <a:cubicBezTo>
                        <a:pt x="717" y="210"/>
                        <a:pt x="717" y="210"/>
                        <a:pt x="717" y="210"/>
                      </a:cubicBezTo>
                      <a:cubicBezTo>
                        <a:pt x="717" y="210"/>
                        <a:pt x="717" y="210"/>
                        <a:pt x="717" y="210"/>
                      </a:cubicBezTo>
                      <a:cubicBezTo>
                        <a:pt x="720" y="209"/>
                        <a:pt x="720" y="209"/>
                        <a:pt x="720" y="209"/>
                      </a:cubicBezTo>
                      <a:cubicBezTo>
                        <a:pt x="721" y="211"/>
                        <a:pt x="722" y="212"/>
                        <a:pt x="723" y="214"/>
                      </a:cubicBezTo>
                      <a:cubicBezTo>
                        <a:pt x="720" y="215"/>
                        <a:pt x="720" y="215"/>
                        <a:pt x="720" y="215"/>
                      </a:cubicBezTo>
                      <a:cubicBezTo>
                        <a:pt x="721" y="216"/>
                        <a:pt x="721" y="216"/>
                        <a:pt x="721" y="216"/>
                      </a:cubicBezTo>
                      <a:cubicBezTo>
                        <a:pt x="723" y="215"/>
                        <a:pt x="723" y="215"/>
                        <a:pt x="723" y="215"/>
                      </a:cubicBezTo>
                      <a:cubicBezTo>
                        <a:pt x="724" y="216"/>
                        <a:pt x="725" y="218"/>
                        <a:pt x="726" y="220"/>
                      </a:cubicBezTo>
                      <a:cubicBezTo>
                        <a:pt x="723" y="221"/>
                        <a:pt x="723" y="221"/>
                        <a:pt x="723" y="221"/>
                      </a:cubicBezTo>
                      <a:cubicBezTo>
                        <a:pt x="724" y="222"/>
                        <a:pt x="724" y="222"/>
                        <a:pt x="724" y="222"/>
                      </a:cubicBezTo>
                      <a:cubicBezTo>
                        <a:pt x="726" y="221"/>
                        <a:pt x="726" y="221"/>
                        <a:pt x="726" y="221"/>
                      </a:cubicBezTo>
                      <a:cubicBezTo>
                        <a:pt x="727" y="222"/>
                        <a:pt x="728" y="224"/>
                        <a:pt x="729" y="226"/>
                      </a:cubicBezTo>
                      <a:cubicBezTo>
                        <a:pt x="726" y="227"/>
                        <a:pt x="726" y="227"/>
                        <a:pt x="726" y="227"/>
                      </a:cubicBezTo>
                      <a:cubicBezTo>
                        <a:pt x="726" y="228"/>
                        <a:pt x="726" y="228"/>
                        <a:pt x="726" y="228"/>
                      </a:cubicBezTo>
                      <a:cubicBezTo>
                        <a:pt x="729" y="226"/>
                        <a:pt x="729" y="226"/>
                        <a:pt x="729" y="226"/>
                      </a:cubicBezTo>
                      <a:cubicBezTo>
                        <a:pt x="730" y="228"/>
                        <a:pt x="731" y="230"/>
                        <a:pt x="732" y="232"/>
                      </a:cubicBezTo>
                      <a:cubicBezTo>
                        <a:pt x="729" y="233"/>
                        <a:pt x="729" y="233"/>
                        <a:pt x="729" y="233"/>
                      </a:cubicBezTo>
                      <a:cubicBezTo>
                        <a:pt x="729" y="234"/>
                        <a:pt x="729" y="234"/>
                        <a:pt x="729" y="234"/>
                      </a:cubicBezTo>
                      <a:cubicBezTo>
                        <a:pt x="732" y="232"/>
                        <a:pt x="732" y="232"/>
                        <a:pt x="732" y="232"/>
                      </a:cubicBezTo>
                      <a:cubicBezTo>
                        <a:pt x="733" y="234"/>
                        <a:pt x="734" y="236"/>
                        <a:pt x="734" y="238"/>
                      </a:cubicBezTo>
                      <a:cubicBezTo>
                        <a:pt x="732" y="239"/>
                        <a:pt x="732" y="239"/>
                        <a:pt x="732" y="239"/>
                      </a:cubicBezTo>
                      <a:cubicBezTo>
                        <a:pt x="732" y="240"/>
                        <a:pt x="732" y="240"/>
                        <a:pt x="732" y="240"/>
                      </a:cubicBezTo>
                      <a:cubicBezTo>
                        <a:pt x="735" y="238"/>
                        <a:pt x="735" y="238"/>
                        <a:pt x="735" y="238"/>
                      </a:cubicBezTo>
                      <a:cubicBezTo>
                        <a:pt x="735" y="240"/>
                        <a:pt x="736" y="242"/>
                        <a:pt x="737" y="244"/>
                      </a:cubicBezTo>
                      <a:cubicBezTo>
                        <a:pt x="734" y="245"/>
                        <a:pt x="734" y="245"/>
                        <a:pt x="734" y="245"/>
                      </a:cubicBezTo>
                      <a:cubicBezTo>
                        <a:pt x="735" y="246"/>
                        <a:pt x="735" y="246"/>
                        <a:pt x="735" y="246"/>
                      </a:cubicBezTo>
                      <a:cubicBezTo>
                        <a:pt x="737" y="244"/>
                        <a:pt x="737" y="244"/>
                        <a:pt x="737" y="244"/>
                      </a:cubicBezTo>
                      <a:cubicBezTo>
                        <a:pt x="738" y="246"/>
                        <a:pt x="739" y="248"/>
                        <a:pt x="739" y="250"/>
                      </a:cubicBezTo>
                      <a:cubicBezTo>
                        <a:pt x="737" y="251"/>
                        <a:pt x="737" y="251"/>
                        <a:pt x="737" y="251"/>
                      </a:cubicBezTo>
                      <a:cubicBezTo>
                        <a:pt x="737" y="252"/>
                        <a:pt x="737" y="252"/>
                        <a:pt x="737" y="252"/>
                      </a:cubicBezTo>
                      <a:cubicBezTo>
                        <a:pt x="740" y="250"/>
                        <a:pt x="740" y="250"/>
                        <a:pt x="740" y="250"/>
                      </a:cubicBezTo>
                      <a:cubicBezTo>
                        <a:pt x="740" y="252"/>
                        <a:pt x="741" y="254"/>
                        <a:pt x="742" y="256"/>
                      </a:cubicBezTo>
                      <a:cubicBezTo>
                        <a:pt x="739" y="257"/>
                        <a:pt x="739" y="257"/>
                        <a:pt x="739" y="257"/>
                      </a:cubicBezTo>
                      <a:cubicBezTo>
                        <a:pt x="739" y="258"/>
                        <a:pt x="739" y="258"/>
                        <a:pt x="739" y="258"/>
                      </a:cubicBezTo>
                      <a:cubicBezTo>
                        <a:pt x="742" y="257"/>
                        <a:pt x="742" y="257"/>
                        <a:pt x="742" y="257"/>
                      </a:cubicBezTo>
                      <a:cubicBezTo>
                        <a:pt x="743" y="258"/>
                        <a:pt x="743" y="260"/>
                        <a:pt x="744" y="262"/>
                      </a:cubicBezTo>
                      <a:cubicBezTo>
                        <a:pt x="739" y="263"/>
                        <a:pt x="739" y="263"/>
                        <a:pt x="739" y="263"/>
                      </a:cubicBezTo>
                      <a:cubicBezTo>
                        <a:pt x="739" y="264"/>
                        <a:pt x="739" y="264"/>
                        <a:pt x="739" y="264"/>
                      </a:cubicBezTo>
                      <a:cubicBezTo>
                        <a:pt x="732" y="267"/>
                        <a:pt x="732" y="267"/>
                        <a:pt x="732" y="267"/>
                      </a:cubicBezTo>
                      <a:cubicBezTo>
                        <a:pt x="732" y="267"/>
                        <a:pt x="732" y="267"/>
                        <a:pt x="732" y="267"/>
                      </a:cubicBezTo>
                      <a:cubicBezTo>
                        <a:pt x="739" y="265"/>
                        <a:pt x="739" y="265"/>
                        <a:pt x="739" y="265"/>
                      </a:cubicBezTo>
                      <a:cubicBezTo>
                        <a:pt x="739" y="265"/>
                        <a:pt x="739" y="265"/>
                        <a:pt x="739" y="265"/>
                      </a:cubicBezTo>
                      <a:cubicBezTo>
                        <a:pt x="745" y="263"/>
                        <a:pt x="745" y="263"/>
                        <a:pt x="745" y="263"/>
                      </a:cubicBezTo>
                      <a:cubicBezTo>
                        <a:pt x="745" y="265"/>
                        <a:pt x="746" y="267"/>
                        <a:pt x="746" y="268"/>
                      </a:cubicBezTo>
                      <a:cubicBezTo>
                        <a:pt x="744" y="269"/>
                        <a:pt x="744" y="269"/>
                        <a:pt x="744" y="269"/>
                      </a:cubicBezTo>
                      <a:cubicBezTo>
                        <a:pt x="744" y="270"/>
                        <a:pt x="744" y="270"/>
                        <a:pt x="744" y="270"/>
                      </a:cubicBezTo>
                      <a:cubicBezTo>
                        <a:pt x="747" y="269"/>
                        <a:pt x="747" y="269"/>
                        <a:pt x="747" y="269"/>
                      </a:cubicBezTo>
                      <a:cubicBezTo>
                        <a:pt x="747" y="271"/>
                        <a:pt x="748" y="273"/>
                        <a:pt x="748" y="274"/>
                      </a:cubicBezTo>
                      <a:cubicBezTo>
                        <a:pt x="746" y="275"/>
                        <a:pt x="746" y="275"/>
                        <a:pt x="746" y="275"/>
                      </a:cubicBezTo>
                      <a:cubicBezTo>
                        <a:pt x="746" y="276"/>
                        <a:pt x="746" y="276"/>
                        <a:pt x="746" y="276"/>
                      </a:cubicBezTo>
                      <a:cubicBezTo>
                        <a:pt x="749" y="275"/>
                        <a:pt x="749" y="275"/>
                        <a:pt x="749" y="275"/>
                      </a:cubicBezTo>
                      <a:cubicBezTo>
                        <a:pt x="749" y="277"/>
                        <a:pt x="750" y="279"/>
                        <a:pt x="750" y="281"/>
                      </a:cubicBezTo>
                      <a:cubicBezTo>
                        <a:pt x="748" y="282"/>
                        <a:pt x="748" y="282"/>
                        <a:pt x="748" y="282"/>
                      </a:cubicBezTo>
                      <a:cubicBezTo>
                        <a:pt x="748" y="282"/>
                        <a:pt x="748" y="282"/>
                        <a:pt x="748" y="282"/>
                      </a:cubicBezTo>
                      <a:cubicBezTo>
                        <a:pt x="751" y="281"/>
                        <a:pt x="751" y="281"/>
                        <a:pt x="751" y="281"/>
                      </a:cubicBezTo>
                      <a:cubicBezTo>
                        <a:pt x="751" y="283"/>
                        <a:pt x="752" y="285"/>
                        <a:pt x="752" y="287"/>
                      </a:cubicBezTo>
                      <a:cubicBezTo>
                        <a:pt x="749" y="288"/>
                        <a:pt x="749" y="288"/>
                        <a:pt x="749" y="288"/>
                      </a:cubicBezTo>
                      <a:cubicBezTo>
                        <a:pt x="750" y="289"/>
                        <a:pt x="750" y="289"/>
                        <a:pt x="750" y="289"/>
                      </a:cubicBezTo>
                      <a:cubicBezTo>
                        <a:pt x="753" y="288"/>
                        <a:pt x="753" y="288"/>
                        <a:pt x="753" y="288"/>
                      </a:cubicBezTo>
                      <a:cubicBezTo>
                        <a:pt x="753" y="290"/>
                        <a:pt x="754" y="291"/>
                        <a:pt x="754" y="293"/>
                      </a:cubicBezTo>
                      <a:cubicBezTo>
                        <a:pt x="751" y="294"/>
                        <a:pt x="751" y="294"/>
                        <a:pt x="751" y="294"/>
                      </a:cubicBezTo>
                      <a:cubicBezTo>
                        <a:pt x="751" y="295"/>
                        <a:pt x="751" y="295"/>
                        <a:pt x="751" y="295"/>
                      </a:cubicBezTo>
                      <a:cubicBezTo>
                        <a:pt x="754" y="294"/>
                        <a:pt x="754" y="294"/>
                        <a:pt x="754" y="294"/>
                      </a:cubicBezTo>
                      <a:cubicBezTo>
                        <a:pt x="755" y="296"/>
                        <a:pt x="755" y="298"/>
                        <a:pt x="756" y="300"/>
                      </a:cubicBezTo>
                      <a:cubicBezTo>
                        <a:pt x="753" y="300"/>
                        <a:pt x="753" y="300"/>
                        <a:pt x="753" y="300"/>
                      </a:cubicBezTo>
                      <a:cubicBezTo>
                        <a:pt x="753" y="301"/>
                        <a:pt x="753" y="301"/>
                        <a:pt x="753" y="301"/>
                      </a:cubicBezTo>
                      <a:cubicBezTo>
                        <a:pt x="756" y="300"/>
                        <a:pt x="756" y="300"/>
                        <a:pt x="756" y="300"/>
                      </a:cubicBezTo>
                      <a:cubicBezTo>
                        <a:pt x="756" y="302"/>
                        <a:pt x="757" y="304"/>
                        <a:pt x="757" y="306"/>
                      </a:cubicBezTo>
                      <a:cubicBezTo>
                        <a:pt x="754" y="307"/>
                        <a:pt x="754" y="307"/>
                        <a:pt x="754" y="307"/>
                      </a:cubicBezTo>
                      <a:cubicBezTo>
                        <a:pt x="755" y="308"/>
                        <a:pt x="755" y="308"/>
                        <a:pt x="755" y="308"/>
                      </a:cubicBezTo>
                      <a:cubicBezTo>
                        <a:pt x="758" y="307"/>
                        <a:pt x="758" y="307"/>
                        <a:pt x="758" y="307"/>
                      </a:cubicBezTo>
                      <a:cubicBezTo>
                        <a:pt x="758" y="309"/>
                        <a:pt x="758" y="311"/>
                        <a:pt x="759" y="313"/>
                      </a:cubicBezTo>
                      <a:cubicBezTo>
                        <a:pt x="756" y="313"/>
                        <a:pt x="756" y="313"/>
                        <a:pt x="756" y="313"/>
                      </a:cubicBezTo>
                      <a:cubicBezTo>
                        <a:pt x="756" y="314"/>
                        <a:pt x="756" y="314"/>
                        <a:pt x="756" y="314"/>
                      </a:cubicBezTo>
                      <a:cubicBezTo>
                        <a:pt x="759" y="313"/>
                        <a:pt x="759" y="313"/>
                        <a:pt x="759" y="313"/>
                      </a:cubicBezTo>
                      <a:cubicBezTo>
                        <a:pt x="759" y="315"/>
                        <a:pt x="760" y="317"/>
                        <a:pt x="760" y="319"/>
                      </a:cubicBezTo>
                      <a:cubicBezTo>
                        <a:pt x="757" y="320"/>
                        <a:pt x="757" y="320"/>
                        <a:pt x="757" y="320"/>
                      </a:cubicBezTo>
                      <a:cubicBezTo>
                        <a:pt x="757" y="320"/>
                        <a:pt x="757" y="320"/>
                        <a:pt x="757" y="320"/>
                      </a:cubicBezTo>
                      <a:cubicBezTo>
                        <a:pt x="760" y="320"/>
                        <a:pt x="760" y="320"/>
                        <a:pt x="760" y="320"/>
                      </a:cubicBezTo>
                      <a:cubicBezTo>
                        <a:pt x="761" y="321"/>
                        <a:pt x="761" y="323"/>
                        <a:pt x="761" y="325"/>
                      </a:cubicBezTo>
                      <a:cubicBezTo>
                        <a:pt x="756" y="326"/>
                        <a:pt x="756" y="326"/>
                        <a:pt x="756" y="326"/>
                      </a:cubicBezTo>
                      <a:cubicBezTo>
                        <a:pt x="756" y="326"/>
                        <a:pt x="756" y="326"/>
                        <a:pt x="756" y="326"/>
                      </a:cubicBezTo>
                      <a:cubicBezTo>
                        <a:pt x="748" y="328"/>
                        <a:pt x="748" y="328"/>
                        <a:pt x="748" y="328"/>
                      </a:cubicBezTo>
                      <a:cubicBezTo>
                        <a:pt x="748" y="328"/>
                        <a:pt x="748" y="328"/>
                        <a:pt x="748" y="328"/>
                      </a:cubicBezTo>
                      <a:cubicBezTo>
                        <a:pt x="756" y="327"/>
                        <a:pt x="756" y="327"/>
                        <a:pt x="756" y="327"/>
                      </a:cubicBezTo>
                      <a:cubicBezTo>
                        <a:pt x="756" y="328"/>
                        <a:pt x="756" y="328"/>
                        <a:pt x="756" y="328"/>
                      </a:cubicBezTo>
                      <a:cubicBezTo>
                        <a:pt x="761" y="327"/>
                        <a:pt x="761" y="327"/>
                        <a:pt x="761" y="327"/>
                      </a:cubicBezTo>
                      <a:cubicBezTo>
                        <a:pt x="762" y="328"/>
                        <a:pt x="762" y="330"/>
                        <a:pt x="762" y="332"/>
                      </a:cubicBezTo>
                      <a:cubicBezTo>
                        <a:pt x="759" y="332"/>
                        <a:pt x="759" y="332"/>
                        <a:pt x="759" y="332"/>
                      </a:cubicBezTo>
                      <a:cubicBezTo>
                        <a:pt x="759" y="333"/>
                        <a:pt x="759" y="333"/>
                        <a:pt x="759" y="333"/>
                      </a:cubicBezTo>
                      <a:cubicBezTo>
                        <a:pt x="762" y="333"/>
                        <a:pt x="762" y="333"/>
                        <a:pt x="762" y="333"/>
                      </a:cubicBezTo>
                      <a:cubicBezTo>
                        <a:pt x="763" y="335"/>
                        <a:pt x="763" y="336"/>
                        <a:pt x="763" y="338"/>
                      </a:cubicBezTo>
                      <a:cubicBezTo>
                        <a:pt x="760" y="339"/>
                        <a:pt x="760" y="339"/>
                        <a:pt x="760" y="339"/>
                      </a:cubicBezTo>
                      <a:cubicBezTo>
                        <a:pt x="760" y="340"/>
                        <a:pt x="760" y="340"/>
                        <a:pt x="760" y="340"/>
                      </a:cubicBezTo>
                      <a:cubicBezTo>
                        <a:pt x="763" y="339"/>
                        <a:pt x="763" y="339"/>
                        <a:pt x="763" y="339"/>
                      </a:cubicBezTo>
                      <a:cubicBezTo>
                        <a:pt x="764" y="341"/>
                        <a:pt x="764" y="343"/>
                        <a:pt x="764" y="345"/>
                      </a:cubicBezTo>
                      <a:cubicBezTo>
                        <a:pt x="761" y="345"/>
                        <a:pt x="761" y="345"/>
                        <a:pt x="761" y="345"/>
                      </a:cubicBezTo>
                      <a:cubicBezTo>
                        <a:pt x="761" y="346"/>
                        <a:pt x="761" y="346"/>
                        <a:pt x="761" y="346"/>
                      </a:cubicBezTo>
                      <a:cubicBezTo>
                        <a:pt x="764" y="346"/>
                        <a:pt x="764" y="346"/>
                        <a:pt x="764" y="346"/>
                      </a:cubicBezTo>
                      <a:cubicBezTo>
                        <a:pt x="765" y="348"/>
                        <a:pt x="765" y="350"/>
                        <a:pt x="765" y="351"/>
                      </a:cubicBezTo>
                      <a:cubicBezTo>
                        <a:pt x="762" y="352"/>
                        <a:pt x="762" y="352"/>
                        <a:pt x="762" y="352"/>
                      </a:cubicBezTo>
                      <a:cubicBezTo>
                        <a:pt x="762" y="353"/>
                        <a:pt x="762" y="353"/>
                        <a:pt x="762" y="353"/>
                      </a:cubicBezTo>
                      <a:cubicBezTo>
                        <a:pt x="765" y="352"/>
                        <a:pt x="765" y="352"/>
                        <a:pt x="765" y="352"/>
                      </a:cubicBezTo>
                      <a:cubicBezTo>
                        <a:pt x="765" y="354"/>
                        <a:pt x="765" y="356"/>
                        <a:pt x="766" y="358"/>
                      </a:cubicBezTo>
                      <a:cubicBezTo>
                        <a:pt x="763" y="358"/>
                        <a:pt x="763" y="358"/>
                        <a:pt x="763" y="358"/>
                      </a:cubicBezTo>
                      <a:cubicBezTo>
                        <a:pt x="763" y="359"/>
                        <a:pt x="763" y="359"/>
                        <a:pt x="763" y="359"/>
                      </a:cubicBezTo>
                      <a:cubicBezTo>
                        <a:pt x="766" y="359"/>
                        <a:pt x="766" y="359"/>
                        <a:pt x="766" y="359"/>
                      </a:cubicBezTo>
                      <a:cubicBezTo>
                        <a:pt x="766" y="361"/>
                        <a:pt x="766" y="363"/>
                        <a:pt x="766" y="365"/>
                      </a:cubicBezTo>
                      <a:cubicBezTo>
                        <a:pt x="763" y="365"/>
                        <a:pt x="763" y="365"/>
                        <a:pt x="763" y="365"/>
                      </a:cubicBezTo>
                      <a:cubicBezTo>
                        <a:pt x="763" y="366"/>
                        <a:pt x="763" y="366"/>
                        <a:pt x="763" y="366"/>
                      </a:cubicBezTo>
                      <a:cubicBezTo>
                        <a:pt x="766" y="365"/>
                        <a:pt x="766" y="365"/>
                        <a:pt x="766" y="365"/>
                      </a:cubicBezTo>
                      <a:cubicBezTo>
                        <a:pt x="766" y="367"/>
                        <a:pt x="766" y="369"/>
                        <a:pt x="766" y="371"/>
                      </a:cubicBezTo>
                      <a:cubicBezTo>
                        <a:pt x="763" y="371"/>
                        <a:pt x="763" y="371"/>
                        <a:pt x="763" y="371"/>
                      </a:cubicBezTo>
                      <a:cubicBezTo>
                        <a:pt x="764" y="372"/>
                        <a:pt x="764" y="372"/>
                        <a:pt x="764" y="372"/>
                      </a:cubicBezTo>
                      <a:cubicBezTo>
                        <a:pt x="767" y="372"/>
                        <a:pt x="767" y="372"/>
                        <a:pt x="767" y="372"/>
                      </a:cubicBezTo>
                      <a:cubicBezTo>
                        <a:pt x="767" y="374"/>
                        <a:pt x="767" y="376"/>
                        <a:pt x="767" y="378"/>
                      </a:cubicBezTo>
                      <a:cubicBezTo>
                        <a:pt x="764" y="378"/>
                        <a:pt x="764" y="378"/>
                        <a:pt x="764" y="378"/>
                      </a:cubicBezTo>
                      <a:cubicBezTo>
                        <a:pt x="764" y="379"/>
                        <a:pt x="764" y="379"/>
                        <a:pt x="764" y="379"/>
                      </a:cubicBezTo>
                      <a:cubicBezTo>
                        <a:pt x="767" y="378"/>
                        <a:pt x="767" y="378"/>
                        <a:pt x="767" y="378"/>
                      </a:cubicBezTo>
                      <a:cubicBezTo>
                        <a:pt x="767" y="380"/>
                        <a:pt x="767" y="382"/>
                        <a:pt x="767" y="384"/>
                      </a:cubicBezTo>
                      <a:cubicBezTo>
                        <a:pt x="764" y="384"/>
                        <a:pt x="764" y="384"/>
                        <a:pt x="764" y="384"/>
                      </a:cubicBezTo>
                      <a:cubicBezTo>
                        <a:pt x="764" y="385"/>
                        <a:pt x="764" y="385"/>
                        <a:pt x="764" y="385"/>
                      </a:cubicBezTo>
                      <a:cubicBezTo>
                        <a:pt x="767" y="385"/>
                        <a:pt x="767" y="385"/>
                        <a:pt x="767" y="385"/>
                      </a:cubicBezTo>
                      <a:cubicBezTo>
                        <a:pt x="767" y="387"/>
                        <a:pt x="767" y="389"/>
                        <a:pt x="767" y="390"/>
                      </a:cubicBezTo>
                      <a:cubicBezTo>
                        <a:pt x="762" y="390"/>
                        <a:pt x="762" y="390"/>
                        <a:pt x="762" y="390"/>
                      </a:cubicBezTo>
                      <a:cubicBezTo>
                        <a:pt x="762" y="391"/>
                        <a:pt x="762" y="391"/>
                        <a:pt x="762" y="391"/>
                      </a:cubicBezTo>
                      <a:cubicBezTo>
                        <a:pt x="754" y="391"/>
                        <a:pt x="754" y="391"/>
                        <a:pt x="754" y="391"/>
                      </a:cubicBezTo>
                      <a:cubicBezTo>
                        <a:pt x="754" y="392"/>
                        <a:pt x="754" y="392"/>
                        <a:pt x="754" y="392"/>
                      </a:cubicBezTo>
                      <a:cubicBezTo>
                        <a:pt x="762" y="392"/>
                        <a:pt x="762" y="392"/>
                        <a:pt x="762" y="392"/>
                      </a:cubicBezTo>
                      <a:cubicBezTo>
                        <a:pt x="762" y="392"/>
                        <a:pt x="762" y="392"/>
                        <a:pt x="762" y="392"/>
                      </a:cubicBezTo>
                      <a:cubicBezTo>
                        <a:pt x="767" y="392"/>
                        <a:pt x="767" y="392"/>
                        <a:pt x="767" y="392"/>
                      </a:cubicBezTo>
                      <a:cubicBezTo>
                        <a:pt x="767" y="394"/>
                        <a:pt x="767" y="396"/>
                        <a:pt x="767" y="397"/>
                      </a:cubicBezTo>
                      <a:close/>
                    </a:path>
                  </a:pathLst>
                </a:custGeom>
                <a:solidFill>
                  <a:srgbClr val="01AAE5"/>
                </a:solidFill>
                <a:ln>
                  <a:noFill/>
                </a:ln>
                <a:extLst/>
              </p:spPr>
              <p:txBody>
                <a:bodyPr/>
                <a:lstStyle/>
                <a:p>
                  <a:pPr eaLnBrk="1" hangingPunct="1">
                    <a:defRPr/>
                  </a:pPr>
                  <a:endParaRPr lang="zh-CN" altLang="en-US" sz="1050"/>
                </a:p>
              </p:txBody>
            </p:sp>
          </p:grpSp>
        </p:grpSp>
        <p:grpSp>
          <p:nvGrpSpPr>
            <p:cNvPr id="11" name="组合 2256"/>
            <p:cNvGrpSpPr/>
            <p:nvPr/>
          </p:nvGrpSpPr>
          <p:grpSpPr>
            <a:xfrm>
              <a:off x="1336433" y="3789834"/>
              <a:ext cx="1872208" cy="2279207"/>
              <a:chOff x="1201043" y="1413570"/>
              <a:chExt cx="1584176" cy="1928560"/>
            </a:xfrm>
          </p:grpSpPr>
          <p:sp>
            <p:nvSpPr>
              <p:cNvPr id="2258" name="Freeform 17"/>
              <p:cNvSpPr>
                <a:spLocks/>
              </p:cNvSpPr>
              <p:nvPr/>
            </p:nvSpPr>
            <p:spPr bwMode="auto">
              <a:xfrm>
                <a:off x="1201043" y="1602605"/>
                <a:ext cx="1584176" cy="1739525"/>
              </a:xfrm>
              <a:custGeom>
                <a:avLst/>
                <a:gdLst>
                  <a:gd name="T0" fmla="*/ 0 w 554"/>
                  <a:gd name="T1" fmla="*/ 0 h 851"/>
                  <a:gd name="T2" fmla="*/ 0 w 554"/>
                  <a:gd name="T3" fmla="*/ 851 h 851"/>
                  <a:gd name="T4" fmla="*/ 554 w 554"/>
                  <a:gd name="T5" fmla="*/ 780 h 851"/>
                  <a:gd name="T6" fmla="*/ 554 w 554"/>
                  <a:gd name="T7" fmla="*/ 71 h 851"/>
                  <a:gd name="T8" fmla="*/ 389 w 554"/>
                  <a:gd name="T9" fmla="*/ 50 h 851"/>
                  <a:gd name="T10" fmla="*/ 277 w 554"/>
                  <a:gd name="T11" fmla="*/ 146 h 851"/>
                  <a:gd name="T12" fmla="*/ 161 w 554"/>
                  <a:gd name="T13" fmla="*/ 21 h 851"/>
                  <a:gd name="T14" fmla="*/ 0 w 554"/>
                  <a:gd name="T15" fmla="*/ 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851">
                    <a:moveTo>
                      <a:pt x="0" y="0"/>
                    </a:moveTo>
                    <a:cubicBezTo>
                      <a:pt x="0" y="726"/>
                      <a:pt x="0" y="851"/>
                      <a:pt x="0" y="851"/>
                    </a:cubicBezTo>
                    <a:cubicBezTo>
                      <a:pt x="554" y="780"/>
                      <a:pt x="554" y="780"/>
                      <a:pt x="554" y="780"/>
                    </a:cubicBezTo>
                    <a:cubicBezTo>
                      <a:pt x="554" y="196"/>
                      <a:pt x="554" y="71"/>
                      <a:pt x="554" y="71"/>
                    </a:cubicBezTo>
                    <a:cubicBezTo>
                      <a:pt x="389" y="50"/>
                      <a:pt x="389" y="50"/>
                      <a:pt x="389" y="50"/>
                    </a:cubicBezTo>
                    <a:cubicBezTo>
                      <a:pt x="377" y="105"/>
                      <a:pt x="331" y="146"/>
                      <a:pt x="277" y="146"/>
                    </a:cubicBezTo>
                    <a:cubicBezTo>
                      <a:pt x="213" y="146"/>
                      <a:pt x="161" y="90"/>
                      <a:pt x="161" y="21"/>
                    </a:cubicBezTo>
                    <a:cubicBezTo>
                      <a:pt x="0" y="0"/>
                      <a:pt x="0" y="0"/>
                      <a:pt x="0" y="0"/>
                    </a:cubicBezTo>
                  </a:path>
                </a:pathLst>
              </a:custGeom>
              <a:solidFill>
                <a:srgbClr val="0070C0">
                  <a:alpha val="40000"/>
                </a:srgbClr>
              </a:solidFill>
              <a:ln w="1270" cap="flat">
                <a:noFill/>
                <a:prstDash val="solid"/>
                <a:bevel/>
              </a:ln>
              <a:effectLst/>
              <a:extLst/>
            </p:spPr>
            <p:txBody>
              <a:bodyPr lIns="0" tIns="0" rIns="0" bIns="0" anchor="ctr"/>
              <a:lstStyle/>
              <a:p>
                <a:pPr algn="ctr" defTabSz="826472" eaLnBrk="1" hangingPunct="1">
                  <a:defRPr/>
                </a:pPr>
                <a:endParaRPr lang="zh-CN" altLang="en-US" sz="1200">
                  <a:solidFill>
                    <a:schemeClr val="bg1"/>
                  </a:solidFill>
                  <a:effectLst>
                    <a:outerShdw blurRad="38100" dist="38100" dir="2700000" algn="tl">
                      <a:srgbClr val="000000">
                        <a:alpha val="43137"/>
                      </a:srgbClr>
                    </a:outerShdw>
                  </a:effectLst>
                </a:endParaRPr>
              </a:p>
            </p:txBody>
          </p:sp>
          <p:grpSp>
            <p:nvGrpSpPr>
              <p:cNvPr id="13" name="组合 11"/>
              <p:cNvGrpSpPr>
                <a:grpSpLocks/>
              </p:cNvGrpSpPr>
              <p:nvPr/>
            </p:nvGrpSpPr>
            <p:grpSpPr bwMode="auto">
              <a:xfrm>
                <a:off x="1689862" y="1413570"/>
                <a:ext cx="591426" cy="565318"/>
                <a:chOff x="15841663" y="2584450"/>
                <a:chExt cx="2933700" cy="2936875"/>
              </a:xfrm>
            </p:grpSpPr>
            <p:grpSp>
              <p:nvGrpSpPr>
                <p:cNvPr id="14" name="Group 1310"/>
                <p:cNvGrpSpPr>
                  <a:grpSpLocks/>
                </p:cNvGrpSpPr>
                <p:nvPr/>
              </p:nvGrpSpPr>
              <p:grpSpPr bwMode="auto">
                <a:xfrm>
                  <a:off x="17581563" y="2936875"/>
                  <a:ext cx="869950" cy="1055688"/>
                  <a:chOff x="11075" y="1850"/>
                  <a:chExt cx="548" cy="665"/>
                </a:xfrm>
              </p:grpSpPr>
              <p:sp>
                <p:nvSpPr>
                  <p:cNvPr id="3161" name="Freeform 1110"/>
                  <p:cNvSpPr>
                    <a:spLocks/>
                  </p:cNvSpPr>
                  <p:nvPr/>
                </p:nvSpPr>
                <p:spPr bwMode="auto">
                  <a:xfrm>
                    <a:off x="11530" y="2203"/>
                    <a:ext cx="8" cy="9"/>
                  </a:xfrm>
                  <a:custGeom>
                    <a:avLst/>
                    <a:gdLst>
                      <a:gd name="T0" fmla="*/ 0 w 5"/>
                      <a:gd name="T1" fmla="*/ 4 h 4"/>
                      <a:gd name="T2" fmla="*/ 5 w 5"/>
                      <a:gd name="T3" fmla="*/ 2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2"/>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162" name="Freeform 1111"/>
                  <p:cNvSpPr>
                    <a:spLocks/>
                  </p:cNvSpPr>
                  <p:nvPr/>
                </p:nvSpPr>
                <p:spPr bwMode="auto">
                  <a:xfrm>
                    <a:off x="11521" y="2194"/>
                    <a:ext cx="8" cy="9"/>
                  </a:xfrm>
                  <a:custGeom>
                    <a:avLst/>
                    <a:gdLst>
                      <a:gd name="T0" fmla="*/ 2 w 7"/>
                      <a:gd name="T1" fmla="*/ 2 h 2"/>
                      <a:gd name="T2" fmla="*/ 7 w 7"/>
                      <a:gd name="T3" fmla="*/ 0 h 2"/>
                      <a:gd name="T4" fmla="*/ 7 w 7"/>
                      <a:gd name="T5" fmla="*/ 0 h 2"/>
                      <a:gd name="T6" fmla="*/ 0 w 7"/>
                      <a:gd name="T7" fmla="*/ 2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lnTo>
                          <a:pt x="7" y="0"/>
                        </a:lnTo>
                        <a:lnTo>
                          <a:pt x="7" y="0"/>
                        </a:lnTo>
                        <a:lnTo>
                          <a:pt x="0" y="2"/>
                        </a:lnTo>
                        <a:lnTo>
                          <a:pt x="2" y="2"/>
                        </a:lnTo>
                        <a:close/>
                      </a:path>
                    </a:pathLst>
                  </a:custGeom>
                  <a:solidFill>
                    <a:srgbClr val="01AAE5"/>
                  </a:solidFill>
                  <a:ln>
                    <a:noFill/>
                  </a:ln>
                  <a:extLst/>
                </p:spPr>
                <p:txBody>
                  <a:bodyPr/>
                  <a:lstStyle/>
                  <a:p>
                    <a:pPr eaLnBrk="1" hangingPunct="1">
                      <a:defRPr/>
                    </a:pPr>
                    <a:endParaRPr lang="zh-CN" altLang="en-US" sz="1050"/>
                  </a:p>
                </p:txBody>
              </p:sp>
              <p:sp>
                <p:nvSpPr>
                  <p:cNvPr id="3163" name="Freeform 1112"/>
                  <p:cNvSpPr>
                    <a:spLocks/>
                  </p:cNvSpPr>
                  <p:nvPr/>
                </p:nvSpPr>
                <p:spPr bwMode="auto">
                  <a:xfrm>
                    <a:off x="11521" y="2203"/>
                    <a:ext cx="17" cy="0"/>
                  </a:xfrm>
                  <a:custGeom>
                    <a:avLst/>
                    <a:gdLst>
                      <a:gd name="T0" fmla="*/ 0 w 7"/>
                      <a:gd name="T1" fmla="*/ 5 h 5"/>
                      <a:gd name="T2" fmla="*/ 7 w 7"/>
                      <a:gd name="T3" fmla="*/ 0 h 5"/>
                      <a:gd name="T4" fmla="*/ 5 w 7"/>
                      <a:gd name="T5" fmla="*/ 0 h 5"/>
                      <a:gd name="T6" fmla="*/ 0 w 7"/>
                      <a:gd name="T7" fmla="*/ 3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64" name="Freeform 1113"/>
                  <p:cNvSpPr>
                    <a:spLocks/>
                  </p:cNvSpPr>
                  <p:nvPr/>
                </p:nvSpPr>
                <p:spPr bwMode="auto">
                  <a:xfrm>
                    <a:off x="11538" y="2212"/>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165" name="Freeform 1114"/>
                  <p:cNvSpPr>
                    <a:spLocks/>
                  </p:cNvSpPr>
                  <p:nvPr/>
                </p:nvSpPr>
                <p:spPr bwMode="auto">
                  <a:xfrm>
                    <a:off x="11521" y="2194"/>
                    <a:ext cx="8" cy="0"/>
                  </a:xfrm>
                  <a:custGeom>
                    <a:avLst/>
                    <a:gdLst>
                      <a:gd name="T0" fmla="*/ 0 w 4"/>
                      <a:gd name="T1" fmla="*/ 5 h 5"/>
                      <a:gd name="T2" fmla="*/ 4 w 4"/>
                      <a:gd name="T3" fmla="*/ 2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66" name="Freeform 1115"/>
                  <p:cNvSpPr>
                    <a:spLocks/>
                  </p:cNvSpPr>
                  <p:nvPr/>
                </p:nvSpPr>
                <p:spPr bwMode="auto">
                  <a:xfrm>
                    <a:off x="11538" y="2212"/>
                    <a:ext cx="0" cy="0"/>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67" name="Freeform 1116"/>
                  <p:cNvSpPr>
                    <a:spLocks/>
                  </p:cNvSpPr>
                  <p:nvPr/>
                </p:nvSpPr>
                <p:spPr bwMode="auto">
                  <a:xfrm>
                    <a:off x="11530" y="2212"/>
                    <a:ext cx="8" cy="0"/>
                  </a:xfrm>
                  <a:custGeom>
                    <a:avLst/>
                    <a:gdLst>
                      <a:gd name="T0" fmla="*/ 0 w 7"/>
                      <a:gd name="T1" fmla="*/ 4 h 4"/>
                      <a:gd name="T2" fmla="*/ 7 w 7"/>
                      <a:gd name="T3" fmla="*/ 0 h 4"/>
                      <a:gd name="T4" fmla="*/ 7 w 7"/>
                      <a:gd name="T5" fmla="*/ 0 h 4"/>
                      <a:gd name="T6" fmla="*/ 0 w 7"/>
                      <a:gd name="T7" fmla="*/ 2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7" y="0"/>
                        </a:lnTo>
                        <a:lnTo>
                          <a:pt x="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3168" name="Freeform 1117"/>
                  <p:cNvSpPr>
                    <a:spLocks/>
                  </p:cNvSpPr>
                  <p:nvPr/>
                </p:nvSpPr>
                <p:spPr bwMode="auto">
                  <a:xfrm>
                    <a:off x="11505" y="2159"/>
                    <a:ext cx="8" cy="9"/>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69" name="Freeform 1118"/>
                  <p:cNvSpPr>
                    <a:spLocks/>
                  </p:cNvSpPr>
                  <p:nvPr/>
                </p:nvSpPr>
                <p:spPr bwMode="auto">
                  <a:xfrm>
                    <a:off x="11505" y="2168"/>
                    <a:ext cx="17" cy="9"/>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3170" name="Freeform 1119"/>
                  <p:cNvSpPr>
                    <a:spLocks/>
                  </p:cNvSpPr>
                  <p:nvPr/>
                </p:nvSpPr>
                <p:spPr bwMode="auto">
                  <a:xfrm>
                    <a:off x="11513" y="2168"/>
                    <a:ext cx="8" cy="9"/>
                  </a:xfrm>
                  <a:custGeom>
                    <a:avLst/>
                    <a:gdLst>
                      <a:gd name="T0" fmla="*/ 0 w 7"/>
                      <a:gd name="T1" fmla="*/ 5 h 5"/>
                      <a:gd name="T2" fmla="*/ 7 w 7"/>
                      <a:gd name="T3" fmla="*/ 0 h 5"/>
                      <a:gd name="T4" fmla="*/ 5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71" name="Freeform 1120"/>
                  <p:cNvSpPr>
                    <a:spLocks/>
                  </p:cNvSpPr>
                  <p:nvPr/>
                </p:nvSpPr>
                <p:spPr bwMode="auto">
                  <a:xfrm>
                    <a:off x="11513" y="2177"/>
                    <a:ext cx="8" cy="0"/>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72" name="Freeform 1121"/>
                  <p:cNvSpPr>
                    <a:spLocks/>
                  </p:cNvSpPr>
                  <p:nvPr/>
                </p:nvSpPr>
                <p:spPr bwMode="auto">
                  <a:xfrm>
                    <a:off x="11521" y="2177"/>
                    <a:ext cx="0"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173" name="Freeform 1122"/>
                  <p:cNvSpPr>
                    <a:spLocks/>
                  </p:cNvSpPr>
                  <p:nvPr/>
                </p:nvSpPr>
                <p:spPr bwMode="auto">
                  <a:xfrm>
                    <a:off x="11505" y="2168"/>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174" name="Freeform 1123"/>
                  <p:cNvSpPr>
                    <a:spLocks/>
                  </p:cNvSpPr>
                  <p:nvPr/>
                </p:nvSpPr>
                <p:spPr bwMode="auto">
                  <a:xfrm>
                    <a:off x="11521" y="2177"/>
                    <a:ext cx="0" cy="9"/>
                  </a:xfrm>
                  <a:custGeom>
                    <a:avLst/>
                    <a:gdLst>
                      <a:gd name="T0" fmla="*/ 0 w 8"/>
                      <a:gd name="T1" fmla="*/ 4 h 4"/>
                      <a:gd name="T2" fmla="*/ 8 w 8"/>
                      <a:gd name="T3" fmla="*/ 2 h 4"/>
                      <a:gd name="T4" fmla="*/ 8 w 8"/>
                      <a:gd name="T5" fmla="*/ 0 h 4"/>
                      <a:gd name="T6" fmla="*/ 0 w 8"/>
                      <a:gd name="T7" fmla="*/ 4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lnTo>
                          <a:pt x="8" y="2"/>
                        </a:lnTo>
                        <a:lnTo>
                          <a:pt x="8"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175" name="Freeform 1124"/>
                  <p:cNvSpPr>
                    <a:spLocks/>
                  </p:cNvSpPr>
                  <p:nvPr/>
                </p:nvSpPr>
                <p:spPr bwMode="auto">
                  <a:xfrm>
                    <a:off x="11521" y="2186"/>
                    <a:ext cx="0" cy="0"/>
                  </a:xfrm>
                  <a:custGeom>
                    <a:avLst/>
                    <a:gdLst>
                      <a:gd name="T0" fmla="*/ 0 w 7"/>
                      <a:gd name="T1" fmla="*/ 3 h 3"/>
                      <a:gd name="T2" fmla="*/ 7 w 7"/>
                      <a:gd name="T3" fmla="*/ 0 h 3"/>
                      <a:gd name="T4" fmla="*/ 5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3176" name="Freeform 1125"/>
                  <p:cNvSpPr>
                    <a:spLocks/>
                  </p:cNvSpPr>
                  <p:nvPr/>
                </p:nvSpPr>
                <p:spPr bwMode="auto">
                  <a:xfrm>
                    <a:off x="11521" y="2186"/>
                    <a:ext cx="0" cy="9"/>
                  </a:xfrm>
                  <a:custGeom>
                    <a:avLst/>
                    <a:gdLst>
                      <a:gd name="T0" fmla="*/ 0 w 5"/>
                      <a:gd name="T1" fmla="*/ 4 h 4"/>
                      <a:gd name="T2" fmla="*/ 5 w 5"/>
                      <a:gd name="T3" fmla="*/ 0 h 4"/>
                      <a:gd name="T4" fmla="*/ 5 w 5"/>
                      <a:gd name="T5" fmla="*/ 0 h 4"/>
                      <a:gd name="T6" fmla="*/ 0 w 5"/>
                      <a:gd name="T7" fmla="*/ 2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3177" name="Freeform 1126"/>
                  <p:cNvSpPr>
                    <a:spLocks/>
                  </p:cNvSpPr>
                  <p:nvPr/>
                </p:nvSpPr>
                <p:spPr bwMode="auto">
                  <a:xfrm>
                    <a:off x="11521" y="2177"/>
                    <a:ext cx="0" cy="9"/>
                  </a:xfrm>
                  <a:custGeom>
                    <a:avLst/>
                    <a:gdLst>
                      <a:gd name="T0" fmla="*/ 0 w 5"/>
                      <a:gd name="T1" fmla="*/ 5 h 5"/>
                      <a:gd name="T2" fmla="*/ 5 w 5"/>
                      <a:gd name="T3" fmla="*/ 0 h 5"/>
                      <a:gd name="T4" fmla="*/ 5 w 5"/>
                      <a:gd name="T5" fmla="*/ 0 h 5"/>
                      <a:gd name="T6" fmla="*/ 0 w 5"/>
                      <a:gd name="T7" fmla="*/ 3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78" name="Freeform 1127"/>
                  <p:cNvSpPr>
                    <a:spLocks/>
                  </p:cNvSpPr>
                  <p:nvPr/>
                </p:nvSpPr>
                <p:spPr bwMode="auto">
                  <a:xfrm>
                    <a:off x="11530" y="2212"/>
                    <a:ext cx="8" cy="0"/>
                  </a:xfrm>
                  <a:custGeom>
                    <a:avLst/>
                    <a:gdLst>
                      <a:gd name="T0" fmla="*/ 0 w 4"/>
                      <a:gd name="T1" fmla="*/ 3 h 3"/>
                      <a:gd name="T2" fmla="*/ 4 w 4"/>
                      <a:gd name="T3" fmla="*/ 0 h 3"/>
                      <a:gd name="T4" fmla="*/ 4 w 4"/>
                      <a:gd name="T5" fmla="*/ 0 h 3"/>
                      <a:gd name="T6" fmla="*/ 0 w 4"/>
                      <a:gd name="T7" fmla="*/ 3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lnTo>
                          <a:pt x="4" y="0"/>
                        </a:lnTo>
                        <a:lnTo>
                          <a:pt x="4"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3179" name="Freeform 1128"/>
                  <p:cNvSpPr>
                    <a:spLocks/>
                  </p:cNvSpPr>
                  <p:nvPr/>
                </p:nvSpPr>
                <p:spPr bwMode="auto">
                  <a:xfrm>
                    <a:off x="11546" y="2255"/>
                    <a:ext cx="33" cy="17"/>
                  </a:xfrm>
                  <a:custGeom>
                    <a:avLst/>
                    <a:gdLst>
                      <a:gd name="T0" fmla="*/ 0 w 23"/>
                      <a:gd name="T1" fmla="*/ 12 h 12"/>
                      <a:gd name="T2" fmla="*/ 23 w 23"/>
                      <a:gd name="T3" fmla="*/ 0 h 12"/>
                      <a:gd name="T4" fmla="*/ 23 w 23"/>
                      <a:gd name="T5" fmla="*/ 0 h 12"/>
                      <a:gd name="T6" fmla="*/ 0 w 23"/>
                      <a:gd name="T7" fmla="*/ 9 h 12"/>
                      <a:gd name="T8" fmla="*/ 0 w 23"/>
                      <a:gd name="T9" fmla="*/ 12 h 12"/>
                    </a:gdLst>
                    <a:ahLst/>
                    <a:cxnLst>
                      <a:cxn ang="0">
                        <a:pos x="T0" y="T1"/>
                      </a:cxn>
                      <a:cxn ang="0">
                        <a:pos x="T2" y="T3"/>
                      </a:cxn>
                      <a:cxn ang="0">
                        <a:pos x="T4" y="T5"/>
                      </a:cxn>
                      <a:cxn ang="0">
                        <a:pos x="T6" y="T7"/>
                      </a:cxn>
                      <a:cxn ang="0">
                        <a:pos x="T8" y="T9"/>
                      </a:cxn>
                    </a:cxnLst>
                    <a:rect l="0" t="0" r="r" b="b"/>
                    <a:pathLst>
                      <a:path w="23" h="12">
                        <a:moveTo>
                          <a:pt x="0" y="12"/>
                        </a:moveTo>
                        <a:lnTo>
                          <a:pt x="23" y="0"/>
                        </a:lnTo>
                        <a:lnTo>
                          <a:pt x="23"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180" name="Freeform 1129"/>
                  <p:cNvSpPr>
                    <a:spLocks/>
                  </p:cNvSpPr>
                  <p:nvPr/>
                </p:nvSpPr>
                <p:spPr bwMode="auto">
                  <a:xfrm>
                    <a:off x="11546" y="2247"/>
                    <a:ext cx="25" cy="17"/>
                  </a:xfrm>
                  <a:custGeom>
                    <a:avLst/>
                    <a:gdLst>
                      <a:gd name="T0" fmla="*/ 0 w 18"/>
                      <a:gd name="T1" fmla="*/ 10 h 10"/>
                      <a:gd name="T2" fmla="*/ 18 w 18"/>
                      <a:gd name="T3" fmla="*/ 0 h 10"/>
                      <a:gd name="T4" fmla="*/ 16 w 18"/>
                      <a:gd name="T5" fmla="*/ 0 h 10"/>
                      <a:gd name="T6" fmla="*/ 0 w 18"/>
                      <a:gd name="T7" fmla="*/ 7 h 10"/>
                      <a:gd name="T8" fmla="*/ 0 w 18"/>
                      <a:gd name="T9" fmla="*/ 10 h 10"/>
                    </a:gdLst>
                    <a:ahLst/>
                    <a:cxnLst>
                      <a:cxn ang="0">
                        <a:pos x="T0" y="T1"/>
                      </a:cxn>
                      <a:cxn ang="0">
                        <a:pos x="T2" y="T3"/>
                      </a:cxn>
                      <a:cxn ang="0">
                        <a:pos x="T4" y="T5"/>
                      </a:cxn>
                      <a:cxn ang="0">
                        <a:pos x="T6" y="T7"/>
                      </a:cxn>
                      <a:cxn ang="0">
                        <a:pos x="T8" y="T9"/>
                      </a:cxn>
                    </a:cxnLst>
                    <a:rect l="0" t="0" r="r" b="b"/>
                    <a:pathLst>
                      <a:path w="18" h="10">
                        <a:moveTo>
                          <a:pt x="0" y="10"/>
                        </a:moveTo>
                        <a:lnTo>
                          <a:pt x="18" y="0"/>
                        </a:lnTo>
                        <a:lnTo>
                          <a:pt x="16"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181" name="Freeform 1130"/>
                  <p:cNvSpPr>
                    <a:spLocks/>
                  </p:cNvSpPr>
                  <p:nvPr/>
                </p:nvSpPr>
                <p:spPr bwMode="auto">
                  <a:xfrm>
                    <a:off x="11546" y="2255"/>
                    <a:ext cx="25" cy="9"/>
                  </a:xfrm>
                  <a:custGeom>
                    <a:avLst/>
                    <a:gdLst>
                      <a:gd name="T0" fmla="*/ 0 w 21"/>
                      <a:gd name="T1" fmla="*/ 9 h 9"/>
                      <a:gd name="T2" fmla="*/ 21 w 21"/>
                      <a:gd name="T3" fmla="*/ 0 h 9"/>
                      <a:gd name="T4" fmla="*/ 21 w 21"/>
                      <a:gd name="T5" fmla="*/ 0 h 9"/>
                      <a:gd name="T6" fmla="*/ 0 w 21"/>
                      <a:gd name="T7" fmla="*/ 9 h 9"/>
                      <a:gd name="T8" fmla="*/ 0 w 21"/>
                      <a:gd name="T9" fmla="*/ 9 h 9"/>
                    </a:gdLst>
                    <a:ahLst/>
                    <a:cxnLst>
                      <a:cxn ang="0">
                        <a:pos x="T0" y="T1"/>
                      </a:cxn>
                      <a:cxn ang="0">
                        <a:pos x="T2" y="T3"/>
                      </a:cxn>
                      <a:cxn ang="0">
                        <a:pos x="T4" y="T5"/>
                      </a:cxn>
                      <a:cxn ang="0">
                        <a:pos x="T6" y="T7"/>
                      </a:cxn>
                      <a:cxn ang="0">
                        <a:pos x="T8" y="T9"/>
                      </a:cxn>
                    </a:cxnLst>
                    <a:rect l="0" t="0" r="r" b="b"/>
                    <a:pathLst>
                      <a:path w="21" h="9">
                        <a:moveTo>
                          <a:pt x="0" y="9"/>
                        </a:moveTo>
                        <a:lnTo>
                          <a:pt x="21" y="0"/>
                        </a:lnTo>
                        <a:lnTo>
                          <a:pt x="21"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182" name="Freeform 1131"/>
                  <p:cNvSpPr>
                    <a:spLocks/>
                  </p:cNvSpPr>
                  <p:nvPr/>
                </p:nvSpPr>
                <p:spPr bwMode="auto">
                  <a:xfrm>
                    <a:off x="11546" y="2247"/>
                    <a:ext cx="25" cy="9"/>
                  </a:xfrm>
                  <a:custGeom>
                    <a:avLst/>
                    <a:gdLst>
                      <a:gd name="T0" fmla="*/ 0 w 19"/>
                      <a:gd name="T1" fmla="*/ 7 h 7"/>
                      <a:gd name="T2" fmla="*/ 19 w 19"/>
                      <a:gd name="T3" fmla="*/ 0 h 7"/>
                      <a:gd name="T4" fmla="*/ 17 w 19"/>
                      <a:gd name="T5" fmla="*/ 0 h 7"/>
                      <a:gd name="T6" fmla="*/ 0 w 19"/>
                      <a:gd name="T7" fmla="*/ 7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183" name="Freeform 1132"/>
                  <p:cNvSpPr>
                    <a:spLocks/>
                  </p:cNvSpPr>
                  <p:nvPr/>
                </p:nvSpPr>
                <p:spPr bwMode="auto">
                  <a:xfrm>
                    <a:off x="11546" y="2264"/>
                    <a:ext cx="33" cy="9"/>
                  </a:xfrm>
                  <a:custGeom>
                    <a:avLst/>
                    <a:gdLst>
                      <a:gd name="T0" fmla="*/ 0 w 26"/>
                      <a:gd name="T1" fmla="*/ 12 h 12"/>
                      <a:gd name="T2" fmla="*/ 26 w 26"/>
                      <a:gd name="T3" fmla="*/ 0 h 12"/>
                      <a:gd name="T4" fmla="*/ 26 w 26"/>
                      <a:gd name="T5" fmla="*/ 0 h 12"/>
                      <a:gd name="T6" fmla="*/ 0 w 26"/>
                      <a:gd name="T7" fmla="*/ 9 h 12"/>
                      <a:gd name="T8" fmla="*/ 0 w 26"/>
                      <a:gd name="T9" fmla="*/ 12 h 12"/>
                    </a:gdLst>
                    <a:ahLst/>
                    <a:cxnLst>
                      <a:cxn ang="0">
                        <a:pos x="T0" y="T1"/>
                      </a:cxn>
                      <a:cxn ang="0">
                        <a:pos x="T2" y="T3"/>
                      </a:cxn>
                      <a:cxn ang="0">
                        <a:pos x="T4" y="T5"/>
                      </a:cxn>
                      <a:cxn ang="0">
                        <a:pos x="T6" y="T7"/>
                      </a:cxn>
                      <a:cxn ang="0">
                        <a:pos x="T8" y="T9"/>
                      </a:cxn>
                    </a:cxnLst>
                    <a:rect l="0" t="0" r="r" b="b"/>
                    <a:pathLst>
                      <a:path w="26" h="12">
                        <a:moveTo>
                          <a:pt x="0" y="12"/>
                        </a:moveTo>
                        <a:lnTo>
                          <a:pt x="26" y="0"/>
                        </a:lnTo>
                        <a:lnTo>
                          <a:pt x="26"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184" name="Freeform 1133"/>
                  <p:cNvSpPr>
                    <a:spLocks/>
                  </p:cNvSpPr>
                  <p:nvPr/>
                </p:nvSpPr>
                <p:spPr bwMode="auto">
                  <a:xfrm>
                    <a:off x="11546" y="2264"/>
                    <a:ext cx="33" cy="9"/>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185" name="Freeform 1134"/>
                  <p:cNvSpPr>
                    <a:spLocks/>
                  </p:cNvSpPr>
                  <p:nvPr/>
                </p:nvSpPr>
                <p:spPr bwMode="auto">
                  <a:xfrm>
                    <a:off x="11546" y="2255"/>
                    <a:ext cx="33" cy="17"/>
                  </a:xfrm>
                  <a:custGeom>
                    <a:avLst/>
                    <a:gdLst>
                      <a:gd name="T0" fmla="*/ 0 w 24"/>
                      <a:gd name="T1" fmla="*/ 12 h 12"/>
                      <a:gd name="T2" fmla="*/ 24 w 24"/>
                      <a:gd name="T3" fmla="*/ 3 h 12"/>
                      <a:gd name="T4" fmla="*/ 24 w 24"/>
                      <a:gd name="T5" fmla="*/ 0 h 12"/>
                      <a:gd name="T6" fmla="*/ 0 w 24"/>
                      <a:gd name="T7" fmla="*/ 12 h 12"/>
                      <a:gd name="T8" fmla="*/ 0 w 24"/>
                      <a:gd name="T9" fmla="*/ 12 h 12"/>
                    </a:gdLst>
                    <a:ahLst/>
                    <a:cxnLst>
                      <a:cxn ang="0">
                        <a:pos x="T0" y="T1"/>
                      </a:cxn>
                      <a:cxn ang="0">
                        <a:pos x="T2" y="T3"/>
                      </a:cxn>
                      <a:cxn ang="0">
                        <a:pos x="T4" y="T5"/>
                      </a:cxn>
                      <a:cxn ang="0">
                        <a:pos x="T6" y="T7"/>
                      </a:cxn>
                      <a:cxn ang="0">
                        <a:pos x="T8" y="T9"/>
                      </a:cxn>
                    </a:cxnLst>
                    <a:rect l="0" t="0" r="r" b="b"/>
                    <a:pathLst>
                      <a:path w="24" h="12">
                        <a:moveTo>
                          <a:pt x="0" y="12"/>
                        </a:moveTo>
                        <a:lnTo>
                          <a:pt x="24" y="3"/>
                        </a:lnTo>
                        <a:lnTo>
                          <a:pt x="24"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186" name="Freeform 1135"/>
                  <p:cNvSpPr>
                    <a:spLocks/>
                  </p:cNvSpPr>
                  <p:nvPr/>
                </p:nvSpPr>
                <p:spPr bwMode="auto">
                  <a:xfrm>
                    <a:off x="11546" y="2247"/>
                    <a:ext cx="17" cy="9"/>
                  </a:xfrm>
                  <a:custGeom>
                    <a:avLst/>
                    <a:gdLst>
                      <a:gd name="T0" fmla="*/ 0 w 14"/>
                      <a:gd name="T1" fmla="*/ 10 h 10"/>
                      <a:gd name="T2" fmla="*/ 14 w 14"/>
                      <a:gd name="T3" fmla="*/ 2 h 10"/>
                      <a:gd name="T4" fmla="*/ 14 w 14"/>
                      <a:gd name="T5" fmla="*/ 0 h 10"/>
                      <a:gd name="T6" fmla="*/ 0 w 14"/>
                      <a:gd name="T7" fmla="*/ 7 h 10"/>
                      <a:gd name="T8" fmla="*/ 0 w 14"/>
                      <a:gd name="T9" fmla="*/ 10 h 10"/>
                    </a:gdLst>
                    <a:ahLst/>
                    <a:cxnLst>
                      <a:cxn ang="0">
                        <a:pos x="T0" y="T1"/>
                      </a:cxn>
                      <a:cxn ang="0">
                        <a:pos x="T2" y="T3"/>
                      </a:cxn>
                      <a:cxn ang="0">
                        <a:pos x="T4" y="T5"/>
                      </a:cxn>
                      <a:cxn ang="0">
                        <a:pos x="T6" y="T7"/>
                      </a:cxn>
                      <a:cxn ang="0">
                        <a:pos x="T8" y="T9"/>
                      </a:cxn>
                    </a:cxnLst>
                    <a:rect l="0" t="0" r="r" b="b"/>
                    <a:pathLst>
                      <a:path w="14" h="10">
                        <a:moveTo>
                          <a:pt x="0" y="10"/>
                        </a:moveTo>
                        <a:lnTo>
                          <a:pt x="14" y="2"/>
                        </a:lnTo>
                        <a:lnTo>
                          <a:pt x="14"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187" name="Freeform 1136"/>
                  <p:cNvSpPr>
                    <a:spLocks/>
                  </p:cNvSpPr>
                  <p:nvPr/>
                </p:nvSpPr>
                <p:spPr bwMode="auto">
                  <a:xfrm>
                    <a:off x="11546" y="2238"/>
                    <a:ext cx="8" cy="9"/>
                  </a:xfrm>
                  <a:custGeom>
                    <a:avLst/>
                    <a:gdLst>
                      <a:gd name="T0" fmla="*/ 0 w 12"/>
                      <a:gd name="T1" fmla="*/ 7 h 7"/>
                      <a:gd name="T2" fmla="*/ 12 w 12"/>
                      <a:gd name="T3" fmla="*/ 0 h 7"/>
                      <a:gd name="T4" fmla="*/ 12 w 12"/>
                      <a:gd name="T5" fmla="*/ 0 h 7"/>
                      <a:gd name="T6" fmla="*/ 0 w 12"/>
                      <a:gd name="T7" fmla="*/ 5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3188" name="Freeform 1137"/>
                  <p:cNvSpPr>
                    <a:spLocks/>
                  </p:cNvSpPr>
                  <p:nvPr/>
                </p:nvSpPr>
                <p:spPr bwMode="auto">
                  <a:xfrm>
                    <a:off x="11555" y="2273"/>
                    <a:ext cx="25" cy="9"/>
                  </a:xfrm>
                  <a:custGeom>
                    <a:avLst/>
                    <a:gdLst>
                      <a:gd name="T0" fmla="*/ 0 w 29"/>
                      <a:gd name="T1" fmla="*/ 14 h 14"/>
                      <a:gd name="T2" fmla="*/ 29 w 29"/>
                      <a:gd name="T3" fmla="*/ 0 h 14"/>
                      <a:gd name="T4" fmla="*/ 29 w 29"/>
                      <a:gd name="T5" fmla="*/ 0 h 14"/>
                      <a:gd name="T6" fmla="*/ 0 w 29"/>
                      <a:gd name="T7" fmla="*/ 12 h 14"/>
                      <a:gd name="T8" fmla="*/ 0 w 29"/>
                      <a:gd name="T9" fmla="*/ 14 h 14"/>
                    </a:gdLst>
                    <a:ahLst/>
                    <a:cxnLst>
                      <a:cxn ang="0">
                        <a:pos x="T0" y="T1"/>
                      </a:cxn>
                      <a:cxn ang="0">
                        <a:pos x="T2" y="T3"/>
                      </a:cxn>
                      <a:cxn ang="0">
                        <a:pos x="T4" y="T5"/>
                      </a:cxn>
                      <a:cxn ang="0">
                        <a:pos x="T6" y="T7"/>
                      </a:cxn>
                      <a:cxn ang="0">
                        <a:pos x="T8" y="T9"/>
                      </a:cxn>
                    </a:cxnLst>
                    <a:rect l="0" t="0" r="r" b="b"/>
                    <a:pathLst>
                      <a:path w="29" h="14">
                        <a:moveTo>
                          <a:pt x="0" y="14"/>
                        </a:moveTo>
                        <a:lnTo>
                          <a:pt x="29" y="0"/>
                        </a:lnTo>
                        <a:lnTo>
                          <a:pt x="29"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3189" name="Freeform 1138"/>
                  <p:cNvSpPr>
                    <a:spLocks/>
                  </p:cNvSpPr>
                  <p:nvPr/>
                </p:nvSpPr>
                <p:spPr bwMode="auto">
                  <a:xfrm>
                    <a:off x="11546" y="2247"/>
                    <a:ext cx="17" cy="0"/>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190" name="Freeform 1139"/>
                  <p:cNvSpPr>
                    <a:spLocks/>
                  </p:cNvSpPr>
                  <p:nvPr/>
                </p:nvSpPr>
                <p:spPr bwMode="auto">
                  <a:xfrm>
                    <a:off x="11546" y="2229"/>
                    <a:ext cx="0" cy="0"/>
                  </a:xfrm>
                  <a:custGeom>
                    <a:avLst/>
                    <a:gdLst>
                      <a:gd name="T0" fmla="*/ 2 w 7"/>
                      <a:gd name="T1" fmla="*/ 4 h 4"/>
                      <a:gd name="T2" fmla="*/ 7 w 7"/>
                      <a:gd name="T3" fmla="*/ 0 h 4"/>
                      <a:gd name="T4" fmla="*/ 7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3191" name="Freeform 1140"/>
                  <p:cNvSpPr>
                    <a:spLocks/>
                  </p:cNvSpPr>
                  <p:nvPr/>
                </p:nvSpPr>
                <p:spPr bwMode="auto">
                  <a:xfrm>
                    <a:off x="11538" y="2220"/>
                    <a:ext cx="8" cy="0"/>
                  </a:xfrm>
                  <a:custGeom>
                    <a:avLst/>
                    <a:gdLst>
                      <a:gd name="T0" fmla="*/ 0 w 7"/>
                      <a:gd name="T1" fmla="*/ 5 h 5"/>
                      <a:gd name="T2" fmla="*/ 7 w 7"/>
                      <a:gd name="T3" fmla="*/ 3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92" name="Freeform 1141"/>
                  <p:cNvSpPr>
                    <a:spLocks/>
                  </p:cNvSpPr>
                  <p:nvPr/>
                </p:nvSpPr>
                <p:spPr bwMode="auto">
                  <a:xfrm>
                    <a:off x="11546" y="2220"/>
                    <a:ext cx="0" cy="9"/>
                  </a:xfrm>
                  <a:custGeom>
                    <a:avLst/>
                    <a:gdLst>
                      <a:gd name="T0" fmla="*/ 0 w 5"/>
                      <a:gd name="T1" fmla="*/ 3 h 3"/>
                      <a:gd name="T2" fmla="*/ 5 w 5"/>
                      <a:gd name="T3" fmla="*/ 0 h 3"/>
                      <a:gd name="T4" fmla="*/ 5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3193" name="Freeform 1142"/>
                  <p:cNvSpPr>
                    <a:spLocks/>
                  </p:cNvSpPr>
                  <p:nvPr/>
                </p:nvSpPr>
                <p:spPr bwMode="auto">
                  <a:xfrm>
                    <a:off x="11546" y="2238"/>
                    <a:ext cx="0" cy="0"/>
                  </a:xfrm>
                  <a:custGeom>
                    <a:avLst/>
                    <a:gdLst>
                      <a:gd name="T0" fmla="*/ 3 w 10"/>
                      <a:gd name="T1" fmla="*/ 4 h 4"/>
                      <a:gd name="T2" fmla="*/ 10 w 10"/>
                      <a:gd name="T3" fmla="*/ 0 h 4"/>
                      <a:gd name="T4" fmla="*/ 10 w 10"/>
                      <a:gd name="T5" fmla="*/ 0 h 4"/>
                      <a:gd name="T6" fmla="*/ 0 w 10"/>
                      <a:gd name="T7" fmla="*/ 2 h 4"/>
                      <a:gd name="T8" fmla="*/ 3 w 10"/>
                      <a:gd name="T9" fmla="*/ 4 h 4"/>
                    </a:gdLst>
                    <a:ahLst/>
                    <a:cxnLst>
                      <a:cxn ang="0">
                        <a:pos x="T0" y="T1"/>
                      </a:cxn>
                      <a:cxn ang="0">
                        <a:pos x="T2" y="T3"/>
                      </a:cxn>
                      <a:cxn ang="0">
                        <a:pos x="T4" y="T5"/>
                      </a:cxn>
                      <a:cxn ang="0">
                        <a:pos x="T6" y="T7"/>
                      </a:cxn>
                      <a:cxn ang="0">
                        <a:pos x="T8" y="T9"/>
                      </a:cxn>
                    </a:cxnLst>
                    <a:rect l="0" t="0" r="r" b="b"/>
                    <a:pathLst>
                      <a:path w="10" h="4">
                        <a:moveTo>
                          <a:pt x="3" y="4"/>
                        </a:moveTo>
                        <a:lnTo>
                          <a:pt x="10" y="0"/>
                        </a:lnTo>
                        <a:lnTo>
                          <a:pt x="10" y="0"/>
                        </a:lnTo>
                        <a:lnTo>
                          <a:pt x="0" y="2"/>
                        </a:lnTo>
                        <a:lnTo>
                          <a:pt x="3" y="4"/>
                        </a:lnTo>
                        <a:close/>
                      </a:path>
                    </a:pathLst>
                  </a:custGeom>
                  <a:solidFill>
                    <a:srgbClr val="01AAE5"/>
                  </a:solidFill>
                  <a:ln>
                    <a:noFill/>
                  </a:ln>
                  <a:extLst/>
                </p:spPr>
                <p:txBody>
                  <a:bodyPr/>
                  <a:lstStyle/>
                  <a:p>
                    <a:pPr eaLnBrk="1" hangingPunct="1">
                      <a:defRPr/>
                    </a:pPr>
                    <a:endParaRPr lang="zh-CN" altLang="en-US" sz="1050"/>
                  </a:p>
                </p:txBody>
              </p:sp>
              <p:sp>
                <p:nvSpPr>
                  <p:cNvPr id="3194" name="Freeform 1143"/>
                  <p:cNvSpPr>
                    <a:spLocks/>
                  </p:cNvSpPr>
                  <p:nvPr/>
                </p:nvSpPr>
                <p:spPr bwMode="auto">
                  <a:xfrm>
                    <a:off x="11538" y="2212"/>
                    <a:ext cx="8" cy="9"/>
                  </a:xfrm>
                  <a:custGeom>
                    <a:avLst/>
                    <a:gdLst>
                      <a:gd name="T0" fmla="*/ 3 w 7"/>
                      <a:gd name="T1" fmla="*/ 5 h 5"/>
                      <a:gd name="T2" fmla="*/ 7 w 7"/>
                      <a:gd name="T3" fmla="*/ 0 h 5"/>
                      <a:gd name="T4" fmla="*/ 7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7"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3195" name="Freeform 1144"/>
                  <p:cNvSpPr>
                    <a:spLocks/>
                  </p:cNvSpPr>
                  <p:nvPr/>
                </p:nvSpPr>
                <p:spPr bwMode="auto">
                  <a:xfrm>
                    <a:off x="11546" y="2238"/>
                    <a:ext cx="8" cy="9"/>
                  </a:xfrm>
                  <a:custGeom>
                    <a:avLst/>
                    <a:gdLst>
                      <a:gd name="T0" fmla="*/ 0 w 9"/>
                      <a:gd name="T1" fmla="*/ 5 h 5"/>
                      <a:gd name="T2" fmla="*/ 9 w 9"/>
                      <a:gd name="T3" fmla="*/ 0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0"/>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96" name="Freeform 1145"/>
                  <p:cNvSpPr>
                    <a:spLocks/>
                  </p:cNvSpPr>
                  <p:nvPr/>
                </p:nvSpPr>
                <p:spPr bwMode="auto">
                  <a:xfrm>
                    <a:off x="11546" y="2229"/>
                    <a:ext cx="0" cy="9"/>
                  </a:xfrm>
                  <a:custGeom>
                    <a:avLst/>
                    <a:gdLst>
                      <a:gd name="T0" fmla="*/ 0 w 8"/>
                      <a:gd name="T1" fmla="*/ 5 h 5"/>
                      <a:gd name="T2" fmla="*/ 8 w 8"/>
                      <a:gd name="T3" fmla="*/ 2 h 5"/>
                      <a:gd name="T4" fmla="*/ 8 w 8"/>
                      <a:gd name="T5" fmla="*/ 0 h 5"/>
                      <a:gd name="T6" fmla="*/ 0 w 8"/>
                      <a:gd name="T7" fmla="*/ 5 h 5"/>
                      <a:gd name="T8" fmla="*/ 0 w 8"/>
                      <a:gd name="T9" fmla="*/ 5 h 5"/>
                    </a:gdLst>
                    <a:ahLst/>
                    <a:cxnLst>
                      <a:cxn ang="0">
                        <a:pos x="T0" y="T1"/>
                      </a:cxn>
                      <a:cxn ang="0">
                        <a:pos x="T2" y="T3"/>
                      </a:cxn>
                      <a:cxn ang="0">
                        <a:pos x="T4" y="T5"/>
                      </a:cxn>
                      <a:cxn ang="0">
                        <a:pos x="T6" y="T7"/>
                      </a:cxn>
                      <a:cxn ang="0">
                        <a:pos x="T8" y="T9"/>
                      </a:cxn>
                    </a:cxnLst>
                    <a:rect l="0" t="0" r="r" b="b"/>
                    <a:pathLst>
                      <a:path w="8" h="5">
                        <a:moveTo>
                          <a:pt x="0" y="5"/>
                        </a:moveTo>
                        <a:lnTo>
                          <a:pt x="8" y="2"/>
                        </a:lnTo>
                        <a:lnTo>
                          <a:pt x="8"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197" name="Freeform 1146"/>
                  <p:cNvSpPr>
                    <a:spLocks/>
                  </p:cNvSpPr>
                  <p:nvPr/>
                </p:nvSpPr>
                <p:spPr bwMode="auto">
                  <a:xfrm>
                    <a:off x="11455" y="2090"/>
                    <a:ext cx="8"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198" name="Freeform 1147"/>
                  <p:cNvSpPr>
                    <a:spLocks/>
                  </p:cNvSpPr>
                  <p:nvPr/>
                </p:nvSpPr>
                <p:spPr bwMode="auto">
                  <a:xfrm>
                    <a:off x="11455" y="2090"/>
                    <a:ext cx="8" cy="9"/>
                  </a:xfrm>
                  <a:custGeom>
                    <a:avLst/>
                    <a:gdLst>
                      <a:gd name="T0" fmla="*/ 0 w 7"/>
                      <a:gd name="T1" fmla="*/ 8 h 8"/>
                      <a:gd name="T2" fmla="*/ 7 w 7"/>
                      <a:gd name="T3" fmla="*/ 0 h 8"/>
                      <a:gd name="T4" fmla="*/ 7 w 7"/>
                      <a:gd name="T5" fmla="*/ 0 h 8"/>
                      <a:gd name="T6" fmla="*/ 0 w 7"/>
                      <a:gd name="T7" fmla="*/ 8 h 8"/>
                      <a:gd name="T8" fmla="*/ 0 w 7"/>
                      <a:gd name="T9" fmla="*/ 8 h 8"/>
                    </a:gdLst>
                    <a:ahLst/>
                    <a:cxnLst>
                      <a:cxn ang="0">
                        <a:pos x="T0" y="T1"/>
                      </a:cxn>
                      <a:cxn ang="0">
                        <a:pos x="T2" y="T3"/>
                      </a:cxn>
                      <a:cxn ang="0">
                        <a:pos x="T4" y="T5"/>
                      </a:cxn>
                      <a:cxn ang="0">
                        <a:pos x="T6" y="T7"/>
                      </a:cxn>
                      <a:cxn ang="0">
                        <a:pos x="T8" y="T9"/>
                      </a:cxn>
                    </a:cxnLst>
                    <a:rect l="0" t="0" r="r" b="b"/>
                    <a:pathLst>
                      <a:path w="7" h="8">
                        <a:moveTo>
                          <a:pt x="0" y="8"/>
                        </a:moveTo>
                        <a:lnTo>
                          <a:pt x="7" y="0"/>
                        </a:lnTo>
                        <a:lnTo>
                          <a:pt x="7"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3199" name="Freeform 1148"/>
                  <p:cNvSpPr>
                    <a:spLocks/>
                  </p:cNvSpPr>
                  <p:nvPr/>
                </p:nvSpPr>
                <p:spPr bwMode="auto">
                  <a:xfrm>
                    <a:off x="11455" y="2090"/>
                    <a:ext cx="8" cy="0"/>
                  </a:xfrm>
                  <a:custGeom>
                    <a:avLst/>
                    <a:gdLst>
                      <a:gd name="T0" fmla="*/ 0 w 7"/>
                      <a:gd name="T1" fmla="*/ 7 h 7"/>
                      <a:gd name="T2" fmla="*/ 7 w 7"/>
                      <a:gd name="T3" fmla="*/ 0 h 7"/>
                      <a:gd name="T4" fmla="*/ 7 w 7"/>
                      <a:gd name="T5" fmla="*/ 0 h 7"/>
                      <a:gd name="T6" fmla="*/ 0 w 7"/>
                      <a:gd name="T7" fmla="*/ 5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00" name="Freeform 1149"/>
                  <p:cNvSpPr>
                    <a:spLocks/>
                  </p:cNvSpPr>
                  <p:nvPr/>
                </p:nvSpPr>
                <p:spPr bwMode="auto">
                  <a:xfrm>
                    <a:off x="11455" y="2090"/>
                    <a:ext cx="17" cy="17"/>
                  </a:xfrm>
                  <a:custGeom>
                    <a:avLst/>
                    <a:gdLst>
                      <a:gd name="T0" fmla="*/ 2 w 12"/>
                      <a:gd name="T1" fmla="*/ 10 h 10"/>
                      <a:gd name="T2" fmla="*/ 12 w 12"/>
                      <a:gd name="T3" fmla="*/ 0 h 10"/>
                      <a:gd name="T4" fmla="*/ 9 w 12"/>
                      <a:gd name="T5" fmla="*/ 0 h 10"/>
                      <a:gd name="T6" fmla="*/ 0 w 12"/>
                      <a:gd name="T7" fmla="*/ 7 h 10"/>
                      <a:gd name="T8" fmla="*/ 2 w 12"/>
                      <a:gd name="T9" fmla="*/ 10 h 10"/>
                    </a:gdLst>
                    <a:ahLst/>
                    <a:cxnLst>
                      <a:cxn ang="0">
                        <a:pos x="T0" y="T1"/>
                      </a:cxn>
                      <a:cxn ang="0">
                        <a:pos x="T2" y="T3"/>
                      </a:cxn>
                      <a:cxn ang="0">
                        <a:pos x="T4" y="T5"/>
                      </a:cxn>
                      <a:cxn ang="0">
                        <a:pos x="T6" y="T7"/>
                      </a:cxn>
                      <a:cxn ang="0">
                        <a:pos x="T8" y="T9"/>
                      </a:cxn>
                    </a:cxnLst>
                    <a:rect l="0" t="0" r="r" b="b"/>
                    <a:pathLst>
                      <a:path w="12" h="10">
                        <a:moveTo>
                          <a:pt x="2" y="10"/>
                        </a:moveTo>
                        <a:lnTo>
                          <a:pt x="12" y="0"/>
                        </a:lnTo>
                        <a:lnTo>
                          <a:pt x="9" y="0"/>
                        </a:lnTo>
                        <a:lnTo>
                          <a:pt x="0" y="7"/>
                        </a:lnTo>
                        <a:lnTo>
                          <a:pt x="2" y="10"/>
                        </a:lnTo>
                        <a:close/>
                      </a:path>
                    </a:pathLst>
                  </a:custGeom>
                  <a:solidFill>
                    <a:srgbClr val="01AAE5"/>
                  </a:solidFill>
                  <a:ln>
                    <a:noFill/>
                  </a:ln>
                  <a:extLst/>
                </p:spPr>
                <p:txBody>
                  <a:bodyPr/>
                  <a:lstStyle/>
                  <a:p>
                    <a:pPr eaLnBrk="1" hangingPunct="1">
                      <a:defRPr/>
                    </a:pPr>
                    <a:endParaRPr lang="zh-CN" altLang="en-US" sz="1050"/>
                  </a:p>
                </p:txBody>
              </p:sp>
              <p:sp>
                <p:nvSpPr>
                  <p:cNvPr id="3201" name="Freeform 1150"/>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202" name="Freeform 1151"/>
                  <p:cNvSpPr>
                    <a:spLocks/>
                  </p:cNvSpPr>
                  <p:nvPr/>
                </p:nvSpPr>
                <p:spPr bwMode="auto">
                  <a:xfrm>
                    <a:off x="11463" y="2099"/>
                    <a:ext cx="17" cy="17"/>
                  </a:xfrm>
                  <a:custGeom>
                    <a:avLst/>
                    <a:gdLst>
                      <a:gd name="T0" fmla="*/ 2 w 16"/>
                      <a:gd name="T1" fmla="*/ 12 h 12"/>
                      <a:gd name="T2" fmla="*/ 16 w 16"/>
                      <a:gd name="T3" fmla="*/ 0 h 12"/>
                      <a:gd name="T4" fmla="*/ 14 w 16"/>
                      <a:gd name="T5" fmla="*/ 0 h 12"/>
                      <a:gd name="T6" fmla="*/ 0 w 16"/>
                      <a:gd name="T7" fmla="*/ 10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0"/>
                        </a:lnTo>
                        <a:lnTo>
                          <a:pt x="14" y="0"/>
                        </a:lnTo>
                        <a:lnTo>
                          <a:pt x="0" y="10"/>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203" name="Freeform 1152"/>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204" name="Freeform 1153"/>
                  <p:cNvSpPr>
                    <a:spLocks/>
                  </p:cNvSpPr>
                  <p:nvPr/>
                </p:nvSpPr>
                <p:spPr bwMode="auto">
                  <a:xfrm>
                    <a:off x="11447" y="2090"/>
                    <a:ext cx="8" cy="0"/>
                  </a:xfrm>
                  <a:custGeom>
                    <a:avLst/>
                    <a:gdLst>
                      <a:gd name="T0" fmla="*/ 2 w 7"/>
                      <a:gd name="T1" fmla="*/ 4 h 4"/>
                      <a:gd name="T2" fmla="*/ 7 w 7"/>
                      <a:gd name="T3" fmla="*/ 0 h 4"/>
                      <a:gd name="T4" fmla="*/ 7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3205" name="Freeform 1154"/>
                  <p:cNvSpPr>
                    <a:spLocks/>
                  </p:cNvSpPr>
                  <p:nvPr/>
                </p:nvSpPr>
                <p:spPr bwMode="auto">
                  <a:xfrm>
                    <a:off x="11447" y="2081"/>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206" name="Freeform 1155"/>
                  <p:cNvSpPr>
                    <a:spLocks/>
                  </p:cNvSpPr>
                  <p:nvPr/>
                </p:nvSpPr>
                <p:spPr bwMode="auto">
                  <a:xfrm>
                    <a:off x="11438" y="2072"/>
                    <a:ext cx="8" cy="0"/>
                  </a:xfrm>
                  <a:custGeom>
                    <a:avLst/>
                    <a:gdLst>
                      <a:gd name="T0" fmla="*/ 2 w 7"/>
                      <a:gd name="T1" fmla="*/ 4 h 4"/>
                      <a:gd name="T2" fmla="*/ 7 w 7"/>
                      <a:gd name="T3" fmla="*/ 2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3207" name="Freeform 1156"/>
                  <p:cNvSpPr>
                    <a:spLocks/>
                  </p:cNvSpPr>
                  <p:nvPr/>
                </p:nvSpPr>
                <p:spPr bwMode="auto">
                  <a:xfrm>
                    <a:off x="11438" y="2064"/>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208" name="Freeform 1157"/>
                  <p:cNvSpPr>
                    <a:spLocks/>
                  </p:cNvSpPr>
                  <p:nvPr/>
                </p:nvSpPr>
                <p:spPr bwMode="auto">
                  <a:xfrm>
                    <a:off x="11438" y="2064"/>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09" name="Freeform 1158"/>
                  <p:cNvSpPr>
                    <a:spLocks/>
                  </p:cNvSpPr>
                  <p:nvPr/>
                </p:nvSpPr>
                <p:spPr bwMode="auto">
                  <a:xfrm>
                    <a:off x="11430" y="2064"/>
                    <a:ext cx="8" cy="0"/>
                  </a:xfrm>
                  <a:custGeom>
                    <a:avLst/>
                    <a:gdLst>
                      <a:gd name="T0" fmla="*/ 2 w 7"/>
                      <a:gd name="T1" fmla="*/ 4 h 4"/>
                      <a:gd name="T2" fmla="*/ 7 w 7"/>
                      <a:gd name="T3" fmla="*/ 0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3210" name="Freeform 1159"/>
                  <p:cNvSpPr>
                    <a:spLocks/>
                  </p:cNvSpPr>
                  <p:nvPr/>
                </p:nvSpPr>
                <p:spPr bwMode="auto">
                  <a:xfrm>
                    <a:off x="11447" y="2072"/>
                    <a:ext cx="0" cy="9"/>
                  </a:xfrm>
                  <a:custGeom>
                    <a:avLst/>
                    <a:gdLst>
                      <a:gd name="T0" fmla="*/ 3 w 8"/>
                      <a:gd name="T1" fmla="*/ 5 h 5"/>
                      <a:gd name="T2" fmla="*/ 8 w 8"/>
                      <a:gd name="T3" fmla="*/ 0 h 5"/>
                      <a:gd name="T4" fmla="*/ 5 w 8"/>
                      <a:gd name="T5" fmla="*/ 0 h 5"/>
                      <a:gd name="T6" fmla="*/ 0 w 8"/>
                      <a:gd name="T7" fmla="*/ 3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0"/>
                        </a:lnTo>
                        <a:lnTo>
                          <a:pt x="5" y="0"/>
                        </a:lnTo>
                        <a:lnTo>
                          <a:pt x="0" y="3"/>
                        </a:lnTo>
                        <a:lnTo>
                          <a:pt x="3" y="5"/>
                        </a:lnTo>
                        <a:close/>
                      </a:path>
                    </a:pathLst>
                  </a:custGeom>
                  <a:solidFill>
                    <a:srgbClr val="01AAE5"/>
                  </a:solidFill>
                  <a:ln>
                    <a:noFill/>
                  </a:ln>
                  <a:extLst/>
                </p:spPr>
                <p:txBody>
                  <a:bodyPr/>
                  <a:lstStyle/>
                  <a:p>
                    <a:pPr eaLnBrk="1" hangingPunct="1">
                      <a:defRPr/>
                    </a:pPr>
                    <a:endParaRPr lang="zh-CN" altLang="en-US" sz="1050"/>
                  </a:p>
                </p:txBody>
              </p:sp>
              <p:sp>
                <p:nvSpPr>
                  <p:cNvPr id="3211" name="Freeform 1160"/>
                  <p:cNvSpPr>
                    <a:spLocks/>
                  </p:cNvSpPr>
                  <p:nvPr/>
                </p:nvSpPr>
                <p:spPr bwMode="auto">
                  <a:xfrm>
                    <a:off x="11447" y="2081"/>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12" name="Freeform 1161"/>
                  <p:cNvSpPr>
                    <a:spLocks/>
                  </p:cNvSpPr>
                  <p:nvPr/>
                </p:nvSpPr>
                <p:spPr bwMode="auto">
                  <a:xfrm>
                    <a:off x="11463" y="2107"/>
                    <a:ext cx="17" cy="9"/>
                  </a:xfrm>
                  <a:custGeom>
                    <a:avLst/>
                    <a:gdLst>
                      <a:gd name="T0" fmla="*/ 0 w 17"/>
                      <a:gd name="T1" fmla="*/ 11 h 11"/>
                      <a:gd name="T2" fmla="*/ 17 w 17"/>
                      <a:gd name="T3" fmla="*/ 0 h 11"/>
                      <a:gd name="T4" fmla="*/ 14 w 17"/>
                      <a:gd name="T5" fmla="*/ 0 h 11"/>
                      <a:gd name="T6" fmla="*/ 0 w 17"/>
                      <a:gd name="T7" fmla="*/ 11 h 11"/>
                      <a:gd name="T8" fmla="*/ 0 w 17"/>
                      <a:gd name="T9" fmla="*/ 11 h 11"/>
                    </a:gdLst>
                    <a:ahLst/>
                    <a:cxnLst>
                      <a:cxn ang="0">
                        <a:pos x="T0" y="T1"/>
                      </a:cxn>
                      <a:cxn ang="0">
                        <a:pos x="T2" y="T3"/>
                      </a:cxn>
                      <a:cxn ang="0">
                        <a:pos x="T4" y="T5"/>
                      </a:cxn>
                      <a:cxn ang="0">
                        <a:pos x="T6" y="T7"/>
                      </a:cxn>
                      <a:cxn ang="0">
                        <a:pos x="T8" y="T9"/>
                      </a:cxn>
                    </a:cxnLst>
                    <a:rect l="0" t="0" r="r" b="b"/>
                    <a:pathLst>
                      <a:path w="17" h="11">
                        <a:moveTo>
                          <a:pt x="0" y="11"/>
                        </a:moveTo>
                        <a:lnTo>
                          <a:pt x="17" y="0"/>
                        </a:lnTo>
                        <a:lnTo>
                          <a:pt x="14" y="0"/>
                        </a:lnTo>
                        <a:lnTo>
                          <a:pt x="0" y="11"/>
                        </a:lnTo>
                        <a:lnTo>
                          <a:pt x="0" y="11"/>
                        </a:lnTo>
                        <a:close/>
                      </a:path>
                    </a:pathLst>
                  </a:custGeom>
                  <a:solidFill>
                    <a:srgbClr val="01AAE5"/>
                  </a:solidFill>
                  <a:ln>
                    <a:noFill/>
                  </a:ln>
                  <a:extLst/>
                </p:spPr>
                <p:txBody>
                  <a:bodyPr/>
                  <a:lstStyle/>
                  <a:p>
                    <a:pPr eaLnBrk="1" hangingPunct="1">
                      <a:defRPr/>
                    </a:pPr>
                    <a:endParaRPr lang="zh-CN" altLang="en-US" sz="1050"/>
                  </a:p>
                </p:txBody>
              </p:sp>
              <p:sp>
                <p:nvSpPr>
                  <p:cNvPr id="3213" name="Freeform 1162"/>
                  <p:cNvSpPr>
                    <a:spLocks/>
                  </p:cNvSpPr>
                  <p:nvPr/>
                </p:nvSpPr>
                <p:spPr bwMode="auto">
                  <a:xfrm>
                    <a:off x="11447" y="2081"/>
                    <a:ext cx="0" cy="0"/>
                  </a:xfrm>
                  <a:custGeom>
                    <a:avLst/>
                    <a:gdLst>
                      <a:gd name="T0" fmla="*/ 2 w 7"/>
                      <a:gd name="T1" fmla="*/ 4 h 4"/>
                      <a:gd name="T2" fmla="*/ 7 w 7"/>
                      <a:gd name="T3" fmla="*/ 0 h 4"/>
                      <a:gd name="T4" fmla="*/ 5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3214" name="Freeform 1163"/>
                  <p:cNvSpPr>
                    <a:spLocks/>
                  </p:cNvSpPr>
                  <p:nvPr/>
                </p:nvSpPr>
                <p:spPr bwMode="auto">
                  <a:xfrm>
                    <a:off x="11472" y="2116"/>
                    <a:ext cx="25" cy="17"/>
                  </a:xfrm>
                  <a:custGeom>
                    <a:avLst/>
                    <a:gdLst>
                      <a:gd name="T0" fmla="*/ 2 w 16"/>
                      <a:gd name="T1" fmla="*/ 12 h 12"/>
                      <a:gd name="T2" fmla="*/ 16 w 16"/>
                      <a:gd name="T3" fmla="*/ 3 h 12"/>
                      <a:gd name="T4" fmla="*/ 16 w 16"/>
                      <a:gd name="T5" fmla="*/ 0 h 12"/>
                      <a:gd name="T6" fmla="*/ 0 w 16"/>
                      <a:gd name="T7" fmla="*/ 12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3"/>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215" name="Freeform 1164"/>
                  <p:cNvSpPr>
                    <a:spLocks/>
                  </p:cNvSpPr>
                  <p:nvPr/>
                </p:nvSpPr>
                <p:spPr bwMode="auto">
                  <a:xfrm>
                    <a:off x="11496" y="2142"/>
                    <a:ext cx="0" cy="9"/>
                  </a:xfrm>
                  <a:custGeom>
                    <a:avLst/>
                    <a:gdLst>
                      <a:gd name="T0" fmla="*/ 3 w 8"/>
                      <a:gd name="T1" fmla="*/ 5 h 5"/>
                      <a:gd name="T2" fmla="*/ 8 w 8"/>
                      <a:gd name="T3" fmla="*/ 3 h 5"/>
                      <a:gd name="T4" fmla="*/ 8 w 8"/>
                      <a:gd name="T5" fmla="*/ 0 h 5"/>
                      <a:gd name="T6" fmla="*/ 0 w 8"/>
                      <a:gd name="T7" fmla="*/ 5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3"/>
                        </a:lnTo>
                        <a:lnTo>
                          <a:pt x="8"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216" name="Freeform 1165"/>
                  <p:cNvSpPr>
                    <a:spLocks/>
                  </p:cNvSpPr>
                  <p:nvPr/>
                </p:nvSpPr>
                <p:spPr bwMode="auto">
                  <a:xfrm>
                    <a:off x="11496" y="2151"/>
                    <a:ext cx="0" cy="0"/>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17" name="Freeform 1166"/>
                  <p:cNvSpPr>
                    <a:spLocks/>
                  </p:cNvSpPr>
                  <p:nvPr/>
                </p:nvSpPr>
                <p:spPr bwMode="auto">
                  <a:xfrm>
                    <a:off x="11472" y="2107"/>
                    <a:ext cx="8" cy="9"/>
                  </a:xfrm>
                  <a:custGeom>
                    <a:avLst/>
                    <a:gdLst>
                      <a:gd name="T0" fmla="*/ 0 w 17"/>
                      <a:gd name="T1" fmla="*/ 12 h 12"/>
                      <a:gd name="T2" fmla="*/ 17 w 17"/>
                      <a:gd name="T3" fmla="*/ 0 h 12"/>
                      <a:gd name="T4" fmla="*/ 17 w 17"/>
                      <a:gd name="T5" fmla="*/ 0 h 12"/>
                      <a:gd name="T6" fmla="*/ 0 w 17"/>
                      <a:gd name="T7" fmla="*/ 12 h 12"/>
                      <a:gd name="T8" fmla="*/ 0 w 17"/>
                      <a:gd name="T9" fmla="*/ 12 h 12"/>
                    </a:gdLst>
                    <a:ahLst/>
                    <a:cxnLst>
                      <a:cxn ang="0">
                        <a:pos x="T0" y="T1"/>
                      </a:cxn>
                      <a:cxn ang="0">
                        <a:pos x="T2" y="T3"/>
                      </a:cxn>
                      <a:cxn ang="0">
                        <a:pos x="T4" y="T5"/>
                      </a:cxn>
                      <a:cxn ang="0">
                        <a:pos x="T6" y="T7"/>
                      </a:cxn>
                      <a:cxn ang="0">
                        <a:pos x="T8" y="T9"/>
                      </a:cxn>
                    </a:cxnLst>
                    <a:rect l="0" t="0" r="r" b="b"/>
                    <a:pathLst>
                      <a:path w="17" h="12">
                        <a:moveTo>
                          <a:pt x="0" y="12"/>
                        </a:moveTo>
                        <a:lnTo>
                          <a:pt x="17" y="0"/>
                        </a:lnTo>
                        <a:lnTo>
                          <a:pt x="1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218" name="Freeform 1167"/>
                  <p:cNvSpPr>
                    <a:spLocks/>
                  </p:cNvSpPr>
                  <p:nvPr/>
                </p:nvSpPr>
                <p:spPr bwMode="auto">
                  <a:xfrm>
                    <a:off x="11488" y="2133"/>
                    <a:ext cx="8" cy="9"/>
                  </a:xfrm>
                  <a:custGeom>
                    <a:avLst/>
                    <a:gdLst>
                      <a:gd name="T0" fmla="*/ 0 w 9"/>
                      <a:gd name="T1" fmla="*/ 7 h 7"/>
                      <a:gd name="T2" fmla="*/ 9 w 9"/>
                      <a:gd name="T3" fmla="*/ 3 h 7"/>
                      <a:gd name="T4" fmla="*/ 9 w 9"/>
                      <a:gd name="T5" fmla="*/ 0 h 7"/>
                      <a:gd name="T6" fmla="*/ 0 w 9"/>
                      <a:gd name="T7" fmla="*/ 7 h 7"/>
                      <a:gd name="T8" fmla="*/ 0 w 9"/>
                      <a:gd name="T9" fmla="*/ 7 h 7"/>
                    </a:gdLst>
                    <a:ahLst/>
                    <a:cxnLst>
                      <a:cxn ang="0">
                        <a:pos x="T0" y="T1"/>
                      </a:cxn>
                      <a:cxn ang="0">
                        <a:pos x="T2" y="T3"/>
                      </a:cxn>
                      <a:cxn ang="0">
                        <a:pos x="T4" y="T5"/>
                      </a:cxn>
                      <a:cxn ang="0">
                        <a:pos x="T6" y="T7"/>
                      </a:cxn>
                      <a:cxn ang="0">
                        <a:pos x="T8" y="T9"/>
                      </a:cxn>
                    </a:cxnLst>
                    <a:rect l="0" t="0" r="r" b="b"/>
                    <a:pathLst>
                      <a:path w="9" h="7">
                        <a:moveTo>
                          <a:pt x="0" y="7"/>
                        </a:moveTo>
                        <a:lnTo>
                          <a:pt x="9" y="3"/>
                        </a:lnTo>
                        <a:lnTo>
                          <a:pt x="9"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19" name="Freeform 1168"/>
                  <p:cNvSpPr>
                    <a:spLocks/>
                  </p:cNvSpPr>
                  <p:nvPr/>
                </p:nvSpPr>
                <p:spPr bwMode="auto">
                  <a:xfrm>
                    <a:off x="11496" y="2151"/>
                    <a:ext cx="8"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20" name="Freeform 1169"/>
                  <p:cNvSpPr>
                    <a:spLocks/>
                  </p:cNvSpPr>
                  <p:nvPr/>
                </p:nvSpPr>
                <p:spPr bwMode="auto">
                  <a:xfrm>
                    <a:off x="11496" y="2151"/>
                    <a:ext cx="8" cy="0"/>
                  </a:xfrm>
                  <a:custGeom>
                    <a:avLst/>
                    <a:gdLst>
                      <a:gd name="T0" fmla="*/ 3 w 7"/>
                      <a:gd name="T1" fmla="*/ 4 h 4"/>
                      <a:gd name="T2" fmla="*/ 7 w 7"/>
                      <a:gd name="T3" fmla="*/ 0 h 4"/>
                      <a:gd name="T4" fmla="*/ 7 w 7"/>
                      <a:gd name="T5" fmla="*/ 0 h 4"/>
                      <a:gd name="T6" fmla="*/ 0 w 7"/>
                      <a:gd name="T7" fmla="*/ 4 h 4"/>
                      <a:gd name="T8" fmla="*/ 3 w 7"/>
                      <a:gd name="T9" fmla="*/ 4 h 4"/>
                    </a:gdLst>
                    <a:ahLst/>
                    <a:cxnLst>
                      <a:cxn ang="0">
                        <a:pos x="T0" y="T1"/>
                      </a:cxn>
                      <a:cxn ang="0">
                        <a:pos x="T2" y="T3"/>
                      </a:cxn>
                      <a:cxn ang="0">
                        <a:pos x="T4" y="T5"/>
                      </a:cxn>
                      <a:cxn ang="0">
                        <a:pos x="T6" y="T7"/>
                      </a:cxn>
                      <a:cxn ang="0">
                        <a:pos x="T8" y="T9"/>
                      </a:cxn>
                    </a:cxnLst>
                    <a:rect l="0" t="0" r="r" b="b"/>
                    <a:pathLst>
                      <a:path w="7" h="4">
                        <a:moveTo>
                          <a:pt x="3" y="4"/>
                        </a:moveTo>
                        <a:lnTo>
                          <a:pt x="7" y="0"/>
                        </a:lnTo>
                        <a:lnTo>
                          <a:pt x="7" y="0"/>
                        </a:lnTo>
                        <a:lnTo>
                          <a:pt x="0" y="4"/>
                        </a:lnTo>
                        <a:lnTo>
                          <a:pt x="3" y="4"/>
                        </a:lnTo>
                        <a:close/>
                      </a:path>
                    </a:pathLst>
                  </a:custGeom>
                  <a:solidFill>
                    <a:srgbClr val="01AAE5"/>
                  </a:solidFill>
                  <a:ln>
                    <a:noFill/>
                  </a:ln>
                  <a:extLst/>
                </p:spPr>
                <p:txBody>
                  <a:bodyPr/>
                  <a:lstStyle/>
                  <a:p>
                    <a:pPr eaLnBrk="1" hangingPunct="1">
                      <a:defRPr/>
                    </a:pPr>
                    <a:endParaRPr lang="zh-CN" altLang="en-US" sz="1050"/>
                  </a:p>
                </p:txBody>
              </p:sp>
              <p:sp>
                <p:nvSpPr>
                  <p:cNvPr id="3221" name="Freeform 1170"/>
                  <p:cNvSpPr>
                    <a:spLocks/>
                  </p:cNvSpPr>
                  <p:nvPr/>
                </p:nvSpPr>
                <p:spPr bwMode="auto">
                  <a:xfrm>
                    <a:off x="11488" y="2133"/>
                    <a:ext cx="8" cy="9"/>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22" name="Freeform 1171"/>
                  <p:cNvSpPr>
                    <a:spLocks/>
                  </p:cNvSpPr>
                  <p:nvPr/>
                </p:nvSpPr>
                <p:spPr bwMode="auto">
                  <a:xfrm>
                    <a:off x="11496" y="2151"/>
                    <a:ext cx="8" cy="0"/>
                  </a:xfrm>
                  <a:custGeom>
                    <a:avLst/>
                    <a:gdLst>
                      <a:gd name="T0" fmla="*/ 0 w 7"/>
                      <a:gd name="T1" fmla="*/ 5 h 5"/>
                      <a:gd name="T2" fmla="*/ 7 w 7"/>
                      <a:gd name="T3" fmla="*/ 2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23" name="Freeform 1172"/>
                  <p:cNvSpPr>
                    <a:spLocks/>
                  </p:cNvSpPr>
                  <p:nvPr/>
                </p:nvSpPr>
                <p:spPr bwMode="auto">
                  <a:xfrm>
                    <a:off x="11496" y="2142"/>
                    <a:ext cx="0" cy="9"/>
                  </a:xfrm>
                  <a:custGeom>
                    <a:avLst/>
                    <a:gdLst>
                      <a:gd name="T0" fmla="*/ 2 w 10"/>
                      <a:gd name="T1" fmla="*/ 5 h 5"/>
                      <a:gd name="T2" fmla="*/ 10 w 10"/>
                      <a:gd name="T3" fmla="*/ 0 h 5"/>
                      <a:gd name="T4" fmla="*/ 10 w 10"/>
                      <a:gd name="T5" fmla="*/ 0 h 5"/>
                      <a:gd name="T6" fmla="*/ 0 w 10"/>
                      <a:gd name="T7" fmla="*/ 5 h 5"/>
                      <a:gd name="T8" fmla="*/ 2 w 10"/>
                      <a:gd name="T9" fmla="*/ 5 h 5"/>
                    </a:gdLst>
                    <a:ahLst/>
                    <a:cxnLst>
                      <a:cxn ang="0">
                        <a:pos x="T0" y="T1"/>
                      </a:cxn>
                      <a:cxn ang="0">
                        <a:pos x="T2" y="T3"/>
                      </a:cxn>
                      <a:cxn ang="0">
                        <a:pos x="T4" y="T5"/>
                      </a:cxn>
                      <a:cxn ang="0">
                        <a:pos x="T6" y="T7"/>
                      </a:cxn>
                      <a:cxn ang="0">
                        <a:pos x="T8" y="T9"/>
                      </a:cxn>
                    </a:cxnLst>
                    <a:rect l="0" t="0" r="r" b="b"/>
                    <a:pathLst>
                      <a:path w="10" h="5">
                        <a:moveTo>
                          <a:pt x="2" y="5"/>
                        </a:moveTo>
                        <a:lnTo>
                          <a:pt x="10" y="0"/>
                        </a:lnTo>
                        <a:lnTo>
                          <a:pt x="10"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24" name="Freeform 1173"/>
                  <p:cNvSpPr>
                    <a:spLocks/>
                  </p:cNvSpPr>
                  <p:nvPr/>
                </p:nvSpPr>
                <p:spPr bwMode="auto">
                  <a:xfrm>
                    <a:off x="11472" y="2116"/>
                    <a:ext cx="17" cy="9"/>
                  </a:xfrm>
                  <a:custGeom>
                    <a:avLst/>
                    <a:gdLst>
                      <a:gd name="T0" fmla="*/ 2 w 19"/>
                      <a:gd name="T1" fmla="*/ 14 h 14"/>
                      <a:gd name="T2" fmla="*/ 19 w 19"/>
                      <a:gd name="T3" fmla="*/ 2 h 14"/>
                      <a:gd name="T4" fmla="*/ 19 w 19"/>
                      <a:gd name="T5" fmla="*/ 0 h 14"/>
                      <a:gd name="T6" fmla="*/ 0 w 19"/>
                      <a:gd name="T7" fmla="*/ 14 h 14"/>
                      <a:gd name="T8" fmla="*/ 2 w 19"/>
                      <a:gd name="T9" fmla="*/ 14 h 14"/>
                    </a:gdLst>
                    <a:ahLst/>
                    <a:cxnLst>
                      <a:cxn ang="0">
                        <a:pos x="T0" y="T1"/>
                      </a:cxn>
                      <a:cxn ang="0">
                        <a:pos x="T2" y="T3"/>
                      </a:cxn>
                      <a:cxn ang="0">
                        <a:pos x="T4" y="T5"/>
                      </a:cxn>
                      <a:cxn ang="0">
                        <a:pos x="T6" y="T7"/>
                      </a:cxn>
                      <a:cxn ang="0">
                        <a:pos x="T8" y="T9"/>
                      </a:cxn>
                    </a:cxnLst>
                    <a:rect l="0" t="0" r="r" b="b"/>
                    <a:pathLst>
                      <a:path w="19" h="14">
                        <a:moveTo>
                          <a:pt x="2" y="14"/>
                        </a:moveTo>
                        <a:lnTo>
                          <a:pt x="19" y="2"/>
                        </a:lnTo>
                        <a:lnTo>
                          <a:pt x="19" y="0"/>
                        </a:lnTo>
                        <a:lnTo>
                          <a:pt x="0"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3225" name="Freeform 1174"/>
                  <p:cNvSpPr>
                    <a:spLocks/>
                  </p:cNvSpPr>
                  <p:nvPr/>
                </p:nvSpPr>
                <p:spPr bwMode="auto">
                  <a:xfrm>
                    <a:off x="11472" y="2116"/>
                    <a:ext cx="25" cy="9"/>
                  </a:xfrm>
                  <a:custGeom>
                    <a:avLst/>
                    <a:gdLst>
                      <a:gd name="T0" fmla="*/ 3 w 19"/>
                      <a:gd name="T1" fmla="*/ 14 h 14"/>
                      <a:gd name="T2" fmla="*/ 19 w 19"/>
                      <a:gd name="T3" fmla="*/ 2 h 14"/>
                      <a:gd name="T4" fmla="*/ 19 w 19"/>
                      <a:gd name="T5" fmla="*/ 0 h 14"/>
                      <a:gd name="T6" fmla="*/ 0 w 19"/>
                      <a:gd name="T7" fmla="*/ 14 h 14"/>
                      <a:gd name="T8" fmla="*/ 3 w 19"/>
                      <a:gd name="T9" fmla="*/ 14 h 14"/>
                    </a:gdLst>
                    <a:ahLst/>
                    <a:cxnLst>
                      <a:cxn ang="0">
                        <a:pos x="T0" y="T1"/>
                      </a:cxn>
                      <a:cxn ang="0">
                        <a:pos x="T2" y="T3"/>
                      </a:cxn>
                      <a:cxn ang="0">
                        <a:pos x="T4" y="T5"/>
                      </a:cxn>
                      <a:cxn ang="0">
                        <a:pos x="T6" y="T7"/>
                      </a:cxn>
                      <a:cxn ang="0">
                        <a:pos x="T8" y="T9"/>
                      </a:cxn>
                    </a:cxnLst>
                    <a:rect l="0" t="0" r="r" b="b"/>
                    <a:pathLst>
                      <a:path w="19" h="14">
                        <a:moveTo>
                          <a:pt x="3" y="14"/>
                        </a:moveTo>
                        <a:lnTo>
                          <a:pt x="19" y="2"/>
                        </a:lnTo>
                        <a:lnTo>
                          <a:pt x="19"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3226" name="Freeform 1175"/>
                  <p:cNvSpPr>
                    <a:spLocks/>
                  </p:cNvSpPr>
                  <p:nvPr/>
                </p:nvSpPr>
                <p:spPr bwMode="auto">
                  <a:xfrm>
                    <a:off x="11430" y="2055"/>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27" name="Freeform 1176"/>
                  <p:cNvSpPr>
                    <a:spLocks/>
                  </p:cNvSpPr>
                  <p:nvPr/>
                </p:nvSpPr>
                <p:spPr bwMode="auto">
                  <a:xfrm>
                    <a:off x="11480" y="2125"/>
                    <a:ext cx="17" cy="17"/>
                  </a:xfrm>
                  <a:custGeom>
                    <a:avLst/>
                    <a:gdLst>
                      <a:gd name="T0" fmla="*/ 0 w 12"/>
                      <a:gd name="T1" fmla="*/ 10 h 10"/>
                      <a:gd name="T2" fmla="*/ 12 w 12"/>
                      <a:gd name="T3" fmla="*/ 3 h 10"/>
                      <a:gd name="T4" fmla="*/ 12 w 12"/>
                      <a:gd name="T5" fmla="*/ 0 h 10"/>
                      <a:gd name="T6" fmla="*/ 0 w 12"/>
                      <a:gd name="T7" fmla="*/ 10 h 10"/>
                      <a:gd name="T8" fmla="*/ 0 w 12"/>
                      <a:gd name="T9" fmla="*/ 10 h 10"/>
                    </a:gdLst>
                    <a:ahLst/>
                    <a:cxnLst>
                      <a:cxn ang="0">
                        <a:pos x="T0" y="T1"/>
                      </a:cxn>
                      <a:cxn ang="0">
                        <a:pos x="T2" y="T3"/>
                      </a:cxn>
                      <a:cxn ang="0">
                        <a:pos x="T4" y="T5"/>
                      </a:cxn>
                      <a:cxn ang="0">
                        <a:pos x="T6" y="T7"/>
                      </a:cxn>
                      <a:cxn ang="0">
                        <a:pos x="T8" y="T9"/>
                      </a:cxn>
                    </a:cxnLst>
                    <a:rect l="0" t="0" r="r" b="b"/>
                    <a:pathLst>
                      <a:path w="12" h="10">
                        <a:moveTo>
                          <a:pt x="0" y="10"/>
                        </a:moveTo>
                        <a:lnTo>
                          <a:pt x="12" y="3"/>
                        </a:lnTo>
                        <a:lnTo>
                          <a:pt x="12"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228" name="Freeform 1177"/>
                  <p:cNvSpPr>
                    <a:spLocks/>
                  </p:cNvSpPr>
                  <p:nvPr/>
                </p:nvSpPr>
                <p:spPr bwMode="auto">
                  <a:xfrm>
                    <a:off x="11480" y="2125"/>
                    <a:ext cx="17" cy="9"/>
                  </a:xfrm>
                  <a:custGeom>
                    <a:avLst/>
                    <a:gdLst>
                      <a:gd name="T0" fmla="*/ 0 w 14"/>
                      <a:gd name="T1" fmla="*/ 9 h 9"/>
                      <a:gd name="T2" fmla="*/ 14 w 14"/>
                      <a:gd name="T3" fmla="*/ 0 h 9"/>
                      <a:gd name="T4" fmla="*/ 14 w 14"/>
                      <a:gd name="T5" fmla="*/ 0 h 9"/>
                      <a:gd name="T6" fmla="*/ 0 w 14"/>
                      <a:gd name="T7" fmla="*/ 9 h 9"/>
                      <a:gd name="T8" fmla="*/ 0 w 14"/>
                      <a:gd name="T9" fmla="*/ 9 h 9"/>
                    </a:gdLst>
                    <a:ahLst/>
                    <a:cxnLst>
                      <a:cxn ang="0">
                        <a:pos x="T0" y="T1"/>
                      </a:cxn>
                      <a:cxn ang="0">
                        <a:pos x="T2" y="T3"/>
                      </a:cxn>
                      <a:cxn ang="0">
                        <a:pos x="T4" y="T5"/>
                      </a:cxn>
                      <a:cxn ang="0">
                        <a:pos x="T6" y="T7"/>
                      </a:cxn>
                      <a:cxn ang="0">
                        <a:pos x="T8" y="T9"/>
                      </a:cxn>
                    </a:cxnLst>
                    <a:rect l="0" t="0" r="r" b="b"/>
                    <a:pathLst>
                      <a:path w="14" h="9">
                        <a:moveTo>
                          <a:pt x="0" y="9"/>
                        </a:moveTo>
                        <a:lnTo>
                          <a:pt x="14" y="0"/>
                        </a:lnTo>
                        <a:lnTo>
                          <a:pt x="14"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229" name="Freeform 1178"/>
                  <p:cNvSpPr>
                    <a:spLocks/>
                  </p:cNvSpPr>
                  <p:nvPr/>
                </p:nvSpPr>
                <p:spPr bwMode="auto">
                  <a:xfrm>
                    <a:off x="11505" y="2159"/>
                    <a:ext cx="0" cy="0"/>
                  </a:xfrm>
                  <a:custGeom>
                    <a:avLst/>
                    <a:gdLst>
                      <a:gd name="T0" fmla="*/ 0 w 5"/>
                      <a:gd name="T1" fmla="*/ 5 h 5"/>
                      <a:gd name="T2" fmla="*/ 5 w 5"/>
                      <a:gd name="T3" fmla="*/ 0 h 5"/>
                      <a:gd name="T4" fmla="*/ 5 w 5"/>
                      <a:gd name="T5" fmla="*/ 0 h 5"/>
                      <a:gd name="T6" fmla="*/ 0 w 5"/>
                      <a:gd name="T7" fmla="*/ 2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30" name="Freeform 1179"/>
                  <p:cNvSpPr>
                    <a:spLocks/>
                  </p:cNvSpPr>
                  <p:nvPr/>
                </p:nvSpPr>
                <p:spPr bwMode="auto">
                  <a:xfrm>
                    <a:off x="11472" y="2116"/>
                    <a:ext cx="25" cy="17"/>
                  </a:xfrm>
                  <a:custGeom>
                    <a:avLst/>
                    <a:gdLst>
                      <a:gd name="T0" fmla="*/ 2 w 18"/>
                      <a:gd name="T1" fmla="*/ 12 h 12"/>
                      <a:gd name="T2" fmla="*/ 18 w 18"/>
                      <a:gd name="T3" fmla="*/ 0 h 12"/>
                      <a:gd name="T4" fmla="*/ 16 w 18"/>
                      <a:gd name="T5" fmla="*/ 0 h 12"/>
                      <a:gd name="T6" fmla="*/ 0 w 18"/>
                      <a:gd name="T7" fmla="*/ 12 h 12"/>
                      <a:gd name="T8" fmla="*/ 2 w 18"/>
                      <a:gd name="T9" fmla="*/ 12 h 12"/>
                    </a:gdLst>
                    <a:ahLst/>
                    <a:cxnLst>
                      <a:cxn ang="0">
                        <a:pos x="T0" y="T1"/>
                      </a:cxn>
                      <a:cxn ang="0">
                        <a:pos x="T2" y="T3"/>
                      </a:cxn>
                      <a:cxn ang="0">
                        <a:pos x="T4" y="T5"/>
                      </a:cxn>
                      <a:cxn ang="0">
                        <a:pos x="T6" y="T7"/>
                      </a:cxn>
                      <a:cxn ang="0">
                        <a:pos x="T8" y="T9"/>
                      </a:cxn>
                    </a:cxnLst>
                    <a:rect l="0" t="0" r="r" b="b"/>
                    <a:pathLst>
                      <a:path w="18" h="12">
                        <a:moveTo>
                          <a:pt x="2" y="12"/>
                        </a:moveTo>
                        <a:lnTo>
                          <a:pt x="18" y="0"/>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231" name="Freeform 1180"/>
                  <p:cNvSpPr>
                    <a:spLocks/>
                  </p:cNvSpPr>
                  <p:nvPr/>
                </p:nvSpPr>
                <p:spPr bwMode="auto">
                  <a:xfrm>
                    <a:off x="11472" y="2107"/>
                    <a:ext cx="17" cy="17"/>
                  </a:xfrm>
                  <a:custGeom>
                    <a:avLst/>
                    <a:gdLst>
                      <a:gd name="T0" fmla="*/ 0 w 16"/>
                      <a:gd name="T1" fmla="*/ 15 h 15"/>
                      <a:gd name="T2" fmla="*/ 16 w 16"/>
                      <a:gd name="T3" fmla="*/ 0 h 15"/>
                      <a:gd name="T4" fmla="*/ 16 w 16"/>
                      <a:gd name="T5" fmla="*/ 0 h 15"/>
                      <a:gd name="T6" fmla="*/ 0 w 16"/>
                      <a:gd name="T7" fmla="*/ 12 h 15"/>
                      <a:gd name="T8" fmla="*/ 0 w 16"/>
                      <a:gd name="T9" fmla="*/ 15 h 15"/>
                    </a:gdLst>
                    <a:ahLst/>
                    <a:cxnLst>
                      <a:cxn ang="0">
                        <a:pos x="T0" y="T1"/>
                      </a:cxn>
                      <a:cxn ang="0">
                        <a:pos x="T2" y="T3"/>
                      </a:cxn>
                      <a:cxn ang="0">
                        <a:pos x="T4" y="T5"/>
                      </a:cxn>
                      <a:cxn ang="0">
                        <a:pos x="T6" y="T7"/>
                      </a:cxn>
                      <a:cxn ang="0">
                        <a:pos x="T8" y="T9"/>
                      </a:cxn>
                    </a:cxnLst>
                    <a:rect l="0" t="0" r="r" b="b"/>
                    <a:pathLst>
                      <a:path w="16" h="15">
                        <a:moveTo>
                          <a:pt x="0" y="15"/>
                        </a:moveTo>
                        <a:lnTo>
                          <a:pt x="16" y="0"/>
                        </a:lnTo>
                        <a:lnTo>
                          <a:pt x="16" y="0"/>
                        </a:lnTo>
                        <a:lnTo>
                          <a:pt x="0" y="12"/>
                        </a:lnTo>
                        <a:lnTo>
                          <a:pt x="0" y="15"/>
                        </a:lnTo>
                        <a:close/>
                      </a:path>
                    </a:pathLst>
                  </a:custGeom>
                  <a:solidFill>
                    <a:srgbClr val="01AAE5"/>
                  </a:solidFill>
                  <a:ln>
                    <a:noFill/>
                  </a:ln>
                  <a:extLst/>
                </p:spPr>
                <p:txBody>
                  <a:bodyPr/>
                  <a:lstStyle/>
                  <a:p>
                    <a:pPr eaLnBrk="1" hangingPunct="1">
                      <a:defRPr/>
                    </a:pPr>
                    <a:endParaRPr lang="zh-CN" altLang="en-US" sz="1050"/>
                  </a:p>
                </p:txBody>
              </p:sp>
              <p:sp>
                <p:nvSpPr>
                  <p:cNvPr id="3232" name="Freeform 1181"/>
                  <p:cNvSpPr>
                    <a:spLocks/>
                  </p:cNvSpPr>
                  <p:nvPr/>
                </p:nvSpPr>
                <p:spPr bwMode="auto">
                  <a:xfrm>
                    <a:off x="11605" y="2438"/>
                    <a:ext cx="17" cy="9"/>
                  </a:xfrm>
                  <a:custGeom>
                    <a:avLst/>
                    <a:gdLst>
                      <a:gd name="T0" fmla="*/ 2 w 16"/>
                      <a:gd name="T1" fmla="*/ 3 h 3"/>
                      <a:gd name="T2" fmla="*/ 16 w 16"/>
                      <a:gd name="T3" fmla="*/ 0 h 3"/>
                      <a:gd name="T4" fmla="*/ 16 w 16"/>
                      <a:gd name="T5" fmla="*/ 0 h 3"/>
                      <a:gd name="T6" fmla="*/ 0 w 16"/>
                      <a:gd name="T7" fmla="*/ 3 h 3"/>
                      <a:gd name="T8" fmla="*/ 2 w 16"/>
                      <a:gd name="T9" fmla="*/ 3 h 3"/>
                    </a:gdLst>
                    <a:ahLst/>
                    <a:cxnLst>
                      <a:cxn ang="0">
                        <a:pos x="T0" y="T1"/>
                      </a:cxn>
                      <a:cxn ang="0">
                        <a:pos x="T2" y="T3"/>
                      </a:cxn>
                      <a:cxn ang="0">
                        <a:pos x="T4" y="T5"/>
                      </a:cxn>
                      <a:cxn ang="0">
                        <a:pos x="T6" y="T7"/>
                      </a:cxn>
                      <a:cxn ang="0">
                        <a:pos x="T8" y="T9"/>
                      </a:cxn>
                    </a:cxnLst>
                    <a:rect l="0" t="0" r="r" b="b"/>
                    <a:pathLst>
                      <a:path w="16" h="3">
                        <a:moveTo>
                          <a:pt x="2" y="3"/>
                        </a:moveTo>
                        <a:lnTo>
                          <a:pt x="16" y="0"/>
                        </a:lnTo>
                        <a:lnTo>
                          <a:pt x="16"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3233" name="Freeform 1182"/>
                  <p:cNvSpPr>
                    <a:spLocks/>
                  </p:cNvSpPr>
                  <p:nvPr/>
                </p:nvSpPr>
                <p:spPr bwMode="auto">
                  <a:xfrm>
                    <a:off x="11605" y="2430"/>
                    <a:ext cx="17" cy="9"/>
                  </a:xfrm>
                  <a:custGeom>
                    <a:avLst/>
                    <a:gdLst>
                      <a:gd name="T0" fmla="*/ 0 w 16"/>
                      <a:gd name="T1" fmla="*/ 5 h 5"/>
                      <a:gd name="T2" fmla="*/ 16 w 16"/>
                      <a:gd name="T3" fmla="*/ 3 h 5"/>
                      <a:gd name="T4" fmla="*/ 16 w 16"/>
                      <a:gd name="T5" fmla="*/ 0 h 5"/>
                      <a:gd name="T6" fmla="*/ 0 w 16"/>
                      <a:gd name="T7" fmla="*/ 5 h 5"/>
                      <a:gd name="T8" fmla="*/ 0 w 16"/>
                      <a:gd name="T9" fmla="*/ 5 h 5"/>
                    </a:gdLst>
                    <a:ahLst/>
                    <a:cxnLst>
                      <a:cxn ang="0">
                        <a:pos x="T0" y="T1"/>
                      </a:cxn>
                      <a:cxn ang="0">
                        <a:pos x="T2" y="T3"/>
                      </a:cxn>
                      <a:cxn ang="0">
                        <a:pos x="T4" y="T5"/>
                      </a:cxn>
                      <a:cxn ang="0">
                        <a:pos x="T6" y="T7"/>
                      </a:cxn>
                      <a:cxn ang="0">
                        <a:pos x="T8" y="T9"/>
                      </a:cxn>
                    </a:cxnLst>
                    <a:rect l="0" t="0" r="r" b="b"/>
                    <a:pathLst>
                      <a:path w="16" h="5">
                        <a:moveTo>
                          <a:pt x="0" y="5"/>
                        </a:moveTo>
                        <a:lnTo>
                          <a:pt x="16" y="3"/>
                        </a:lnTo>
                        <a:lnTo>
                          <a:pt x="16"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34" name="Freeform 1183"/>
                  <p:cNvSpPr>
                    <a:spLocks/>
                  </p:cNvSpPr>
                  <p:nvPr/>
                </p:nvSpPr>
                <p:spPr bwMode="auto">
                  <a:xfrm>
                    <a:off x="11605" y="2447"/>
                    <a:ext cx="17" cy="0"/>
                  </a:xfrm>
                  <a:custGeom>
                    <a:avLst/>
                    <a:gdLst>
                      <a:gd name="T0" fmla="*/ 0 w 14"/>
                      <a:gd name="T1" fmla="*/ 2 h 2"/>
                      <a:gd name="T2" fmla="*/ 14 w 14"/>
                      <a:gd name="T3" fmla="*/ 0 h 2"/>
                      <a:gd name="T4" fmla="*/ 14 w 14"/>
                      <a:gd name="T5" fmla="*/ 0 h 2"/>
                      <a:gd name="T6" fmla="*/ 0 w 14"/>
                      <a:gd name="T7" fmla="*/ 0 h 2"/>
                      <a:gd name="T8" fmla="*/ 0 w 14"/>
                      <a:gd name="T9" fmla="*/ 2 h 2"/>
                    </a:gdLst>
                    <a:ahLst/>
                    <a:cxnLst>
                      <a:cxn ang="0">
                        <a:pos x="T0" y="T1"/>
                      </a:cxn>
                      <a:cxn ang="0">
                        <a:pos x="T2" y="T3"/>
                      </a:cxn>
                      <a:cxn ang="0">
                        <a:pos x="T4" y="T5"/>
                      </a:cxn>
                      <a:cxn ang="0">
                        <a:pos x="T6" y="T7"/>
                      </a:cxn>
                      <a:cxn ang="0">
                        <a:pos x="T8" y="T9"/>
                      </a:cxn>
                    </a:cxnLst>
                    <a:rect l="0" t="0" r="r" b="b"/>
                    <a:pathLst>
                      <a:path w="14" h="2">
                        <a:moveTo>
                          <a:pt x="0" y="2"/>
                        </a:moveTo>
                        <a:lnTo>
                          <a:pt x="14" y="0"/>
                        </a:lnTo>
                        <a:lnTo>
                          <a:pt x="14"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35" name="Freeform 1184"/>
                  <p:cNvSpPr>
                    <a:spLocks/>
                  </p:cNvSpPr>
                  <p:nvPr/>
                </p:nvSpPr>
                <p:spPr bwMode="auto">
                  <a:xfrm>
                    <a:off x="11605" y="2430"/>
                    <a:ext cx="17" cy="0"/>
                  </a:xfrm>
                  <a:custGeom>
                    <a:avLst/>
                    <a:gdLst>
                      <a:gd name="T0" fmla="*/ 0 w 16"/>
                      <a:gd name="T1" fmla="*/ 2 h 2"/>
                      <a:gd name="T2" fmla="*/ 16 w 16"/>
                      <a:gd name="T3" fmla="*/ 0 h 2"/>
                      <a:gd name="T4" fmla="*/ 16 w 16"/>
                      <a:gd name="T5" fmla="*/ 0 h 2"/>
                      <a:gd name="T6" fmla="*/ 0 w 16"/>
                      <a:gd name="T7" fmla="*/ 2 h 2"/>
                      <a:gd name="T8" fmla="*/ 0 w 16"/>
                      <a:gd name="T9" fmla="*/ 2 h 2"/>
                    </a:gdLst>
                    <a:ahLst/>
                    <a:cxnLst>
                      <a:cxn ang="0">
                        <a:pos x="T0" y="T1"/>
                      </a:cxn>
                      <a:cxn ang="0">
                        <a:pos x="T2" y="T3"/>
                      </a:cxn>
                      <a:cxn ang="0">
                        <a:pos x="T4" y="T5"/>
                      </a:cxn>
                      <a:cxn ang="0">
                        <a:pos x="T6" y="T7"/>
                      </a:cxn>
                      <a:cxn ang="0">
                        <a:pos x="T8" y="T9"/>
                      </a:cxn>
                    </a:cxnLst>
                    <a:rect l="0" t="0" r="r" b="b"/>
                    <a:pathLst>
                      <a:path w="16" h="2">
                        <a:moveTo>
                          <a:pt x="0" y="2"/>
                        </a:moveTo>
                        <a:lnTo>
                          <a:pt x="16" y="0"/>
                        </a:lnTo>
                        <a:lnTo>
                          <a:pt x="16"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36" name="Freeform 1185"/>
                  <p:cNvSpPr>
                    <a:spLocks/>
                  </p:cNvSpPr>
                  <p:nvPr/>
                </p:nvSpPr>
                <p:spPr bwMode="auto">
                  <a:xfrm>
                    <a:off x="11605" y="2447"/>
                    <a:ext cx="17" cy="9"/>
                  </a:xfrm>
                  <a:custGeom>
                    <a:avLst/>
                    <a:gdLst>
                      <a:gd name="T0" fmla="*/ 2 w 14"/>
                      <a:gd name="T1" fmla="*/ 3 h 3"/>
                      <a:gd name="T2" fmla="*/ 14 w 14"/>
                      <a:gd name="T3" fmla="*/ 0 h 3"/>
                      <a:gd name="T4" fmla="*/ 14 w 14"/>
                      <a:gd name="T5" fmla="*/ 0 h 3"/>
                      <a:gd name="T6" fmla="*/ 0 w 14"/>
                      <a:gd name="T7" fmla="*/ 3 h 3"/>
                      <a:gd name="T8" fmla="*/ 2 w 14"/>
                      <a:gd name="T9" fmla="*/ 3 h 3"/>
                    </a:gdLst>
                    <a:ahLst/>
                    <a:cxnLst>
                      <a:cxn ang="0">
                        <a:pos x="T0" y="T1"/>
                      </a:cxn>
                      <a:cxn ang="0">
                        <a:pos x="T2" y="T3"/>
                      </a:cxn>
                      <a:cxn ang="0">
                        <a:pos x="T4" y="T5"/>
                      </a:cxn>
                      <a:cxn ang="0">
                        <a:pos x="T6" y="T7"/>
                      </a:cxn>
                      <a:cxn ang="0">
                        <a:pos x="T8" y="T9"/>
                      </a:cxn>
                    </a:cxnLst>
                    <a:rect l="0" t="0" r="r" b="b"/>
                    <a:pathLst>
                      <a:path w="14" h="3">
                        <a:moveTo>
                          <a:pt x="2" y="3"/>
                        </a:moveTo>
                        <a:lnTo>
                          <a:pt x="14" y="0"/>
                        </a:lnTo>
                        <a:lnTo>
                          <a:pt x="14"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3237" name="Freeform 1186"/>
                  <p:cNvSpPr>
                    <a:spLocks/>
                  </p:cNvSpPr>
                  <p:nvPr/>
                </p:nvSpPr>
                <p:spPr bwMode="auto">
                  <a:xfrm>
                    <a:off x="11605" y="2430"/>
                    <a:ext cx="17" cy="0"/>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38" name="Freeform 1187"/>
                  <p:cNvSpPr>
                    <a:spLocks/>
                  </p:cNvSpPr>
                  <p:nvPr/>
                </p:nvSpPr>
                <p:spPr bwMode="auto">
                  <a:xfrm>
                    <a:off x="11605" y="2456"/>
                    <a:ext cx="17" cy="9"/>
                  </a:xfrm>
                  <a:custGeom>
                    <a:avLst/>
                    <a:gdLst>
                      <a:gd name="T0" fmla="*/ 3 w 12"/>
                      <a:gd name="T1" fmla="*/ 3 h 3"/>
                      <a:gd name="T2" fmla="*/ 12 w 12"/>
                      <a:gd name="T3" fmla="*/ 3 h 3"/>
                      <a:gd name="T4" fmla="*/ 12 w 12"/>
                      <a:gd name="T5" fmla="*/ 0 h 3"/>
                      <a:gd name="T6" fmla="*/ 0 w 12"/>
                      <a:gd name="T7" fmla="*/ 3 h 3"/>
                      <a:gd name="T8" fmla="*/ 3 w 12"/>
                      <a:gd name="T9" fmla="*/ 3 h 3"/>
                    </a:gdLst>
                    <a:ahLst/>
                    <a:cxnLst>
                      <a:cxn ang="0">
                        <a:pos x="T0" y="T1"/>
                      </a:cxn>
                      <a:cxn ang="0">
                        <a:pos x="T2" y="T3"/>
                      </a:cxn>
                      <a:cxn ang="0">
                        <a:pos x="T4" y="T5"/>
                      </a:cxn>
                      <a:cxn ang="0">
                        <a:pos x="T6" y="T7"/>
                      </a:cxn>
                      <a:cxn ang="0">
                        <a:pos x="T8" y="T9"/>
                      </a:cxn>
                    </a:cxnLst>
                    <a:rect l="0" t="0" r="r" b="b"/>
                    <a:pathLst>
                      <a:path w="12" h="3">
                        <a:moveTo>
                          <a:pt x="3" y="3"/>
                        </a:moveTo>
                        <a:lnTo>
                          <a:pt x="12" y="3"/>
                        </a:lnTo>
                        <a:lnTo>
                          <a:pt x="12" y="0"/>
                        </a:lnTo>
                        <a:lnTo>
                          <a:pt x="0" y="3"/>
                        </a:lnTo>
                        <a:lnTo>
                          <a:pt x="3" y="3"/>
                        </a:lnTo>
                        <a:close/>
                      </a:path>
                    </a:pathLst>
                  </a:custGeom>
                  <a:solidFill>
                    <a:srgbClr val="01AAE5"/>
                  </a:solidFill>
                  <a:ln>
                    <a:noFill/>
                  </a:ln>
                  <a:extLst/>
                </p:spPr>
                <p:txBody>
                  <a:bodyPr/>
                  <a:lstStyle/>
                  <a:p>
                    <a:pPr eaLnBrk="1" hangingPunct="1">
                      <a:defRPr/>
                    </a:pPr>
                    <a:endParaRPr lang="zh-CN" altLang="en-US" sz="1050"/>
                  </a:p>
                </p:txBody>
              </p:sp>
              <p:sp>
                <p:nvSpPr>
                  <p:cNvPr id="3239" name="Freeform 1188"/>
                  <p:cNvSpPr>
                    <a:spLocks/>
                  </p:cNvSpPr>
                  <p:nvPr/>
                </p:nvSpPr>
                <p:spPr bwMode="auto">
                  <a:xfrm>
                    <a:off x="11605" y="2456"/>
                    <a:ext cx="17" cy="0"/>
                  </a:xfrm>
                  <a:custGeom>
                    <a:avLst/>
                    <a:gdLst>
                      <a:gd name="T0" fmla="*/ 0 w 12"/>
                      <a:gd name="T1" fmla="*/ 2 h 2"/>
                      <a:gd name="T2" fmla="*/ 12 w 12"/>
                      <a:gd name="T3" fmla="*/ 0 h 2"/>
                      <a:gd name="T4" fmla="*/ 12 w 12"/>
                      <a:gd name="T5" fmla="*/ 0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40" name="Freeform 1189"/>
                  <p:cNvSpPr>
                    <a:spLocks/>
                  </p:cNvSpPr>
                  <p:nvPr/>
                </p:nvSpPr>
                <p:spPr bwMode="auto">
                  <a:xfrm>
                    <a:off x="11596" y="2395"/>
                    <a:ext cx="17" cy="9"/>
                  </a:xfrm>
                  <a:custGeom>
                    <a:avLst/>
                    <a:gdLst>
                      <a:gd name="T0" fmla="*/ 0 w 19"/>
                      <a:gd name="T1" fmla="*/ 5 h 5"/>
                      <a:gd name="T2" fmla="*/ 19 w 19"/>
                      <a:gd name="T3" fmla="*/ 2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2"/>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1" name="Freeform 1190"/>
                  <p:cNvSpPr>
                    <a:spLocks/>
                  </p:cNvSpPr>
                  <p:nvPr/>
                </p:nvSpPr>
                <p:spPr bwMode="auto">
                  <a:xfrm>
                    <a:off x="11596" y="2403"/>
                    <a:ext cx="17" cy="9"/>
                  </a:xfrm>
                  <a:custGeom>
                    <a:avLst/>
                    <a:gdLst>
                      <a:gd name="T0" fmla="*/ 0 w 19"/>
                      <a:gd name="T1" fmla="*/ 4 h 4"/>
                      <a:gd name="T2" fmla="*/ 19 w 19"/>
                      <a:gd name="T3" fmla="*/ 0 h 4"/>
                      <a:gd name="T4" fmla="*/ 19 w 19"/>
                      <a:gd name="T5" fmla="*/ 0 h 4"/>
                      <a:gd name="T6" fmla="*/ 0 w 19"/>
                      <a:gd name="T7" fmla="*/ 2 h 4"/>
                      <a:gd name="T8" fmla="*/ 0 w 19"/>
                      <a:gd name="T9" fmla="*/ 4 h 4"/>
                    </a:gdLst>
                    <a:ahLst/>
                    <a:cxnLst>
                      <a:cxn ang="0">
                        <a:pos x="T0" y="T1"/>
                      </a:cxn>
                      <a:cxn ang="0">
                        <a:pos x="T2" y="T3"/>
                      </a:cxn>
                      <a:cxn ang="0">
                        <a:pos x="T4" y="T5"/>
                      </a:cxn>
                      <a:cxn ang="0">
                        <a:pos x="T6" y="T7"/>
                      </a:cxn>
                      <a:cxn ang="0">
                        <a:pos x="T8" y="T9"/>
                      </a:cxn>
                    </a:cxnLst>
                    <a:rect l="0" t="0" r="r" b="b"/>
                    <a:pathLst>
                      <a:path w="19" h="4">
                        <a:moveTo>
                          <a:pt x="0" y="4"/>
                        </a:moveTo>
                        <a:lnTo>
                          <a:pt x="19" y="0"/>
                        </a:lnTo>
                        <a:lnTo>
                          <a:pt x="19"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3242" name="Freeform 1191"/>
                  <p:cNvSpPr>
                    <a:spLocks/>
                  </p:cNvSpPr>
                  <p:nvPr/>
                </p:nvSpPr>
                <p:spPr bwMode="auto">
                  <a:xfrm>
                    <a:off x="11596" y="2403"/>
                    <a:ext cx="17" cy="9"/>
                  </a:xfrm>
                  <a:custGeom>
                    <a:avLst/>
                    <a:gdLst>
                      <a:gd name="T0" fmla="*/ 0 w 22"/>
                      <a:gd name="T1" fmla="*/ 5 h 5"/>
                      <a:gd name="T2" fmla="*/ 22 w 22"/>
                      <a:gd name="T3" fmla="*/ 2 h 5"/>
                      <a:gd name="T4" fmla="*/ 22 w 22"/>
                      <a:gd name="T5" fmla="*/ 0 h 5"/>
                      <a:gd name="T6" fmla="*/ 0 w 22"/>
                      <a:gd name="T7" fmla="*/ 5 h 5"/>
                      <a:gd name="T8" fmla="*/ 0 w 22"/>
                      <a:gd name="T9" fmla="*/ 5 h 5"/>
                    </a:gdLst>
                    <a:ahLst/>
                    <a:cxnLst>
                      <a:cxn ang="0">
                        <a:pos x="T0" y="T1"/>
                      </a:cxn>
                      <a:cxn ang="0">
                        <a:pos x="T2" y="T3"/>
                      </a:cxn>
                      <a:cxn ang="0">
                        <a:pos x="T4" y="T5"/>
                      </a:cxn>
                      <a:cxn ang="0">
                        <a:pos x="T6" y="T7"/>
                      </a:cxn>
                      <a:cxn ang="0">
                        <a:pos x="T8" y="T9"/>
                      </a:cxn>
                    </a:cxnLst>
                    <a:rect l="0" t="0" r="r" b="b"/>
                    <a:pathLst>
                      <a:path w="22" h="5">
                        <a:moveTo>
                          <a:pt x="0" y="5"/>
                        </a:moveTo>
                        <a:lnTo>
                          <a:pt x="22" y="2"/>
                        </a:lnTo>
                        <a:lnTo>
                          <a:pt x="2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3" name="Freeform 1192"/>
                  <p:cNvSpPr>
                    <a:spLocks/>
                  </p:cNvSpPr>
                  <p:nvPr/>
                </p:nvSpPr>
                <p:spPr bwMode="auto">
                  <a:xfrm>
                    <a:off x="11596" y="2412"/>
                    <a:ext cx="17" cy="9"/>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4" name="Freeform 1193"/>
                  <p:cNvSpPr>
                    <a:spLocks/>
                  </p:cNvSpPr>
                  <p:nvPr/>
                </p:nvSpPr>
                <p:spPr bwMode="auto">
                  <a:xfrm>
                    <a:off x="11605" y="2464"/>
                    <a:ext cx="17" cy="0"/>
                  </a:xfrm>
                  <a:custGeom>
                    <a:avLst/>
                    <a:gdLst>
                      <a:gd name="T0" fmla="*/ 0 w 9"/>
                      <a:gd name="T1" fmla="*/ 2 h 2"/>
                      <a:gd name="T2" fmla="*/ 9 w 9"/>
                      <a:gd name="T3" fmla="*/ 0 h 2"/>
                      <a:gd name="T4" fmla="*/ 9 w 9"/>
                      <a:gd name="T5" fmla="*/ 0 h 2"/>
                      <a:gd name="T6" fmla="*/ 0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9" y="0"/>
                        </a:lnTo>
                        <a:lnTo>
                          <a:pt x="9"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45" name="Freeform 1194"/>
                  <p:cNvSpPr>
                    <a:spLocks/>
                  </p:cNvSpPr>
                  <p:nvPr/>
                </p:nvSpPr>
                <p:spPr bwMode="auto">
                  <a:xfrm>
                    <a:off x="11605" y="2430"/>
                    <a:ext cx="17" cy="0"/>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6" name="Freeform 1195"/>
                  <p:cNvSpPr>
                    <a:spLocks/>
                  </p:cNvSpPr>
                  <p:nvPr/>
                </p:nvSpPr>
                <p:spPr bwMode="auto">
                  <a:xfrm>
                    <a:off x="11596" y="2421"/>
                    <a:ext cx="25" cy="9"/>
                  </a:xfrm>
                  <a:custGeom>
                    <a:avLst/>
                    <a:gdLst>
                      <a:gd name="T0" fmla="*/ 0 w 21"/>
                      <a:gd name="T1" fmla="*/ 5 h 5"/>
                      <a:gd name="T2" fmla="*/ 21 w 21"/>
                      <a:gd name="T3" fmla="*/ 3 h 5"/>
                      <a:gd name="T4" fmla="*/ 21 w 21"/>
                      <a:gd name="T5" fmla="*/ 0 h 5"/>
                      <a:gd name="T6" fmla="*/ 0 w 21"/>
                      <a:gd name="T7" fmla="*/ 5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3"/>
                        </a:lnTo>
                        <a:lnTo>
                          <a:pt x="21"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7" name="Freeform 1196"/>
                  <p:cNvSpPr>
                    <a:spLocks/>
                  </p:cNvSpPr>
                  <p:nvPr/>
                </p:nvSpPr>
                <p:spPr bwMode="auto">
                  <a:xfrm>
                    <a:off x="11596" y="2412"/>
                    <a:ext cx="17" cy="9"/>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8" name="Freeform 1197"/>
                  <p:cNvSpPr>
                    <a:spLocks/>
                  </p:cNvSpPr>
                  <p:nvPr/>
                </p:nvSpPr>
                <p:spPr bwMode="auto">
                  <a:xfrm>
                    <a:off x="11596" y="2421"/>
                    <a:ext cx="25" cy="9"/>
                  </a:xfrm>
                  <a:custGeom>
                    <a:avLst/>
                    <a:gdLst>
                      <a:gd name="T0" fmla="*/ 0 w 21"/>
                      <a:gd name="T1" fmla="*/ 5 h 5"/>
                      <a:gd name="T2" fmla="*/ 21 w 21"/>
                      <a:gd name="T3" fmla="*/ 0 h 5"/>
                      <a:gd name="T4" fmla="*/ 21 w 21"/>
                      <a:gd name="T5" fmla="*/ 0 h 5"/>
                      <a:gd name="T6" fmla="*/ 0 w 21"/>
                      <a:gd name="T7" fmla="*/ 2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0"/>
                        </a:lnTo>
                        <a:lnTo>
                          <a:pt x="21"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49" name="Freeform 1198"/>
                  <p:cNvSpPr>
                    <a:spLocks/>
                  </p:cNvSpPr>
                  <p:nvPr/>
                </p:nvSpPr>
                <p:spPr bwMode="auto">
                  <a:xfrm>
                    <a:off x="11613" y="2491"/>
                    <a:ext cx="8" cy="0"/>
                  </a:xfrm>
                  <a:custGeom>
                    <a:avLst/>
                    <a:gdLst>
                      <a:gd name="T0" fmla="*/ 0 w 7"/>
                      <a:gd name="T1" fmla="*/ 2 h 2"/>
                      <a:gd name="T2" fmla="*/ 7 w 7"/>
                      <a:gd name="T3" fmla="*/ 0 h 2"/>
                      <a:gd name="T4" fmla="*/ 7 w 7"/>
                      <a:gd name="T5" fmla="*/ 0 h 2"/>
                      <a:gd name="T6" fmla="*/ 0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50" name="Freeform 1199"/>
                  <p:cNvSpPr>
                    <a:spLocks/>
                  </p:cNvSpPr>
                  <p:nvPr/>
                </p:nvSpPr>
                <p:spPr bwMode="auto">
                  <a:xfrm>
                    <a:off x="11605" y="2464"/>
                    <a:ext cx="17" cy="0"/>
                  </a:xfrm>
                  <a:custGeom>
                    <a:avLst/>
                    <a:gdLst>
                      <a:gd name="T0" fmla="*/ 0 w 9"/>
                      <a:gd name="T1" fmla="*/ 3 h 3"/>
                      <a:gd name="T2" fmla="*/ 9 w 9"/>
                      <a:gd name="T3" fmla="*/ 3 h 3"/>
                      <a:gd name="T4" fmla="*/ 9 w 9"/>
                      <a:gd name="T5" fmla="*/ 0 h 3"/>
                      <a:gd name="T6" fmla="*/ 0 w 9"/>
                      <a:gd name="T7" fmla="*/ 3 h 3"/>
                      <a:gd name="T8" fmla="*/ 0 w 9"/>
                      <a:gd name="T9" fmla="*/ 3 h 3"/>
                    </a:gdLst>
                    <a:ahLst/>
                    <a:cxnLst>
                      <a:cxn ang="0">
                        <a:pos x="T0" y="T1"/>
                      </a:cxn>
                      <a:cxn ang="0">
                        <a:pos x="T2" y="T3"/>
                      </a:cxn>
                      <a:cxn ang="0">
                        <a:pos x="T4" y="T5"/>
                      </a:cxn>
                      <a:cxn ang="0">
                        <a:pos x="T6" y="T7"/>
                      </a:cxn>
                      <a:cxn ang="0">
                        <a:pos x="T8" y="T9"/>
                      </a:cxn>
                    </a:cxnLst>
                    <a:rect l="0" t="0" r="r" b="b"/>
                    <a:pathLst>
                      <a:path w="9" h="3">
                        <a:moveTo>
                          <a:pt x="0" y="3"/>
                        </a:moveTo>
                        <a:lnTo>
                          <a:pt x="9" y="3"/>
                        </a:lnTo>
                        <a:lnTo>
                          <a:pt x="9"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3251" name="Rectangle 1200"/>
                  <p:cNvSpPr>
                    <a:spLocks noChangeArrowheads="1"/>
                  </p:cNvSpPr>
                  <p:nvPr/>
                </p:nvSpPr>
                <p:spPr bwMode="auto">
                  <a:xfrm>
                    <a:off x="11613" y="2499"/>
                    <a:ext cx="8" cy="9"/>
                  </a:xfrm>
                  <a:prstGeom prst="rect">
                    <a:avLst/>
                  </a:prstGeom>
                  <a:solidFill>
                    <a:srgbClr val="01AAE5"/>
                  </a:solidFill>
                  <a:ln>
                    <a:noFill/>
                  </a:ln>
                  <a:extLst/>
                </p:spPr>
                <p:txBody>
                  <a:bodyPr/>
                  <a:lstStyle/>
                  <a:p>
                    <a:pPr eaLnBrk="1" hangingPunct="1">
                      <a:defRPr/>
                    </a:pPr>
                    <a:endParaRPr lang="zh-CN" altLang="en-US" sz="1050"/>
                  </a:p>
                </p:txBody>
              </p:sp>
              <p:sp>
                <p:nvSpPr>
                  <p:cNvPr id="3252" name="Freeform 1201"/>
                  <p:cNvSpPr>
                    <a:spLocks/>
                  </p:cNvSpPr>
                  <p:nvPr/>
                </p:nvSpPr>
                <p:spPr bwMode="auto">
                  <a:xfrm>
                    <a:off x="11596" y="2395"/>
                    <a:ext cx="17" cy="0"/>
                  </a:xfrm>
                  <a:custGeom>
                    <a:avLst/>
                    <a:gdLst>
                      <a:gd name="T0" fmla="*/ 0 w 17"/>
                      <a:gd name="T1" fmla="*/ 4 h 4"/>
                      <a:gd name="T2" fmla="*/ 17 w 17"/>
                      <a:gd name="T3" fmla="*/ 0 h 4"/>
                      <a:gd name="T4" fmla="*/ 17 w 17"/>
                      <a:gd name="T5" fmla="*/ 0 h 4"/>
                      <a:gd name="T6" fmla="*/ 0 w 17"/>
                      <a:gd name="T7" fmla="*/ 2 h 4"/>
                      <a:gd name="T8" fmla="*/ 0 w 17"/>
                      <a:gd name="T9" fmla="*/ 4 h 4"/>
                    </a:gdLst>
                    <a:ahLst/>
                    <a:cxnLst>
                      <a:cxn ang="0">
                        <a:pos x="T0" y="T1"/>
                      </a:cxn>
                      <a:cxn ang="0">
                        <a:pos x="T2" y="T3"/>
                      </a:cxn>
                      <a:cxn ang="0">
                        <a:pos x="T4" y="T5"/>
                      </a:cxn>
                      <a:cxn ang="0">
                        <a:pos x="T6" y="T7"/>
                      </a:cxn>
                      <a:cxn ang="0">
                        <a:pos x="T8" y="T9"/>
                      </a:cxn>
                    </a:cxnLst>
                    <a:rect l="0" t="0" r="r" b="b"/>
                    <a:pathLst>
                      <a:path w="17" h="4">
                        <a:moveTo>
                          <a:pt x="0" y="4"/>
                        </a:moveTo>
                        <a:lnTo>
                          <a:pt x="17" y="0"/>
                        </a:lnTo>
                        <a:lnTo>
                          <a:pt x="1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3253" name="Rectangle 1202"/>
                  <p:cNvSpPr>
                    <a:spLocks noChangeArrowheads="1"/>
                  </p:cNvSpPr>
                  <p:nvPr/>
                </p:nvSpPr>
                <p:spPr bwMode="auto">
                  <a:xfrm>
                    <a:off x="11613" y="2508"/>
                    <a:ext cx="8" cy="0"/>
                  </a:xfrm>
                  <a:prstGeom prst="rect">
                    <a:avLst/>
                  </a:prstGeom>
                  <a:solidFill>
                    <a:srgbClr val="01AAE5"/>
                  </a:solidFill>
                  <a:ln>
                    <a:noFill/>
                  </a:ln>
                  <a:extLst/>
                </p:spPr>
                <p:txBody>
                  <a:bodyPr/>
                  <a:lstStyle/>
                  <a:p>
                    <a:pPr eaLnBrk="1" hangingPunct="1">
                      <a:defRPr/>
                    </a:pPr>
                    <a:endParaRPr lang="zh-CN" altLang="en-US" sz="1050"/>
                  </a:p>
                </p:txBody>
              </p:sp>
              <p:sp>
                <p:nvSpPr>
                  <p:cNvPr id="3254" name="Rectangle 120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3255" name="Freeform 1204"/>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3256" name="Freeform 1205"/>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path>
                    </a:pathLst>
                  </a:custGeom>
                  <a:noFill/>
                  <a:ln>
                    <a:noFill/>
                  </a:ln>
                  <a:extLst/>
                </p:spPr>
                <p:txBody>
                  <a:bodyPr/>
                  <a:lstStyle/>
                  <a:p>
                    <a:pPr eaLnBrk="1" hangingPunct="1">
                      <a:defRPr/>
                    </a:pPr>
                    <a:endParaRPr lang="zh-CN" altLang="en-US" sz="1050"/>
                  </a:p>
                </p:txBody>
              </p:sp>
              <p:sp>
                <p:nvSpPr>
                  <p:cNvPr id="3257" name="Rectangle 1206"/>
                  <p:cNvSpPr>
                    <a:spLocks noChangeArrowheads="1"/>
                  </p:cNvSpPr>
                  <p:nvPr/>
                </p:nvSpPr>
                <p:spPr bwMode="auto">
                  <a:xfrm>
                    <a:off x="11613" y="2508"/>
                    <a:ext cx="8" cy="9"/>
                  </a:xfrm>
                  <a:prstGeom prst="rect">
                    <a:avLst/>
                  </a:prstGeom>
                  <a:solidFill>
                    <a:srgbClr val="01AAE5"/>
                  </a:solidFill>
                  <a:ln>
                    <a:noFill/>
                  </a:ln>
                  <a:extLst/>
                </p:spPr>
                <p:txBody>
                  <a:bodyPr/>
                  <a:lstStyle/>
                  <a:p>
                    <a:pPr eaLnBrk="1" hangingPunct="1">
                      <a:defRPr/>
                    </a:pPr>
                    <a:endParaRPr lang="zh-CN" altLang="en-US" sz="1050"/>
                  </a:p>
                </p:txBody>
              </p:sp>
              <p:sp>
                <p:nvSpPr>
                  <p:cNvPr id="3258" name="Rectangle 1207"/>
                  <p:cNvSpPr>
                    <a:spLocks noChangeArrowheads="1"/>
                  </p:cNvSpPr>
                  <p:nvPr/>
                </p:nvSpPr>
                <p:spPr bwMode="auto">
                  <a:xfrm>
                    <a:off x="11613" y="2517"/>
                    <a:ext cx="8" cy="0"/>
                  </a:xfrm>
                  <a:prstGeom prst="rect">
                    <a:avLst/>
                  </a:prstGeom>
                  <a:solidFill>
                    <a:srgbClr val="01AAE5"/>
                  </a:solidFill>
                  <a:ln>
                    <a:noFill/>
                  </a:ln>
                  <a:extLst/>
                </p:spPr>
                <p:txBody>
                  <a:bodyPr/>
                  <a:lstStyle/>
                  <a:p>
                    <a:pPr eaLnBrk="1" hangingPunct="1">
                      <a:defRPr/>
                    </a:pPr>
                    <a:endParaRPr lang="zh-CN" altLang="en-US" sz="1050"/>
                  </a:p>
                </p:txBody>
              </p:sp>
              <p:sp>
                <p:nvSpPr>
                  <p:cNvPr id="3259" name="Rectangle 1208"/>
                  <p:cNvSpPr>
                    <a:spLocks noChangeArrowheads="1"/>
                  </p:cNvSpPr>
                  <p:nvPr/>
                </p:nvSpPr>
                <p:spPr bwMode="auto">
                  <a:xfrm>
                    <a:off x="11613" y="2499"/>
                    <a:ext cx="8" cy="0"/>
                  </a:xfrm>
                  <a:prstGeom prst="rect">
                    <a:avLst/>
                  </a:prstGeom>
                  <a:solidFill>
                    <a:srgbClr val="01AAE5"/>
                  </a:solidFill>
                  <a:ln>
                    <a:noFill/>
                  </a:ln>
                  <a:extLst/>
                </p:spPr>
                <p:txBody>
                  <a:bodyPr/>
                  <a:lstStyle/>
                  <a:p>
                    <a:pPr eaLnBrk="1" hangingPunct="1">
                      <a:defRPr/>
                    </a:pPr>
                    <a:endParaRPr lang="zh-CN" altLang="en-US" sz="1050"/>
                  </a:p>
                </p:txBody>
              </p:sp>
              <p:sp>
                <p:nvSpPr>
                  <p:cNvPr id="3260" name="Freeform 1209"/>
                  <p:cNvSpPr>
                    <a:spLocks/>
                  </p:cNvSpPr>
                  <p:nvPr/>
                </p:nvSpPr>
                <p:spPr bwMode="auto">
                  <a:xfrm>
                    <a:off x="11613" y="2464"/>
                    <a:ext cx="8" cy="9"/>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61" name="Freeform 1210"/>
                  <p:cNvSpPr>
                    <a:spLocks/>
                  </p:cNvSpPr>
                  <p:nvPr/>
                </p:nvSpPr>
                <p:spPr bwMode="auto">
                  <a:xfrm>
                    <a:off x="11613" y="2491"/>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262" name="Freeform 1211"/>
                  <p:cNvSpPr>
                    <a:spLocks/>
                  </p:cNvSpPr>
                  <p:nvPr/>
                </p:nvSpPr>
                <p:spPr bwMode="auto">
                  <a:xfrm>
                    <a:off x="11613" y="2464"/>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263" name="Freeform 1212"/>
                  <p:cNvSpPr>
                    <a:spLocks/>
                  </p:cNvSpPr>
                  <p:nvPr/>
                </p:nvSpPr>
                <p:spPr bwMode="auto">
                  <a:xfrm>
                    <a:off x="11613" y="2473"/>
                    <a:ext cx="8" cy="0"/>
                  </a:xfrm>
                  <a:custGeom>
                    <a:avLst/>
                    <a:gdLst>
                      <a:gd name="T0" fmla="*/ 2 w 7"/>
                      <a:gd name="T1" fmla="*/ 3 h 3"/>
                      <a:gd name="T2" fmla="*/ 7 w 7"/>
                      <a:gd name="T3" fmla="*/ 0 h 3"/>
                      <a:gd name="T4" fmla="*/ 7 w 7"/>
                      <a:gd name="T5" fmla="*/ 0 h 3"/>
                      <a:gd name="T6" fmla="*/ 0 w 7"/>
                      <a:gd name="T7" fmla="*/ 0 h 3"/>
                      <a:gd name="T8" fmla="*/ 2 w 7"/>
                      <a:gd name="T9" fmla="*/ 3 h 3"/>
                    </a:gdLst>
                    <a:ahLst/>
                    <a:cxnLst>
                      <a:cxn ang="0">
                        <a:pos x="T0" y="T1"/>
                      </a:cxn>
                      <a:cxn ang="0">
                        <a:pos x="T2" y="T3"/>
                      </a:cxn>
                      <a:cxn ang="0">
                        <a:pos x="T4" y="T5"/>
                      </a:cxn>
                      <a:cxn ang="0">
                        <a:pos x="T6" y="T7"/>
                      </a:cxn>
                      <a:cxn ang="0">
                        <a:pos x="T8" y="T9"/>
                      </a:cxn>
                    </a:cxnLst>
                    <a:rect l="0" t="0" r="r" b="b"/>
                    <a:pathLst>
                      <a:path w="7" h="3">
                        <a:moveTo>
                          <a:pt x="2" y="3"/>
                        </a:moveTo>
                        <a:lnTo>
                          <a:pt x="7" y="0"/>
                        </a:lnTo>
                        <a:lnTo>
                          <a:pt x="7" y="0"/>
                        </a:lnTo>
                        <a:lnTo>
                          <a:pt x="0" y="0"/>
                        </a:lnTo>
                        <a:lnTo>
                          <a:pt x="2" y="3"/>
                        </a:lnTo>
                        <a:close/>
                      </a:path>
                    </a:pathLst>
                  </a:custGeom>
                  <a:solidFill>
                    <a:srgbClr val="01AAE5"/>
                  </a:solidFill>
                  <a:ln>
                    <a:noFill/>
                  </a:ln>
                  <a:extLst/>
                </p:spPr>
                <p:txBody>
                  <a:bodyPr/>
                  <a:lstStyle/>
                  <a:p>
                    <a:pPr eaLnBrk="1" hangingPunct="1">
                      <a:defRPr/>
                    </a:pPr>
                    <a:endParaRPr lang="zh-CN" altLang="en-US" sz="1050"/>
                  </a:p>
                </p:txBody>
              </p:sp>
              <p:sp>
                <p:nvSpPr>
                  <p:cNvPr id="3264" name="Rectangle 121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3265" name="Freeform 1214"/>
                  <p:cNvSpPr>
                    <a:spLocks/>
                  </p:cNvSpPr>
                  <p:nvPr/>
                </p:nvSpPr>
                <p:spPr bwMode="auto">
                  <a:xfrm>
                    <a:off x="11613" y="2473"/>
                    <a:ext cx="8" cy="9"/>
                  </a:xfrm>
                  <a:custGeom>
                    <a:avLst/>
                    <a:gdLst>
                      <a:gd name="T0" fmla="*/ 0 w 5"/>
                      <a:gd name="T1" fmla="*/ 2 h 2"/>
                      <a:gd name="T2" fmla="*/ 5 w 5"/>
                      <a:gd name="T3" fmla="*/ 2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2"/>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66" name="Freeform 1215"/>
                  <p:cNvSpPr>
                    <a:spLocks/>
                  </p:cNvSpPr>
                  <p:nvPr/>
                </p:nvSpPr>
                <p:spPr bwMode="auto">
                  <a:xfrm>
                    <a:off x="11613" y="2482"/>
                    <a:ext cx="8" cy="0"/>
                  </a:xfrm>
                  <a:custGeom>
                    <a:avLst/>
                    <a:gdLst>
                      <a:gd name="T0" fmla="*/ 0 w 5"/>
                      <a:gd name="T1" fmla="*/ 3 h 3"/>
                      <a:gd name="T2" fmla="*/ 5 w 5"/>
                      <a:gd name="T3" fmla="*/ 0 h 3"/>
                      <a:gd name="T4" fmla="*/ 5 w 5"/>
                      <a:gd name="T5" fmla="*/ 0 h 3"/>
                      <a:gd name="T6" fmla="*/ 0 w 5"/>
                      <a:gd name="T7" fmla="*/ 0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267" name="Freeform 1216"/>
                  <p:cNvSpPr>
                    <a:spLocks/>
                  </p:cNvSpPr>
                  <p:nvPr/>
                </p:nvSpPr>
                <p:spPr bwMode="auto">
                  <a:xfrm>
                    <a:off x="11596" y="2369"/>
                    <a:ext cx="8" cy="0"/>
                  </a:xfrm>
                  <a:custGeom>
                    <a:avLst/>
                    <a:gdLst>
                      <a:gd name="T0" fmla="*/ 0 w 10"/>
                      <a:gd name="T1" fmla="*/ 5 h 5"/>
                      <a:gd name="T2" fmla="*/ 10 w 10"/>
                      <a:gd name="T3" fmla="*/ 0 h 5"/>
                      <a:gd name="T4" fmla="*/ 10 w 10"/>
                      <a:gd name="T5" fmla="*/ 0 h 5"/>
                      <a:gd name="T6" fmla="*/ 0 w 10"/>
                      <a:gd name="T7" fmla="*/ 3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0"/>
                        </a:lnTo>
                        <a:lnTo>
                          <a:pt x="10"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68" name="Freeform 1217"/>
                  <p:cNvSpPr>
                    <a:spLocks/>
                  </p:cNvSpPr>
                  <p:nvPr/>
                </p:nvSpPr>
                <p:spPr bwMode="auto">
                  <a:xfrm>
                    <a:off x="11571" y="2308"/>
                    <a:ext cx="25" cy="0"/>
                  </a:xfrm>
                  <a:custGeom>
                    <a:avLst/>
                    <a:gdLst>
                      <a:gd name="T0" fmla="*/ 0 w 24"/>
                      <a:gd name="T1" fmla="*/ 10 h 10"/>
                      <a:gd name="T2" fmla="*/ 24 w 24"/>
                      <a:gd name="T3" fmla="*/ 3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3"/>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269" name="Freeform 1218"/>
                  <p:cNvSpPr>
                    <a:spLocks/>
                  </p:cNvSpPr>
                  <p:nvPr/>
                </p:nvSpPr>
                <p:spPr bwMode="auto">
                  <a:xfrm>
                    <a:off x="11580" y="2316"/>
                    <a:ext cx="17" cy="9"/>
                  </a:xfrm>
                  <a:custGeom>
                    <a:avLst/>
                    <a:gdLst>
                      <a:gd name="T0" fmla="*/ 3 w 19"/>
                      <a:gd name="T1" fmla="*/ 7 h 7"/>
                      <a:gd name="T2" fmla="*/ 19 w 19"/>
                      <a:gd name="T3" fmla="*/ 2 h 7"/>
                      <a:gd name="T4" fmla="*/ 19 w 19"/>
                      <a:gd name="T5" fmla="*/ 0 h 7"/>
                      <a:gd name="T6" fmla="*/ 0 w 19"/>
                      <a:gd name="T7" fmla="*/ 7 h 7"/>
                      <a:gd name="T8" fmla="*/ 3 w 19"/>
                      <a:gd name="T9" fmla="*/ 7 h 7"/>
                    </a:gdLst>
                    <a:ahLst/>
                    <a:cxnLst>
                      <a:cxn ang="0">
                        <a:pos x="T0" y="T1"/>
                      </a:cxn>
                      <a:cxn ang="0">
                        <a:pos x="T2" y="T3"/>
                      </a:cxn>
                      <a:cxn ang="0">
                        <a:pos x="T4" y="T5"/>
                      </a:cxn>
                      <a:cxn ang="0">
                        <a:pos x="T6" y="T7"/>
                      </a:cxn>
                      <a:cxn ang="0">
                        <a:pos x="T8" y="T9"/>
                      </a:cxn>
                    </a:cxnLst>
                    <a:rect l="0" t="0" r="r" b="b"/>
                    <a:pathLst>
                      <a:path w="19" h="7">
                        <a:moveTo>
                          <a:pt x="3" y="7"/>
                        </a:moveTo>
                        <a:lnTo>
                          <a:pt x="19" y="2"/>
                        </a:lnTo>
                        <a:lnTo>
                          <a:pt x="19"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3270" name="Freeform 1219"/>
                  <p:cNvSpPr>
                    <a:spLocks/>
                  </p:cNvSpPr>
                  <p:nvPr/>
                </p:nvSpPr>
                <p:spPr bwMode="auto">
                  <a:xfrm>
                    <a:off x="11580" y="2308"/>
                    <a:ext cx="17" cy="9"/>
                  </a:xfrm>
                  <a:custGeom>
                    <a:avLst/>
                    <a:gdLst>
                      <a:gd name="T0" fmla="*/ 0 w 19"/>
                      <a:gd name="T1" fmla="*/ 7 h 7"/>
                      <a:gd name="T2" fmla="*/ 19 w 19"/>
                      <a:gd name="T3" fmla="*/ 0 h 7"/>
                      <a:gd name="T4" fmla="*/ 19 w 19"/>
                      <a:gd name="T5" fmla="*/ 0 h 7"/>
                      <a:gd name="T6" fmla="*/ 0 w 19"/>
                      <a:gd name="T7" fmla="*/ 4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9"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71" name="Freeform 1220"/>
                  <p:cNvSpPr>
                    <a:spLocks/>
                  </p:cNvSpPr>
                  <p:nvPr/>
                </p:nvSpPr>
                <p:spPr bwMode="auto">
                  <a:xfrm>
                    <a:off x="11571" y="2308"/>
                    <a:ext cx="25" cy="9"/>
                  </a:xfrm>
                  <a:custGeom>
                    <a:avLst/>
                    <a:gdLst>
                      <a:gd name="T0" fmla="*/ 0 w 21"/>
                      <a:gd name="T1" fmla="*/ 7 h 7"/>
                      <a:gd name="T2" fmla="*/ 21 w 21"/>
                      <a:gd name="T3" fmla="*/ 0 h 7"/>
                      <a:gd name="T4" fmla="*/ 21 w 21"/>
                      <a:gd name="T5" fmla="*/ 0 h 7"/>
                      <a:gd name="T6" fmla="*/ 0 w 21"/>
                      <a:gd name="T7" fmla="*/ 7 h 7"/>
                      <a:gd name="T8" fmla="*/ 0 w 21"/>
                      <a:gd name="T9" fmla="*/ 7 h 7"/>
                    </a:gdLst>
                    <a:ahLst/>
                    <a:cxnLst>
                      <a:cxn ang="0">
                        <a:pos x="T0" y="T1"/>
                      </a:cxn>
                      <a:cxn ang="0">
                        <a:pos x="T2" y="T3"/>
                      </a:cxn>
                      <a:cxn ang="0">
                        <a:pos x="T4" y="T5"/>
                      </a:cxn>
                      <a:cxn ang="0">
                        <a:pos x="T6" y="T7"/>
                      </a:cxn>
                      <a:cxn ang="0">
                        <a:pos x="T8" y="T9"/>
                      </a:cxn>
                    </a:cxnLst>
                    <a:rect l="0" t="0" r="r" b="b"/>
                    <a:pathLst>
                      <a:path w="21" h="7">
                        <a:moveTo>
                          <a:pt x="0" y="7"/>
                        </a:moveTo>
                        <a:lnTo>
                          <a:pt x="21" y="0"/>
                        </a:lnTo>
                        <a:lnTo>
                          <a:pt x="21"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72" name="Freeform 1221"/>
                  <p:cNvSpPr>
                    <a:spLocks/>
                  </p:cNvSpPr>
                  <p:nvPr/>
                </p:nvSpPr>
                <p:spPr bwMode="auto">
                  <a:xfrm>
                    <a:off x="11580" y="2316"/>
                    <a:ext cx="17" cy="9"/>
                  </a:xfrm>
                  <a:custGeom>
                    <a:avLst/>
                    <a:gdLst>
                      <a:gd name="T0" fmla="*/ 0 w 16"/>
                      <a:gd name="T1" fmla="*/ 4 h 4"/>
                      <a:gd name="T2" fmla="*/ 16 w 16"/>
                      <a:gd name="T3" fmla="*/ 0 h 4"/>
                      <a:gd name="T4" fmla="*/ 16 w 16"/>
                      <a:gd name="T5" fmla="*/ 0 h 4"/>
                      <a:gd name="T6" fmla="*/ 0 w 16"/>
                      <a:gd name="T7" fmla="*/ 4 h 4"/>
                      <a:gd name="T8" fmla="*/ 0 w 16"/>
                      <a:gd name="T9" fmla="*/ 4 h 4"/>
                    </a:gdLst>
                    <a:ahLst/>
                    <a:cxnLst>
                      <a:cxn ang="0">
                        <a:pos x="T0" y="T1"/>
                      </a:cxn>
                      <a:cxn ang="0">
                        <a:pos x="T2" y="T3"/>
                      </a:cxn>
                      <a:cxn ang="0">
                        <a:pos x="T4" y="T5"/>
                      </a:cxn>
                      <a:cxn ang="0">
                        <a:pos x="T6" y="T7"/>
                      </a:cxn>
                      <a:cxn ang="0">
                        <a:pos x="T8" y="T9"/>
                      </a:cxn>
                    </a:cxnLst>
                    <a:rect l="0" t="0" r="r" b="b"/>
                    <a:pathLst>
                      <a:path w="16" h="4">
                        <a:moveTo>
                          <a:pt x="0" y="4"/>
                        </a:moveTo>
                        <a:lnTo>
                          <a:pt x="16" y="0"/>
                        </a:lnTo>
                        <a:lnTo>
                          <a:pt x="16"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273" name="Freeform 1222"/>
                  <p:cNvSpPr>
                    <a:spLocks/>
                  </p:cNvSpPr>
                  <p:nvPr/>
                </p:nvSpPr>
                <p:spPr bwMode="auto">
                  <a:xfrm>
                    <a:off x="11580" y="2334"/>
                    <a:ext cx="17" cy="9"/>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74" name="Freeform 1223"/>
                  <p:cNvSpPr>
                    <a:spLocks/>
                  </p:cNvSpPr>
                  <p:nvPr/>
                </p:nvSpPr>
                <p:spPr bwMode="auto">
                  <a:xfrm>
                    <a:off x="11580" y="2325"/>
                    <a:ext cx="17" cy="9"/>
                  </a:xfrm>
                  <a:custGeom>
                    <a:avLst/>
                    <a:gdLst>
                      <a:gd name="T0" fmla="*/ 0 w 14"/>
                      <a:gd name="T1" fmla="*/ 7 h 7"/>
                      <a:gd name="T2" fmla="*/ 14 w 14"/>
                      <a:gd name="T3" fmla="*/ 2 h 7"/>
                      <a:gd name="T4" fmla="*/ 14 w 14"/>
                      <a:gd name="T5" fmla="*/ 0 h 7"/>
                      <a:gd name="T6" fmla="*/ 0 w 14"/>
                      <a:gd name="T7" fmla="*/ 5 h 7"/>
                      <a:gd name="T8" fmla="*/ 0 w 14"/>
                      <a:gd name="T9" fmla="*/ 7 h 7"/>
                    </a:gdLst>
                    <a:ahLst/>
                    <a:cxnLst>
                      <a:cxn ang="0">
                        <a:pos x="T0" y="T1"/>
                      </a:cxn>
                      <a:cxn ang="0">
                        <a:pos x="T2" y="T3"/>
                      </a:cxn>
                      <a:cxn ang="0">
                        <a:pos x="T4" y="T5"/>
                      </a:cxn>
                      <a:cxn ang="0">
                        <a:pos x="T6" y="T7"/>
                      </a:cxn>
                      <a:cxn ang="0">
                        <a:pos x="T8" y="T9"/>
                      </a:cxn>
                    </a:cxnLst>
                    <a:rect l="0" t="0" r="r" b="b"/>
                    <a:pathLst>
                      <a:path w="14" h="7">
                        <a:moveTo>
                          <a:pt x="0" y="7"/>
                        </a:moveTo>
                        <a:lnTo>
                          <a:pt x="14" y="2"/>
                        </a:lnTo>
                        <a:lnTo>
                          <a:pt x="14"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3275" name="Freeform 1224"/>
                  <p:cNvSpPr>
                    <a:spLocks/>
                  </p:cNvSpPr>
                  <p:nvPr/>
                </p:nvSpPr>
                <p:spPr bwMode="auto">
                  <a:xfrm>
                    <a:off x="11580" y="2325"/>
                    <a:ext cx="17" cy="9"/>
                  </a:xfrm>
                  <a:custGeom>
                    <a:avLst/>
                    <a:gdLst>
                      <a:gd name="T0" fmla="*/ 2 w 14"/>
                      <a:gd name="T1" fmla="*/ 4 h 4"/>
                      <a:gd name="T2" fmla="*/ 14 w 14"/>
                      <a:gd name="T3" fmla="*/ 0 h 4"/>
                      <a:gd name="T4" fmla="*/ 14 w 14"/>
                      <a:gd name="T5" fmla="*/ 0 h 4"/>
                      <a:gd name="T6" fmla="*/ 0 w 14"/>
                      <a:gd name="T7" fmla="*/ 4 h 4"/>
                      <a:gd name="T8" fmla="*/ 2 w 14"/>
                      <a:gd name="T9" fmla="*/ 4 h 4"/>
                    </a:gdLst>
                    <a:ahLst/>
                    <a:cxnLst>
                      <a:cxn ang="0">
                        <a:pos x="T0" y="T1"/>
                      </a:cxn>
                      <a:cxn ang="0">
                        <a:pos x="T2" y="T3"/>
                      </a:cxn>
                      <a:cxn ang="0">
                        <a:pos x="T4" y="T5"/>
                      </a:cxn>
                      <a:cxn ang="0">
                        <a:pos x="T6" y="T7"/>
                      </a:cxn>
                      <a:cxn ang="0">
                        <a:pos x="T8" y="T9"/>
                      </a:cxn>
                    </a:cxnLst>
                    <a:rect l="0" t="0" r="r" b="b"/>
                    <a:pathLst>
                      <a:path w="14" h="4">
                        <a:moveTo>
                          <a:pt x="2" y="4"/>
                        </a:moveTo>
                        <a:lnTo>
                          <a:pt x="14" y="0"/>
                        </a:lnTo>
                        <a:lnTo>
                          <a:pt x="14"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3276" name="Freeform 1225"/>
                  <p:cNvSpPr>
                    <a:spLocks/>
                  </p:cNvSpPr>
                  <p:nvPr/>
                </p:nvSpPr>
                <p:spPr bwMode="auto">
                  <a:xfrm>
                    <a:off x="11571" y="2308"/>
                    <a:ext cx="25" cy="0"/>
                  </a:xfrm>
                  <a:custGeom>
                    <a:avLst/>
                    <a:gdLst>
                      <a:gd name="T0" fmla="*/ 2 w 26"/>
                      <a:gd name="T1" fmla="*/ 9 h 9"/>
                      <a:gd name="T2" fmla="*/ 26 w 26"/>
                      <a:gd name="T3" fmla="*/ 0 h 9"/>
                      <a:gd name="T4" fmla="*/ 26 w 26"/>
                      <a:gd name="T5" fmla="*/ 0 h 9"/>
                      <a:gd name="T6" fmla="*/ 0 w 26"/>
                      <a:gd name="T7" fmla="*/ 7 h 9"/>
                      <a:gd name="T8" fmla="*/ 2 w 26"/>
                      <a:gd name="T9" fmla="*/ 9 h 9"/>
                    </a:gdLst>
                    <a:ahLst/>
                    <a:cxnLst>
                      <a:cxn ang="0">
                        <a:pos x="T0" y="T1"/>
                      </a:cxn>
                      <a:cxn ang="0">
                        <a:pos x="T2" y="T3"/>
                      </a:cxn>
                      <a:cxn ang="0">
                        <a:pos x="T4" y="T5"/>
                      </a:cxn>
                      <a:cxn ang="0">
                        <a:pos x="T6" y="T7"/>
                      </a:cxn>
                      <a:cxn ang="0">
                        <a:pos x="T8" y="T9"/>
                      </a:cxn>
                    </a:cxnLst>
                    <a:rect l="0" t="0" r="r" b="b"/>
                    <a:pathLst>
                      <a:path w="26" h="9">
                        <a:moveTo>
                          <a:pt x="2" y="9"/>
                        </a:moveTo>
                        <a:lnTo>
                          <a:pt x="26" y="0"/>
                        </a:lnTo>
                        <a:lnTo>
                          <a:pt x="26" y="0"/>
                        </a:lnTo>
                        <a:lnTo>
                          <a:pt x="0" y="7"/>
                        </a:lnTo>
                        <a:lnTo>
                          <a:pt x="2" y="9"/>
                        </a:lnTo>
                        <a:close/>
                      </a:path>
                    </a:pathLst>
                  </a:custGeom>
                  <a:solidFill>
                    <a:srgbClr val="01AAE5"/>
                  </a:solidFill>
                  <a:ln>
                    <a:noFill/>
                  </a:ln>
                  <a:extLst/>
                </p:spPr>
                <p:txBody>
                  <a:bodyPr/>
                  <a:lstStyle/>
                  <a:p>
                    <a:pPr eaLnBrk="1" hangingPunct="1">
                      <a:defRPr/>
                    </a:pPr>
                    <a:endParaRPr lang="zh-CN" altLang="en-US" sz="1050"/>
                  </a:p>
                </p:txBody>
              </p:sp>
              <p:sp>
                <p:nvSpPr>
                  <p:cNvPr id="3277" name="Freeform 1226"/>
                  <p:cNvSpPr>
                    <a:spLocks/>
                  </p:cNvSpPr>
                  <p:nvPr/>
                </p:nvSpPr>
                <p:spPr bwMode="auto">
                  <a:xfrm>
                    <a:off x="11555" y="2273"/>
                    <a:ext cx="33" cy="17"/>
                  </a:xfrm>
                  <a:custGeom>
                    <a:avLst/>
                    <a:gdLst>
                      <a:gd name="T0" fmla="*/ 0 w 30"/>
                      <a:gd name="T1" fmla="*/ 14 h 14"/>
                      <a:gd name="T2" fmla="*/ 30 w 30"/>
                      <a:gd name="T3" fmla="*/ 3 h 14"/>
                      <a:gd name="T4" fmla="*/ 30 w 30"/>
                      <a:gd name="T5" fmla="*/ 0 h 14"/>
                      <a:gd name="T6" fmla="*/ 0 w 30"/>
                      <a:gd name="T7" fmla="*/ 12 h 14"/>
                      <a:gd name="T8" fmla="*/ 0 w 30"/>
                      <a:gd name="T9" fmla="*/ 14 h 14"/>
                    </a:gdLst>
                    <a:ahLst/>
                    <a:cxnLst>
                      <a:cxn ang="0">
                        <a:pos x="T0" y="T1"/>
                      </a:cxn>
                      <a:cxn ang="0">
                        <a:pos x="T2" y="T3"/>
                      </a:cxn>
                      <a:cxn ang="0">
                        <a:pos x="T4" y="T5"/>
                      </a:cxn>
                      <a:cxn ang="0">
                        <a:pos x="T6" y="T7"/>
                      </a:cxn>
                      <a:cxn ang="0">
                        <a:pos x="T8" y="T9"/>
                      </a:cxn>
                    </a:cxnLst>
                    <a:rect l="0" t="0" r="r" b="b"/>
                    <a:pathLst>
                      <a:path w="30" h="14">
                        <a:moveTo>
                          <a:pt x="0" y="14"/>
                        </a:moveTo>
                        <a:lnTo>
                          <a:pt x="30" y="3"/>
                        </a:lnTo>
                        <a:lnTo>
                          <a:pt x="3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3278" name="Freeform 1227"/>
                  <p:cNvSpPr>
                    <a:spLocks/>
                  </p:cNvSpPr>
                  <p:nvPr/>
                </p:nvSpPr>
                <p:spPr bwMode="auto">
                  <a:xfrm>
                    <a:off x="11563" y="2281"/>
                    <a:ext cx="25" cy="17"/>
                  </a:xfrm>
                  <a:custGeom>
                    <a:avLst/>
                    <a:gdLst>
                      <a:gd name="T0" fmla="*/ 0 w 31"/>
                      <a:gd name="T1" fmla="*/ 12 h 12"/>
                      <a:gd name="T2" fmla="*/ 31 w 31"/>
                      <a:gd name="T3" fmla="*/ 0 h 12"/>
                      <a:gd name="T4" fmla="*/ 28 w 31"/>
                      <a:gd name="T5" fmla="*/ 0 h 12"/>
                      <a:gd name="T6" fmla="*/ 0 w 31"/>
                      <a:gd name="T7" fmla="*/ 12 h 12"/>
                      <a:gd name="T8" fmla="*/ 0 w 31"/>
                      <a:gd name="T9" fmla="*/ 12 h 12"/>
                    </a:gdLst>
                    <a:ahLst/>
                    <a:cxnLst>
                      <a:cxn ang="0">
                        <a:pos x="T0" y="T1"/>
                      </a:cxn>
                      <a:cxn ang="0">
                        <a:pos x="T2" y="T3"/>
                      </a:cxn>
                      <a:cxn ang="0">
                        <a:pos x="T4" y="T5"/>
                      </a:cxn>
                      <a:cxn ang="0">
                        <a:pos x="T6" y="T7"/>
                      </a:cxn>
                      <a:cxn ang="0">
                        <a:pos x="T8" y="T9"/>
                      </a:cxn>
                    </a:cxnLst>
                    <a:rect l="0" t="0" r="r" b="b"/>
                    <a:pathLst>
                      <a:path w="31" h="12">
                        <a:moveTo>
                          <a:pt x="0" y="12"/>
                        </a:moveTo>
                        <a:lnTo>
                          <a:pt x="31"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279" name="Freeform 1228"/>
                  <p:cNvSpPr>
                    <a:spLocks/>
                  </p:cNvSpPr>
                  <p:nvPr/>
                </p:nvSpPr>
                <p:spPr bwMode="auto">
                  <a:xfrm>
                    <a:off x="11563" y="2281"/>
                    <a:ext cx="25" cy="17"/>
                  </a:xfrm>
                  <a:custGeom>
                    <a:avLst/>
                    <a:gdLst>
                      <a:gd name="T0" fmla="*/ 2 w 31"/>
                      <a:gd name="T1" fmla="*/ 12 h 12"/>
                      <a:gd name="T2" fmla="*/ 31 w 31"/>
                      <a:gd name="T3" fmla="*/ 3 h 12"/>
                      <a:gd name="T4" fmla="*/ 31 w 31"/>
                      <a:gd name="T5" fmla="*/ 0 h 12"/>
                      <a:gd name="T6" fmla="*/ 0 w 31"/>
                      <a:gd name="T7" fmla="*/ 12 h 12"/>
                      <a:gd name="T8" fmla="*/ 2 w 31"/>
                      <a:gd name="T9" fmla="*/ 12 h 12"/>
                    </a:gdLst>
                    <a:ahLst/>
                    <a:cxnLst>
                      <a:cxn ang="0">
                        <a:pos x="T0" y="T1"/>
                      </a:cxn>
                      <a:cxn ang="0">
                        <a:pos x="T2" y="T3"/>
                      </a:cxn>
                      <a:cxn ang="0">
                        <a:pos x="T4" y="T5"/>
                      </a:cxn>
                      <a:cxn ang="0">
                        <a:pos x="T6" y="T7"/>
                      </a:cxn>
                      <a:cxn ang="0">
                        <a:pos x="T8" y="T9"/>
                      </a:cxn>
                    </a:cxnLst>
                    <a:rect l="0" t="0" r="r" b="b"/>
                    <a:pathLst>
                      <a:path w="31" h="12">
                        <a:moveTo>
                          <a:pt x="2" y="12"/>
                        </a:moveTo>
                        <a:lnTo>
                          <a:pt x="31" y="3"/>
                        </a:lnTo>
                        <a:lnTo>
                          <a:pt x="31"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280" name="Freeform 1229"/>
                  <p:cNvSpPr>
                    <a:spLocks/>
                  </p:cNvSpPr>
                  <p:nvPr/>
                </p:nvSpPr>
                <p:spPr bwMode="auto">
                  <a:xfrm>
                    <a:off x="11555" y="2273"/>
                    <a:ext cx="33" cy="17"/>
                  </a:xfrm>
                  <a:custGeom>
                    <a:avLst/>
                    <a:gdLst>
                      <a:gd name="T0" fmla="*/ 0 w 30"/>
                      <a:gd name="T1" fmla="*/ 12 h 12"/>
                      <a:gd name="T2" fmla="*/ 30 w 30"/>
                      <a:gd name="T3" fmla="*/ 0 h 12"/>
                      <a:gd name="T4" fmla="*/ 28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281" name="Freeform 1230"/>
                  <p:cNvSpPr>
                    <a:spLocks/>
                  </p:cNvSpPr>
                  <p:nvPr/>
                </p:nvSpPr>
                <p:spPr bwMode="auto">
                  <a:xfrm>
                    <a:off x="11563" y="2290"/>
                    <a:ext cx="25" cy="9"/>
                  </a:xfrm>
                  <a:custGeom>
                    <a:avLst/>
                    <a:gdLst>
                      <a:gd name="T0" fmla="*/ 0 w 29"/>
                      <a:gd name="T1" fmla="*/ 12 h 12"/>
                      <a:gd name="T2" fmla="*/ 29 w 29"/>
                      <a:gd name="T3" fmla="*/ 0 h 12"/>
                      <a:gd name="T4" fmla="*/ 29 w 29"/>
                      <a:gd name="T5" fmla="*/ 0 h 12"/>
                      <a:gd name="T6" fmla="*/ 0 w 29"/>
                      <a:gd name="T7" fmla="*/ 9 h 12"/>
                      <a:gd name="T8" fmla="*/ 0 w 29"/>
                      <a:gd name="T9" fmla="*/ 12 h 12"/>
                    </a:gdLst>
                    <a:ahLst/>
                    <a:cxnLst>
                      <a:cxn ang="0">
                        <a:pos x="T0" y="T1"/>
                      </a:cxn>
                      <a:cxn ang="0">
                        <a:pos x="T2" y="T3"/>
                      </a:cxn>
                      <a:cxn ang="0">
                        <a:pos x="T4" y="T5"/>
                      </a:cxn>
                      <a:cxn ang="0">
                        <a:pos x="T6" y="T7"/>
                      </a:cxn>
                      <a:cxn ang="0">
                        <a:pos x="T8" y="T9"/>
                      </a:cxn>
                    </a:cxnLst>
                    <a:rect l="0" t="0" r="r" b="b"/>
                    <a:pathLst>
                      <a:path w="29" h="12">
                        <a:moveTo>
                          <a:pt x="0" y="12"/>
                        </a:moveTo>
                        <a:lnTo>
                          <a:pt x="29" y="0"/>
                        </a:lnTo>
                        <a:lnTo>
                          <a:pt x="29"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282" name="Freeform 1231"/>
                  <p:cNvSpPr>
                    <a:spLocks/>
                  </p:cNvSpPr>
                  <p:nvPr/>
                </p:nvSpPr>
                <p:spPr bwMode="auto">
                  <a:xfrm>
                    <a:off x="11571" y="2299"/>
                    <a:ext cx="17" cy="9"/>
                  </a:xfrm>
                  <a:custGeom>
                    <a:avLst/>
                    <a:gdLst>
                      <a:gd name="T0" fmla="*/ 0 w 24"/>
                      <a:gd name="T1" fmla="*/ 10 h 10"/>
                      <a:gd name="T2" fmla="*/ 24 w 24"/>
                      <a:gd name="T3" fmla="*/ 2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2"/>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283" name="Freeform 1232"/>
                  <p:cNvSpPr>
                    <a:spLocks/>
                  </p:cNvSpPr>
                  <p:nvPr/>
                </p:nvSpPr>
                <p:spPr bwMode="auto">
                  <a:xfrm>
                    <a:off x="11563" y="2299"/>
                    <a:ext cx="25" cy="9"/>
                  </a:xfrm>
                  <a:custGeom>
                    <a:avLst/>
                    <a:gdLst>
                      <a:gd name="T0" fmla="*/ 0 w 26"/>
                      <a:gd name="T1" fmla="*/ 9 h 9"/>
                      <a:gd name="T2" fmla="*/ 26 w 26"/>
                      <a:gd name="T3" fmla="*/ 0 h 9"/>
                      <a:gd name="T4" fmla="*/ 26 w 26"/>
                      <a:gd name="T5" fmla="*/ 0 h 9"/>
                      <a:gd name="T6" fmla="*/ 0 w 26"/>
                      <a:gd name="T7" fmla="*/ 9 h 9"/>
                      <a:gd name="T8" fmla="*/ 0 w 26"/>
                      <a:gd name="T9" fmla="*/ 9 h 9"/>
                    </a:gdLst>
                    <a:ahLst/>
                    <a:cxnLst>
                      <a:cxn ang="0">
                        <a:pos x="T0" y="T1"/>
                      </a:cxn>
                      <a:cxn ang="0">
                        <a:pos x="T2" y="T3"/>
                      </a:cxn>
                      <a:cxn ang="0">
                        <a:pos x="T4" y="T5"/>
                      </a:cxn>
                      <a:cxn ang="0">
                        <a:pos x="T6" y="T7"/>
                      </a:cxn>
                      <a:cxn ang="0">
                        <a:pos x="T8" y="T9"/>
                      </a:cxn>
                    </a:cxnLst>
                    <a:rect l="0" t="0" r="r" b="b"/>
                    <a:pathLst>
                      <a:path w="26" h="9">
                        <a:moveTo>
                          <a:pt x="0" y="9"/>
                        </a:moveTo>
                        <a:lnTo>
                          <a:pt x="26" y="0"/>
                        </a:lnTo>
                        <a:lnTo>
                          <a:pt x="26"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284" name="Freeform 1233"/>
                  <p:cNvSpPr>
                    <a:spLocks/>
                  </p:cNvSpPr>
                  <p:nvPr/>
                </p:nvSpPr>
                <p:spPr bwMode="auto">
                  <a:xfrm>
                    <a:off x="11580" y="2334"/>
                    <a:ext cx="17" cy="9"/>
                  </a:xfrm>
                  <a:custGeom>
                    <a:avLst/>
                    <a:gdLst>
                      <a:gd name="T0" fmla="*/ 0 w 9"/>
                      <a:gd name="T1" fmla="*/ 5 h 5"/>
                      <a:gd name="T2" fmla="*/ 9 w 9"/>
                      <a:gd name="T3" fmla="*/ 2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85" name="Freeform 1234"/>
                  <p:cNvSpPr>
                    <a:spLocks/>
                  </p:cNvSpPr>
                  <p:nvPr/>
                </p:nvSpPr>
                <p:spPr bwMode="auto">
                  <a:xfrm>
                    <a:off x="11588" y="2342"/>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86" name="Freeform 1235"/>
                  <p:cNvSpPr>
                    <a:spLocks/>
                  </p:cNvSpPr>
                  <p:nvPr/>
                </p:nvSpPr>
                <p:spPr bwMode="auto">
                  <a:xfrm>
                    <a:off x="11596" y="2377"/>
                    <a:ext cx="8" cy="0"/>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87" name="Freeform 1236"/>
                  <p:cNvSpPr>
                    <a:spLocks/>
                  </p:cNvSpPr>
                  <p:nvPr/>
                </p:nvSpPr>
                <p:spPr bwMode="auto">
                  <a:xfrm>
                    <a:off x="11596" y="2369"/>
                    <a:ext cx="8" cy="9"/>
                  </a:xfrm>
                  <a:custGeom>
                    <a:avLst/>
                    <a:gdLst>
                      <a:gd name="T0" fmla="*/ 0 w 12"/>
                      <a:gd name="T1" fmla="*/ 2 h 2"/>
                      <a:gd name="T2" fmla="*/ 12 w 12"/>
                      <a:gd name="T3" fmla="*/ 0 h 2"/>
                      <a:gd name="T4" fmla="*/ 12 w 12"/>
                      <a:gd name="T5" fmla="*/ 0 h 2"/>
                      <a:gd name="T6" fmla="*/ 0 w 12"/>
                      <a:gd name="T7" fmla="*/ 2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88" name="Freeform 1237"/>
                  <p:cNvSpPr>
                    <a:spLocks/>
                  </p:cNvSpPr>
                  <p:nvPr/>
                </p:nvSpPr>
                <p:spPr bwMode="auto">
                  <a:xfrm>
                    <a:off x="11555" y="2273"/>
                    <a:ext cx="33" cy="9"/>
                  </a:xfrm>
                  <a:custGeom>
                    <a:avLst/>
                    <a:gdLst>
                      <a:gd name="T0" fmla="*/ 0 w 31"/>
                      <a:gd name="T1" fmla="*/ 14 h 14"/>
                      <a:gd name="T2" fmla="*/ 31 w 31"/>
                      <a:gd name="T3" fmla="*/ 2 h 14"/>
                      <a:gd name="T4" fmla="*/ 31 w 31"/>
                      <a:gd name="T5" fmla="*/ 0 h 14"/>
                      <a:gd name="T6" fmla="*/ 0 w 31"/>
                      <a:gd name="T7" fmla="*/ 14 h 14"/>
                      <a:gd name="T8" fmla="*/ 0 w 31"/>
                      <a:gd name="T9" fmla="*/ 14 h 14"/>
                    </a:gdLst>
                    <a:ahLst/>
                    <a:cxnLst>
                      <a:cxn ang="0">
                        <a:pos x="T0" y="T1"/>
                      </a:cxn>
                      <a:cxn ang="0">
                        <a:pos x="T2" y="T3"/>
                      </a:cxn>
                      <a:cxn ang="0">
                        <a:pos x="T4" y="T5"/>
                      </a:cxn>
                      <a:cxn ang="0">
                        <a:pos x="T6" y="T7"/>
                      </a:cxn>
                      <a:cxn ang="0">
                        <a:pos x="T8" y="T9"/>
                      </a:cxn>
                    </a:cxnLst>
                    <a:rect l="0" t="0" r="r" b="b"/>
                    <a:pathLst>
                      <a:path w="31" h="14">
                        <a:moveTo>
                          <a:pt x="0" y="14"/>
                        </a:moveTo>
                        <a:lnTo>
                          <a:pt x="31" y="2"/>
                        </a:lnTo>
                        <a:lnTo>
                          <a:pt x="31"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3289" name="Freeform 1238"/>
                  <p:cNvSpPr>
                    <a:spLocks/>
                  </p:cNvSpPr>
                  <p:nvPr/>
                </p:nvSpPr>
                <p:spPr bwMode="auto">
                  <a:xfrm>
                    <a:off x="11596" y="2377"/>
                    <a:ext cx="8" cy="9"/>
                  </a:xfrm>
                  <a:custGeom>
                    <a:avLst/>
                    <a:gdLst>
                      <a:gd name="T0" fmla="*/ 0 w 14"/>
                      <a:gd name="T1" fmla="*/ 4 h 4"/>
                      <a:gd name="T2" fmla="*/ 14 w 14"/>
                      <a:gd name="T3" fmla="*/ 2 h 4"/>
                      <a:gd name="T4" fmla="*/ 14 w 14"/>
                      <a:gd name="T5" fmla="*/ 0 h 4"/>
                      <a:gd name="T6" fmla="*/ 0 w 14"/>
                      <a:gd name="T7" fmla="*/ 4 h 4"/>
                      <a:gd name="T8" fmla="*/ 0 w 14"/>
                      <a:gd name="T9" fmla="*/ 4 h 4"/>
                    </a:gdLst>
                    <a:ahLst/>
                    <a:cxnLst>
                      <a:cxn ang="0">
                        <a:pos x="T0" y="T1"/>
                      </a:cxn>
                      <a:cxn ang="0">
                        <a:pos x="T2" y="T3"/>
                      </a:cxn>
                      <a:cxn ang="0">
                        <a:pos x="T4" y="T5"/>
                      </a:cxn>
                      <a:cxn ang="0">
                        <a:pos x="T6" y="T7"/>
                      </a:cxn>
                      <a:cxn ang="0">
                        <a:pos x="T8" y="T9"/>
                      </a:cxn>
                    </a:cxnLst>
                    <a:rect l="0" t="0" r="r" b="b"/>
                    <a:pathLst>
                      <a:path w="14" h="4">
                        <a:moveTo>
                          <a:pt x="0" y="4"/>
                        </a:moveTo>
                        <a:lnTo>
                          <a:pt x="14" y="2"/>
                        </a:lnTo>
                        <a:lnTo>
                          <a:pt x="1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290" name="Freeform 1239"/>
                  <p:cNvSpPr>
                    <a:spLocks/>
                  </p:cNvSpPr>
                  <p:nvPr/>
                </p:nvSpPr>
                <p:spPr bwMode="auto">
                  <a:xfrm>
                    <a:off x="11596" y="2369"/>
                    <a:ext cx="8" cy="0"/>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91" name="Freeform 1240"/>
                  <p:cNvSpPr>
                    <a:spLocks/>
                  </p:cNvSpPr>
                  <p:nvPr/>
                </p:nvSpPr>
                <p:spPr bwMode="auto">
                  <a:xfrm>
                    <a:off x="11596" y="2395"/>
                    <a:ext cx="8" cy="0"/>
                  </a:xfrm>
                  <a:custGeom>
                    <a:avLst/>
                    <a:gdLst>
                      <a:gd name="T0" fmla="*/ 0 w 15"/>
                      <a:gd name="T1" fmla="*/ 4 h 4"/>
                      <a:gd name="T2" fmla="*/ 15 w 15"/>
                      <a:gd name="T3" fmla="*/ 0 h 4"/>
                      <a:gd name="T4" fmla="*/ 15 w 15"/>
                      <a:gd name="T5" fmla="*/ 0 h 4"/>
                      <a:gd name="T6" fmla="*/ 0 w 15"/>
                      <a:gd name="T7" fmla="*/ 2 h 4"/>
                      <a:gd name="T8" fmla="*/ 0 w 15"/>
                      <a:gd name="T9" fmla="*/ 4 h 4"/>
                    </a:gdLst>
                    <a:ahLst/>
                    <a:cxnLst>
                      <a:cxn ang="0">
                        <a:pos x="T0" y="T1"/>
                      </a:cxn>
                      <a:cxn ang="0">
                        <a:pos x="T2" y="T3"/>
                      </a:cxn>
                      <a:cxn ang="0">
                        <a:pos x="T4" y="T5"/>
                      </a:cxn>
                      <a:cxn ang="0">
                        <a:pos x="T6" y="T7"/>
                      </a:cxn>
                      <a:cxn ang="0">
                        <a:pos x="T8" y="T9"/>
                      </a:cxn>
                    </a:cxnLst>
                    <a:rect l="0" t="0" r="r" b="b"/>
                    <a:pathLst>
                      <a:path w="15" h="4">
                        <a:moveTo>
                          <a:pt x="0" y="4"/>
                        </a:moveTo>
                        <a:lnTo>
                          <a:pt x="15" y="0"/>
                        </a:lnTo>
                        <a:lnTo>
                          <a:pt x="1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3292" name="Freeform 1241"/>
                  <p:cNvSpPr>
                    <a:spLocks/>
                  </p:cNvSpPr>
                  <p:nvPr/>
                </p:nvSpPr>
                <p:spPr bwMode="auto">
                  <a:xfrm>
                    <a:off x="11596" y="2386"/>
                    <a:ext cx="8" cy="9"/>
                  </a:xfrm>
                  <a:custGeom>
                    <a:avLst/>
                    <a:gdLst>
                      <a:gd name="T0" fmla="*/ 0 w 15"/>
                      <a:gd name="T1" fmla="*/ 5 h 5"/>
                      <a:gd name="T2" fmla="*/ 15 w 15"/>
                      <a:gd name="T3" fmla="*/ 2 h 5"/>
                      <a:gd name="T4" fmla="*/ 15 w 15"/>
                      <a:gd name="T5" fmla="*/ 0 h 5"/>
                      <a:gd name="T6" fmla="*/ 0 w 15"/>
                      <a:gd name="T7" fmla="*/ 5 h 5"/>
                      <a:gd name="T8" fmla="*/ 0 w 15"/>
                      <a:gd name="T9" fmla="*/ 5 h 5"/>
                    </a:gdLst>
                    <a:ahLst/>
                    <a:cxnLst>
                      <a:cxn ang="0">
                        <a:pos x="T0" y="T1"/>
                      </a:cxn>
                      <a:cxn ang="0">
                        <a:pos x="T2" y="T3"/>
                      </a:cxn>
                      <a:cxn ang="0">
                        <a:pos x="T4" y="T5"/>
                      </a:cxn>
                      <a:cxn ang="0">
                        <a:pos x="T6" y="T7"/>
                      </a:cxn>
                      <a:cxn ang="0">
                        <a:pos x="T8" y="T9"/>
                      </a:cxn>
                    </a:cxnLst>
                    <a:rect l="0" t="0" r="r" b="b"/>
                    <a:pathLst>
                      <a:path w="15" h="5">
                        <a:moveTo>
                          <a:pt x="0" y="5"/>
                        </a:moveTo>
                        <a:lnTo>
                          <a:pt x="15" y="2"/>
                        </a:lnTo>
                        <a:lnTo>
                          <a:pt x="1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93" name="Freeform 1242"/>
                  <p:cNvSpPr>
                    <a:spLocks/>
                  </p:cNvSpPr>
                  <p:nvPr/>
                </p:nvSpPr>
                <p:spPr bwMode="auto">
                  <a:xfrm>
                    <a:off x="11596" y="2386"/>
                    <a:ext cx="8" cy="0"/>
                  </a:xfrm>
                  <a:custGeom>
                    <a:avLst/>
                    <a:gdLst>
                      <a:gd name="T0" fmla="*/ 2 w 14"/>
                      <a:gd name="T1" fmla="*/ 5 h 5"/>
                      <a:gd name="T2" fmla="*/ 14 w 14"/>
                      <a:gd name="T3" fmla="*/ 0 h 5"/>
                      <a:gd name="T4" fmla="*/ 14 w 14"/>
                      <a:gd name="T5" fmla="*/ 0 h 5"/>
                      <a:gd name="T6" fmla="*/ 0 w 14"/>
                      <a:gd name="T7" fmla="*/ 3 h 5"/>
                      <a:gd name="T8" fmla="*/ 2 w 14"/>
                      <a:gd name="T9" fmla="*/ 5 h 5"/>
                    </a:gdLst>
                    <a:ahLst/>
                    <a:cxnLst>
                      <a:cxn ang="0">
                        <a:pos x="T0" y="T1"/>
                      </a:cxn>
                      <a:cxn ang="0">
                        <a:pos x="T2" y="T3"/>
                      </a:cxn>
                      <a:cxn ang="0">
                        <a:pos x="T4" y="T5"/>
                      </a:cxn>
                      <a:cxn ang="0">
                        <a:pos x="T6" y="T7"/>
                      </a:cxn>
                      <a:cxn ang="0">
                        <a:pos x="T8" y="T9"/>
                      </a:cxn>
                    </a:cxnLst>
                    <a:rect l="0" t="0" r="r" b="b"/>
                    <a:pathLst>
                      <a:path w="14" h="5">
                        <a:moveTo>
                          <a:pt x="2" y="5"/>
                        </a:moveTo>
                        <a:lnTo>
                          <a:pt x="14" y="0"/>
                        </a:lnTo>
                        <a:lnTo>
                          <a:pt x="14"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3294" name="Freeform 1243"/>
                  <p:cNvSpPr>
                    <a:spLocks/>
                  </p:cNvSpPr>
                  <p:nvPr/>
                </p:nvSpPr>
                <p:spPr bwMode="auto">
                  <a:xfrm>
                    <a:off x="11596" y="2369"/>
                    <a:ext cx="8" cy="0"/>
                  </a:xfrm>
                  <a:custGeom>
                    <a:avLst/>
                    <a:gdLst>
                      <a:gd name="T0" fmla="*/ 0 w 7"/>
                      <a:gd name="T1" fmla="*/ 3 h 3"/>
                      <a:gd name="T2" fmla="*/ 7 w 7"/>
                      <a:gd name="T3" fmla="*/ 3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3"/>
                        </a:lnTo>
                        <a:lnTo>
                          <a:pt x="7"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3295" name="Freeform 1244"/>
                  <p:cNvSpPr>
                    <a:spLocks/>
                  </p:cNvSpPr>
                  <p:nvPr/>
                </p:nvSpPr>
                <p:spPr bwMode="auto">
                  <a:xfrm>
                    <a:off x="11596" y="2395"/>
                    <a:ext cx="17" cy="0"/>
                  </a:xfrm>
                  <a:custGeom>
                    <a:avLst/>
                    <a:gdLst>
                      <a:gd name="T0" fmla="*/ 0 w 17"/>
                      <a:gd name="T1" fmla="*/ 5 h 5"/>
                      <a:gd name="T2" fmla="*/ 17 w 17"/>
                      <a:gd name="T3" fmla="*/ 2 h 5"/>
                      <a:gd name="T4" fmla="*/ 17 w 17"/>
                      <a:gd name="T5" fmla="*/ 0 h 5"/>
                      <a:gd name="T6" fmla="*/ 0 w 17"/>
                      <a:gd name="T7" fmla="*/ 5 h 5"/>
                      <a:gd name="T8" fmla="*/ 0 w 17"/>
                      <a:gd name="T9" fmla="*/ 5 h 5"/>
                    </a:gdLst>
                    <a:ahLst/>
                    <a:cxnLst>
                      <a:cxn ang="0">
                        <a:pos x="T0" y="T1"/>
                      </a:cxn>
                      <a:cxn ang="0">
                        <a:pos x="T2" y="T3"/>
                      </a:cxn>
                      <a:cxn ang="0">
                        <a:pos x="T4" y="T5"/>
                      </a:cxn>
                      <a:cxn ang="0">
                        <a:pos x="T6" y="T7"/>
                      </a:cxn>
                      <a:cxn ang="0">
                        <a:pos x="T8" y="T9"/>
                      </a:cxn>
                    </a:cxnLst>
                    <a:rect l="0" t="0" r="r" b="b"/>
                    <a:pathLst>
                      <a:path w="17" h="5">
                        <a:moveTo>
                          <a:pt x="0" y="5"/>
                        </a:moveTo>
                        <a:lnTo>
                          <a:pt x="17" y="2"/>
                        </a:lnTo>
                        <a:lnTo>
                          <a:pt x="17"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96" name="Freeform 1245"/>
                  <p:cNvSpPr>
                    <a:spLocks/>
                  </p:cNvSpPr>
                  <p:nvPr/>
                </p:nvSpPr>
                <p:spPr bwMode="auto">
                  <a:xfrm>
                    <a:off x="11588" y="2351"/>
                    <a:ext cx="8" cy="0"/>
                  </a:xfrm>
                  <a:custGeom>
                    <a:avLst/>
                    <a:gdLst>
                      <a:gd name="T0" fmla="*/ 0 w 7"/>
                      <a:gd name="T1" fmla="*/ 5 h 5"/>
                      <a:gd name="T2" fmla="*/ 7 w 7"/>
                      <a:gd name="T3" fmla="*/ 2 h 5"/>
                      <a:gd name="T4" fmla="*/ 7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97" name="Freeform 1246"/>
                  <p:cNvSpPr>
                    <a:spLocks/>
                  </p:cNvSpPr>
                  <p:nvPr/>
                </p:nvSpPr>
                <p:spPr bwMode="auto">
                  <a:xfrm>
                    <a:off x="11588" y="2342"/>
                    <a:ext cx="8" cy="0"/>
                  </a:xfrm>
                  <a:custGeom>
                    <a:avLst/>
                    <a:gdLst>
                      <a:gd name="T0" fmla="*/ 0 w 9"/>
                      <a:gd name="T1" fmla="*/ 5 h 5"/>
                      <a:gd name="T2" fmla="*/ 9 w 9"/>
                      <a:gd name="T3" fmla="*/ 2 h 5"/>
                      <a:gd name="T4" fmla="*/ 7 w 9"/>
                      <a:gd name="T5" fmla="*/ 0 h 5"/>
                      <a:gd name="T6" fmla="*/ 0 w 9"/>
                      <a:gd name="T7" fmla="*/ 2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3298" name="Freeform 1247"/>
                  <p:cNvSpPr>
                    <a:spLocks/>
                  </p:cNvSpPr>
                  <p:nvPr/>
                </p:nvSpPr>
                <p:spPr bwMode="auto">
                  <a:xfrm>
                    <a:off x="11588" y="2334"/>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299" name="Freeform 1248"/>
                  <p:cNvSpPr>
                    <a:spLocks/>
                  </p:cNvSpPr>
                  <p:nvPr/>
                </p:nvSpPr>
                <p:spPr bwMode="auto">
                  <a:xfrm>
                    <a:off x="11588" y="2360"/>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300" name="Freeform 1249"/>
                  <p:cNvSpPr>
                    <a:spLocks/>
                  </p:cNvSpPr>
                  <p:nvPr/>
                </p:nvSpPr>
                <p:spPr bwMode="auto">
                  <a:xfrm>
                    <a:off x="11588" y="2351"/>
                    <a:ext cx="8" cy="9"/>
                  </a:xfrm>
                  <a:custGeom>
                    <a:avLst/>
                    <a:gdLst>
                      <a:gd name="T0" fmla="*/ 0 w 4"/>
                      <a:gd name="T1" fmla="*/ 2 h 2"/>
                      <a:gd name="T2" fmla="*/ 4 w 4"/>
                      <a:gd name="T3" fmla="*/ 0 h 2"/>
                      <a:gd name="T4" fmla="*/ 4 w 4"/>
                      <a:gd name="T5" fmla="*/ 0 h 2"/>
                      <a:gd name="T6" fmla="*/ 0 w 4"/>
                      <a:gd name="T7" fmla="*/ 2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0"/>
                        </a:lnTo>
                        <a:lnTo>
                          <a:pt x="4"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301" name="Freeform 1250"/>
                  <p:cNvSpPr>
                    <a:spLocks/>
                  </p:cNvSpPr>
                  <p:nvPr/>
                </p:nvSpPr>
                <p:spPr bwMode="auto">
                  <a:xfrm>
                    <a:off x="11588" y="2360"/>
                    <a:ext cx="8" cy="0"/>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3302" name="Freeform 1251"/>
                  <p:cNvSpPr>
                    <a:spLocks/>
                  </p:cNvSpPr>
                  <p:nvPr/>
                </p:nvSpPr>
                <p:spPr bwMode="auto">
                  <a:xfrm>
                    <a:off x="11114" y="1846"/>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303" name="Freeform 1252"/>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close/>
                      </a:path>
                    </a:pathLst>
                  </a:custGeom>
                  <a:solidFill>
                    <a:srgbClr val="01AAE5"/>
                  </a:solidFill>
                  <a:ln>
                    <a:noFill/>
                  </a:ln>
                  <a:extLst/>
                </p:spPr>
                <p:txBody>
                  <a:bodyPr/>
                  <a:lstStyle/>
                  <a:p>
                    <a:pPr eaLnBrk="1" hangingPunct="1">
                      <a:defRPr/>
                    </a:pPr>
                    <a:endParaRPr lang="zh-CN" altLang="en-US" sz="1050"/>
                  </a:p>
                </p:txBody>
              </p:sp>
              <p:sp>
                <p:nvSpPr>
                  <p:cNvPr id="3304" name="Freeform 1253"/>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path>
                    </a:pathLst>
                  </a:custGeom>
                  <a:noFill/>
                  <a:ln>
                    <a:noFill/>
                  </a:ln>
                  <a:extLst/>
                </p:spPr>
                <p:txBody>
                  <a:bodyPr/>
                  <a:lstStyle/>
                  <a:p>
                    <a:pPr eaLnBrk="1" hangingPunct="1">
                      <a:defRPr/>
                    </a:pPr>
                    <a:endParaRPr lang="zh-CN" altLang="en-US" sz="1050"/>
                  </a:p>
                </p:txBody>
              </p:sp>
              <p:sp>
                <p:nvSpPr>
                  <p:cNvPr id="3305" name="Freeform 1254"/>
                  <p:cNvSpPr>
                    <a:spLocks/>
                  </p:cNvSpPr>
                  <p:nvPr/>
                </p:nvSpPr>
                <p:spPr bwMode="auto">
                  <a:xfrm>
                    <a:off x="11230" y="1898"/>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306" name="Freeform 1255"/>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307" name="Freeform 1256"/>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path>
                    </a:pathLst>
                  </a:custGeom>
                  <a:noFill/>
                  <a:ln>
                    <a:noFill/>
                  </a:ln>
                  <a:extLst/>
                </p:spPr>
                <p:txBody>
                  <a:bodyPr/>
                  <a:lstStyle/>
                  <a:p>
                    <a:pPr eaLnBrk="1" hangingPunct="1">
                      <a:defRPr/>
                    </a:pPr>
                    <a:endParaRPr lang="zh-CN" altLang="en-US" sz="1050"/>
                  </a:p>
                </p:txBody>
              </p:sp>
              <p:sp>
                <p:nvSpPr>
                  <p:cNvPr id="3308" name="Freeform 1257"/>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3309" name="Freeform 1258"/>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path>
                    </a:pathLst>
                  </a:custGeom>
                  <a:noFill/>
                  <a:ln>
                    <a:noFill/>
                  </a:ln>
                  <a:extLst/>
                </p:spPr>
                <p:txBody>
                  <a:bodyPr/>
                  <a:lstStyle/>
                  <a:p>
                    <a:pPr eaLnBrk="1" hangingPunct="1">
                      <a:defRPr/>
                    </a:pPr>
                    <a:endParaRPr lang="zh-CN" altLang="en-US" sz="1050"/>
                  </a:p>
                </p:txBody>
              </p:sp>
              <p:sp>
                <p:nvSpPr>
                  <p:cNvPr id="3310" name="Freeform 1259"/>
                  <p:cNvSpPr>
                    <a:spLocks/>
                  </p:cNvSpPr>
                  <p:nvPr/>
                </p:nvSpPr>
                <p:spPr bwMode="auto">
                  <a:xfrm>
                    <a:off x="11430" y="2055"/>
                    <a:ext cx="8" cy="9"/>
                  </a:xfrm>
                  <a:custGeom>
                    <a:avLst/>
                    <a:gdLst>
                      <a:gd name="T0" fmla="*/ 3 w 7"/>
                      <a:gd name="T1" fmla="*/ 5 h 5"/>
                      <a:gd name="T2" fmla="*/ 7 w 7"/>
                      <a:gd name="T3" fmla="*/ 0 h 5"/>
                      <a:gd name="T4" fmla="*/ 5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3311" name="Freeform 1260"/>
                  <p:cNvSpPr>
                    <a:spLocks/>
                  </p:cNvSpPr>
                  <p:nvPr/>
                </p:nvSpPr>
                <p:spPr bwMode="auto">
                  <a:xfrm>
                    <a:off x="11180" y="1872"/>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12" name="Freeform 1261"/>
                  <p:cNvSpPr>
                    <a:spLocks/>
                  </p:cNvSpPr>
                  <p:nvPr/>
                </p:nvSpPr>
                <p:spPr bwMode="auto">
                  <a:xfrm>
                    <a:off x="11180" y="1872"/>
                    <a:ext cx="0" cy="9"/>
                  </a:xfrm>
                  <a:custGeom>
                    <a:avLst/>
                    <a:gdLst>
                      <a:gd name="T0" fmla="*/ 2 w 4"/>
                      <a:gd name="T1" fmla="*/ 10 h 10"/>
                      <a:gd name="T2" fmla="*/ 4 w 4"/>
                      <a:gd name="T3" fmla="*/ 0 h 10"/>
                      <a:gd name="T4" fmla="*/ 4 w 4"/>
                      <a:gd name="T5" fmla="*/ 0 h 10"/>
                      <a:gd name="T6" fmla="*/ 0 w 4"/>
                      <a:gd name="T7" fmla="*/ 1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4" y="0"/>
                        </a:lnTo>
                        <a:lnTo>
                          <a:pt x="4" y="0"/>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3313" name="Freeform 1262"/>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314" name="Freeform 1263"/>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path>
                    </a:pathLst>
                  </a:custGeom>
                  <a:noFill/>
                  <a:ln>
                    <a:noFill/>
                  </a:ln>
                  <a:extLst/>
                </p:spPr>
                <p:txBody>
                  <a:bodyPr/>
                  <a:lstStyle/>
                  <a:p>
                    <a:pPr eaLnBrk="1" hangingPunct="1">
                      <a:defRPr/>
                    </a:pPr>
                    <a:endParaRPr lang="zh-CN" altLang="en-US" sz="1050"/>
                  </a:p>
                </p:txBody>
              </p:sp>
              <p:sp>
                <p:nvSpPr>
                  <p:cNvPr id="3315" name="Freeform 1264"/>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3316" name="Freeform 1265"/>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path>
                    </a:pathLst>
                  </a:custGeom>
                  <a:noFill/>
                  <a:ln>
                    <a:noFill/>
                  </a:ln>
                  <a:extLst/>
                </p:spPr>
                <p:txBody>
                  <a:bodyPr/>
                  <a:lstStyle/>
                  <a:p>
                    <a:pPr eaLnBrk="1" hangingPunct="1">
                      <a:defRPr/>
                    </a:pPr>
                    <a:endParaRPr lang="zh-CN" altLang="en-US" sz="1050"/>
                  </a:p>
                </p:txBody>
              </p:sp>
              <p:sp>
                <p:nvSpPr>
                  <p:cNvPr id="3317" name="Freeform 1266"/>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3318" name="Freeform 1267"/>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path>
                    </a:pathLst>
                  </a:custGeom>
                  <a:noFill/>
                  <a:ln>
                    <a:noFill/>
                  </a:ln>
                  <a:extLst/>
                </p:spPr>
                <p:txBody>
                  <a:bodyPr/>
                  <a:lstStyle/>
                  <a:p>
                    <a:pPr eaLnBrk="1" hangingPunct="1">
                      <a:defRPr/>
                    </a:pPr>
                    <a:endParaRPr lang="zh-CN" altLang="en-US" sz="1050"/>
                  </a:p>
                </p:txBody>
              </p:sp>
              <p:sp>
                <p:nvSpPr>
                  <p:cNvPr id="3319" name="Freeform 1268"/>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3320" name="Freeform 1269"/>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3321" name="Freeform 1270"/>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close/>
                      </a:path>
                    </a:pathLst>
                  </a:custGeom>
                  <a:solidFill>
                    <a:srgbClr val="01AAE5"/>
                  </a:solidFill>
                  <a:ln>
                    <a:noFill/>
                  </a:ln>
                  <a:extLst/>
                </p:spPr>
                <p:txBody>
                  <a:bodyPr/>
                  <a:lstStyle/>
                  <a:p>
                    <a:pPr eaLnBrk="1" hangingPunct="1">
                      <a:defRPr/>
                    </a:pPr>
                    <a:endParaRPr lang="zh-CN" altLang="en-US" sz="1050"/>
                  </a:p>
                </p:txBody>
              </p:sp>
              <p:sp>
                <p:nvSpPr>
                  <p:cNvPr id="3322" name="Freeform 1271"/>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path>
                    </a:pathLst>
                  </a:custGeom>
                  <a:noFill/>
                  <a:ln>
                    <a:noFill/>
                  </a:ln>
                  <a:extLst/>
                </p:spPr>
                <p:txBody>
                  <a:bodyPr/>
                  <a:lstStyle/>
                  <a:p>
                    <a:pPr eaLnBrk="1" hangingPunct="1">
                      <a:defRPr/>
                    </a:pPr>
                    <a:endParaRPr lang="zh-CN" altLang="en-US" sz="1050"/>
                  </a:p>
                </p:txBody>
              </p:sp>
              <p:sp>
                <p:nvSpPr>
                  <p:cNvPr id="3323" name="Freeform 1272"/>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3324" name="Freeform 1273"/>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3325" name="Freeform 1274"/>
                  <p:cNvSpPr>
                    <a:spLocks/>
                  </p:cNvSpPr>
                  <p:nvPr/>
                </p:nvSpPr>
                <p:spPr bwMode="auto">
                  <a:xfrm>
                    <a:off x="11180" y="1881"/>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3326" name="Freeform 1275"/>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close/>
                      </a:path>
                    </a:pathLst>
                  </a:custGeom>
                  <a:solidFill>
                    <a:srgbClr val="01AAE5"/>
                  </a:solidFill>
                  <a:ln>
                    <a:noFill/>
                  </a:ln>
                  <a:extLst/>
                </p:spPr>
                <p:txBody>
                  <a:bodyPr/>
                  <a:lstStyle/>
                  <a:p>
                    <a:pPr eaLnBrk="1" hangingPunct="1">
                      <a:defRPr/>
                    </a:pPr>
                    <a:endParaRPr lang="zh-CN" altLang="en-US" sz="1050"/>
                  </a:p>
                </p:txBody>
              </p:sp>
              <p:sp>
                <p:nvSpPr>
                  <p:cNvPr id="3327" name="Freeform 1276"/>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path>
                    </a:pathLst>
                  </a:custGeom>
                  <a:noFill/>
                  <a:ln>
                    <a:noFill/>
                  </a:ln>
                  <a:extLst/>
                </p:spPr>
                <p:txBody>
                  <a:bodyPr/>
                  <a:lstStyle/>
                  <a:p>
                    <a:pPr eaLnBrk="1" hangingPunct="1">
                      <a:defRPr/>
                    </a:pPr>
                    <a:endParaRPr lang="zh-CN" altLang="en-US" sz="1050"/>
                  </a:p>
                </p:txBody>
              </p:sp>
              <p:sp>
                <p:nvSpPr>
                  <p:cNvPr id="3328" name="Freeform 1277"/>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3329" name="Freeform 1278"/>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path>
                    </a:pathLst>
                  </a:custGeom>
                  <a:noFill/>
                  <a:ln>
                    <a:noFill/>
                  </a:ln>
                  <a:extLst/>
                </p:spPr>
                <p:txBody>
                  <a:bodyPr/>
                  <a:lstStyle/>
                  <a:p>
                    <a:pPr eaLnBrk="1" hangingPunct="1">
                      <a:defRPr/>
                    </a:pPr>
                    <a:endParaRPr lang="zh-CN" altLang="en-US" sz="1050"/>
                  </a:p>
                </p:txBody>
              </p:sp>
              <p:sp>
                <p:nvSpPr>
                  <p:cNvPr id="3330" name="Freeform 1279"/>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3331" name="Freeform 1280"/>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3332" name="Freeform 1281"/>
                  <p:cNvSpPr>
                    <a:spLocks/>
                  </p:cNvSpPr>
                  <p:nvPr/>
                </p:nvSpPr>
                <p:spPr bwMode="auto">
                  <a:xfrm>
                    <a:off x="11197" y="1889"/>
                    <a:ext cx="0" cy="0"/>
                  </a:xfrm>
                  <a:custGeom>
                    <a:avLst/>
                    <a:gdLst>
                      <a:gd name="T0" fmla="*/ 3 w 5"/>
                      <a:gd name="T1" fmla="*/ 5 h 5"/>
                      <a:gd name="T2" fmla="*/ 5 w 5"/>
                      <a:gd name="T3" fmla="*/ 0 h 5"/>
                      <a:gd name="T4" fmla="*/ 3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3"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333" name="Freeform 1282"/>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34" name="Freeform 1283"/>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335" name="Freeform 1284"/>
                  <p:cNvSpPr>
                    <a:spLocks/>
                  </p:cNvSpPr>
                  <p:nvPr/>
                </p:nvSpPr>
                <p:spPr bwMode="auto">
                  <a:xfrm>
                    <a:off x="11214" y="1898"/>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336" name="Freeform 1285"/>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37" name="Freeform 1286"/>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338" name="Freeform 1287"/>
                  <p:cNvSpPr>
                    <a:spLocks/>
                  </p:cNvSpPr>
                  <p:nvPr/>
                </p:nvSpPr>
                <p:spPr bwMode="auto">
                  <a:xfrm>
                    <a:off x="11205" y="1898"/>
                    <a:ext cx="8" cy="0"/>
                  </a:xfrm>
                  <a:custGeom>
                    <a:avLst/>
                    <a:gdLst>
                      <a:gd name="T0" fmla="*/ 2 w 5"/>
                      <a:gd name="T1" fmla="*/ 5 h 5"/>
                      <a:gd name="T2" fmla="*/ 5 w 5"/>
                      <a:gd name="T3" fmla="*/ 0 h 5"/>
                      <a:gd name="T4" fmla="*/ 2 w 5"/>
                      <a:gd name="T5" fmla="*/ 0 h 5"/>
                      <a:gd name="T6" fmla="*/ 0 w 5"/>
                      <a:gd name="T7" fmla="*/ 5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lnTo>
                          <a:pt x="5"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339" name="Freeform 1288"/>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40" name="Freeform 1289"/>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path>
                    </a:pathLst>
                  </a:custGeom>
                  <a:noFill/>
                  <a:ln>
                    <a:noFill/>
                  </a:ln>
                  <a:extLst/>
                </p:spPr>
                <p:txBody>
                  <a:bodyPr/>
                  <a:lstStyle/>
                  <a:p>
                    <a:pPr eaLnBrk="1" hangingPunct="1">
                      <a:defRPr/>
                    </a:pPr>
                    <a:endParaRPr lang="zh-CN" altLang="en-US" sz="1050"/>
                  </a:p>
                </p:txBody>
              </p:sp>
              <p:sp>
                <p:nvSpPr>
                  <p:cNvPr id="3341" name="Freeform 1290"/>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342" name="Freeform 1291"/>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3343" name="Freeform 1292"/>
                  <p:cNvSpPr>
                    <a:spLocks/>
                  </p:cNvSpPr>
                  <p:nvPr/>
                </p:nvSpPr>
                <p:spPr bwMode="auto">
                  <a:xfrm>
                    <a:off x="11230" y="1898"/>
                    <a:ext cx="0" cy="9"/>
                  </a:xfrm>
                  <a:custGeom>
                    <a:avLst/>
                    <a:gdLst>
                      <a:gd name="T0" fmla="*/ 2 w 4"/>
                      <a:gd name="T1" fmla="*/ 5 h 5"/>
                      <a:gd name="T2" fmla="*/ 4 w 4"/>
                      <a:gd name="T3" fmla="*/ 0 h 5"/>
                      <a:gd name="T4" fmla="*/ 4 w 4"/>
                      <a:gd name="T5" fmla="*/ 0 h 5"/>
                      <a:gd name="T6" fmla="*/ 0 w 4"/>
                      <a:gd name="T7" fmla="*/ 5 h 5"/>
                      <a:gd name="T8" fmla="*/ 2 w 4"/>
                      <a:gd name="T9" fmla="*/ 5 h 5"/>
                    </a:gdLst>
                    <a:ahLst/>
                    <a:cxnLst>
                      <a:cxn ang="0">
                        <a:pos x="T0" y="T1"/>
                      </a:cxn>
                      <a:cxn ang="0">
                        <a:pos x="T2" y="T3"/>
                      </a:cxn>
                      <a:cxn ang="0">
                        <a:pos x="T4" y="T5"/>
                      </a:cxn>
                      <a:cxn ang="0">
                        <a:pos x="T6" y="T7"/>
                      </a:cxn>
                      <a:cxn ang="0">
                        <a:pos x="T8" y="T9"/>
                      </a:cxn>
                    </a:cxnLst>
                    <a:rect l="0" t="0" r="r" b="b"/>
                    <a:pathLst>
                      <a:path w="4" h="5">
                        <a:moveTo>
                          <a:pt x="2" y="5"/>
                        </a:moveTo>
                        <a:lnTo>
                          <a:pt x="4"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3344" name="Freeform 1293"/>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3345" name="Freeform 1294"/>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path>
                    </a:pathLst>
                  </a:custGeom>
                  <a:noFill/>
                  <a:ln>
                    <a:noFill/>
                  </a:ln>
                  <a:extLst/>
                </p:spPr>
                <p:txBody>
                  <a:bodyPr/>
                  <a:lstStyle/>
                  <a:p>
                    <a:pPr eaLnBrk="1" hangingPunct="1">
                      <a:defRPr/>
                    </a:pPr>
                    <a:endParaRPr lang="zh-CN" altLang="en-US" sz="1050"/>
                  </a:p>
                </p:txBody>
              </p:sp>
              <p:sp>
                <p:nvSpPr>
                  <p:cNvPr id="3346" name="Freeform 1295"/>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347" name="Freeform 1296"/>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path>
                    </a:pathLst>
                  </a:custGeom>
                  <a:noFill/>
                  <a:ln>
                    <a:noFill/>
                  </a:ln>
                  <a:extLst/>
                </p:spPr>
                <p:txBody>
                  <a:bodyPr/>
                  <a:lstStyle/>
                  <a:p>
                    <a:pPr eaLnBrk="1" hangingPunct="1">
                      <a:defRPr/>
                    </a:pPr>
                    <a:endParaRPr lang="zh-CN" altLang="en-US" sz="1050"/>
                  </a:p>
                </p:txBody>
              </p:sp>
              <p:sp>
                <p:nvSpPr>
                  <p:cNvPr id="3348" name="Freeform 1297"/>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349" name="Freeform 1298"/>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3350" name="Freeform 1299"/>
                  <p:cNvSpPr>
                    <a:spLocks/>
                  </p:cNvSpPr>
                  <p:nvPr/>
                </p:nvSpPr>
                <p:spPr bwMode="auto">
                  <a:xfrm>
                    <a:off x="11197" y="1881"/>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351" name="Freeform 1300"/>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52" name="Freeform 1301"/>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353" name="Freeform 1302"/>
                  <p:cNvSpPr>
                    <a:spLocks/>
                  </p:cNvSpPr>
                  <p:nvPr/>
                </p:nvSpPr>
                <p:spPr bwMode="auto">
                  <a:xfrm>
                    <a:off x="11197"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54" name="Freeform 1303"/>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55" name="Freeform 1304"/>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path>
                    </a:pathLst>
                  </a:custGeom>
                  <a:noFill/>
                  <a:ln>
                    <a:noFill/>
                  </a:ln>
                  <a:extLst/>
                </p:spPr>
                <p:txBody>
                  <a:bodyPr/>
                  <a:lstStyle/>
                  <a:p>
                    <a:pPr eaLnBrk="1" hangingPunct="1">
                      <a:defRPr/>
                    </a:pPr>
                    <a:endParaRPr lang="zh-CN" altLang="en-US" sz="1050"/>
                  </a:p>
                </p:txBody>
              </p:sp>
              <p:sp>
                <p:nvSpPr>
                  <p:cNvPr id="3356" name="Freeform 1305"/>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3357" name="Freeform 1306"/>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path>
                    </a:pathLst>
                  </a:custGeom>
                  <a:noFill/>
                  <a:ln>
                    <a:noFill/>
                  </a:ln>
                  <a:extLst/>
                </p:spPr>
                <p:txBody>
                  <a:bodyPr/>
                  <a:lstStyle/>
                  <a:p>
                    <a:pPr eaLnBrk="1" hangingPunct="1">
                      <a:defRPr/>
                    </a:pPr>
                    <a:endParaRPr lang="zh-CN" altLang="en-US" sz="1050"/>
                  </a:p>
                </p:txBody>
              </p:sp>
              <p:sp>
                <p:nvSpPr>
                  <p:cNvPr id="3358" name="Freeform 1307"/>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359" name="Freeform 1308"/>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360" name="Freeform 1309"/>
                  <p:cNvSpPr>
                    <a:spLocks/>
                  </p:cNvSpPr>
                  <p:nvPr/>
                </p:nvSpPr>
                <p:spPr bwMode="auto">
                  <a:xfrm>
                    <a:off x="11155" y="1863"/>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close/>
                      </a:path>
                    </a:pathLst>
                  </a:custGeom>
                  <a:solidFill>
                    <a:srgbClr val="01AAE5"/>
                  </a:solidFill>
                  <a:ln>
                    <a:noFill/>
                  </a:ln>
                  <a:extLst/>
                </p:spPr>
                <p:txBody>
                  <a:bodyPr/>
                  <a:lstStyle/>
                  <a:p>
                    <a:pPr eaLnBrk="1" hangingPunct="1">
                      <a:defRPr/>
                    </a:pPr>
                    <a:endParaRPr lang="zh-CN" altLang="en-US" sz="1050"/>
                  </a:p>
                </p:txBody>
              </p:sp>
            </p:grpSp>
            <p:grpSp>
              <p:nvGrpSpPr>
                <p:cNvPr id="15" name="Group 1511"/>
                <p:cNvGrpSpPr>
                  <a:grpSpLocks/>
                </p:cNvGrpSpPr>
                <p:nvPr/>
              </p:nvGrpSpPr>
              <p:grpSpPr bwMode="auto">
                <a:xfrm>
                  <a:off x="16538576" y="2911475"/>
                  <a:ext cx="1609725" cy="363538"/>
                  <a:chOff x="10418" y="1834"/>
                  <a:chExt cx="1014" cy="229"/>
                </a:xfrm>
              </p:grpSpPr>
              <p:sp>
                <p:nvSpPr>
                  <p:cNvPr id="2961" name="Freeform 1311"/>
                  <p:cNvSpPr>
                    <a:spLocks/>
                  </p:cNvSpPr>
                  <p:nvPr/>
                </p:nvSpPr>
                <p:spPr bwMode="auto">
                  <a:xfrm>
                    <a:off x="11189" y="1881"/>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path>
                    </a:pathLst>
                  </a:custGeom>
                  <a:noFill/>
                  <a:ln>
                    <a:noFill/>
                  </a:ln>
                  <a:extLst/>
                </p:spPr>
                <p:txBody>
                  <a:bodyPr/>
                  <a:lstStyle/>
                  <a:p>
                    <a:pPr eaLnBrk="1" hangingPunct="1">
                      <a:defRPr/>
                    </a:pPr>
                    <a:endParaRPr lang="zh-CN" altLang="en-US" sz="1050"/>
                  </a:p>
                </p:txBody>
              </p:sp>
              <p:sp>
                <p:nvSpPr>
                  <p:cNvPr id="2962" name="Freeform 1312"/>
                  <p:cNvSpPr>
                    <a:spLocks/>
                  </p:cNvSpPr>
                  <p:nvPr/>
                </p:nvSpPr>
                <p:spPr bwMode="auto">
                  <a:xfrm>
                    <a:off x="11072" y="1881"/>
                    <a:ext cx="0" cy="9"/>
                  </a:xfrm>
                  <a:custGeom>
                    <a:avLst/>
                    <a:gdLst>
                      <a:gd name="T0" fmla="*/ 0 w 3"/>
                      <a:gd name="T1" fmla="*/ 5 h 5"/>
                      <a:gd name="T2" fmla="*/ 3 w 3"/>
                      <a:gd name="T3" fmla="*/ 0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963" name="Freeform 1313"/>
                  <p:cNvSpPr>
                    <a:spLocks/>
                  </p:cNvSpPr>
                  <p:nvPr/>
                </p:nvSpPr>
                <p:spPr bwMode="auto">
                  <a:xfrm>
                    <a:off x="11072"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964" name="Freeform 1314"/>
                  <p:cNvSpPr>
                    <a:spLocks/>
                  </p:cNvSpPr>
                  <p:nvPr/>
                </p:nvSpPr>
                <p:spPr bwMode="auto">
                  <a:xfrm>
                    <a:off x="11064" y="1881"/>
                    <a:ext cx="0" cy="0"/>
                  </a:xfrm>
                  <a:custGeom>
                    <a:avLst/>
                    <a:gdLst>
                      <a:gd name="T0" fmla="*/ 2 w 2"/>
                      <a:gd name="T1" fmla="*/ 4 h 4"/>
                      <a:gd name="T2" fmla="*/ 2 w 2"/>
                      <a:gd name="T3" fmla="*/ 0 h 4"/>
                      <a:gd name="T4" fmla="*/ 2 w 2"/>
                      <a:gd name="T5" fmla="*/ 0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2"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2965" name="Freeform 1315"/>
                  <p:cNvSpPr>
                    <a:spLocks/>
                  </p:cNvSpPr>
                  <p:nvPr/>
                </p:nvSpPr>
                <p:spPr bwMode="auto">
                  <a:xfrm>
                    <a:off x="11064"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966" name="Freeform 1316"/>
                  <p:cNvSpPr>
                    <a:spLocks/>
                  </p:cNvSpPr>
                  <p:nvPr/>
                </p:nvSpPr>
                <p:spPr bwMode="auto">
                  <a:xfrm>
                    <a:off x="11072" y="1881"/>
                    <a:ext cx="0" cy="9"/>
                  </a:xfrm>
                  <a:custGeom>
                    <a:avLst/>
                    <a:gdLst>
                      <a:gd name="T0" fmla="*/ 2 w 2"/>
                      <a:gd name="T1" fmla="*/ 5 h 5"/>
                      <a:gd name="T2" fmla="*/ 2 w 2"/>
                      <a:gd name="T3" fmla="*/ 0 h 5"/>
                      <a:gd name="T4" fmla="*/ 2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2967" name="Freeform 1317"/>
                  <p:cNvSpPr>
                    <a:spLocks/>
                  </p:cNvSpPr>
                  <p:nvPr/>
                </p:nvSpPr>
                <p:spPr bwMode="auto">
                  <a:xfrm>
                    <a:off x="11089"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968" name="Freeform 1318"/>
                  <p:cNvSpPr>
                    <a:spLocks/>
                  </p:cNvSpPr>
                  <p:nvPr/>
                </p:nvSpPr>
                <p:spPr bwMode="auto">
                  <a:xfrm>
                    <a:off x="11081"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969" name="Freeform 1319"/>
                  <p:cNvSpPr>
                    <a:spLocks/>
                  </p:cNvSpPr>
                  <p:nvPr/>
                </p:nvSpPr>
                <p:spPr bwMode="auto">
                  <a:xfrm>
                    <a:off x="11072"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970" name="Freeform 1320"/>
                  <p:cNvSpPr>
                    <a:spLocks/>
                  </p:cNvSpPr>
                  <p:nvPr/>
                </p:nvSpPr>
                <p:spPr bwMode="auto">
                  <a:xfrm>
                    <a:off x="11089"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2971" name="Rectangle 1321"/>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2972" name="Rectangle 1322"/>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2973" name="Rectangle 1323"/>
                  <p:cNvSpPr>
                    <a:spLocks noChangeArrowheads="1"/>
                  </p:cNvSpPr>
                  <p:nvPr/>
                </p:nvSpPr>
                <p:spPr bwMode="auto">
                  <a:xfrm>
                    <a:off x="11039" y="1872"/>
                    <a:ext cx="0" cy="9"/>
                  </a:xfrm>
                  <a:prstGeom prst="rect">
                    <a:avLst/>
                  </a:prstGeom>
                  <a:solidFill>
                    <a:srgbClr val="01AAE5"/>
                  </a:solidFill>
                  <a:ln>
                    <a:noFill/>
                  </a:ln>
                  <a:extLst/>
                </p:spPr>
                <p:txBody>
                  <a:bodyPr/>
                  <a:lstStyle/>
                  <a:p>
                    <a:pPr eaLnBrk="1" hangingPunct="1">
                      <a:defRPr/>
                    </a:pPr>
                    <a:endParaRPr lang="zh-CN" altLang="en-US" sz="1050"/>
                  </a:p>
                </p:txBody>
              </p:sp>
              <p:sp>
                <p:nvSpPr>
                  <p:cNvPr id="2974" name="Rectangle 1324"/>
                  <p:cNvSpPr>
                    <a:spLocks noChangeArrowheads="1"/>
                  </p:cNvSpPr>
                  <p:nvPr/>
                </p:nvSpPr>
                <p:spPr bwMode="auto">
                  <a:xfrm>
                    <a:off x="11039" y="1872"/>
                    <a:ext cx="0" cy="9"/>
                  </a:xfrm>
                  <a:prstGeom prst="rect">
                    <a:avLst/>
                  </a:prstGeom>
                  <a:noFill/>
                  <a:ln>
                    <a:noFill/>
                  </a:ln>
                  <a:extLst/>
                </p:spPr>
                <p:txBody>
                  <a:bodyPr/>
                  <a:lstStyle/>
                  <a:p>
                    <a:pPr eaLnBrk="1" hangingPunct="1">
                      <a:defRPr/>
                    </a:pPr>
                    <a:endParaRPr lang="zh-CN" altLang="en-US" sz="1050"/>
                  </a:p>
                </p:txBody>
              </p:sp>
              <p:sp>
                <p:nvSpPr>
                  <p:cNvPr id="2975" name="Freeform 1325"/>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2976" name="Freeform 1326"/>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2977" name="Rectangle 1327"/>
                  <p:cNvSpPr>
                    <a:spLocks noChangeArrowheads="1"/>
                  </p:cNvSpPr>
                  <p:nvPr/>
                </p:nvSpPr>
                <p:spPr bwMode="auto">
                  <a:xfrm>
                    <a:off x="11031" y="1872"/>
                    <a:ext cx="8" cy="9"/>
                  </a:xfrm>
                  <a:prstGeom prst="rect">
                    <a:avLst/>
                  </a:prstGeom>
                  <a:solidFill>
                    <a:srgbClr val="01AAE5"/>
                  </a:solidFill>
                  <a:ln>
                    <a:noFill/>
                  </a:ln>
                  <a:extLst/>
                </p:spPr>
                <p:txBody>
                  <a:bodyPr/>
                  <a:lstStyle/>
                  <a:p>
                    <a:pPr eaLnBrk="1" hangingPunct="1">
                      <a:defRPr/>
                    </a:pPr>
                    <a:endParaRPr lang="zh-CN" altLang="en-US" sz="1050"/>
                  </a:p>
                </p:txBody>
              </p:sp>
              <p:sp>
                <p:nvSpPr>
                  <p:cNvPr id="2978" name="Rectangle 1328"/>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2979" name="Rectangle 1329"/>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2980" name="Freeform 1330"/>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close/>
                      </a:path>
                    </a:pathLst>
                  </a:custGeom>
                  <a:solidFill>
                    <a:srgbClr val="01AAE5"/>
                  </a:solidFill>
                  <a:ln>
                    <a:noFill/>
                  </a:ln>
                  <a:extLst/>
                </p:spPr>
                <p:txBody>
                  <a:bodyPr/>
                  <a:lstStyle/>
                  <a:p>
                    <a:pPr eaLnBrk="1" hangingPunct="1">
                      <a:defRPr/>
                    </a:pPr>
                    <a:endParaRPr lang="zh-CN" altLang="en-US" sz="1050"/>
                  </a:p>
                </p:txBody>
              </p:sp>
              <p:sp>
                <p:nvSpPr>
                  <p:cNvPr id="2981" name="Freeform 1331"/>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path>
                    </a:pathLst>
                  </a:custGeom>
                  <a:noFill/>
                  <a:ln>
                    <a:noFill/>
                  </a:ln>
                  <a:extLst/>
                </p:spPr>
                <p:txBody>
                  <a:bodyPr/>
                  <a:lstStyle/>
                  <a:p>
                    <a:pPr eaLnBrk="1" hangingPunct="1">
                      <a:defRPr/>
                    </a:pPr>
                    <a:endParaRPr lang="zh-CN" altLang="en-US" sz="1050"/>
                  </a:p>
                </p:txBody>
              </p:sp>
              <p:sp>
                <p:nvSpPr>
                  <p:cNvPr id="2982" name="Freeform 1332"/>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2983" name="Freeform 1333"/>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2984" name="Freeform 1334"/>
                  <p:cNvSpPr>
                    <a:spLocks/>
                  </p:cNvSpPr>
                  <p:nvPr/>
                </p:nvSpPr>
                <p:spPr bwMode="auto">
                  <a:xfrm>
                    <a:off x="11056" y="1881"/>
                    <a:ext cx="8" cy="0"/>
                  </a:xfrm>
                  <a:custGeom>
                    <a:avLst/>
                    <a:gdLst>
                      <a:gd name="T0" fmla="*/ 0 w 3"/>
                      <a:gd name="T1" fmla="*/ 4 h 4"/>
                      <a:gd name="T2" fmla="*/ 3 w 3"/>
                      <a:gd name="T3" fmla="*/ 0 h 4"/>
                      <a:gd name="T4" fmla="*/ 0 w 3"/>
                      <a:gd name="T5" fmla="*/ 0 h 4"/>
                      <a:gd name="T6" fmla="*/ 0 w 3"/>
                      <a:gd name="T7" fmla="*/ 4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3" y="0"/>
                        </a:lnTo>
                        <a:lnTo>
                          <a:pt x="0"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2985" name="Freeform 1335"/>
                  <p:cNvSpPr>
                    <a:spLocks/>
                  </p:cNvSpPr>
                  <p:nvPr/>
                </p:nvSpPr>
                <p:spPr bwMode="auto">
                  <a:xfrm>
                    <a:off x="11105" y="1881"/>
                    <a:ext cx="8"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2986" name="Freeform 1336"/>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close/>
                      </a:path>
                    </a:pathLst>
                  </a:custGeom>
                  <a:solidFill>
                    <a:srgbClr val="01AAE5"/>
                  </a:solidFill>
                  <a:ln>
                    <a:noFill/>
                  </a:ln>
                  <a:extLst/>
                </p:spPr>
                <p:txBody>
                  <a:bodyPr/>
                  <a:lstStyle/>
                  <a:p>
                    <a:pPr eaLnBrk="1" hangingPunct="1">
                      <a:defRPr/>
                    </a:pPr>
                    <a:endParaRPr lang="zh-CN" altLang="en-US" sz="1050"/>
                  </a:p>
                </p:txBody>
              </p:sp>
              <p:sp>
                <p:nvSpPr>
                  <p:cNvPr id="2987" name="Freeform 1337"/>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path>
                    </a:pathLst>
                  </a:custGeom>
                  <a:noFill/>
                  <a:ln>
                    <a:noFill/>
                  </a:ln>
                  <a:extLst/>
                </p:spPr>
                <p:txBody>
                  <a:bodyPr/>
                  <a:lstStyle/>
                  <a:p>
                    <a:pPr eaLnBrk="1" hangingPunct="1">
                      <a:defRPr/>
                    </a:pPr>
                    <a:endParaRPr lang="zh-CN" altLang="en-US" sz="1050"/>
                  </a:p>
                </p:txBody>
              </p:sp>
              <p:sp>
                <p:nvSpPr>
                  <p:cNvPr id="2988" name="Freeform 1338"/>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2989" name="Freeform 1339"/>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path>
                    </a:pathLst>
                  </a:custGeom>
                  <a:noFill/>
                  <a:ln>
                    <a:noFill/>
                  </a:ln>
                  <a:extLst/>
                </p:spPr>
                <p:txBody>
                  <a:bodyPr/>
                  <a:lstStyle/>
                  <a:p>
                    <a:pPr eaLnBrk="1" hangingPunct="1">
                      <a:defRPr/>
                    </a:pPr>
                    <a:endParaRPr lang="zh-CN" altLang="en-US" sz="1050"/>
                  </a:p>
                </p:txBody>
              </p:sp>
              <p:sp>
                <p:nvSpPr>
                  <p:cNvPr id="2990" name="Freeform 1340"/>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close/>
                      </a:path>
                    </a:pathLst>
                  </a:custGeom>
                  <a:solidFill>
                    <a:srgbClr val="01AAE5"/>
                  </a:solidFill>
                  <a:ln>
                    <a:noFill/>
                  </a:ln>
                  <a:extLst/>
                </p:spPr>
                <p:txBody>
                  <a:bodyPr/>
                  <a:lstStyle/>
                  <a:p>
                    <a:pPr eaLnBrk="1" hangingPunct="1">
                      <a:defRPr/>
                    </a:pPr>
                    <a:endParaRPr lang="zh-CN" altLang="en-US" sz="1050"/>
                  </a:p>
                </p:txBody>
              </p:sp>
              <p:sp>
                <p:nvSpPr>
                  <p:cNvPr id="2991" name="Freeform 1341"/>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path>
                    </a:pathLst>
                  </a:custGeom>
                  <a:noFill/>
                  <a:ln>
                    <a:noFill/>
                  </a:ln>
                  <a:extLst/>
                </p:spPr>
                <p:txBody>
                  <a:bodyPr/>
                  <a:lstStyle/>
                  <a:p>
                    <a:pPr eaLnBrk="1" hangingPunct="1">
                      <a:defRPr/>
                    </a:pPr>
                    <a:endParaRPr lang="zh-CN" altLang="en-US" sz="1050"/>
                  </a:p>
                </p:txBody>
              </p:sp>
              <p:sp>
                <p:nvSpPr>
                  <p:cNvPr id="2992" name="Freeform 1342"/>
                  <p:cNvSpPr>
                    <a:spLocks/>
                  </p:cNvSpPr>
                  <p:nvPr/>
                </p:nvSpPr>
                <p:spPr bwMode="auto">
                  <a:xfrm>
                    <a:off x="11130" y="1881"/>
                    <a:ext cx="0" cy="9"/>
                  </a:xfrm>
                  <a:custGeom>
                    <a:avLst/>
                    <a:gdLst>
                      <a:gd name="T0" fmla="*/ 2 w 4"/>
                      <a:gd name="T1" fmla="*/ 7 h 7"/>
                      <a:gd name="T2" fmla="*/ 4 w 4"/>
                      <a:gd name="T3" fmla="*/ 0 h 7"/>
                      <a:gd name="T4" fmla="*/ 2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993" name="Freeform 1343"/>
                  <p:cNvSpPr>
                    <a:spLocks/>
                  </p:cNvSpPr>
                  <p:nvPr/>
                </p:nvSpPr>
                <p:spPr bwMode="auto">
                  <a:xfrm>
                    <a:off x="11122" y="1881"/>
                    <a:ext cx="8" cy="9"/>
                  </a:xfrm>
                  <a:custGeom>
                    <a:avLst/>
                    <a:gdLst>
                      <a:gd name="T0" fmla="*/ 0 w 3"/>
                      <a:gd name="T1" fmla="*/ 8 h 8"/>
                      <a:gd name="T2" fmla="*/ 3 w 3"/>
                      <a:gd name="T3" fmla="*/ 0 h 8"/>
                      <a:gd name="T4" fmla="*/ 3 w 3"/>
                      <a:gd name="T5" fmla="*/ 0 h 8"/>
                      <a:gd name="T6" fmla="*/ 0 w 3"/>
                      <a:gd name="T7" fmla="*/ 8 h 8"/>
                      <a:gd name="T8" fmla="*/ 0 w 3"/>
                      <a:gd name="T9" fmla="*/ 8 h 8"/>
                    </a:gdLst>
                    <a:ahLst/>
                    <a:cxnLst>
                      <a:cxn ang="0">
                        <a:pos x="T0" y="T1"/>
                      </a:cxn>
                      <a:cxn ang="0">
                        <a:pos x="T2" y="T3"/>
                      </a:cxn>
                      <a:cxn ang="0">
                        <a:pos x="T4" y="T5"/>
                      </a:cxn>
                      <a:cxn ang="0">
                        <a:pos x="T6" y="T7"/>
                      </a:cxn>
                      <a:cxn ang="0">
                        <a:pos x="T8" y="T9"/>
                      </a:cxn>
                    </a:cxnLst>
                    <a:rect l="0" t="0" r="r" b="b"/>
                    <a:pathLst>
                      <a:path w="3" h="8">
                        <a:moveTo>
                          <a:pt x="0" y="8"/>
                        </a:moveTo>
                        <a:lnTo>
                          <a:pt x="3"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2994" name="Freeform 1344"/>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close/>
                      </a:path>
                    </a:pathLst>
                  </a:custGeom>
                  <a:solidFill>
                    <a:srgbClr val="01AAE5"/>
                  </a:solidFill>
                  <a:ln>
                    <a:noFill/>
                  </a:ln>
                  <a:extLst/>
                </p:spPr>
                <p:txBody>
                  <a:bodyPr/>
                  <a:lstStyle/>
                  <a:p>
                    <a:pPr eaLnBrk="1" hangingPunct="1">
                      <a:defRPr/>
                    </a:pPr>
                    <a:endParaRPr lang="zh-CN" altLang="en-US" sz="1050"/>
                  </a:p>
                </p:txBody>
              </p:sp>
              <p:sp>
                <p:nvSpPr>
                  <p:cNvPr id="2995" name="Freeform 1345"/>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path>
                    </a:pathLst>
                  </a:custGeom>
                  <a:noFill/>
                  <a:ln>
                    <a:noFill/>
                  </a:ln>
                  <a:extLst/>
                </p:spPr>
                <p:txBody>
                  <a:bodyPr/>
                  <a:lstStyle/>
                  <a:p>
                    <a:pPr eaLnBrk="1" hangingPunct="1">
                      <a:defRPr/>
                    </a:pPr>
                    <a:endParaRPr lang="zh-CN" altLang="en-US" sz="1050"/>
                  </a:p>
                </p:txBody>
              </p:sp>
              <p:sp>
                <p:nvSpPr>
                  <p:cNvPr id="2996" name="Freeform 1346"/>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2997" name="Freeform 1347"/>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path>
                    </a:pathLst>
                  </a:custGeom>
                  <a:noFill/>
                  <a:ln>
                    <a:noFill/>
                  </a:ln>
                  <a:extLst/>
                </p:spPr>
                <p:txBody>
                  <a:bodyPr/>
                  <a:lstStyle/>
                  <a:p>
                    <a:pPr eaLnBrk="1" hangingPunct="1">
                      <a:defRPr/>
                    </a:pPr>
                    <a:endParaRPr lang="zh-CN" altLang="en-US" sz="1050"/>
                  </a:p>
                </p:txBody>
              </p:sp>
              <p:sp>
                <p:nvSpPr>
                  <p:cNvPr id="2998" name="Freeform 1348"/>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2999" name="Freeform 1349"/>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3000" name="Freeform 1350"/>
                  <p:cNvSpPr>
                    <a:spLocks/>
                  </p:cNvSpPr>
                  <p:nvPr/>
                </p:nvSpPr>
                <p:spPr bwMode="auto">
                  <a:xfrm>
                    <a:off x="11114"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3001" name="Freeform 1351"/>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02" name="Freeform 1352"/>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3003" name="Freeform 1353"/>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04" name="Freeform 1354"/>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005" name="Freeform 1355"/>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006" name="Freeform 1356"/>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3007" name="Freeform 1357"/>
                  <p:cNvSpPr>
                    <a:spLocks/>
                  </p:cNvSpPr>
                  <p:nvPr/>
                </p:nvSpPr>
                <p:spPr bwMode="auto">
                  <a:xfrm>
                    <a:off x="11122" y="1881"/>
                    <a:ext cx="0" cy="9"/>
                  </a:xfrm>
                  <a:custGeom>
                    <a:avLst/>
                    <a:gdLst>
                      <a:gd name="T0" fmla="*/ 0 w 2"/>
                      <a:gd name="T1" fmla="*/ 8 h 8"/>
                      <a:gd name="T2" fmla="*/ 2 w 2"/>
                      <a:gd name="T3" fmla="*/ 8 h 8"/>
                      <a:gd name="T4" fmla="*/ 2 w 2"/>
                      <a:gd name="T5" fmla="*/ 0 h 8"/>
                      <a:gd name="T6" fmla="*/ 2 w 2"/>
                      <a:gd name="T7" fmla="*/ 0 h 8"/>
                      <a:gd name="T8" fmla="*/ 0 w 2"/>
                      <a:gd name="T9" fmla="*/ 8 h 8"/>
                    </a:gdLst>
                    <a:ahLst/>
                    <a:cxnLst>
                      <a:cxn ang="0">
                        <a:pos x="T0" y="T1"/>
                      </a:cxn>
                      <a:cxn ang="0">
                        <a:pos x="T2" y="T3"/>
                      </a:cxn>
                      <a:cxn ang="0">
                        <a:pos x="T4" y="T5"/>
                      </a:cxn>
                      <a:cxn ang="0">
                        <a:pos x="T6" y="T7"/>
                      </a:cxn>
                      <a:cxn ang="0">
                        <a:pos x="T8" y="T9"/>
                      </a:cxn>
                    </a:cxnLst>
                    <a:rect l="0" t="0" r="r" b="b"/>
                    <a:pathLst>
                      <a:path w="2" h="8">
                        <a:moveTo>
                          <a:pt x="0" y="8"/>
                        </a:moveTo>
                        <a:lnTo>
                          <a:pt x="2" y="8"/>
                        </a:lnTo>
                        <a:lnTo>
                          <a:pt x="2" y="0"/>
                        </a:lnTo>
                        <a:lnTo>
                          <a:pt x="2" y="0"/>
                        </a:lnTo>
                        <a:lnTo>
                          <a:pt x="0" y="8"/>
                        </a:lnTo>
                        <a:close/>
                      </a:path>
                    </a:pathLst>
                  </a:custGeom>
                  <a:solidFill>
                    <a:srgbClr val="01AAE5"/>
                  </a:solidFill>
                  <a:ln>
                    <a:noFill/>
                  </a:ln>
                  <a:extLst/>
                </p:spPr>
                <p:txBody>
                  <a:bodyPr/>
                  <a:lstStyle/>
                  <a:p>
                    <a:pPr eaLnBrk="1" hangingPunct="1">
                      <a:defRPr/>
                    </a:pPr>
                    <a:endParaRPr lang="zh-CN" altLang="en-US" sz="1050"/>
                  </a:p>
                </p:txBody>
              </p:sp>
              <p:sp>
                <p:nvSpPr>
                  <p:cNvPr id="3008" name="Freeform 1358"/>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09" name="Freeform 1359"/>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3010" name="Freeform 1360"/>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3011" name="Freeform 1361"/>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path>
                    </a:pathLst>
                  </a:custGeom>
                  <a:noFill/>
                  <a:ln>
                    <a:noFill/>
                  </a:ln>
                  <a:extLst/>
                </p:spPr>
                <p:txBody>
                  <a:bodyPr/>
                  <a:lstStyle/>
                  <a:p>
                    <a:pPr eaLnBrk="1" hangingPunct="1">
                      <a:defRPr/>
                    </a:pPr>
                    <a:endParaRPr lang="zh-CN" altLang="en-US" sz="1050"/>
                  </a:p>
                </p:txBody>
              </p:sp>
              <p:sp>
                <p:nvSpPr>
                  <p:cNvPr id="3012" name="Freeform 1362"/>
                  <p:cNvSpPr>
                    <a:spLocks/>
                  </p:cNvSpPr>
                  <p:nvPr/>
                </p:nvSpPr>
                <p:spPr bwMode="auto">
                  <a:xfrm>
                    <a:off x="11105"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13" name="Freeform 1363"/>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014" name="Freeform 1364"/>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path>
                    </a:pathLst>
                  </a:custGeom>
                  <a:noFill/>
                  <a:ln>
                    <a:noFill/>
                  </a:ln>
                  <a:extLst/>
                </p:spPr>
                <p:txBody>
                  <a:bodyPr/>
                  <a:lstStyle/>
                  <a:p>
                    <a:pPr eaLnBrk="1" hangingPunct="1">
                      <a:defRPr/>
                    </a:pPr>
                    <a:endParaRPr lang="zh-CN" altLang="en-US" sz="1050"/>
                  </a:p>
                </p:txBody>
              </p:sp>
              <p:sp>
                <p:nvSpPr>
                  <p:cNvPr id="3015" name="Freeform 1365"/>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close/>
                      </a:path>
                    </a:pathLst>
                  </a:custGeom>
                  <a:solidFill>
                    <a:srgbClr val="01AAE5"/>
                  </a:solidFill>
                  <a:ln>
                    <a:noFill/>
                  </a:ln>
                  <a:extLst/>
                </p:spPr>
                <p:txBody>
                  <a:bodyPr/>
                  <a:lstStyle/>
                  <a:p>
                    <a:pPr eaLnBrk="1" hangingPunct="1">
                      <a:defRPr/>
                    </a:pPr>
                    <a:endParaRPr lang="zh-CN" altLang="en-US" sz="1050"/>
                  </a:p>
                </p:txBody>
              </p:sp>
              <p:sp>
                <p:nvSpPr>
                  <p:cNvPr id="3016" name="Freeform 1366"/>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path>
                    </a:pathLst>
                  </a:custGeom>
                  <a:noFill/>
                  <a:ln>
                    <a:noFill/>
                  </a:ln>
                  <a:extLst/>
                </p:spPr>
                <p:txBody>
                  <a:bodyPr/>
                  <a:lstStyle/>
                  <a:p>
                    <a:pPr eaLnBrk="1" hangingPunct="1">
                      <a:defRPr/>
                    </a:pPr>
                    <a:endParaRPr lang="zh-CN" altLang="en-US" sz="1050"/>
                  </a:p>
                </p:txBody>
              </p:sp>
              <p:sp>
                <p:nvSpPr>
                  <p:cNvPr id="3017" name="Freeform 1367"/>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3018" name="Freeform 1368"/>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path>
                    </a:pathLst>
                  </a:custGeom>
                  <a:noFill/>
                  <a:ln>
                    <a:noFill/>
                  </a:ln>
                  <a:extLst/>
                </p:spPr>
                <p:txBody>
                  <a:bodyPr/>
                  <a:lstStyle/>
                  <a:p>
                    <a:pPr eaLnBrk="1" hangingPunct="1">
                      <a:defRPr/>
                    </a:pPr>
                    <a:endParaRPr lang="zh-CN" altLang="en-US" sz="1050"/>
                  </a:p>
                </p:txBody>
              </p:sp>
              <p:sp>
                <p:nvSpPr>
                  <p:cNvPr id="3019" name="Freeform 1369"/>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3020" name="Freeform 1370"/>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path>
                    </a:pathLst>
                  </a:custGeom>
                  <a:noFill/>
                  <a:ln>
                    <a:noFill/>
                  </a:ln>
                  <a:extLst/>
                </p:spPr>
                <p:txBody>
                  <a:bodyPr/>
                  <a:lstStyle/>
                  <a:p>
                    <a:pPr eaLnBrk="1" hangingPunct="1">
                      <a:defRPr/>
                    </a:pPr>
                    <a:endParaRPr lang="zh-CN" altLang="en-US" sz="1050"/>
                  </a:p>
                </p:txBody>
              </p:sp>
              <p:sp>
                <p:nvSpPr>
                  <p:cNvPr id="3021" name="Freeform 1371"/>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3022" name="Freeform 1372"/>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path>
                    </a:pathLst>
                  </a:custGeom>
                  <a:noFill/>
                  <a:ln>
                    <a:noFill/>
                  </a:ln>
                  <a:extLst/>
                </p:spPr>
                <p:txBody>
                  <a:bodyPr/>
                  <a:lstStyle/>
                  <a:p>
                    <a:pPr eaLnBrk="1" hangingPunct="1">
                      <a:defRPr/>
                    </a:pPr>
                    <a:endParaRPr lang="zh-CN" altLang="en-US" sz="1050"/>
                  </a:p>
                </p:txBody>
              </p:sp>
              <p:sp>
                <p:nvSpPr>
                  <p:cNvPr id="3023" name="Freeform 1373"/>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close/>
                      </a:path>
                    </a:pathLst>
                  </a:custGeom>
                  <a:solidFill>
                    <a:srgbClr val="01AAE5"/>
                  </a:solidFill>
                  <a:ln>
                    <a:noFill/>
                  </a:ln>
                  <a:extLst/>
                </p:spPr>
                <p:txBody>
                  <a:bodyPr/>
                  <a:lstStyle/>
                  <a:p>
                    <a:pPr eaLnBrk="1" hangingPunct="1">
                      <a:defRPr/>
                    </a:pPr>
                    <a:endParaRPr lang="zh-CN" altLang="en-US" sz="1050"/>
                  </a:p>
                </p:txBody>
              </p:sp>
              <p:sp>
                <p:nvSpPr>
                  <p:cNvPr id="3024" name="Freeform 1374"/>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path>
                    </a:pathLst>
                  </a:custGeom>
                  <a:noFill/>
                  <a:ln>
                    <a:noFill/>
                  </a:ln>
                  <a:extLst/>
                </p:spPr>
                <p:txBody>
                  <a:bodyPr/>
                  <a:lstStyle/>
                  <a:p>
                    <a:pPr eaLnBrk="1" hangingPunct="1">
                      <a:defRPr/>
                    </a:pPr>
                    <a:endParaRPr lang="zh-CN" altLang="en-US" sz="1050"/>
                  </a:p>
                </p:txBody>
              </p:sp>
              <p:sp>
                <p:nvSpPr>
                  <p:cNvPr id="3025" name="Freeform 1375"/>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3026" name="Freeform 1376"/>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path>
                    </a:pathLst>
                  </a:custGeom>
                  <a:noFill/>
                  <a:ln>
                    <a:noFill/>
                  </a:ln>
                  <a:extLst/>
                </p:spPr>
                <p:txBody>
                  <a:bodyPr/>
                  <a:lstStyle/>
                  <a:p>
                    <a:pPr eaLnBrk="1" hangingPunct="1">
                      <a:defRPr/>
                    </a:pPr>
                    <a:endParaRPr lang="zh-CN" altLang="en-US" sz="1050"/>
                  </a:p>
                </p:txBody>
              </p:sp>
              <p:sp>
                <p:nvSpPr>
                  <p:cNvPr id="3027" name="Freeform 1377"/>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3028" name="Freeform 1378"/>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path>
                    </a:pathLst>
                  </a:custGeom>
                  <a:noFill/>
                  <a:ln>
                    <a:noFill/>
                  </a:ln>
                  <a:extLst/>
                </p:spPr>
                <p:txBody>
                  <a:bodyPr/>
                  <a:lstStyle/>
                  <a:p>
                    <a:pPr eaLnBrk="1" hangingPunct="1">
                      <a:defRPr/>
                    </a:pPr>
                    <a:endParaRPr lang="zh-CN" altLang="en-US" sz="1050"/>
                  </a:p>
                </p:txBody>
              </p:sp>
              <p:sp>
                <p:nvSpPr>
                  <p:cNvPr id="3029" name="Freeform 1379"/>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close/>
                      </a:path>
                    </a:pathLst>
                  </a:custGeom>
                  <a:solidFill>
                    <a:srgbClr val="01AAE5"/>
                  </a:solidFill>
                  <a:ln>
                    <a:noFill/>
                  </a:ln>
                  <a:extLst/>
                </p:spPr>
                <p:txBody>
                  <a:bodyPr/>
                  <a:lstStyle/>
                  <a:p>
                    <a:pPr eaLnBrk="1" hangingPunct="1">
                      <a:defRPr/>
                    </a:pPr>
                    <a:endParaRPr lang="zh-CN" altLang="en-US" sz="1050"/>
                  </a:p>
                </p:txBody>
              </p:sp>
              <p:sp>
                <p:nvSpPr>
                  <p:cNvPr id="3030" name="Freeform 1380"/>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path>
                    </a:pathLst>
                  </a:custGeom>
                  <a:noFill/>
                  <a:ln>
                    <a:noFill/>
                  </a:ln>
                  <a:extLst/>
                </p:spPr>
                <p:txBody>
                  <a:bodyPr/>
                  <a:lstStyle/>
                  <a:p>
                    <a:pPr eaLnBrk="1" hangingPunct="1">
                      <a:defRPr/>
                    </a:pPr>
                    <a:endParaRPr lang="zh-CN" altLang="en-US" sz="1050"/>
                  </a:p>
                </p:txBody>
              </p:sp>
              <p:sp>
                <p:nvSpPr>
                  <p:cNvPr id="3031" name="Freeform 1381"/>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close/>
                      </a:path>
                    </a:pathLst>
                  </a:custGeom>
                  <a:solidFill>
                    <a:srgbClr val="01AAE5"/>
                  </a:solidFill>
                  <a:ln>
                    <a:noFill/>
                  </a:ln>
                  <a:extLst/>
                </p:spPr>
                <p:txBody>
                  <a:bodyPr/>
                  <a:lstStyle/>
                  <a:p>
                    <a:pPr eaLnBrk="1" hangingPunct="1">
                      <a:defRPr/>
                    </a:pPr>
                    <a:endParaRPr lang="zh-CN" altLang="en-US" sz="1050"/>
                  </a:p>
                </p:txBody>
              </p:sp>
              <p:sp>
                <p:nvSpPr>
                  <p:cNvPr id="3032" name="Freeform 1382"/>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path>
                    </a:pathLst>
                  </a:custGeom>
                  <a:noFill/>
                  <a:ln>
                    <a:noFill/>
                  </a:ln>
                  <a:extLst/>
                </p:spPr>
                <p:txBody>
                  <a:bodyPr/>
                  <a:lstStyle/>
                  <a:p>
                    <a:pPr eaLnBrk="1" hangingPunct="1">
                      <a:defRPr/>
                    </a:pPr>
                    <a:endParaRPr lang="zh-CN" altLang="en-US" sz="1050"/>
                  </a:p>
                </p:txBody>
              </p:sp>
              <p:sp>
                <p:nvSpPr>
                  <p:cNvPr id="3033" name="Freeform 1383"/>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close/>
                      </a:path>
                    </a:pathLst>
                  </a:custGeom>
                  <a:solidFill>
                    <a:srgbClr val="01AAE5"/>
                  </a:solidFill>
                  <a:ln>
                    <a:noFill/>
                  </a:ln>
                  <a:extLst/>
                </p:spPr>
                <p:txBody>
                  <a:bodyPr/>
                  <a:lstStyle/>
                  <a:p>
                    <a:pPr eaLnBrk="1" hangingPunct="1">
                      <a:defRPr/>
                    </a:pPr>
                    <a:endParaRPr lang="zh-CN" altLang="en-US" sz="1050"/>
                  </a:p>
                </p:txBody>
              </p:sp>
              <p:sp>
                <p:nvSpPr>
                  <p:cNvPr id="3034" name="Freeform 1384"/>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path>
                    </a:pathLst>
                  </a:custGeom>
                  <a:noFill/>
                  <a:ln>
                    <a:noFill/>
                  </a:ln>
                  <a:extLst/>
                </p:spPr>
                <p:txBody>
                  <a:bodyPr/>
                  <a:lstStyle/>
                  <a:p>
                    <a:pPr eaLnBrk="1" hangingPunct="1">
                      <a:defRPr/>
                    </a:pPr>
                    <a:endParaRPr lang="zh-CN" altLang="en-US" sz="1050"/>
                  </a:p>
                </p:txBody>
              </p:sp>
              <p:sp>
                <p:nvSpPr>
                  <p:cNvPr id="3035" name="Freeform 1385"/>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close/>
                      </a:path>
                    </a:pathLst>
                  </a:custGeom>
                  <a:solidFill>
                    <a:srgbClr val="01AAE5"/>
                  </a:solidFill>
                  <a:ln>
                    <a:noFill/>
                  </a:ln>
                  <a:extLst/>
                </p:spPr>
                <p:txBody>
                  <a:bodyPr/>
                  <a:lstStyle/>
                  <a:p>
                    <a:pPr eaLnBrk="1" hangingPunct="1">
                      <a:defRPr/>
                    </a:pPr>
                    <a:endParaRPr lang="zh-CN" altLang="en-US" sz="1050"/>
                  </a:p>
                </p:txBody>
              </p:sp>
              <p:sp>
                <p:nvSpPr>
                  <p:cNvPr id="3036" name="Freeform 1386"/>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path>
                    </a:pathLst>
                  </a:custGeom>
                  <a:noFill/>
                  <a:ln>
                    <a:noFill/>
                  </a:ln>
                  <a:extLst/>
                </p:spPr>
                <p:txBody>
                  <a:bodyPr/>
                  <a:lstStyle/>
                  <a:p>
                    <a:pPr eaLnBrk="1" hangingPunct="1">
                      <a:defRPr/>
                    </a:pPr>
                    <a:endParaRPr lang="zh-CN" altLang="en-US" sz="1050"/>
                  </a:p>
                </p:txBody>
              </p:sp>
              <p:sp>
                <p:nvSpPr>
                  <p:cNvPr id="3037" name="Freeform 1387"/>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close/>
                      </a:path>
                    </a:pathLst>
                  </a:custGeom>
                  <a:solidFill>
                    <a:srgbClr val="01AAE5"/>
                  </a:solidFill>
                  <a:ln>
                    <a:noFill/>
                  </a:ln>
                  <a:extLst/>
                </p:spPr>
                <p:txBody>
                  <a:bodyPr/>
                  <a:lstStyle/>
                  <a:p>
                    <a:pPr eaLnBrk="1" hangingPunct="1">
                      <a:defRPr/>
                    </a:pPr>
                    <a:endParaRPr lang="zh-CN" altLang="en-US" sz="1050"/>
                  </a:p>
                </p:txBody>
              </p:sp>
              <p:sp>
                <p:nvSpPr>
                  <p:cNvPr id="3038" name="Freeform 1388"/>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path>
                    </a:pathLst>
                  </a:custGeom>
                  <a:noFill/>
                  <a:ln>
                    <a:noFill/>
                  </a:ln>
                  <a:extLst/>
                </p:spPr>
                <p:txBody>
                  <a:bodyPr/>
                  <a:lstStyle/>
                  <a:p>
                    <a:pPr eaLnBrk="1" hangingPunct="1">
                      <a:defRPr/>
                    </a:pPr>
                    <a:endParaRPr lang="zh-CN" altLang="en-US" sz="1050"/>
                  </a:p>
                </p:txBody>
              </p:sp>
              <p:sp>
                <p:nvSpPr>
                  <p:cNvPr id="3039" name="Freeform 1389"/>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3040" name="Freeform 1390"/>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path>
                    </a:pathLst>
                  </a:custGeom>
                  <a:noFill/>
                  <a:ln>
                    <a:noFill/>
                  </a:ln>
                  <a:extLst/>
                </p:spPr>
                <p:txBody>
                  <a:bodyPr/>
                  <a:lstStyle/>
                  <a:p>
                    <a:pPr eaLnBrk="1" hangingPunct="1">
                      <a:defRPr/>
                    </a:pPr>
                    <a:endParaRPr lang="zh-CN" altLang="en-US" sz="1050"/>
                  </a:p>
                </p:txBody>
              </p:sp>
              <p:sp>
                <p:nvSpPr>
                  <p:cNvPr id="3041" name="Freeform 1391"/>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close/>
                      </a:path>
                    </a:pathLst>
                  </a:custGeom>
                  <a:solidFill>
                    <a:srgbClr val="01AAE5"/>
                  </a:solidFill>
                  <a:ln>
                    <a:noFill/>
                  </a:ln>
                  <a:extLst/>
                </p:spPr>
                <p:txBody>
                  <a:bodyPr/>
                  <a:lstStyle/>
                  <a:p>
                    <a:pPr eaLnBrk="1" hangingPunct="1">
                      <a:defRPr/>
                    </a:pPr>
                    <a:endParaRPr lang="zh-CN" altLang="en-US" sz="1050"/>
                  </a:p>
                </p:txBody>
              </p:sp>
              <p:sp>
                <p:nvSpPr>
                  <p:cNvPr id="3042" name="Freeform 1392"/>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path>
                    </a:pathLst>
                  </a:custGeom>
                  <a:noFill/>
                  <a:ln>
                    <a:noFill/>
                  </a:ln>
                  <a:extLst/>
                </p:spPr>
                <p:txBody>
                  <a:bodyPr/>
                  <a:lstStyle/>
                  <a:p>
                    <a:pPr eaLnBrk="1" hangingPunct="1">
                      <a:defRPr/>
                    </a:pPr>
                    <a:endParaRPr lang="zh-CN" altLang="en-US" sz="1050"/>
                  </a:p>
                </p:txBody>
              </p:sp>
              <p:sp>
                <p:nvSpPr>
                  <p:cNvPr id="3043" name="Freeform 1393"/>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3044" name="Freeform 1394"/>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path>
                    </a:pathLst>
                  </a:custGeom>
                  <a:noFill/>
                  <a:ln>
                    <a:noFill/>
                  </a:ln>
                  <a:extLst/>
                </p:spPr>
                <p:txBody>
                  <a:bodyPr/>
                  <a:lstStyle/>
                  <a:p>
                    <a:pPr eaLnBrk="1" hangingPunct="1">
                      <a:defRPr/>
                    </a:pPr>
                    <a:endParaRPr lang="zh-CN" altLang="en-US" sz="1050"/>
                  </a:p>
                </p:txBody>
              </p:sp>
              <p:sp>
                <p:nvSpPr>
                  <p:cNvPr id="3045" name="Freeform 1395"/>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close/>
                      </a:path>
                    </a:pathLst>
                  </a:custGeom>
                  <a:solidFill>
                    <a:srgbClr val="01AAE5"/>
                  </a:solidFill>
                  <a:ln>
                    <a:noFill/>
                  </a:ln>
                  <a:extLst/>
                </p:spPr>
                <p:txBody>
                  <a:bodyPr/>
                  <a:lstStyle/>
                  <a:p>
                    <a:pPr eaLnBrk="1" hangingPunct="1">
                      <a:defRPr/>
                    </a:pPr>
                    <a:endParaRPr lang="zh-CN" altLang="en-US" sz="1050"/>
                  </a:p>
                </p:txBody>
              </p:sp>
              <p:sp>
                <p:nvSpPr>
                  <p:cNvPr id="3046" name="Freeform 1396"/>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path>
                    </a:pathLst>
                  </a:custGeom>
                  <a:noFill/>
                  <a:ln>
                    <a:noFill/>
                  </a:ln>
                  <a:extLst/>
                </p:spPr>
                <p:txBody>
                  <a:bodyPr/>
                  <a:lstStyle/>
                  <a:p>
                    <a:pPr eaLnBrk="1" hangingPunct="1">
                      <a:defRPr/>
                    </a:pPr>
                    <a:endParaRPr lang="zh-CN" altLang="en-US" sz="1050"/>
                  </a:p>
                </p:txBody>
              </p:sp>
              <p:sp>
                <p:nvSpPr>
                  <p:cNvPr id="3047" name="Freeform 1397"/>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close/>
                      </a:path>
                    </a:pathLst>
                  </a:custGeom>
                  <a:solidFill>
                    <a:srgbClr val="01AAE5"/>
                  </a:solidFill>
                  <a:ln>
                    <a:noFill/>
                  </a:ln>
                  <a:extLst/>
                </p:spPr>
                <p:txBody>
                  <a:bodyPr/>
                  <a:lstStyle/>
                  <a:p>
                    <a:pPr eaLnBrk="1" hangingPunct="1">
                      <a:defRPr/>
                    </a:pPr>
                    <a:endParaRPr lang="zh-CN" altLang="en-US" sz="1050"/>
                  </a:p>
                </p:txBody>
              </p:sp>
              <p:sp>
                <p:nvSpPr>
                  <p:cNvPr id="3048" name="Freeform 1398"/>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path>
                    </a:pathLst>
                  </a:custGeom>
                  <a:noFill/>
                  <a:ln>
                    <a:noFill/>
                  </a:ln>
                  <a:extLst/>
                </p:spPr>
                <p:txBody>
                  <a:bodyPr/>
                  <a:lstStyle/>
                  <a:p>
                    <a:pPr eaLnBrk="1" hangingPunct="1">
                      <a:defRPr/>
                    </a:pPr>
                    <a:endParaRPr lang="zh-CN" altLang="en-US" sz="1050"/>
                  </a:p>
                </p:txBody>
              </p:sp>
              <p:sp>
                <p:nvSpPr>
                  <p:cNvPr id="3049" name="Freeform 1399"/>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3050" name="Freeform 1400"/>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path>
                    </a:pathLst>
                  </a:custGeom>
                  <a:noFill/>
                  <a:ln>
                    <a:noFill/>
                  </a:ln>
                  <a:extLst/>
                </p:spPr>
                <p:txBody>
                  <a:bodyPr/>
                  <a:lstStyle/>
                  <a:p>
                    <a:pPr eaLnBrk="1" hangingPunct="1">
                      <a:defRPr/>
                    </a:pPr>
                    <a:endParaRPr lang="zh-CN" altLang="en-US" sz="1050"/>
                  </a:p>
                </p:txBody>
              </p:sp>
              <p:sp>
                <p:nvSpPr>
                  <p:cNvPr id="3051" name="Freeform 1401"/>
                  <p:cNvSpPr>
                    <a:spLocks/>
                  </p:cNvSpPr>
                  <p:nvPr/>
                </p:nvSpPr>
                <p:spPr bwMode="auto">
                  <a:xfrm>
                    <a:off x="11488" y="2046"/>
                    <a:ext cx="0" cy="0"/>
                  </a:xfrm>
                  <a:custGeom>
                    <a:avLst/>
                    <a:gdLst>
                      <a:gd name="T0" fmla="*/ 0 w 4"/>
                      <a:gd name="T1" fmla="*/ 4 h 4"/>
                      <a:gd name="T2" fmla="*/ 4 w 4"/>
                      <a:gd name="T3" fmla="*/ 0 h 4"/>
                      <a:gd name="T4" fmla="*/ 4 w 4"/>
                      <a:gd name="T5" fmla="*/ 0 h 4"/>
                      <a:gd name="T6" fmla="*/ 0 w 4"/>
                      <a:gd name="T7" fmla="*/ 4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0"/>
                        </a:lnTo>
                        <a:lnTo>
                          <a:pt x="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052" name="Freeform 1402"/>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53" name="Freeform 1403"/>
                  <p:cNvSpPr>
                    <a:spLocks/>
                  </p:cNvSpPr>
                  <p:nvPr/>
                </p:nvSpPr>
                <p:spPr bwMode="auto">
                  <a:xfrm>
                    <a:off x="11488" y="2046"/>
                    <a:ext cx="0" cy="9"/>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54" name="Freeform 1404"/>
                  <p:cNvSpPr>
                    <a:spLocks/>
                  </p:cNvSpPr>
                  <p:nvPr/>
                </p:nvSpPr>
                <p:spPr bwMode="auto">
                  <a:xfrm>
                    <a:off x="11480" y="2046"/>
                    <a:ext cx="0" cy="0"/>
                  </a:xfrm>
                  <a:custGeom>
                    <a:avLst/>
                    <a:gdLst>
                      <a:gd name="T0" fmla="*/ 0 w 5"/>
                      <a:gd name="T1" fmla="*/ 4 h 4"/>
                      <a:gd name="T2" fmla="*/ 5 w 5"/>
                      <a:gd name="T3" fmla="*/ 0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055" name="Freeform 1405"/>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56" name="Freeform 1406"/>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3057" name="Freeform 1407"/>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path>
                    </a:pathLst>
                  </a:custGeom>
                  <a:noFill/>
                  <a:ln>
                    <a:noFill/>
                  </a:ln>
                  <a:extLst/>
                </p:spPr>
                <p:txBody>
                  <a:bodyPr/>
                  <a:lstStyle/>
                  <a:p>
                    <a:pPr eaLnBrk="1" hangingPunct="1">
                      <a:defRPr/>
                    </a:pPr>
                    <a:endParaRPr lang="zh-CN" altLang="en-US" sz="1050"/>
                  </a:p>
                </p:txBody>
              </p:sp>
              <p:sp>
                <p:nvSpPr>
                  <p:cNvPr id="3058" name="Freeform 1408"/>
                  <p:cNvSpPr>
                    <a:spLocks/>
                  </p:cNvSpPr>
                  <p:nvPr/>
                </p:nvSpPr>
                <p:spPr bwMode="auto">
                  <a:xfrm>
                    <a:off x="11488" y="2046"/>
                    <a:ext cx="0" cy="9"/>
                  </a:xfrm>
                  <a:custGeom>
                    <a:avLst/>
                    <a:gdLst>
                      <a:gd name="T0" fmla="*/ 3 w 5"/>
                      <a:gd name="T1" fmla="*/ 5 h 5"/>
                      <a:gd name="T2" fmla="*/ 5 w 5"/>
                      <a:gd name="T3" fmla="*/ 3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3059" name="Freeform 1409"/>
                  <p:cNvSpPr>
                    <a:spLocks/>
                  </p:cNvSpPr>
                  <p:nvPr/>
                </p:nvSpPr>
                <p:spPr bwMode="auto">
                  <a:xfrm>
                    <a:off x="11488" y="2055"/>
                    <a:ext cx="0" cy="9"/>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01AAE5"/>
                  </a:solidFill>
                  <a:ln>
                    <a:noFill/>
                  </a:ln>
                  <a:extLst/>
                </p:spPr>
                <p:txBody>
                  <a:bodyPr/>
                  <a:lstStyle/>
                  <a:p>
                    <a:pPr eaLnBrk="1" hangingPunct="1">
                      <a:defRPr/>
                    </a:pPr>
                    <a:endParaRPr lang="zh-CN" altLang="en-US" sz="1050"/>
                  </a:p>
                </p:txBody>
              </p:sp>
              <p:sp>
                <p:nvSpPr>
                  <p:cNvPr id="3060" name="Freeform 1410"/>
                  <p:cNvSpPr>
                    <a:spLocks/>
                  </p:cNvSpPr>
                  <p:nvPr/>
                </p:nvSpPr>
                <p:spPr bwMode="auto">
                  <a:xfrm>
                    <a:off x="11488" y="2055"/>
                    <a:ext cx="0" cy="9"/>
                  </a:xfrm>
                  <a:custGeom>
                    <a:avLst/>
                    <a:gdLst>
                      <a:gd name="T0" fmla="*/ 2 w 7"/>
                      <a:gd name="T1" fmla="*/ 5 h 5"/>
                      <a:gd name="T2" fmla="*/ 7 w 7"/>
                      <a:gd name="T3" fmla="*/ 0 h 5"/>
                      <a:gd name="T4" fmla="*/ 5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5"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3061" name="Freeform 1411"/>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62" name="Freeform 1412"/>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3063" name="Freeform 1413"/>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3064" name="Freeform 1414"/>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path>
                    </a:pathLst>
                  </a:custGeom>
                  <a:noFill/>
                  <a:ln>
                    <a:noFill/>
                  </a:ln>
                  <a:extLst/>
                </p:spPr>
                <p:txBody>
                  <a:bodyPr/>
                  <a:lstStyle/>
                  <a:p>
                    <a:pPr eaLnBrk="1" hangingPunct="1">
                      <a:defRPr/>
                    </a:pPr>
                    <a:endParaRPr lang="zh-CN" altLang="en-US" sz="1050"/>
                  </a:p>
                </p:txBody>
              </p:sp>
              <p:sp>
                <p:nvSpPr>
                  <p:cNvPr id="3065" name="Freeform 1415"/>
                  <p:cNvSpPr>
                    <a:spLocks/>
                  </p:cNvSpPr>
                  <p:nvPr/>
                </p:nvSpPr>
                <p:spPr bwMode="auto">
                  <a:xfrm>
                    <a:off x="11480" y="2038"/>
                    <a:ext cx="0" cy="9"/>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66" name="Freeform 1416"/>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67" name="Freeform 1417"/>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3068" name="Freeform 1418"/>
                  <p:cNvSpPr>
                    <a:spLocks/>
                  </p:cNvSpPr>
                  <p:nvPr/>
                </p:nvSpPr>
                <p:spPr bwMode="auto">
                  <a:xfrm>
                    <a:off x="11447" y="2029"/>
                    <a:ext cx="0" cy="9"/>
                  </a:xfrm>
                  <a:custGeom>
                    <a:avLst/>
                    <a:gdLst>
                      <a:gd name="T0" fmla="*/ 0 w 5"/>
                      <a:gd name="T1" fmla="*/ 7 h 7"/>
                      <a:gd name="T2" fmla="*/ 5 w 5"/>
                      <a:gd name="T3" fmla="*/ 2 h 7"/>
                      <a:gd name="T4" fmla="*/ 5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2"/>
                        </a:lnTo>
                        <a:lnTo>
                          <a:pt x="5"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69" name="Freeform 1419"/>
                  <p:cNvSpPr>
                    <a:spLocks/>
                  </p:cNvSpPr>
                  <p:nvPr/>
                </p:nvSpPr>
                <p:spPr bwMode="auto">
                  <a:xfrm>
                    <a:off x="11480" y="2038"/>
                    <a:ext cx="0" cy="9"/>
                  </a:xfrm>
                  <a:custGeom>
                    <a:avLst/>
                    <a:gdLst>
                      <a:gd name="T0" fmla="*/ 0 w 4"/>
                      <a:gd name="T1" fmla="*/ 5 h 5"/>
                      <a:gd name="T2" fmla="*/ 0 w 4"/>
                      <a:gd name="T3" fmla="*/ 5 h 5"/>
                      <a:gd name="T4" fmla="*/ 4 w 4"/>
                      <a:gd name="T5" fmla="*/ 0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5"/>
                        </a:lnTo>
                        <a:lnTo>
                          <a:pt x="4" y="0"/>
                        </a:lnTo>
                        <a:lnTo>
                          <a:pt x="4" y="0"/>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70" name="Freeform 1420"/>
                  <p:cNvSpPr>
                    <a:spLocks/>
                  </p:cNvSpPr>
                  <p:nvPr/>
                </p:nvSpPr>
                <p:spPr bwMode="auto">
                  <a:xfrm>
                    <a:off x="11447" y="2038"/>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71" name="Freeform 1421"/>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close/>
                      </a:path>
                    </a:pathLst>
                  </a:custGeom>
                  <a:solidFill>
                    <a:srgbClr val="01AAE5"/>
                  </a:solidFill>
                  <a:ln>
                    <a:noFill/>
                  </a:ln>
                  <a:extLst/>
                </p:spPr>
                <p:txBody>
                  <a:bodyPr/>
                  <a:lstStyle/>
                  <a:p>
                    <a:pPr eaLnBrk="1" hangingPunct="1">
                      <a:defRPr/>
                    </a:pPr>
                    <a:endParaRPr lang="zh-CN" altLang="en-US" sz="1050"/>
                  </a:p>
                </p:txBody>
              </p:sp>
              <p:sp>
                <p:nvSpPr>
                  <p:cNvPr id="3072" name="Freeform 1422"/>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path>
                    </a:pathLst>
                  </a:custGeom>
                  <a:noFill/>
                  <a:ln>
                    <a:noFill/>
                  </a:ln>
                  <a:extLst/>
                </p:spPr>
                <p:txBody>
                  <a:bodyPr/>
                  <a:lstStyle/>
                  <a:p>
                    <a:pPr eaLnBrk="1" hangingPunct="1">
                      <a:defRPr/>
                    </a:pPr>
                    <a:endParaRPr lang="zh-CN" altLang="en-US" sz="1050"/>
                  </a:p>
                </p:txBody>
              </p:sp>
              <p:sp>
                <p:nvSpPr>
                  <p:cNvPr id="3073" name="Freeform 1423"/>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3074" name="Freeform 1424"/>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path>
                    </a:pathLst>
                  </a:custGeom>
                  <a:noFill/>
                  <a:ln>
                    <a:noFill/>
                  </a:ln>
                  <a:extLst/>
                </p:spPr>
                <p:txBody>
                  <a:bodyPr/>
                  <a:lstStyle/>
                  <a:p>
                    <a:pPr eaLnBrk="1" hangingPunct="1">
                      <a:defRPr/>
                    </a:pPr>
                    <a:endParaRPr lang="zh-CN" altLang="en-US" sz="1050"/>
                  </a:p>
                </p:txBody>
              </p:sp>
              <p:sp>
                <p:nvSpPr>
                  <p:cNvPr id="3075" name="Freeform 1425"/>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3076" name="Freeform 1426"/>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path>
                    </a:pathLst>
                  </a:custGeom>
                  <a:noFill/>
                  <a:ln>
                    <a:noFill/>
                  </a:ln>
                  <a:extLst/>
                </p:spPr>
                <p:txBody>
                  <a:bodyPr/>
                  <a:lstStyle/>
                  <a:p>
                    <a:pPr eaLnBrk="1" hangingPunct="1">
                      <a:defRPr/>
                    </a:pPr>
                    <a:endParaRPr lang="zh-CN" altLang="en-US" sz="1050"/>
                  </a:p>
                </p:txBody>
              </p:sp>
              <p:sp>
                <p:nvSpPr>
                  <p:cNvPr id="3077" name="Freeform 1427"/>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3078" name="Freeform 1428"/>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path>
                    </a:pathLst>
                  </a:custGeom>
                  <a:noFill/>
                  <a:ln>
                    <a:noFill/>
                  </a:ln>
                  <a:extLst/>
                </p:spPr>
                <p:txBody>
                  <a:bodyPr/>
                  <a:lstStyle/>
                  <a:p>
                    <a:pPr eaLnBrk="1" hangingPunct="1">
                      <a:defRPr/>
                    </a:pPr>
                    <a:endParaRPr lang="zh-CN" altLang="en-US" sz="1050"/>
                  </a:p>
                </p:txBody>
              </p:sp>
              <p:sp>
                <p:nvSpPr>
                  <p:cNvPr id="3079" name="Freeform 1429"/>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3080" name="Freeform 1430"/>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path>
                    </a:pathLst>
                  </a:custGeom>
                  <a:noFill/>
                  <a:ln>
                    <a:noFill/>
                  </a:ln>
                  <a:extLst/>
                </p:spPr>
                <p:txBody>
                  <a:bodyPr/>
                  <a:lstStyle/>
                  <a:p>
                    <a:pPr eaLnBrk="1" hangingPunct="1">
                      <a:defRPr/>
                    </a:pPr>
                    <a:endParaRPr lang="zh-CN" altLang="en-US" sz="1050"/>
                  </a:p>
                </p:txBody>
              </p:sp>
              <p:sp>
                <p:nvSpPr>
                  <p:cNvPr id="3081" name="Freeform 1431"/>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3082" name="Freeform 1432"/>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path>
                    </a:pathLst>
                  </a:custGeom>
                  <a:noFill/>
                  <a:ln>
                    <a:noFill/>
                  </a:ln>
                  <a:extLst/>
                </p:spPr>
                <p:txBody>
                  <a:bodyPr/>
                  <a:lstStyle/>
                  <a:p>
                    <a:pPr eaLnBrk="1" hangingPunct="1">
                      <a:defRPr/>
                    </a:pPr>
                    <a:endParaRPr lang="zh-CN" altLang="en-US" sz="1050"/>
                  </a:p>
                </p:txBody>
              </p:sp>
              <p:sp>
                <p:nvSpPr>
                  <p:cNvPr id="3083" name="Freeform 1433"/>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3084" name="Freeform 1434"/>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path>
                    </a:pathLst>
                  </a:custGeom>
                  <a:noFill/>
                  <a:ln>
                    <a:noFill/>
                  </a:ln>
                  <a:extLst/>
                </p:spPr>
                <p:txBody>
                  <a:bodyPr/>
                  <a:lstStyle/>
                  <a:p>
                    <a:pPr eaLnBrk="1" hangingPunct="1">
                      <a:defRPr/>
                    </a:pPr>
                    <a:endParaRPr lang="zh-CN" altLang="en-US" sz="1050"/>
                  </a:p>
                </p:txBody>
              </p:sp>
              <p:sp>
                <p:nvSpPr>
                  <p:cNvPr id="3085" name="Freeform 1435"/>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3086" name="Freeform 1436"/>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path>
                    </a:pathLst>
                  </a:custGeom>
                  <a:noFill/>
                  <a:ln>
                    <a:noFill/>
                  </a:ln>
                  <a:extLst/>
                </p:spPr>
                <p:txBody>
                  <a:bodyPr/>
                  <a:lstStyle/>
                  <a:p>
                    <a:pPr eaLnBrk="1" hangingPunct="1">
                      <a:defRPr/>
                    </a:pPr>
                    <a:endParaRPr lang="zh-CN" altLang="en-US" sz="1050"/>
                  </a:p>
                </p:txBody>
              </p:sp>
              <p:sp>
                <p:nvSpPr>
                  <p:cNvPr id="3087" name="Freeform 1437"/>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3088" name="Freeform 1438"/>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path>
                    </a:pathLst>
                  </a:custGeom>
                  <a:noFill/>
                  <a:ln>
                    <a:noFill/>
                  </a:ln>
                  <a:extLst/>
                </p:spPr>
                <p:txBody>
                  <a:bodyPr/>
                  <a:lstStyle/>
                  <a:p>
                    <a:pPr eaLnBrk="1" hangingPunct="1">
                      <a:defRPr/>
                    </a:pPr>
                    <a:endParaRPr lang="zh-CN" altLang="en-US" sz="1050"/>
                  </a:p>
                </p:txBody>
              </p:sp>
              <p:sp>
                <p:nvSpPr>
                  <p:cNvPr id="3089" name="Freeform 1439"/>
                  <p:cNvSpPr>
                    <a:spLocks/>
                  </p:cNvSpPr>
                  <p:nvPr/>
                </p:nvSpPr>
                <p:spPr bwMode="auto">
                  <a:xfrm>
                    <a:off x="11289" y="1924"/>
                    <a:ext cx="0" cy="9"/>
                  </a:xfrm>
                  <a:custGeom>
                    <a:avLst/>
                    <a:gdLst>
                      <a:gd name="T0" fmla="*/ 0 w 2"/>
                      <a:gd name="T1" fmla="*/ 7 h 7"/>
                      <a:gd name="T2" fmla="*/ 2 w 2"/>
                      <a:gd name="T3" fmla="*/ 0 h 7"/>
                      <a:gd name="T4" fmla="*/ 2 w 2"/>
                      <a:gd name="T5" fmla="*/ 0 h 7"/>
                      <a:gd name="T6" fmla="*/ 0 w 2"/>
                      <a:gd name="T7" fmla="*/ 5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90" name="Freeform 1440"/>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3091" name="Freeform 1441"/>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path>
                    </a:pathLst>
                  </a:custGeom>
                  <a:noFill/>
                  <a:ln>
                    <a:noFill/>
                  </a:ln>
                  <a:extLst/>
                </p:spPr>
                <p:txBody>
                  <a:bodyPr/>
                  <a:lstStyle/>
                  <a:p>
                    <a:pPr eaLnBrk="1" hangingPunct="1">
                      <a:defRPr/>
                    </a:pPr>
                    <a:endParaRPr lang="zh-CN" altLang="en-US" sz="1050"/>
                  </a:p>
                </p:txBody>
              </p:sp>
              <p:sp>
                <p:nvSpPr>
                  <p:cNvPr id="3092" name="Freeform 1442"/>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3093" name="Freeform 1443"/>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3094" name="Freeform 1444"/>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close/>
                      </a:path>
                    </a:pathLst>
                  </a:custGeom>
                  <a:solidFill>
                    <a:srgbClr val="01AAE5"/>
                  </a:solidFill>
                  <a:ln>
                    <a:noFill/>
                  </a:ln>
                  <a:extLst/>
                </p:spPr>
                <p:txBody>
                  <a:bodyPr/>
                  <a:lstStyle/>
                  <a:p>
                    <a:pPr eaLnBrk="1" hangingPunct="1">
                      <a:defRPr/>
                    </a:pPr>
                    <a:endParaRPr lang="zh-CN" altLang="en-US" sz="1050"/>
                  </a:p>
                </p:txBody>
              </p:sp>
              <p:sp>
                <p:nvSpPr>
                  <p:cNvPr id="3095" name="Freeform 1445"/>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path>
                    </a:pathLst>
                  </a:custGeom>
                  <a:noFill/>
                  <a:ln>
                    <a:noFill/>
                  </a:ln>
                  <a:extLst/>
                </p:spPr>
                <p:txBody>
                  <a:bodyPr/>
                  <a:lstStyle/>
                  <a:p>
                    <a:pPr eaLnBrk="1" hangingPunct="1">
                      <a:defRPr/>
                    </a:pPr>
                    <a:endParaRPr lang="zh-CN" altLang="en-US" sz="1050"/>
                  </a:p>
                </p:txBody>
              </p:sp>
              <p:sp>
                <p:nvSpPr>
                  <p:cNvPr id="3096" name="Freeform 1446"/>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097" name="Freeform 1447"/>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3098" name="Freeform 1448"/>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099" name="Freeform 1449"/>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path>
                    </a:pathLst>
                  </a:custGeom>
                  <a:noFill/>
                  <a:ln>
                    <a:noFill/>
                  </a:ln>
                  <a:extLst/>
                </p:spPr>
                <p:txBody>
                  <a:bodyPr/>
                  <a:lstStyle/>
                  <a:p>
                    <a:pPr eaLnBrk="1" hangingPunct="1">
                      <a:defRPr/>
                    </a:pPr>
                    <a:endParaRPr lang="zh-CN" altLang="en-US" sz="1050"/>
                  </a:p>
                </p:txBody>
              </p:sp>
              <p:sp>
                <p:nvSpPr>
                  <p:cNvPr id="3100" name="Freeform 1450"/>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3101" name="Freeform 1451"/>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path>
                    </a:pathLst>
                  </a:custGeom>
                  <a:noFill/>
                  <a:ln>
                    <a:noFill/>
                  </a:ln>
                  <a:extLst/>
                </p:spPr>
                <p:txBody>
                  <a:bodyPr/>
                  <a:lstStyle/>
                  <a:p>
                    <a:pPr eaLnBrk="1" hangingPunct="1">
                      <a:defRPr/>
                    </a:pPr>
                    <a:endParaRPr lang="zh-CN" altLang="en-US" sz="1050"/>
                  </a:p>
                </p:txBody>
              </p:sp>
              <p:sp>
                <p:nvSpPr>
                  <p:cNvPr id="3102" name="Freeform 1452"/>
                  <p:cNvSpPr>
                    <a:spLocks/>
                  </p:cNvSpPr>
                  <p:nvPr/>
                </p:nvSpPr>
                <p:spPr bwMode="auto">
                  <a:xfrm>
                    <a:off x="11289" y="1924"/>
                    <a:ext cx="8" cy="9"/>
                  </a:xfrm>
                  <a:custGeom>
                    <a:avLst/>
                    <a:gdLst>
                      <a:gd name="T0" fmla="*/ 0 w 5"/>
                      <a:gd name="T1" fmla="*/ 4 h 4"/>
                      <a:gd name="T2" fmla="*/ 5 w 5"/>
                      <a:gd name="T3" fmla="*/ 0 h 4"/>
                      <a:gd name="T4" fmla="*/ 3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3"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3103" name="Freeform 1453"/>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3104" name="Freeform 1454"/>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3105" name="Freeform 1455"/>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3106" name="Freeform 1456"/>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3107" name="Freeform 1457"/>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3108" name="Freeform 1458"/>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path>
                    </a:pathLst>
                  </a:custGeom>
                  <a:noFill/>
                  <a:ln>
                    <a:noFill/>
                  </a:ln>
                  <a:extLst/>
                </p:spPr>
                <p:txBody>
                  <a:bodyPr/>
                  <a:lstStyle/>
                  <a:p>
                    <a:pPr eaLnBrk="1" hangingPunct="1">
                      <a:defRPr/>
                    </a:pPr>
                    <a:endParaRPr lang="zh-CN" altLang="en-US" sz="1050"/>
                  </a:p>
                </p:txBody>
              </p:sp>
              <p:sp>
                <p:nvSpPr>
                  <p:cNvPr id="3109" name="Freeform 1459"/>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3110" name="Freeform 1460"/>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path>
                    </a:pathLst>
                  </a:custGeom>
                  <a:noFill/>
                  <a:ln>
                    <a:noFill/>
                  </a:ln>
                  <a:extLst/>
                </p:spPr>
                <p:txBody>
                  <a:bodyPr/>
                  <a:lstStyle/>
                  <a:p>
                    <a:pPr eaLnBrk="1" hangingPunct="1">
                      <a:defRPr/>
                    </a:pPr>
                    <a:endParaRPr lang="zh-CN" altLang="en-US" sz="1050"/>
                  </a:p>
                </p:txBody>
              </p:sp>
              <p:sp>
                <p:nvSpPr>
                  <p:cNvPr id="3111" name="Freeform 1461"/>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3112" name="Freeform 1462"/>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path>
                    </a:pathLst>
                  </a:custGeom>
                  <a:noFill/>
                  <a:ln>
                    <a:noFill/>
                  </a:ln>
                  <a:extLst/>
                </p:spPr>
                <p:txBody>
                  <a:bodyPr/>
                  <a:lstStyle/>
                  <a:p>
                    <a:pPr eaLnBrk="1" hangingPunct="1">
                      <a:defRPr/>
                    </a:pPr>
                    <a:endParaRPr lang="zh-CN" altLang="en-US" sz="1050"/>
                  </a:p>
                </p:txBody>
              </p:sp>
              <p:sp>
                <p:nvSpPr>
                  <p:cNvPr id="3113" name="Freeform 1463"/>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3114" name="Freeform 1464"/>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path>
                    </a:pathLst>
                  </a:custGeom>
                  <a:noFill/>
                  <a:ln>
                    <a:noFill/>
                  </a:ln>
                  <a:extLst/>
                </p:spPr>
                <p:txBody>
                  <a:bodyPr/>
                  <a:lstStyle/>
                  <a:p>
                    <a:pPr eaLnBrk="1" hangingPunct="1">
                      <a:defRPr/>
                    </a:pPr>
                    <a:endParaRPr lang="zh-CN" altLang="en-US" sz="1050"/>
                  </a:p>
                </p:txBody>
              </p:sp>
              <p:sp>
                <p:nvSpPr>
                  <p:cNvPr id="3115" name="Freeform 1465"/>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3116" name="Freeform 1466"/>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3117" name="Freeform 1467"/>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close/>
                      </a:path>
                    </a:pathLst>
                  </a:custGeom>
                  <a:solidFill>
                    <a:srgbClr val="01AAE5"/>
                  </a:solidFill>
                  <a:ln>
                    <a:noFill/>
                  </a:ln>
                  <a:extLst/>
                </p:spPr>
                <p:txBody>
                  <a:bodyPr/>
                  <a:lstStyle/>
                  <a:p>
                    <a:pPr eaLnBrk="1" hangingPunct="1">
                      <a:defRPr/>
                    </a:pPr>
                    <a:endParaRPr lang="zh-CN" altLang="en-US" sz="1050"/>
                  </a:p>
                </p:txBody>
              </p:sp>
              <p:sp>
                <p:nvSpPr>
                  <p:cNvPr id="3118" name="Freeform 1468"/>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path>
                    </a:pathLst>
                  </a:custGeom>
                  <a:noFill/>
                  <a:ln>
                    <a:noFill/>
                  </a:ln>
                  <a:extLst/>
                </p:spPr>
                <p:txBody>
                  <a:bodyPr/>
                  <a:lstStyle/>
                  <a:p>
                    <a:pPr eaLnBrk="1" hangingPunct="1">
                      <a:defRPr/>
                    </a:pPr>
                    <a:endParaRPr lang="zh-CN" altLang="en-US" sz="1050"/>
                  </a:p>
                </p:txBody>
              </p:sp>
              <p:sp>
                <p:nvSpPr>
                  <p:cNvPr id="3119" name="Freeform 1469"/>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close/>
                      </a:path>
                    </a:pathLst>
                  </a:custGeom>
                  <a:solidFill>
                    <a:srgbClr val="01AAE5"/>
                  </a:solidFill>
                  <a:ln>
                    <a:noFill/>
                  </a:ln>
                  <a:extLst/>
                </p:spPr>
                <p:txBody>
                  <a:bodyPr/>
                  <a:lstStyle/>
                  <a:p>
                    <a:pPr eaLnBrk="1" hangingPunct="1">
                      <a:defRPr/>
                    </a:pPr>
                    <a:endParaRPr lang="zh-CN" altLang="en-US" sz="1050"/>
                  </a:p>
                </p:txBody>
              </p:sp>
              <p:sp>
                <p:nvSpPr>
                  <p:cNvPr id="3120" name="Freeform 1470"/>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path>
                    </a:pathLst>
                  </a:custGeom>
                  <a:noFill/>
                  <a:ln>
                    <a:noFill/>
                  </a:ln>
                  <a:extLst/>
                </p:spPr>
                <p:txBody>
                  <a:bodyPr/>
                  <a:lstStyle/>
                  <a:p>
                    <a:pPr eaLnBrk="1" hangingPunct="1">
                      <a:defRPr/>
                    </a:pPr>
                    <a:endParaRPr lang="zh-CN" altLang="en-US" sz="1050"/>
                  </a:p>
                </p:txBody>
              </p:sp>
              <p:sp>
                <p:nvSpPr>
                  <p:cNvPr id="3121" name="Freeform 1471"/>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close/>
                      </a:path>
                    </a:pathLst>
                  </a:custGeom>
                  <a:solidFill>
                    <a:srgbClr val="01AAE5"/>
                  </a:solidFill>
                  <a:ln>
                    <a:noFill/>
                  </a:ln>
                  <a:extLst/>
                </p:spPr>
                <p:txBody>
                  <a:bodyPr/>
                  <a:lstStyle/>
                  <a:p>
                    <a:pPr eaLnBrk="1" hangingPunct="1">
                      <a:defRPr/>
                    </a:pPr>
                    <a:endParaRPr lang="zh-CN" altLang="en-US" sz="1050"/>
                  </a:p>
                </p:txBody>
              </p:sp>
              <p:sp>
                <p:nvSpPr>
                  <p:cNvPr id="3122" name="Freeform 1472"/>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path>
                    </a:pathLst>
                  </a:custGeom>
                  <a:noFill/>
                  <a:ln>
                    <a:noFill/>
                  </a:ln>
                  <a:extLst/>
                </p:spPr>
                <p:txBody>
                  <a:bodyPr/>
                  <a:lstStyle/>
                  <a:p>
                    <a:pPr eaLnBrk="1" hangingPunct="1">
                      <a:defRPr/>
                    </a:pPr>
                    <a:endParaRPr lang="zh-CN" altLang="en-US" sz="1050"/>
                  </a:p>
                </p:txBody>
              </p:sp>
              <p:sp>
                <p:nvSpPr>
                  <p:cNvPr id="3123" name="Freeform 1473"/>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3124" name="Freeform 1474"/>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3125" name="Freeform 1475"/>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close/>
                      </a:path>
                    </a:pathLst>
                  </a:custGeom>
                  <a:solidFill>
                    <a:srgbClr val="01AAE5"/>
                  </a:solidFill>
                  <a:ln>
                    <a:noFill/>
                  </a:ln>
                  <a:extLst/>
                </p:spPr>
                <p:txBody>
                  <a:bodyPr/>
                  <a:lstStyle/>
                  <a:p>
                    <a:pPr eaLnBrk="1" hangingPunct="1">
                      <a:defRPr/>
                    </a:pPr>
                    <a:endParaRPr lang="zh-CN" altLang="en-US" sz="1050"/>
                  </a:p>
                </p:txBody>
              </p:sp>
              <p:sp>
                <p:nvSpPr>
                  <p:cNvPr id="3126" name="Freeform 1476"/>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path>
                    </a:pathLst>
                  </a:custGeom>
                  <a:noFill/>
                  <a:ln>
                    <a:noFill/>
                  </a:ln>
                  <a:extLst/>
                </p:spPr>
                <p:txBody>
                  <a:bodyPr/>
                  <a:lstStyle/>
                  <a:p>
                    <a:pPr eaLnBrk="1" hangingPunct="1">
                      <a:defRPr/>
                    </a:pPr>
                    <a:endParaRPr lang="zh-CN" altLang="en-US" sz="1050"/>
                  </a:p>
                </p:txBody>
              </p:sp>
              <p:sp>
                <p:nvSpPr>
                  <p:cNvPr id="3127" name="Freeform 1477"/>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close/>
                      </a:path>
                    </a:pathLst>
                  </a:custGeom>
                  <a:solidFill>
                    <a:srgbClr val="01AAE5"/>
                  </a:solidFill>
                  <a:ln>
                    <a:noFill/>
                  </a:ln>
                  <a:extLst/>
                </p:spPr>
                <p:txBody>
                  <a:bodyPr/>
                  <a:lstStyle/>
                  <a:p>
                    <a:pPr eaLnBrk="1" hangingPunct="1">
                      <a:defRPr/>
                    </a:pPr>
                    <a:endParaRPr lang="zh-CN" altLang="en-US" sz="1050"/>
                  </a:p>
                </p:txBody>
              </p:sp>
              <p:sp>
                <p:nvSpPr>
                  <p:cNvPr id="3128" name="Freeform 1478"/>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path>
                    </a:pathLst>
                  </a:custGeom>
                  <a:noFill/>
                  <a:ln>
                    <a:noFill/>
                  </a:ln>
                  <a:extLst/>
                </p:spPr>
                <p:txBody>
                  <a:bodyPr/>
                  <a:lstStyle/>
                  <a:p>
                    <a:pPr eaLnBrk="1" hangingPunct="1">
                      <a:defRPr/>
                    </a:pPr>
                    <a:endParaRPr lang="zh-CN" altLang="en-US" sz="1050"/>
                  </a:p>
                </p:txBody>
              </p:sp>
              <p:sp>
                <p:nvSpPr>
                  <p:cNvPr id="3129" name="Freeform 1479"/>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close/>
                      </a:path>
                    </a:pathLst>
                  </a:custGeom>
                  <a:solidFill>
                    <a:srgbClr val="01AAE5"/>
                  </a:solidFill>
                  <a:ln>
                    <a:noFill/>
                  </a:ln>
                  <a:extLst/>
                </p:spPr>
                <p:txBody>
                  <a:bodyPr/>
                  <a:lstStyle/>
                  <a:p>
                    <a:pPr eaLnBrk="1" hangingPunct="1">
                      <a:defRPr/>
                    </a:pPr>
                    <a:endParaRPr lang="zh-CN" altLang="en-US" sz="1050"/>
                  </a:p>
                </p:txBody>
              </p:sp>
              <p:sp>
                <p:nvSpPr>
                  <p:cNvPr id="3130" name="Freeform 1480"/>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path>
                    </a:pathLst>
                  </a:custGeom>
                  <a:noFill/>
                  <a:ln>
                    <a:noFill/>
                  </a:ln>
                  <a:extLst/>
                </p:spPr>
                <p:txBody>
                  <a:bodyPr/>
                  <a:lstStyle/>
                  <a:p>
                    <a:pPr eaLnBrk="1" hangingPunct="1">
                      <a:defRPr/>
                    </a:pPr>
                    <a:endParaRPr lang="zh-CN" altLang="en-US" sz="1050"/>
                  </a:p>
                </p:txBody>
              </p:sp>
              <p:sp>
                <p:nvSpPr>
                  <p:cNvPr id="3131" name="Freeform 1481"/>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3132" name="Freeform 1482"/>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path>
                    </a:pathLst>
                  </a:custGeom>
                  <a:noFill/>
                  <a:ln>
                    <a:noFill/>
                  </a:ln>
                  <a:extLst/>
                </p:spPr>
                <p:txBody>
                  <a:bodyPr/>
                  <a:lstStyle/>
                  <a:p>
                    <a:pPr eaLnBrk="1" hangingPunct="1">
                      <a:defRPr/>
                    </a:pPr>
                    <a:endParaRPr lang="zh-CN" altLang="en-US" sz="1050"/>
                  </a:p>
                </p:txBody>
              </p:sp>
              <p:sp>
                <p:nvSpPr>
                  <p:cNvPr id="3133" name="Freeform 1483"/>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close/>
                      </a:path>
                    </a:pathLst>
                  </a:custGeom>
                  <a:solidFill>
                    <a:srgbClr val="01AAE5"/>
                  </a:solidFill>
                  <a:ln>
                    <a:noFill/>
                  </a:ln>
                  <a:extLst/>
                </p:spPr>
                <p:txBody>
                  <a:bodyPr/>
                  <a:lstStyle/>
                  <a:p>
                    <a:pPr eaLnBrk="1" hangingPunct="1">
                      <a:defRPr/>
                    </a:pPr>
                    <a:endParaRPr lang="zh-CN" altLang="en-US" sz="1050"/>
                  </a:p>
                </p:txBody>
              </p:sp>
              <p:sp>
                <p:nvSpPr>
                  <p:cNvPr id="3134" name="Freeform 1484"/>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path>
                    </a:pathLst>
                  </a:custGeom>
                  <a:noFill/>
                  <a:ln>
                    <a:noFill/>
                  </a:ln>
                  <a:extLst/>
                </p:spPr>
                <p:txBody>
                  <a:bodyPr/>
                  <a:lstStyle/>
                  <a:p>
                    <a:pPr eaLnBrk="1" hangingPunct="1">
                      <a:defRPr/>
                    </a:pPr>
                    <a:endParaRPr lang="zh-CN" altLang="en-US" sz="1050"/>
                  </a:p>
                </p:txBody>
              </p:sp>
              <p:sp>
                <p:nvSpPr>
                  <p:cNvPr id="3135" name="Freeform 1485"/>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3136" name="Freeform 1486"/>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path>
                    </a:pathLst>
                  </a:custGeom>
                  <a:noFill/>
                  <a:ln>
                    <a:noFill/>
                  </a:ln>
                  <a:extLst/>
                </p:spPr>
                <p:txBody>
                  <a:bodyPr/>
                  <a:lstStyle/>
                  <a:p>
                    <a:pPr eaLnBrk="1" hangingPunct="1">
                      <a:defRPr/>
                    </a:pPr>
                    <a:endParaRPr lang="zh-CN" altLang="en-US" sz="1050"/>
                  </a:p>
                </p:txBody>
              </p:sp>
              <p:sp>
                <p:nvSpPr>
                  <p:cNvPr id="3137" name="Freeform 1487"/>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close/>
                      </a:path>
                    </a:pathLst>
                  </a:custGeom>
                  <a:solidFill>
                    <a:srgbClr val="01AAE5"/>
                  </a:solidFill>
                  <a:ln>
                    <a:noFill/>
                  </a:ln>
                  <a:extLst/>
                </p:spPr>
                <p:txBody>
                  <a:bodyPr/>
                  <a:lstStyle/>
                  <a:p>
                    <a:pPr eaLnBrk="1" hangingPunct="1">
                      <a:defRPr/>
                    </a:pPr>
                    <a:endParaRPr lang="zh-CN" altLang="en-US" sz="1050"/>
                  </a:p>
                </p:txBody>
              </p:sp>
              <p:sp>
                <p:nvSpPr>
                  <p:cNvPr id="3138" name="Freeform 1488"/>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path>
                    </a:pathLst>
                  </a:custGeom>
                  <a:noFill/>
                  <a:ln>
                    <a:noFill/>
                  </a:ln>
                  <a:extLst/>
                </p:spPr>
                <p:txBody>
                  <a:bodyPr/>
                  <a:lstStyle/>
                  <a:p>
                    <a:pPr eaLnBrk="1" hangingPunct="1">
                      <a:defRPr/>
                    </a:pPr>
                    <a:endParaRPr lang="zh-CN" altLang="en-US" sz="1050"/>
                  </a:p>
                </p:txBody>
              </p:sp>
              <p:sp>
                <p:nvSpPr>
                  <p:cNvPr id="3139" name="Freeform 1489"/>
                  <p:cNvSpPr>
                    <a:spLocks/>
                  </p:cNvSpPr>
                  <p:nvPr/>
                </p:nvSpPr>
                <p:spPr bwMode="auto">
                  <a:xfrm>
                    <a:off x="10506" y="1977"/>
                    <a:ext cx="8" cy="9"/>
                  </a:xfrm>
                  <a:custGeom>
                    <a:avLst/>
                    <a:gdLst>
                      <a:gd name="T0" fmla="*/ 7 w 7"/>
                      <a:gd name="T1" fmla="*/ 7 h 7"/>
                      <a:gd name="T2" fmla="*/ 3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40" name="Freeform 1490"/>
                  <p:cNvSpPr>
                    <a:spLocks/>
                  </p:cNvSpPr>
                  <p:nvPr/>
                </p:nvSpPr>
                <p:spPr bwMode="auto">
                  <a:xfrm>
                    <a:off x="10506" y="1985"/>
                    <a:ext cx="0" cy="0"/>
                  </a:xfrm>
                  <a:custGeom>
                    <a:avLst/>
                    <a:gdLst>
                      <a:gd name="T0" fmla="*/ 5 w 5"/>
                      <a:gd name="T1" fmla="*/ 8 h 8"/>
                      <a:gd name="T2" fmla="*/ 0 w 5"/>
                      <a:gd name="T3" fmla="*/ 0 h 8"/>
                      <a:gd name="T4" fmla="*/ 0 w 5"/>
                      <a:gd name="T5" fmla="*/ 0 h 8"/>
                      <a:gd name="T6" fmla="*/ 5 w 5"/>
                      <a:gd name="T7" fmla="*/ 8 h 8"/>
                      <a:gd name="T8" fmla="*/ 5 w 5"/>
                      <a:gd name="T9" fmla="*/ 8 h 8"/>
                    </a:gdLst>
                    <a:ahLst/>
                    <a:cxnLst>
                      <a:cxn ang="0">
                        <a:pos x="T0" y="T1"/>
                      </a:cxn>
                      <a:cxn ang="0">
                        <a:pos x="T2" y="T3"/>
                      </a:cxn>
                      <a:cxn ang="0">
                        <a:pos x="T4" y="T5"/>
                      </a:cxn>
                      <a:cxn ang="0">
                        <a:pos x="T6" y="T7"/>
                      </a:cxn>
                      <a:cxn ang="0">
                        <a:pos x="T8" y="T9"/>
                      </a:cxn>
                    </a:cxnLst>
                    <a:rect l="0" t="0" r="r" b="b"/>
                    <a:pathLst>
                      <a:path w="5" h="8">
                        <a:moveTo>
                          <a:pt x="5" y="8"/>
                        </a:moveTo>
                        <a:lnTo>
                          <a:pt x="0" y="0"/>
                        </a:lnTo>
                        <a:lnTo>
                          <a:pt x="0" y="0"/>
                        </a:lnTo>
                        <a:lnTo>
                          <a:pt x="5" y="8"/>
                        </a:lnTo>
                        <a:lnTo>
                          <a:pt x="5" y="8"/>
                        </a:lnTo>
                        <a:close/>
                      </a:path>
                    </a:pathLst>
                  </a:custGeom>
                  <a:solidFill>
                    <a:srgbClr val="01AAE5"/>
                  </a:solidFill>
                  <a:ln>
                    <a:noFill/>
                  </a:ln>
                  <a:extLst/>
                </p:spPr>
                <p:txBody>
                  <a:bodyPr/>
                  <a:lstStyle/>
                  <a:p>
                    <a:pPr eaLnBrk="1" hangingPunct="1">
                      <a:defRPr/>
                    </a:pPr>
                    <a:endParaRPr lang="zh-CN" altLang="en-US" sz="1050"/>
                  </a:p>
                </p:txBody>
              </p:sp>
              <p:sp>
                <p:nvSpPr>
                  <p:cNvPr id="3141" name="Freeform 1491"/>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close/>
                      </a:path>
                    </a:pathLst>
                  </a:custGeom>
                  <a:solidFill>
                    <a:srgbClr val="01AAE5"/>
                  </a:solidFill>
                  <a:ln>
                    <a:noFill/>
                  </a:ln>
                  <a:extLst/>
                </p:spPr>
                <p:txBody>
                  <a:bodyPr/>
                  <a:lstStyle/>
                  <a:p>
                    <a:pPr eaLnBrk="1" hangingPunct="1">
                      <a:defRPr/>
                    </a:pPr>
                    <a:endParaRPr lang="zh-CN" altLang="en-US" sz="1050"/>
                  </a:p>
                </p:txBody>
              </p:sp>
              <p:sp>
                <p:nvSpPr>
                  <p:cNvPr id="3142" name="Freeform 1492"/>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path>
                    </a:pathLst>
                  </a:custGeom>
                  <a:noFill/>
                  <a:ln>
                    <a:noFill/>
                  </a:ln>
                  <a:extLst/>
                </p:spPr>
                <p:txBody>
                  <a:bodyPr/>
                  <a:lstStyle/>
                  <a:p>
                    <a:pPr eaLnBrk="1" hangingPunct="1">
                      <a:defRPr/>
                    </a:pPr>
                    <a:endParaRPr lang="zh-CN" altLang="en-US" sz="1050"/>
                  </a:p>
                </p:txBody>
              </p:sp>
              <p:sp>
                <p:nvSpPr>
                  <p:cNvPr id="3143" name="Freeform 1493"/>
                  <p:cNvSpPr>
                    <a:spLocks/>
                  </p:cNvSpPr>
                  <p:nvPr/>
                </p:nvSpPr>
                <p:spPr bwMode="auto">
                  <a:xfrm>
                    <a:off x="10531" y="1959"/>
                    <a:ext cx="0" cy="9"/>
                  </a:xfrm>
                  <a:custGeom>
                    <a:avLst/>
                    <a:gdLst>
                      <a:gd name="T0" fmla="*/ 7 w 7"/>
                      <a:gd name="T1" fmla="*/ 7 h 7"/>
                      <a:gd name="T2" fmla="*/ 2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2"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44" name="Freeform 1494"/>
                  <p:cNvSpPr>
                    <a:spLocks/>
                  </p:cNvSpPr>
                  <p:nvPr/>
                </p:nvSpPr>
                <p:spPr bwMode="auto">
                  <a:xfrm>
                    <a:off x="10498" y="1985"/>
                    <a:ext cx="8" cy="0"/>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45" name="Freeform 1495"/>
                  <p:cNvSpPr>
                    <a:spLocks/>
                  </p:cNvSpPr>
                  <p:nvPr/>
                </p:nvSpPr>
                <p:spPr bwMode="auto">
                  <a:xfrm>
                    <a:off x="10523" y="1968"/>
                    <a:ext cx="8" cy="9"/>
                  </a:xfrm>
                  <a:custGeom>
                    <a:avLst/>
                    <a:gdLst>
                      <a:gd name="T0" fmla="*/ 4 w 4"/>
                      <a:gd name="T1" fmla="*/ 7 h 9"/>
                      <a:gd name="T2" fmla="*/ 0 w 4"/>
                      <a:gd name="T3" fmla="*/ 0 h 9"/>
                      <a:gd name="T4" fmla="*/ 0 w 4"/>
                      <a:gd name="T5" fmla="*/ 2 h 9"/>
                      <a:gd name="T6" fmla="*/ 4 w 4"/>
                      <a:gd name="T7" fmla="*/ 9 h 9"/>
                      <a:gd name="T8" fmla="*/ 4 w 4"/>
                      <a:gd name="T9" fmla="*/ 7 h 9"/>
                    </a:gdLst>
                    <a:ahLst/>
                    <a:cxnLst>
                      <a:cxn ang="0">
                        <a:pos x="T0" y="T1"/>
                      </a:cxn>
                      <a:cxn ang="0">
                        <a:pos x="T2" y="T3"/>
                      </a:cxn>
                      <a:cxn ang="0">
                        <a:pos x="T4" y="T5"/>
                      </a:cxn>
                      <a:cxn ang="0">
                        <a:pos x="T6" y="T7"/>
                      </a:cxn>
                      <a:cxn ang="0">
                        <a:pos x="T8" y="T9"/>
                      </a:cxn>
                    </a:cxnLst>
                    <a:rect l="0" t="0" r="r" b="b"/>
                    <a:pathLst>
                      <a:path w="4" h="9">
                        <a:moveTo>
                          <a:pt x="4" y="7"/>
                        </a:moveTo>
                        <a:lnTo>
                          <a:pt x="0" y="0"/>
                        </a:lnTo>
                        <a:lnTo>
                          <a:pt x="0" y="2"/>
                        </a:lnTo>
                        <a:lnTo>
                          <a:pt x="4" y="9"/>
                        </a:lnTo>
                        <a:lnTo>
                          <a:pt x="4" y="7"/>
                        </a:lnTo>
                        <a:close/>
                      </a:path>
                    </a:pathLst>
                  </a:custGeom>
                  <a:solidFill>
                    <a:srgbClr val="01AAE5"/>
                  </a:solidFill>
                  <a:ln>
                    <a:noFill/>
                  </a:ln>
                  <a:extLst/>
                </p:spPr>
                <p:txBody>
                  <a:bodyPr/>
                  <a:lstStyle/>
                  <a:p>
                    <a:pPr eaLnBrk="1" hangingPunct="1">
                      <a:defRPr/>
                    </a:pPr>
                    <a:endParaRPr lang="zh-CN" altLang="en-US" sz="1050"/>
                  </a:p>
                </p:txBody>
              </p:sp>
              <p:sp>
                <p:nvSpPr>
                  <p:cNvPr id="3146" name="Freeform 1496"/>
                  <p:cNvSpPr>
                    <a:spLocks/>
                  </p:cNvSpPr>
                  <p:nvPr/>
                </p:nvSpPr>
                <p:spPr bwMode="auto">
                  <a:xfrm>
                    <a:off x="10523" y="1968"/>
                    <a:ext cx="0"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3147" name="Freeform 1497"/>
                  <p:cNvSpPr>
                    <a:spLocks/>
                  </p:cNvSpPr>
                  <p:nvPr/>
                </p:nvSpPr>
                <p:spPr bwMode="auto">
                  <a:xfrm>
                    <a:off x="10457" y="2011"/>
                    <a:ext cx="8" cy="9"/>
                  </a:xfrm>
                  <a:custGeom>
                    <a:avLst/>
                    <a:gdLst>
                      <a:gd name="T0" fmla="*/ 8 w 8"/>
                      <a:gd name="T1" fmla="*/ 7 h 7"/>
                      <a:gd name="T2" fmla="*/ 3 w 8"/>
                      <a:gd name="T3" fmla="*/ 0 h 7"/>
                      <a:gd name="T4" fmla="*/ 0 w 8"/>
                      <a:gd name="T5" fmla="*/ 0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3" y="0"/>
                        </a:lnTo>
                        <a:lnTo>
                          <a:pt x="0" y="0"/>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3148" name="Freeform 1498"/>
                  <p:cNvSpPr>
                    <a:spLocks/>
                  </p:cNvSpPr>
                  <p:nvPr/>
                </p:nvSpPr>
                <p:spPr bwMode="auto">
                  <a:xfrm>
                    <a:off x="10473" y="2011"/>
                    <a:ext cx="0" cy="0"/>
                  </a:xfrm>
                  <a:custGeom>
                    <a:avLst/>
                    <a:gdLst>
                      <a:gd name="T0" fmla="*/ 7 w 7"/>
                      <a:gd name="T1" fmla="*/ 7 h 7"/>
                      <a:gd name="T2" fmla="*/ 0 w 7"/>
                      <a:gd name="T3" fmla="*/ 0 h 7"/>
                      <a:gd name="T4" fmla="*/ 0 w 7"/>
                      <a:gd name="T5" fmla="*/ 2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2"/>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49" name="Freeform 1499"/>
                  <p:cNvSpPr>
                    <a:spLocks/>
                  </p:cNvSpPr>
                  <p:nvPr/>
                </p:nvSpPr>
                <p:spPr bwMode="auto">
                  <a:xfrm>
                    <a:off x="10473" y="2011"/>
                    <a:ext cx="0" cy="0"/>
                  </a:xfrm>
                  <a:custGeom>
                    <a:avLst/>
                    <a:gdLst>
                      <a:gd name="T0" fmla="*/ 7 w 7"/>
                      <a:gd name="T1" fmla="*/ 8 h 8"/>
                      <a:gd name="T2" fmla="*/ 3 w 7"/>
                      <a:gd name="T3" fmla="*/ 0 h 8"/>
                      <a:gd name="T4" fmla="*/ 0 w 7"/>
                      <a:gd name="T5" fmla="*/ 0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3" y="0"/>
                        </a:lnTo>
                        <a:lnTo>
                          <a:pt x="0" y="0"/>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3150" name="Freeform 1500"/>
                  <p:cNvSpPr>
                    <a:spLocks/>
                  </p:cNvSpPr>
                  <p:nvPr/>
                </p:nvSpPr>
                <p:spPr bwMode="auto">
                  <a:xfrm>
                    <a:off x="10482" y="2003"/>
                    <a:ext cx="0" cy="9"/>
                  </a:xfrm>
                  <a:custGeom>
                    <a:avLst/>
                    <a:gdLst>
                      <a:gd name="T0" fmla="*/ 7 w 7"/>
                      <a:gd name="T1" fmla="*/ 7 h 9"/>
                      <a:gd name="T2" fmla="*/ 0 w 7"/>
                      <a:gd name="T3" fmla="*/ 0 h 9"/>
                      <a:gd name="T4" fmla="*/ 0 w 7"/>
                      <a:gd name="T5" fmla="*/ 2 h 9"/>
                      <a:gd name="T6" fmla="*/ 5 w 7"/>
                      <a:gd name="T7" fmla="*/ 9 h 9"/>
                      <a:gd name="T8" fmla="*/ 7 w 7"/>
                      <a:gd name="T9" fmla="*/ 7 h 9"/>
                    </a:gdLst>
                    <a:ahLst/>
                    <a:cxnLst>
                      <a:cxn ang="0">
                        <a:pos x="T0" y="T1"/>
                      </a:cxn>
                      <a:cxn ang="0">
                        <a:pos x="T2" y="T3"/>
                      </a:cxn>
                      <a:cxn ang="0">
                        <a:pos x="T4" y="T5"/>
                      </a:cxn>
                      <a:cxn ang="0">
                        <a:pos x="T6" y="T7"/>
                      </a:cxn>
                      <a:cxn ang="0">
                        <a:pos x="T8" y="T9"/>
                      </a:cxn>
                    </a:cxnLst>
                    <a:rect l="0" t="0" r="r" b="b"/>
                    <a:pathLst>
                      <a:path w="7" h="9">
                        <a:moveTo>
                          <a:pt x="7" y="7"/>
                        </a:moveTo>
                        <a:lnTo>
                          <a:pt x="0" y="0"/>
                        </a:lnTo>
                        <a:lnTo>
                          <a:pt x="0" y="2"/>
                        </a:lnTo>
                        <a:lnTo>
                          <a:pt x="5" y="9"/>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51" name="Freeform 1501"/>
                  <p:cNvSpPr>
                    <a:spLocks/>
                  </p:cNvSpPr>
                  <p:nvPr/>
                </p:nvSpPr>
                <p:spPr bwMode="auto">
                  <a:xfrm>
                    <a:off x="10482" y="2003"/>
                    <a:ext cx="0" cy="9"/>
                  </a:xfrm>
                  <a:custGeom>
                    <a:avLst/>
                    <a:gdLst>
                      <a:gd name="T0" fmla="*/ 4 w 4"/>
                      <a:gd name="T1" fmla="*/ 7 h 7"/>
                      <a:gd name="T2" fmla="*/ 0 w 4"/>
                      <a:gd name="T3" fmla="*/ 0 h 7"/>
                      <a:gd name="T4" fmla="*/ 0 w 4"/>
                      <a:gd name="T5" fmla="*/ 0 h 7"/>
                      <a:gd name="T6" fmla="*/ 4 w 4"/>
                      <a:gd name="T7" fmla="*/ 7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0" y="0"/>
                        </a:lnTo>
                        <a:lnTo>
                          <a:pt x="0" y="0"/>
                        </a:lnTo>
                        <a:lnTo>
                          <a:pt x="4" y="7"/>
                        </a:lnTo>
                        <a:lnTo>
                          <a:pt x="4" y="7"/>
                        </a:lnTo>
                        <a:close/>
                      </a:path>
                    </a:pathLst>
                  </a:custGeom>
                  <a:solidFill>
                    <a:srgbClr val="01AAE5"/>
                  </a:solidFill>
                  <a:ln>
                    <a:noFill/>
                  </a:ln>
                  <a:extLst/>
                </p:spPr>
                <p:txBody>
                  <a:bodyPr/>
                  <a:lstStyle/>
                  <a:p>
                    <a:pPr eaLnBrk="1" hangingPunct="1">
                      <a:defRPr/>
                    </a:pPr>
                    <a:endParaRPr lang="zh-CN" altLang="en-US" sz="1050"/>
                  </a:p>
                </p:txBody>
              </p:sp>
              <p:sp>
                <p:nvSpPr>
                  <p:cNvPr id="3152" name="Freeform 1502"/>
                  <p:cNvSpPr>
                    <a:spLocks/>
                  </p:cNvSpPr>
                  <p:nvPr/>
                </p:nvSpPr>
                <p:spPr bwMode="auto">
                  <a:xfrm>
                    <a:off x="10465" y="2011"/>
                    <a:ext cx="8" cy="9"/>
                  </a:xfrm>
                  <a:custGeom>
                    <a:avLst/>
                    <a:gdLst>
                      <a:gd name="T0" fmla="*/ 7 w 7"/>
                      <a:gd name="T1" fmla="*/ 4 h 7"/>
                      <a:gd name="T2" fmla="*/ 0 w 7"/>
                      <a:gd name="T3" fmla="*/ 0 h 7"/>
                      <a:gd name="T4" fmla="*/ 0 w 7"/>
                      <a:gd name="T5" fmla="*/ 0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3153" name="Freeform 1503"/>
                  <p:cNvSpPr>
                    <a:spLocks/>
                  </p:cNvSpPr>
                  <p:nvPr/>
                </p:nvSpPr>
                <p:spPr bwMode="auto">
                  <a:xfrm>
                    <a:off x="10490" y="1994"/>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54" name="Freeform 1504"/>
                  <p:cNvSpPr>
                    <a:spLocks/>
                  </p:cNvSpPr>
                  <p:nvPr/>
                </p:nvSpPr>
                <p:spPr bwMode="auto">
                  <a:xfrm>
                    <a:off x="10490" y="1985"/>
                    <a:ext cx="8"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3155" name="Freeform 1505"/>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56" name="Freeform 1506"/>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path>
                    </a:pathLst>
                  </a:custGeom>
                  <a:noFill/>
                  <a:ln>
                    <a:noFill/>
                  </a:ln>
                  <a:extLst/>
                </p:spPr>
                <p:txBody>
                  <a:bodyPr/>
                  <a:lstStyle/>
                  <a:p>
                    <a:pPr eaLnBrk="1" hangingPunct="1">
                      <a:defRPr/>
                    </a:pPr>
                    <a:endParaRPr lang="zh-CN" altLang="en-US" sz="1050"/>
                  </a:p>
                </p:txBody>
              </p:sp>
              <p:sp>
                <p:nvSpPr>
                  <p:cNvPr id="3157" name="Freeform 1507"/>
                  <p:cNvSpPr>
                    <a:spLocks/>
                  </p:cNvSpPr>
                  <p:nvPr/>
                </p:nvSpPr>
                <p:spPr bwMode="auto">
                  <a:xfrm>
                    <a:off x="10482" y="1994"/>
                    <a:ext cx="8" cy="9"/>
                  </a:xfrm>
                  <a:custGeom>
                    <a:avLst/>
                    <a:gdLst>
                      <a:gd name="T0" fmla="*/ 7 w 7"/>
                      <a:gd name="T1" fmla="*/ 5 h 7"/>
                      <a:gd name="T2" fmla="*/ 2 w 7"/>
                      <a:gd name="T3" fmla="*/ 0 h 7"/>
                      <a:gd name="T4" fmla="*/ 0 w 7"/>
                      <a:gd name="T5" fmla="*/ 0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2" y="0"/>
                        </a:lnTo>
                        <a:lnTo>
                          <a:pt x="0" y="0"/>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3158" name="Freeform 1508"/>
                  <p:cNvSpPr>
                    <a:spLocks/>
                  </p:cNvSpPr>
                  <p:nvPr/>
                </p:nvSpPr>
                <p:spPr bwMode="auto">
                  <a:xfrm>
                    <a:off x="10515" y="1977"/>
                    <a:ext cx="8" cy="9"/>
                  </a:xfrm>
                  <a:custGeom>
                    <a:avLst/>
                    <a:gdLst>
                      <a:gd name="T0" fmla="*/ 7 w 7"/>
                      <a:gd name="T1" fmla="*/ 7 h 7"/>
                      <a:gd name="T2" fmla="*/ 0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159" name="Freeform 1509"/>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close/>
                      </a:path>
                    </a:pathLst>
                  </a:custGeom>
                  <a:solidFill>
                    <a:srgbClr val="01AAE5"/>
                  </a:solidFill>
                  <a:ln>
                    <a:noFill/>
                  </a:ln>
                  <a:extLst/>
                </p:spPr>
                <p:txBody>
                  <a:bodyPr/>
                  <a:lstStyle/>
                  <a:p>
                    <a:pPr eaLnBrk="1" hangingPunct="1">
                      <a:defRPr/>
                    </a:pPr>
                    <a:endParaRPr lang="zh-CN" altLang="en-US" sz="1050"/>
                  </a:p>
                </p:txBody>
              </p:sp>
              <p:sp>
                <p:nvSpPr>
                  <p:cNvPr id="3160" name="Freeform 1510"/>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path>
                    </a:pathLst>
                  </a:custGeom>
                  <a:noFill/>
                  <a:ln>
                    <a:noFill/>
                  </a:ln>
                  <a:extLst/>
                </p:spPr>
                <p:txBody>
                  <a:bodyPr/>
                  <a:lstStyle/>
                  <a:p>
                    <a:pPr eaLnBrk="1" hangingPunct="1">
                      <a:defRPr/>
                    </a:pPr>
                    <a:endParaRPr lang="zh-CN" altLang="en-US" sz="1050"/>
                  </a:p>
                </p:txBody>
              </p:sp>
            </p:grpSp>
            <p:grpSp>
              <p:nvGrpSpPr>
                <p:cNvPr id="16" name="Group 1712"/>
                <p:cNvGrpSpPr>
                  <a:grpSpLocks/>
                </p:cNvGrpSpPr>
                <p:nvPr/>
              </p:nvGrpSpPr>
              <p:grpSpPr bwMode="auto">
                <a:xfrm>
                  <a:off x="16155988" y="2903538"/>
                  <a:ext cx="1154113" cy="1428750"/>
                  <a:chOff x="10177" y="1829"/>
                  <a:chExt cx="727" cy="900"/>
                </a:xfrm>
              </p:grpSpPr>
              <p:sp>
                <p:nvSpPr>
                  <p:cNvPr id="2761" name="Freeform 1512"/>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close/>
                      </a:path>
                    </a:pathLst>
                  </a:custGeom>
                  <a:solidFill>
                    <a:srgbClr val="01AAE5"/>
                  </a:solidFill>
                  <a:ln>
                    <a:noFill/>
                  </a:ln>
                  <a:extLst/>
                </p:spPr>
                <p:txBody>
                  <a:bodyPr/>
                  <a:lstStyle/>
                  <a:p>
                    <a:pPr eaLnBrk="1" hangingPunct="1">
                      <a:defRPr/>
                    </a:pPr>
                    <a:endParaRPr lang="zh-CN" altLang="en-US" sz="1050"/>
                  </a:p>
                </p:txBody>
              </p:sp>
              <p:sp>
                <p:nvSpPr>
                  <p:cNvPr id="2762" name="Freeform 1513"/>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path>
                    </a:pathLst>
                  </a:custGeom>
                  <a:noFill/>
                  <a:ln>
                    <a:noFill/>
                  </a:ln>
                  <a:extLst/>
                </p:spPr>
                <p:txBody>
                  <a:bodyPr/>
                  <a:lstStyle/>
                  <a:p>
                    <a:pPr eaLnBrk="1" hangingPunct="1">
                      <a:defRPr/>
                    </a:pPr>
                    <a:endParaRPr lang="zh-CN" altLang="en-US" sz="1050"/>
                  </a:p>
                </p:txBody>
              </p:sp>
              <p:sp>
                <p:nvSpPr>
                  <p:cNvPr id="2763" name="Freeform 1514"/>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close/>
                      </a:path>
                    </a:pathLst>
                  </a:custGeom>
                  <a:solidFill>
                    <a:srgbClr val="01AAE5"/>
                  </a:solidFill>
                  <a:ln>
                    <a:noFill/>
                  </a:ln>
                  <a:extLst/>
                </p:spPr>
                <p:txBody>
                  <a:bodyPr/>
                  <a:lstStyle/>
                  <a:p>
                    <a:pPr eaLnBrk="1" hangingPunct="1">
                      <a:defRPr/>
                    </a:pPr>
                    <a:endParaRPr lang="zh-CN" altLang="en-US" sz="1050"/>
                  </a:p>
                </p:txBody>
              </p:sp>
              <p:sp>
                <p:nvSpPr>
                  <p:cNvPr id="2764" name="Freeform 1515"/>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path>
                    </a:pathLst>
                  </a:custGeom>
                  <a:noFill/>
                  <a:ln>
                    <a:noFill/>
                  </a:ln>
                  <a:extLst/>
                </p:spPr>
                <p:txBody>
                  <a:bodyPr/>
                  <a:lstStyle/>
                  <a:p>
                    <a:pPr eaLnBrk="1" hangingPunct="1">
                      <a:defRPr/>
                    </a:pPr>
                    <a:endParaRPr lang="zh-CN" altLang="en-US" sz="1050"/>
                  </a:p>
                </p:txBody>
              </p:sp>
              <p:sp>
                <p:nvSpPr>
                  <p:cNvPr id="2765" name="Freeform 1516"/>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close/>
                      </a:path>
                    </a:pathLst>
                  </a:custGeom>
                  <a:solidFill>
                    <a:srgbClr val="01AAE5"/>
                  </a:solidFill>
                  <a:ln>
                    <a:noFill/>
                  </a:ln>
                  <a:extLst/>
                </p:spPr>
                <p:txBody>
                  <a:bodyPr/>
                  <a:lstStyle/>
                  <a:p>
                    <a:pPr eaLnBrk="1" hangingPunct="1">
                      <a:defRPr/>
                    </a:pPr>
                    <a:endParaRPr lang="zh-CN" altLang="en-US" sz="1050"/>
                  </a:p>
                </p:txBody>
              </p:sp>
              <p:sp>
                <p:nvSpPr>
                  <p:cNvPr id="2766" name="Freeform 1517"/>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path>
                    </a:pathLst>
                  </a:custGeom>
                  <a:noFill/>
                  <a:ln>
                    <a:noFill/>
                  </a:ln>
                  <a:extLst/>
                </p:spPr>
                <p:txBody>
                  <a:bodyPr/>
                  <a:lstStyle/>
                  <a:p>
                    <a:pPr eaLnBrk="1" hangingPunct="1">
                      <a:defRPr/>
                    </a:pPr>
                    <a:endParaRPr lang="zh-CN" altLang="en-US" sz="1050"/>
                  </a:p>
                </p:txBody>
              </p:sp>
              <p:sp>
                <p:nvSpPr>
                  <p:cNvPr id="2767" name="Freeform 1518"/>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close/>
                      </a:path>
                    </a:pathLst>
                  </a:custGeom>
                  <a:solidFill>
                    <a:srgbClr val="01AAE5"/>
                  </a:solidFill>
                  <a:ln>
                    <a:noFill/>
                  </a:ln>
                  <a:extLst/>
                </p:spPr>
                <p:txBody>
                  <a:bodyPr/>
                  <a:lstStyle/>
                  <a:p>
                    <a:pPr eaLnBrk="1" hangingPunct="1">
                      <a:defRPr/>
                    </a:pPr>
                    <a:endParaRPr lang="zh-CN" altLang="en-US" sz="1050"/>
                  </a:p>
                </p:txBody>
              </p:sp>
              <p:sp>
                <p:nvSpPr>
                  <p:cNvPr id="2768" name="Freeform 1519"/>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path>
                    </a:pathLst>
                  </a:custGeom>
                  <a:noFill/>
                  <a:ln>
                    <a:noFill/>
                  </a:ln>
                  <a:extLst/>
                </p:spPr>
                <p:txBody>
                  <a:bodyPr/>
                  <a:lstStyle/>
                  <a:p>
                    <a:pPr eaLnBrk="1" hangingPunct="1">
                      <a:defRPr/>
                    </a:pPr>
                    <a:endParaRPr lang="zh-CN" altLang="en-US" sz="1050"/>
                  </a:p>
                </p:txBody>
              </p:sp>
              <p:sp>
                <p:nvSpPr>
                  <p:cNvPr id="2769" name="Freeform 1520"/>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close/>
                      </a:path>
                    </a:pathLst>
                  </a:custGeom>
                  <a:solidFill>
                    <a:srgbClr val="01AAE5"/>
                  </a:solidFill>
                  <a:ln>
                    <a:noFill/>
                  </a:ln>
                  <a:extLst/>
                </p:spPr>
                <p:txBody>
                  <a:bodyPr/>
                  <a:lstStyle/>
                  <a:p>
                    <a:pPr eaLnBrk="1" hangingPunct="1">
                      <a:defRPr/>
                    </a:pPr>
                    <a:endParaRPr lang="zh-CN" altLang="en-US" sz="1050"/>
                  </a:p>
                </p:txBody>
              </p:sp>
              <p:sp>
                <p:nvSpPr>
                  <p:cNvPr id="2770" name="Freeform 1521"/>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path>
                    </a:pathLst>
                  </a:custGeom>
                  <a:noFill/>
                  <a:ln>
                    <a:noFill/>
                  </a:ln>
                  <a:extLst/>
                </p:spPr>
                <p:txBody>
                  <a:bodyPr/>
                  <a:lstStyle/>
                  <a:p>
                    <a:pPr eaLnBrk="1" hangingPunct="1">
                      <a:defRPr/>
                    </a:pPr>
                    <a:endParaRPr lang="zh-CN" altLang="en-US" sz="1050"/>
                  </a:p>
                </p:txBody>
              </p:sp>
              <p:sp>
                <p:nvSpPr>
                  <p:cNvPr id="2771" name="Freeform 1522"/>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close/>
                      </a:path>
                    </a:pathLst>
                  </a:custGeom>
                  <a:solidFill>
                    <a:srgbClr val="01AAE5"/>
                  </a:solidFill>
                  <a:ln>
                    <a:noFill/>
                  </a:ln>
                  <a:extLst/>
                </p:spPr>
                <p:txBody>
                  <a:bodyPr/>
                  <a:lstStyle/>
                  <a:p>
                    <a:pPr eaLnBrk="1" hangingPunct="1">
                      <a:defRPr/>
                    </a:pPr>
                    <a:endParaRPr lang="zh-CN" altLang="en-US" sz="1050"/>
                  </a:p>
                </p:txBody>
              </p:sp>
              <p:sp>
                <p:nvSpPr>
                  <p:cNvPr id="2772" name="Freeform 1523"/>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path>
                    </a:pathLst>
                  </a:custGeom>
                  <a:noFill/>
                  <a:ln>
                    <a:noFill/>
                  </a:ln>
                  <a:extLst/>
                </p:spPr>
                <p:txBody>
                  <a:bodyPr/>
                  <a:lstStyle/>
                  <a:p>
                    <a:pPr eaLnBrk="1" hangingPunct="1">
                      <a:defRPr/>
                    </a:pPr>
                    <a:endParaRPr lang="zh-CN" altLang="en-US" sz="1050"/>
                  </a:p>
                </p:txBody>
              </p:sp>
              <p:sp>
                <p:nvSpPr>
                  <p:cNvPr id="2773" name="Freeform 1524"/>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close/>
                      </a:path>
                    </a:pathLst>
                  </a:custGeom>
                  <a:solidFill>
                    <a:srgbClr val="01AAE5"/>
                  </a:solidFill>
                  <a:ln>
                    <a:noFill/>
                  </a:ln>
                  <a:extLst/>
                </p:spPr>
                <p:txBody>
                  <a:bodyPr/>
                  <a:lstStyle/>
                  <a:p>
                    <a:pPr eaLnBrk="1" hangingPunct="1">
                      <a:defRPr/>
                    </a:pPr>
                    <a:endParaRPr lang="zh-CN" altLang="en-US" sz="1050"/>
                  </a:p>
                </p:txBody>
              </p:sp>
              <p:sp>
                <p:nvSpPr>
                  <p:cNvPr id="2774" name="Freeform 1525"/>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path>
                    </a:pathLst>
                  </a:custGeom>
                  <a:noFill/>
                  <a:ln>
                    <a:noFill/>
                  </a:ln>
                  <a:extLst/>
                </p:spPr>
                <p:txBody>
                  <a:bodyPr/>
                  <a:lstStyle/>
                  <a:p>
                    <a:pPr eaLnBrk="1" hangingPunct="1">
                      <a:defRPr/>
                    </a:pPr>
                    <a:endParaRPr lang="zh-CN" altLang="en-US" sz="1050"/>
                  </a:p>
                </p:txBody>
              </p:sp>
              <p:sp>
                <p:nvSpPr>
                  <p:cNvPr id="2775" name="Freeform 1526"/>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close/>
                      </a:path>
                    </a:pathLst>
                  </a:custGeom>
                  <a:solidFill>
                    <a:srgbClr val="01AAE5"/>
                  </a:solidFill>
                  <a:ln>
                    <a:noFill/>
                  </a:ln>
                  <a:extLst/>
                </p:spPr>
                <p:txBody>
                  <a:bodyPr/>
                  <a:lstStyle/>
                  <a:p>
                    <a:pPr eaLnBrk="1" hangingPunct="1">
                      <a:defRPr/>
                    </a:pPr>
                    <a:endParaRPr lang="zh-CN" altLang="en-US" sz="1050"/>
                  </a:p>
                </p:txBody>
              </p:sp>
              <p:sp>
                <p:nvSpPr>
                  <p:cNvPr id="2776" name="Freeform 1527"/>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path>
                    </a:pathLst>
                  </a:custGeom>
                  <a:noFill/>
                  <a:ln>
                    <a:noFill/>
                  </a:ln>
                  <a:extLst/>
                </p:spPr>
                <p:txBody>
                  <a:bodyPr/>
                  <a:lstStyle/>
                  <a:p>
                    <a:pPr eaLnBrk="1" hangingPunct="1">
                      <a:defRPr/>
                    </a:pPr>
                    <a:endParaRPr lang="zh-CN" altLang="en-US" sz="1050"/>
                  </a:p>
                </p:txBody>
              </p:sp>
              <p:sp>
                <p:nvSpPr>
                  <p:cNvPr id="2777" name="Freeform 1528"/>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2778" name="Freeform 1529"/>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2779" name="Freeform 1530"/>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close/>
                      </a:path>
                    </a:pathLst>
                  </a:custGeom>
                  <a:solidFill>
                    <a:srgbClr val="01AAE5"/>
                  </a:solidFill>
                  <a:ln>
                    <a:noFill/>
                  </a:ln>
                  <a:extLst/>
                </p:spPr>
                <p:txBody>
                  <a:bodyPr/>
                  <a:lstStyle/>
                  <a:p>
                    <a:pPr eaLnBrk="1" hangingPunct="1">
                      <a:defRPr/>
                    </a:pPr>
                    <a:endParaRPr lang="zh-CN" altLang="en-US" sz="1050"/>
                  </a:p>
                </p:txBody>
              </p:sp>
              <p:sp>
                <p:nvSpPr>
                  <p:cNvPr id="2780" name="Freeform 1531"/>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path>
                    </a:pathLst>
                  </a:custGeom>
                  <a:noFill/>
                  <a:ln>
                    <a:noFill/>
                  </a:ln>
                  <a:extLst/>
                </p:spPr>
                <p:txBody>
                  <a:bodyPr/>
                  <a:lstStyle/>
                  <a:p>
                    <a:pPr eaLnBrk="1" hangingPunct="1">
                      <a:defRPr/>
                    </a:pPr>
                    <a:endParaRPr lang="zh-CN" altLang="en-US" sz="1050"/>
                  </a:p>
                </p:txBody>
              </p:sp>
              <p:sp>
                <p:nvSpPr>
                  <p:cNvPr id="2781" name="Freeform 1532"/>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close/>
                      </a:path>
                    </a:pathLst>
                  </a:custGeom>
                  <a:solidFill>
                    <a:srgbClr val="01AAE5"/>
                  </a:solidFill>
                  <a:ln>
                    <a:noFill/>
                  </a:ln>
                  <a:extLst/>
                </p:spPr>
                <p:txBody>
                  <a:bodyPr/>
                  <a:lstStyle/>
                  <a:p>
                    <a:pPr eaLnBrk="1" hangingPunct="1">
                      <a:defRPr/>
                    </a:pPr>
                    <a:endParaRPr lang="zh-CN" altLang="en-US" sz="1050"/>
                  </a:p>
                </p:txBody>
              </p:sp>
              <p:sp>
                <p:nvSpPr>
                  <p:cNvPr id="2782" name="Freeform 1533"/>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path>
                    </a:pathLst>
                  </a:custGeom>
                  <a:noFill/>
                  <a:ln>
                    <a:noFill/>
                  </a:ln>
                  <a:extLst/>
                </p:spPr>
                <p:txBody>
                  <a:bodyPr/>
                  <a:lstStyle/>
                  <a:p>
                    <a:pPr eaLnBrk="1" hangingPunct="1">
                      <a:defRPr/>
                    </a:pPr>
                    <a:endParaRPr lang="zh-CN" altLang="en-US" sz="1050"/>
                  </a:p>
                </p:txBody>
              </p:sp>
              <p:sp>
                <p:nvSpPr>
                  <p:cNvPr id="2783" name="Freeform 1534"/>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2784" name="Freeform 1535"/>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path>
                    </a:pathLst>
                  </a:custGeom>
                  <a:noFill/>
                  <a:ln>
                    <a:noFill/>
                  </a:ln>
                  <a:extLst/>
                </p:spPr>
                <p:txBody>
                  <a:bodyPr/>
                  <a:lstStyle/>
                  <a:p>
                    <a:pPr eaLnBrk="1" hangingPunct="1">
                      <a:defRPr/>
                    </a:pPr>
                    <a:endParaRPr lang="zh-CN" altLang="en-US" sz="1050"/>
                  </a:p>
                </p:txBody>
              </p:sp>
              <p:sp>
                <p:nvSpPr>
                  <p:cNvPr id="2785" name="Freeform 1536"/>
                  <p:cNvSpPr>
                    <a:spLocks/>
                  </p:cNvSpPr>
                  <p:nvPr/>
                </p:nvSpPr>
                <p:spPr bwMode="auto">
                  <a:xfrm>
                    <a:off x="10540" y="1950"/>
                    <a:ext cx="8" cy="17"/>
                  </a:xfrm>
                  <a:custGeom>
                    <a:avLst/>
                    <a:gdLst>
                      <a:gd name="T0" fmla="*/ 5 w 5"/>
                      <a:gd name="T1" fmla="*/ 7 h 10"/>
                      <a:gd name="T2" fmla="*/ 0 w 5"/>
                      <a:gd name="T3" fmla="*/ 0 h 10"/>
                      <a:gd name="T4" fmla="*/ 0 w 5"/>
                      <a:gd name="T5" fmla="*/ 2 h 10"/>
                      <a:gd name="T6" fmla="*/ 5 w 5"/>
                      <a:gd name="T7" fmla="*/ 10 h 10"/>
                      <a:gd name="T8" fmla="*/ 5 w 5"/>
                      <a:gd name="T9" fmla="*/ 7 h 10"/>
                    </a:gdLst>
                    <a:ahLst/>
                    <a:cxnLst>
                      <a:cxn ang="0">
                        <a:pos x="T0" y="T1"/>
                      </a:cxn>
                      <a:cxn ang="0">
                        <a:pos x="T2" y="T3"/>
                      </a:cxn>
                      <a:cxn ang="0">
                        <a:pos x="T4" y="T5"/>
                      </a:cxn>
                      <a:cxn ang="0">
                        <a:pos x="T6" y="T7"/>
                      </a:cxn>
                      <a:cxn ang="0">
                        <a:pos x="T8" y="T9"/>
                      </a:cxn>
                    </a:cxnLst>
                    <a:rect l="0" t="0" r="r" b="b"/>
                    <a:pathLst>
                      <a:path w="5" h="10">
                        <a:moveTo>
                          <a:pt x="5" y="7"/>
                        </a:moveTo>
                        <a:lnTo>
                          <a:pt x="0" y="0"/>
                        </a:lnTo>
                        <a:lnTo>
                          <a:pt x="0" y="2"/>
                        </a:lnTo>
                        <a:lnTo>
                          <a:pt x="5" y="10"/>
                        </a:lnTo>
                        <a:lnTo>
                          <a:pt x="5" y="7"/>
                        </a:lnTo>
                        <a:close/>
                      </a:path>
                    </a:pathLst>
                  </a:custGeom>
                  <a:solidFill>
                    <a:srgbClr val="01AAE5"/>
                  </a:solidFill>
                  <a:ln>
                    <a:noFill/>
                  </a:ln>
                  <a:extLst/>
                </p:spPr>
                <p:txBody>
                  <a:bodyPr/>
                  <a:lstStyle/>
                  <a:p>
                    <a:pPr eaLnBrk="1" hangingPunct="1">
                      <a:defRPr/>
                    </a:pPr>
                    <a:endParaRPr lang="zh-CN" altLang="en-US" sz="1050"/>
                  </a:p>
                </p:txBody>
              </p:sp>
              <p:sp>
                <p:nvSpPr>
                  <p:cNvPr id="2786" name="Freeform 1537"/>
                  <p:cNvSpPr>
                    <a:spLocks/>
                  </p:cNvSpPr>
                  <p:nvPr/>
                </p:nvSpPr>
                <p:spPr bwMode="auto">
                  <a:xfrm>
                    <a:off x="10548" y="1950"/>
                    <a:ext cx="8" cy="0"/>
                  </a:xfrm>
                  <a:custGeom>
                    <a:avLst/>
                    <a:gdLst>
                      <a:gd name="T0" fmla="*/ 7 w 7"/>
                      <a:gd name="T1" fmla="*/ 9 h 11"/>
                      <a:gd name="T2" fmla="*/ 0 w 7"/>
                      <a:gd name="T3" fmla="*/ 0 h 11"/>
                      <a:gd name="T4" fmla="*/ 0 w 7"/>
                      <a:gd name="T5" fmla="*/ 0 h 11"/>
                      <a:gd name="T6" fmla="*/ 5 w 7"/>
                      <a:gd name="T7" fmla="*/ 11 h 11"/>
                      <a:gd name="T8" fmla="*/ 7 w 7"/>
                      <a:gd name="T9" fmla="*/ 9 h 11"/>
                    </a:gdLst>
                    <a:ahLst/>
                    <a:cxnLst>
                      <a:cxn ang="0">
                        <a:pos x="T0" y="T1"/>
                      </a:cxn>
                      <a:cxn ang="0">
                        <a:pos x="T2" y="T3"/>
                      </a:cxn>
                      <a:cxn ang="0">
                        <a:pos x="T4" y="T5"/>
                      </a:cxn>
                      <a:cxn ang="0">
                        <a:pos x="T6" y="T7"/>
                      </a:cxn>
                      <a:cxn ang="0">
                        <a:pos x="T8" y="T9"/>
                      </a:cxn>
                    </a:cxnLst>
                    <a:rect l="0" t="0" r="r" b="b"/>
                    <a:pathLst>
                      <a:path w="7" h="11">
                        <a:moveTo>
                          <a:pt x="7" y="9"/>
                        </a:moveTo>
                        <a:lnTo>
                          <a:pt x="0" y="0"/>
                        </a:lnTo>
                        <a:lnTo>
                          <a:pt x="0" y="0"/>
                        </a:lnTo>
                        <a:lnTo>
                          <a:pt x="5" y="11"/>
                        </a:lnTo>
                        <a:lnTo>
                          <a:pt x="7" y="9"/>
                        </a:lnTo>
                        <a:close/>
                      </a:path>
                    </a:pathLst>
                  </a:custGeom>
                  <a:solidFill>
                    <a:srgbClr val="01AAE5"/>
                  </a:solidFill>
                  <a:ln>
                    <a:noFill/>
                  </a:ln>
                  <a:extLst/>
                </p:spPr>
                <p:txBody>
                  <a:bodyPr/>
                  <a:lstStyle/>
                  <a:p>
                    <a:pPr eaLnBrk="1" hangingPunct="1">
                      <a:defRPr/>
                    </a:pPr>
                    <a:endParaRPr lang="zh-CN" altLang="en-US" sz="1050"/>
                  </a:p>
                </p:txBody>
              </p:sp>
              <p:sp>
                <p:nvSpPr>
                  <p:cNvPr id="2787" name="Freeform 1538"/>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788" name="Freeform 1539"/>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path>
                    </a:pathLst>
                  </a:custGeom>
                  <a:noFill/>
                  <a:ln>
                    <a:noFill/>
                  </a:ln>
                  <a:extLst/>
                </p:spPr>
                <p:txBody>
                  <a:bodyPr/>
                  <a:lstStyle/>
                  <a:p>
                    <a:pPr eaLnBrk="1" hangingPunct="1">
                      <a:defRPr/>
                    </a:pPr>
                    <a:endParaRPr lang="zh-CN" altLang="en-US" sz="1050"/>
                  </a:p>
                </p:txBody>
              </p:sp>
              <p:sp>
                <p:nvSpPr>
                  <p:cNvPr id="2789" name="Freeform 1540"/>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close/>
                      </a:path>
                    </a:pathLst>
                  </a:custGeom>
                  <a:solidFill>
                    <a:srgbClr val="01AAE5"/>
                  </a:solidFill>
                  <a:ln>
                    <a:noFill/>
                  </a:ln>
                  <a:extLst/>
                </p:spPr>
                <p:txBody>
                  <a:bodyPr/>
                  <a:lstStyle/>
                  <a:p>
                    <a:pPr eaLnBrk="1" hangingPunct="1">
                      <a:defRPr/>
                    </a:pPr>
                    <a:endParaRPr lang="zh-CN" altLang="en-US" sz="1050"/>
                  </a:p>
                </p:txBody>
              </p:sp>
              <p:sp>
                <p:nvSpPr>
                  <p:cNvPr id="2790" name="Freeform 1541"/>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path>
                    </a:pathLst>
                  </a:custGeom>
                  <a:noFill/>
                  <a:ln>
                    <a:noFill/>
                  </a:ln>
                  <a:extLst/>
                </p:spPr>
                <p:txBody>
                  <a:bodyPr/>
                  <a:lstStyle/>
                  <a:p>
                    <a:pPr eaLnBrk="1" hangingPunct="1">
                      <a:defRPr/>
                    </a:pPr>
                    <a:endParaRPr lang="zh-CN" altLang="en-US" sz="1050"/>
                  </a:p>
                </p:txBody>
              </p:sp>
              <p:sp>
                <p:nvSpPr>
                  <p:cNvPr id="2791" name="Freeform 1542"/>
                  <p:cNvSpPr>
                    <a:spLocks/>
                  </p:cNvSpPr>
                  <p:nvPr/>
                </p:nvSpPr>
                <p:spPr bwMode="auto">
                  <a:xfrm>
                    <a:off x="10548" y="1950"/>
                    <a:ext cx="8" cy="9"/>
                  </a:xfrm>
                  <a:custGeom>
                    <a:avLst/>
                    <a:gdLst>
                      <a:gd name="T0" fmla="*/ 7 w 7"/>
                      <a:gd name="T1" fmla="*/ 9 h 12"/>
                      <a:gd name="T2" fmla="*/ 0 w 7"/>
                      <a:gd name="T3" fmla="*/ 0 h 12"/>
                      <a:gd name="T4" fmla="*/ 0 w 7"/>
                      <a:gd name="T5" fmla="*/ 2 h 12"/>
                      <a:gd name="T6" fmla="*/ 5 w 7"/>
                      <a:gd name="T7" fmla="*/ 12 h 12"/>
                      <a:gd name="T8" fmla="*/ 7 w 7"/>
                      <a:gd name="T9" fmla="*/ 9 h 12"/>
                    </a:gdLst>
                    <a:ahLst/>
                    <a:cxnLst>
                      <a:cxn ang="0">
                        <a:pos x="T0" y="T1"/>
                      </a:cxn>
                      <a:cxn ang="0">
                        <a:pos x="T2" y="T3"/>
                      </a:cxn>
                      <a:cxn ang="0">
                        <a:pos x="T4" y="T5"/>
                      </a:cxn>
                      <a:cxn ang="0">
                        <a:pos x="T6" y="T7"/>
                      </a:cxn>
                      <a:cxn ang="0">
                        <a:pos x="T8" y="T9"/>
                      </a:cxn>
                    </a:cxnLst>
                    <a:rect l="0" t="0" r="r" b="b"/>
                    <a:pathLst>
                      <a:path w="7" h="12">
                        <a:moveTo>
                          <a:pt x="7" y="9"/>
                        </a:moveTo>
                        <a:lnTo>
                          <a:pt x="0" y="0"/>
                        </a:lnTo>
                        <a:lnTo>
                          <a:pt x="0" y="2"/>
                        </a:lnTo>
                        <a:lnTo>
                          <a:pt x="5" y="12"/>
                        </a:lnTo>
                        <a:lnTo>
                          <a:pt x="7" y="9"/>
                        </a:lnTo>
                        <a:close/>
                      </a:path>
                    </a:pathLst>
                  </a:custGeom>
                  <a:solidFill>
                    <a:srgbClr val="01AAE5"/>
                  </a:solidFill>
                  <a:ln>
                    <a:noFill/>
                  </a:ln>
                  <a:extLst/>
                </p:spPr>
                <p:txBody>
                  <a:bodyPr/>
                  <a:lstStyle/>
                  <a:p>
                    <a:pPr eaLnBrk="1" hangingPunct="1">
                      <a:defRPr/>
                    </a:pPr>
                    <a:endParaRPr lang="zh-CN" altLang="en-US" sz="1050"/>
                  </a:p>
                </p:txBody>
              </p:sp>
              <p:sp>
                <p:nvSpPr>
                  <p:cNvPr id="2792" name="Freeform 1543"/>
                  <p:cNvSpPr>
                    <a:spLocks/>
                  </p:cNvSpPr>
                  <p:nvPr/>
                </p:nvSpPr>
                <p:spPr bwMode="auto">
                  <a:xfrm>
                    <a:off x="10390" y="2099"/>
                    <a:ext cx="0" cy="17"/>
                  </a:xfrm>
                  <a:custGeom>
                    <a:avLst/>
                    <a:gdLst>
                      <a:gd name="T0" fmla="*/ 14 w 14"/>
                      <a:gd name="T1" fmla="*/ 9 h 9"/>
                      <a:gd name="T2" fmla="*/ 0 w 14"/>
                      <a:gd name="T3" fmla="*/ 0 h 9"/>
                      <a:gd name="T4" fmla="*/ 0 w 14"/>
                      <a:gd name="T5" fmla="*/ 0 h 9"/>
                      <a:gd name="T6" fmla="*/ 12 w 14"/>
                      <a:gd name="T7" fmla="*/ 9 h 9"/>
                      <a:gd name="T8" fmla="*/ 14 w 14"/>
                      <a:gd name="T9" fmla="*/ 9 h 9"/>
                    </a:gdLst>
                    <a:ahLst/>
                    <a:cxnLst>
                      <a:cxn ang="0">
                        <a:pos x="T0" y="T1"/>
                      </a:cxn>
                      <a:cxn ang="0">
                        <a:pos x="T2" y="T3"/>
                      </a:cxn>
                      <a:cxn ang="0">
                        <a:pos x="T4" y="T5"/>
                      </a:cxn>
                      <a:cxn ang="0">
                        <a:pos x="T6" y="T7"/>
                      </a:cxn>
                      <a:cxn ang="0">
                        <a:pos x="T8" y="T9"/>
                      </a:cxn>
                    </a:cxnLst>
                    <a:rect l="0" t="0" r="r" b="b"/>
                    <a:pathLst>
                      <a:path w="14" h="9">
                        <a:moveTo>
                          <a:pt x="14" y="9"/>
                        </a:moveTo>
                        <a:lnTo>
                          <a:pt x="0" y="0"/>
                        </a:lnTo>
                        <a:lnTo>
                          <a:pt x="0" y="0"/>
                        </a:lnTo>
                        <a:lnTo>
                          <a:pt x="12" y="9"/>
                        </a:lnTo>
                        <a:lnTo>
                          <a:pt x="14" y="9"/>
                        </a:lnTo>
                        <a:close/>
                      </a:path>
                    </a:pathLst>
                  </a:custGeom>
                  <a:solidFill>
                    <a:srgbClr val="01AAE5"/>
                  </a:solidFill>
                  <a:ln>
                    <a:noFill/>
                  </a:ln>
                  <a:extLst/>
                </p:spPr>
                <p:txBody>
                  <a:bodyPr/>
                  <a:lstStyle/>
                  <a:p>
                    <a:pPr eaLnBrk="1" hangingPunct="1">
                      <a:defRPr/>
                    </a:pPr>
                    <a:endParaRPr lang="zh-CN" altLang="en-US" sz="1050"/>
                  </a:p>
                </p:txBody>
              </p:sp>
              <p:sp>
                <p:nvSpPr>
                  <p:cNvPr id="2793" name="Freeform 1544"/>
                  <p:cNvSpPr>
                    <a:spLocks/>
                  </p:cNvSpPr>
                  <p:nvPr/>
                </p:nvSpPr>
                <p:spPr bwMode="auto">
                  <a:xfrm>
                    <a:off x="10373" y="2107"/>
                    <a:ext cx="8" cy="9"/>
                  </a:xfrm>
                  <a:custGeom>
                    <a:avLst/>
                    <a:gdLst>
                      <a:gd name="T0" fmla="*/ 12 w 12"/>
                      <a:gd name="T1" fmla="*/ 7 h 7"/>
                      <a:gd name="T2" fmla="*/ 0 w 12"/>
                      <a:gd name="T3" fmla="*/ 0 h 7"/>
                      <a:gd name="T4" fmla="*/ 0 w 12"/>
                      <a:gd name="T5" fmla="*/ 0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0" y="0"/>
                        </a:lnTo>
                        <a:lnTo>
                          <a:pt x="0" y="0"/>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2794" name="Freeform 1545"/>
                  <p:cNvSpPr>
                    <a:spLocks/>
                  </p:cNvSpPr>
                  <p:nvPr/>
                </p:nvSpPr>
                <p:spPr bwMode="auto">
                  <a:xfrm>
                    <a:off x="10373" y="2116"/>
                    <a:ext cx="8" cy="9"/>
                  </a:xfrm>
                  <a:custGeom>
                    <a:avLst/>
                    <a:gdLst>
                      <a:gd name="T0" fmla="*/ 9 w 9"/>
                      <a:gd name="T1" fmla="*/ 7 h 7"/>
                      <a:gd name="T2" fmla="*/ 0 w 9"/>
                      <a:gd name="T3" fmla="*/ 0 h 7"/>
                      <a:gd name="T4" fmla="*/ 0 w 9"/>
                      <a:gd name="T5" fmla="*/ 0 h 7"/>
                      <a:gd name="T6" fmla="*/ 9 w 9"/>
                      <a:gd name="T7" fmla="*/ 7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0" y="0"/>
                        </a:lnTo>
                        <a:lnTo>
                          <a:pt x="0" y="0"/>
                        </a:lnTo>
                        <a:lnTo>
                          <a:pt x="9" y="7"/>
                        </a:lnTo>
                        <a:lnTo>
                          <a:pt x="9" y="7"/>
                        </a:lnTo>
                        <a:close/>
                      </a:path>
                    </a:pathLst>
                  </a:custGeom>
                  <a:solidFill>
                    <a:srgbClr val="01AAE5"/>
                  </a:solidFill>
                  <a:ln>
                    <a:noFill/>
                  </a:ln>
                  <a:extLst/>
                </p:spPr>
                <p:txBody>
                  <a:bodyPr/>
                  <a:lstStyle/>
                  <a:p>
                    <a:pPr eaLnBrk="1" hangingPunct="1">
                      <a:defRPr/>
                    </a:pPr>
                    <a:endParaRPr lang="zh-CN" altLang="en-US" sz="1050"/>
                  </a:p>
                </p:txBody>
              </p:sp>
              <p:sp>
                <p:nvSpPr>
                  <p:cNvPr id="2795" name="Freeform 1546"/>
                  <p:cNvSpPr>
                    <a:spLocks/>
                  </p:cNvSpPr>
                  <p:nvPr/>
                </p:nvSpPr>
                <p:spPr bwMode="auto">
                  <a:xfrm>
                    <a:off x="10390" y="2090"/>
                    <a:ext cx="0" cy="17"/>
                  </a:xfrm>
                  <a:custGeom>
                    <a:avLst/>
                    <a:gdLst>
                      <a:gd name="T0" fmla="*/ 14 w 14"/>
                      <a:gd name="T1" fmla="*/ 12 h 14"/>
                      <a:gd name="T2" fmla="*/ 0 w 14"/>
                      <a:gd name="T3" fmla="*/ 0 h 14"/>
                      <a:gd name="T4" fmla="*/ 0 w 14"/>
                      <a:gd name="T5" fmla="*/ 2 h 14"/>
                      <a:gd name="T6" fmla="*/ 14 w 14"/>
                      <a:gd name="T7" fmla="*/ 14 h 14"/>
                      <a:gd name="T8" fmla="*/ 14 w 14"/>
                      <a:gd name="T9" fmla="*/ 12 h 14"/>
                    </a:gdLst>
                    <a:ahLst/>
                    <a:cxnLst>
                      <a:cxn ang="0">
                        <a:pos x="T0" y="T1"/>
                      </a:cxn>
                      <a:cxn ang="0">
                        <a:pos x="T2" y="T3"/>
                      </a:cxn>
                      <a:cxn ang="0">
                        <a:pos x="T4" y="T5"/>
                      </a:cxn>
                      <a:cxn ang="0">
                        <a:pos x="T6" y="T7"/>
                      </a:cxn>
                      <a:cxn ang="0">
                        <a:pos x="T8" y="T9"/>
                      </a:cxn>
                    </a:cxnLst>
                    <a:rect l="0" t="0" r="r" b="b"/>
                    <a:pathLst>
                      <a:path w="14" h="14">
                        <a:moveTo>
                          <a:pt x="14" y="12"/>
                        </a:moveTo>
                        <a:lnTo>
                          <a:pt x="0" y="0"/>
                        </a:lnTo>
                        <a:lnTo>
                          <a:pt x="0" y="2"/>
                        </a:lnTo>
                        <a:lnTo>
                          <a:pt x="14" y="14"/>
                        </a:lnTo>
                        <a:lnTo>
                          <a:pt x="14" y="12"/>
                        </a:lnTo>
                        <a:close/>
                      </a:path>
                    </a:pathLst>
                  </a:custGeom>
                  <a:solidFill>
                    <a:srgbClr val="01AAE5"/>
                  </a:solidFill>
                  <a:ln>
                    <a:noFill/>
                  </a:ln>
                  <a:extLst/>
                </p:spPr>
                <p:txBody>
                  <a:bodyPr/>
                  <a:lstStyle/>
                  <a:p>
                    <a:pPr eaLnBrk="1" hangingPunct="1">
                      <a:defRPr/>
                    </a:pPr>
                    <a:endParaRPr lang="zh-CN" altLang="en-US" sz="1050"/>
                  </a:p>
                </p:txBody>
              </p:sp>
              <p:sp>
                <p:nvSpPr>
                  <p:cNvPr id="2796" name="Freeform 1547"/>
                  <p:cNvSpPr>
                    <a:spLocks/>
                  </p:cNvSpPr>
                  <p:nvPr/>
                </p:nvSpPr>
                <p:spPr bwMode="auto">
                  <a:xfrm>
                    <a:off x="10390" y="2090"/>
                    <a:ext cx="25" cy="9"/>
                  </a:xfrm>
                  <a:custGeom>
                    <a:avLst/>
                    <a:gdLst>
                      <a:gd name="T0" fmla="*/ 17 w 17"/>
                      <a:gd name="T1" fmla="*/ 14 h 14"/>
                      <a:gd name="T2" fmla="*/ 0 w 17"/>
                      <a:gd name="T3" fmla="*/ 0 h 14"/>
                      <a:gd name="T4" fmla="*/ 0 w 17"/>
                      <a:gd name="T5" fmla="*/ 2 h 14"/>
                      <a:gd name="T6" fmla="*/ 17 w 17"/>
                      <a:gd name="T7" fmla="*/ 14 h 14"/>
                      <a:gd name="T8" fmla="*/ 17 w 17"/>
                      <a:gd name="T9" fmla="*/ 14 h 14"/>
                    </a:gdLst>
                    <a:ahLst/>
                    <a:cxnLst>
                      <a:cxn ang="0">
                        <a:pos x="T0" y="T1"/>
                      </a:cxn>
                      <a:cxn ang="0">
                        <a:pos x="T2" y="T3"/>
                      </a:cxn>
                      <a:cxn ang="0">
                        <a:pos x="T4" y="T5"/>
                      </a:cxn>
                      <a:cxn ang="0">
                        <a:pos x="T6" y="T7"/>
                      </a:cxn>
                      <a:cxn ang="0">
                        <a:pos x="T8" y="T9"/>
                      </a:cxn>
                    </a:cxnLst>
                    <a:rect l="0" t="0" r="r" b="b"/>
                    <a:pathLst>
                      <a:path w="17" h="14">
                        <a:moveTo>
                          <a:pt x="17" y="14"/>
                        </a:moveTo>
                        <a:lnTo>
                          <a:pt x="0" y="0"/>
                        </a:lnTo>
                        <a:lnTo>
                          <a:pt x="0" y="2"/>
                        </a:lnTo>
                        <a:lnTo>
                          <a:pt x="17" y="14"/>
                        </a:lnTo>
                        <a:lnTo>
                          <a:pt x="17" y="14"/>
                        </a:lnTo>
                        <a:close/>
                      </a:path>
                    </a:pathLst>
                  </a:custGeom>
                  <a:solidFill>
                    <a:srgbClr val="01AAE5"/>
                  </a:solidFill>
                  <a:ln>
                    <a:noFill/>
                  </a:ln>
                  <a:extLst/>
                </p:spPr>
                <p:txBody>
                  <a:bodyPr/>
                  <a:lstStyle/>
                  <a:p>
                    <a:pPr eaLnBrk="1" hangingPunct="1">
                      <a:defRPr/>
                    </a:pPr>
                    <a:endParaRPr lang="zh-CN" altLang="en-US" sz="1050"/>
                  </a:p>
                </p:txBody>
              </p:sp>
              <p:sp>
                <p:nvSpPr>
                  <p:cNvPr id="2797" name="Freeform 1548"/>
                  <p:cNvSpPr>
                    <a:spLocks/>
                  </p:cNvSpPr>
                  <p:nvPr/>
                </p:nvSpPr>
                <p:spPr bwMode="auto">
                  <a:xfrm>
                    <a:off x="10390" y="2081"/>
                    <a:ext cx="25" cy="17"/>
                  </a:xfrm>
                  <a:custGeom>
                    <a:avLst/>
                    <a:gdLst>
                      <a:gd name="T0" fmla="*/ 19 w 19"/>
                      <a:gd name="T1" fmla="*/ 16 h 19"/>
                      <a:gd name="T2" fmla="*/ 0 w 19"/>
                      <a:gd name="T3" fmla="*/ 0 h 19"/>
                      <a:gd name="T4" fmla="*/ 0 w 19"/>
                      <a:gd name="T5" fmla="*/ 2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2"/>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2798" name="Freeform 1549"/>
                  <p:cNvSpPr>
                    <a:spLocks/>
                  </p:cNvSpPr>
                  <p:nvPr/>
                </p:nvSpPr>
                <p:spPr bwMode="auto">
                  <a:xfrm>
                    <a:off x="10390" y="2090"/>
                    <a:ext cx="25" cy="9"/>
                  </a:xfrm>
                  <a:custGeom>
                    <a:avLst/>
                    <a:gdLst>
                      <a:gd name="T0" fmla="*/ 19 w 19"/>
                      <a:gd name="T1" fmla="*/ 17 h 17"/>
                      <a:gd name="T2" fmla="*/ 0 w 19"/>
                      <a:gd name="T3" fmla="*/ 0 h 17"/>
                      <a:gd name="T4" fmla="*/ 0 w 19"/>
                      <a:gd name="T5" fmla="*/ 3 h 17"/>
                      <a:gd name="T6" fmla="*/ 16 w 19"/>
                      <a:gd name="T7" fmla="*/ 17 h 17"/>
                      <a:gd name="T8" fmla="*/ 19 w 19"/>
                      <a:gd name="T9" fmla="*/ 17 h 17"/>
                    </a:gdLst>
                    <a:ahLst/>
                    <a:cxnLst>
                      <a:cxn ang="0">
                        <a:pos x="T0" y="T1"/>
                      </a:cxn>
                      <a:cxn ang="0">
                        <a:pos x="T2" y="T3"/>
                      </a:cxn>
                      <a:cxn ang="0">
                        <a:pos x="T4" y="T5"/>
                      </a:cxn>
                      <a:cxn ang="0">
                        <a:pos x="T6" y="T7"/>
                      </a:cxn>
                      <a:cxn ang="0">
                        <a:pos x="T8" y="T9"/>
                      </a:cxn>
                    </a:cxnLst>
                    <a:rect l="0" t="0" r="r" b="b"/>
                    <a:pathLst>
                      <a:path w="19" h="17">
                        <a:moveTo>
                          <a:pt x="19" y="17"/>
                        </a:moveTo>
                        <a:lnTo>
                          <a:pt x="0" y="0"/>
                        </a:lnTo>
                        <a:lnTo>
                          <a:pt x="0" y="3"/>
                        </a:lnTo>
                        <a:lnTo>
                          <a:pt x="16" y="17"/>
                        </a:lnTo>
                        <a:lnTo>
                          <a:pt x="19" y="17"/>
                        </a:lnTo>
                        <a:close/>
                      </a:path>
                    </a:pathLst>
                  </a:custGeom>
                  <a:solidFill>
                    <a:srgbClr val="01AAE5"/>
                  </a:solidFill>
                  <a:ln>
                    <a:noFill/>
                  </a:ln>
                  <a:extLst/>
                </p:spPr>
                <p:txBody>
                  <a:bodyPr/>
                  <a:lstStyle/>
                  <a:p>
                    <a:pPr eaLnBrk="1" hangingPunct="1">
                      <a:defRPr/>
                    </a:pPr>
                    <a:endParaRPr lang="zh-CN" altLang="en-US" sz="1050"/>
                  </a:p>
                </p:txBody>
              </p:sp>
              <p:sp>
                <p:nvSpPr>
                  <p:cNvPr id="2799" name="Freeform 1550"/>
                  <p:cNvSpPr>
                    <a:spLocks/>
                  </p:cNvSpPr>
                  <p:nvPr/>
                </p:nvSpPr>
                <p:spPr bwMode="auto">
                  <a:xfrm>
                    <a:off x="10373" y="2116"/>
                    <a:ext cx="8" cy="9"/>
                  </a:xfrm>
                  <a:custGeom>
                    <a:avLst/>
                    <a:gdLst>
                      <a:gd name="T0" fmla="*/ 9 w 9"/>
                      <a:gd name="T1" fmla="*/ 5 h 7"/>
                      <a:gd name="T2" fmla="*/ 0 w 9"/>
                      <a:gd name="T3" fmla="*/ 0 h 7"/>
                      <a:gd name="T4" fmla="*/ 0 w 9"/>
                      <a:gd name="T5" fmla="*/ 0 h 7"/>
                      <a:gd name="T6" fmla="*/ 7 w 9"/>
                      <a:gd name="T7" fmla="*/ 7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lnTo>
                          <a:pt x="0" y="0"/>
                        </a:lnTo>
                        <a:lnTo>
                          <a:pt x="0" y="0"/>
                        </a:lnTo>
                        <a:lnTo>
                          <a:pt x="7" y="7"/>
                        </a:lnTo>
                        <a:lnTo>
                          <a:pt x="9" y="5"/>
                        </a:lnTo>
                        <a:close/>
                      </a:path>
                    </a:pathLst>
                  </a:custGeom>
                  <a:solidFill>
                    <a:srgbClr val="01AAE5"/>
                  </a:solidFill>
                  <a:ln>
                    <a:noFill/>
                  </a:ln>
                  <a:extLst/>
                </p:spPr>
                <p:txBody>
                  <a:bodyPr/>
                  <a:lstStyle/>
                  <a:p>
                    <a:pPr eaLnBrk="1" hangingPunct="1">
                      <a:defRPr/>
                    </a:pPr>
                    <a:endParaRPr lang="zh-CN" altLang="en-US" sz="1050"/>
                  </a:p>
                </p:txBody>
              </p:sp>
              <p:sp>
                <p:nvSpPr>
                  <p:cNvPr id="2800" name="Freeform 1551"/>
                  <p:cNvSpPr>
                    <a:spLocks/>
                  </p:cNvSpPr>
                  <p:nvPr/>
                </p:nvSpPr>
                <p:spPr bwMode="auto">
                  <a:xfrm>
                    <a:off x="10365" y="2125"/>
                    <a:ext cx="8" cy="0"/>
                  </a:xfrm>
                  <a:custGeom>
                    <a:avLst/>
                    <a:gdLst>
                      <a:gd name="T0" fmla="*/ 7 w 7"/>
                      <a:gd name="T1" fmla="*/ 5 h 7"/>
                      <a:gd name="T2" fmla="*/ 0 w 7"/>
                      <a:gd name="T3" fmla="*/ 0 h 7"/>
                      <a:gd name="T4" fmla="*/ 0 w 7"/>
                      <a:gd name="T5" fmla="*/ 3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3"/>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2801" name="Freeform 1552"/>
                  <p:cNvSpPr>
                    <a:spLocks/>
                  </p:cNvSpPr>
                  <p:nvPr/>
                </p:nvSpPr>
                <p:spPr bwMode="auto">
                  <a:xfrm>
                    <a:off x="10365" y="2133"/>
                    <a:ext cx="0" cy="9"/>
                  </a:xfrm>
                  <a:custGeom>
                    <a:avLst/>
                    <a:gdLst>
                      <a:gd name="T0" fmla="*/ 8 w 8"/>
                      <a:gd name="T1" fmla="*/ 7 h 7"/>
                      <a:gd name="T2" fmla="*/ 0 w 8"/>
                      <a:gd name="T3" fmla="*/ 0 h 7"/>
                      <a:gd name="T4" fmla="*/ 0 w 8"/>
                      <a:gd name="T5" fmla="*/ 2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0" y="0"/>
                        </a:lnTo>
                        <a:lnTo>
                          <a:pt x="0" y="2"/>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2802" name="Freeform 1553"/>
                  <p:cNvSpPr>
                    <a:spLocks/>
                  </p:cNvSpPr>
                  <p:nvPr/>
                </p:nvSpPr>
                <p:spPr bwMode="auto">
                  <a:xfrm>
                    <a:off x="10348" y="2142"/>
                    <a:ext cx="8" cy="9"/>
                  </a:xfrm>
                  <a:custGeom>
                    <a:avLst/>
                    <a:gdLst>
                      <a:gd name="T0" fmla="*/ 10 w 10"/>
                      <a:gd name="T1" fmla="*/ 5 h 8"/>
                      <a:gd name="T2" fmla="*/ 3 w 10"/>
                      <a:gd name="T3" fmla="*/ 0 h 8"/>
                      <a:gd name="T4" fmla="*/ 0 w 10"/>
                      <a:gd name="T5" fmla="*/ 0 h 8"/>
                      <a:gd name="T6" fmla="*/ 7 w 10"/>
                      <a:gd name="T7" fmla="*/ 8 h 8"/>
                      <a:gd name="T8" fmla="*/ 10 w 10"/>
                      <a:gd name="T9" fmla="*/ 5 h 8"/>
                    </a:gdLst>
                    <a:ahLst/>
                    <a:cxnLst>
                      <a:cxn ang="0">
                        <a:pos x="T0" y="T1"/>
                      </a:cxn>
                      <a:cxn ang="0">
                        <a:pos x="T2" y="T3"/>
                      </a:cxn>
                      <a:cxn ang="0">
                        <a:pos x="T4" y="T5"/>
                      </a:cxn>
                      <a:cxn ang="0">
                        <a:pos x="T6" y="T7"/>
                      </a:cxn>
                      <a:cxn ang="0">
                        <a:pos x="T8" y="T9"/>
                      </a:cxn>
                    </a:cxnLst>
                    <a:rect l="0" t="0" r="r" b="b"/>
                    <a:pathLst>
                      <a:path w="10" h="8">
                        <a:moveTo>
                          <a:pt x="10" y="5"/>
                        </a:moveTo>
                        <a:lnTo>
                          <a:pt x="3" y="0"/>
                        </a:lnTo>
                        <a:lnTo>
                          <a:pt x="0" y="0"/>
                        </a:lnTo>
                        <a:lnTo>
                          <a:pt x="7" y="8"/>
                        </a:lnTo>
                        <a:lnTo>
                          <a:pt x="10" y="5"/>
                        </a:lnTo>
                        <a:close/>
                      </a:path>
                    </a:pathLst>
                  </a:custGeom>
                  <a:solidFill>
                    <a:srgbClr val="01AAE5"/>
                  </a:solidFill>
                  <a:ln>
                    <a:noFill/>
                  </a:ln>
                  <a:extLst/>
                </p:spPr>
                <p:txBody>
                  <a:bodyPr/>
                  <a:lstStyle/>
                  <a:p>
                    <a:pPr eaLnBrk="1" hangingPunct="1">
                      <a:defRPr/>
                    </a:pPr>
                    <a:endParaRPr lang="zh-CN" altLang="en-US" sz="1050"/>
                  </a:p>
                </p:txBody>
              </p:sp>
              <p:sp>
                <p:nvSpPr>
                  <p:cNvPr id="2803" name="Freeform 1554"/>
                  <p:cNvSpPr>
                    <a:spLocks/>
                  </p:cNvSpPr>
                  <p:nvPr/>
                </p:nvSpPr>
                <p:spPr bwMode="auto">
                  <a:xfrm>
                    <a:off x="10365" y="2142"/>
                    <a:ext cx="0"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2804" name="Freeform 1555"/>
                  <p:cNvSpPr>
                    <a:spLocks/>
                  </p:cNvSpPr>
                  <p:nvPr/>
                </p:nvSpPr>
                <p:spPr bwMode="auto">
                  <a:xfrm>
                    <a:off x="10348" y="2151"/>
                    <a:ext cx="0" cy="0"/>
                  </a:xfrm>
                  <a:custGeom>
                    <a:avLst/>
                    <a:gdLst>
                      <a:gd name="T0" fmla="*/ 9 w 9"/>
                      <a:gd name="T1" fmla="*/ 5 h 5"/>
                      <a:gd name="T2" fmla="*/ 0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2805" name="Freeform 1556"/>
                  <p:cNvSpPr>
                    <a:spLocks/>
                  </p:cNvSpPr>
                  <p:nvPr/>
                </p:nvSpPr>
                <p:spPr bwMode="auto">
                  <a:xfrm>
                    <a:off x="10365" y="2133"/>
                    <a:ext cx="0" cy="0"/>
                  </a:xfrm>
                  <a:custGeom>
                    <a:avLst/>
                    <a:gdLst>
                      <a:gd name="T0" fmla="*/ 7 w 7"/>
                      <a:gd name="T1" fmla="*/ 4 h 4"/>
                      <a:gd name="T2" fmla="*/ 0 w 7"/>
                      <a:gd name="T3" fmla="*/ 0 h 4"/>
                      <a:gd name="T4" fmla="*/ 0 w 7"/>
                      <a:gd name="T5" fmla="*/ 0 h 4"/>
                      <a:gd name="T6" fmla="*/ 7 w 7"/>
                      <a:gd name="T7" fmla="*/ 4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0" y="0"/>
                        </a:lnTo>
                        <a:lnTo>
                          <a:pt x="0" y="0"/>
                        </a:lnTo>
                        <a:lnTo>
                          <a:pt x="7" y="4"/>
                        </a:lnTo>
                        <a:lnTo>
                          <a:pt x="7" y="4"/>
                        </a:lnTo>
                        <a:close/>
                      </a:path>
                    </a:pathLst>
                  </a:custGeom>
                  <a:solidFill>
                    <a:srgbClr val="01AAE5"/>
                  </a:solidFill>
                  <a:ln>
                    <a:noFill/>
                  </a:ln>
                  <a:extLst/>
                </p:spPr>
                <p:txBody>
                  <a:bodyPr/>
                  <a:lstStyle/>
                  <a:p>
                    <a:pPr eaLnBrk="1" hangingPunct="1">
                      <a:defRPr/>
                    </a:pPr>
                    <a:endParaRPr lang="zh-CN" altLang="en-US" sz="1050"/>
                  </a:p>
                </p:txBody>
              </p:sp>
              <p:sp>
                <p:nvSpPr>
                  <p:cNvPr id="2806" name="Freeform 1557"/>
                  <p:cNvSpPr>
                    <a:spLocks/>
                  </p:cNvSpPr>
                  <p:nvPr/>
                </p:nvSpPr>
                <p:spPr bwMode="auto">
                  <a:xfrm>
                    <a:off x="10365" y="2125"/>
                    <a:ext cx="8" cy="0"/>
                  </a:xfrm>
                  <a:custGeom>
                    <a:avLst/>
                    <a:gdLst>
                      <a:gd name="T0" fmla="*/ 7 w 7"/>
                      <a:gd name="T1" fmla="*/ 8 h 8"/>
                      <a:gd name="T2" fmla="*/ 0 w 7"/>
                      <a:gd name="T3" fmla="*/ 0 h 8"/>
                      <a:gd name="T4" fmla="*/ 0 w 7"/>
                      <a:gd name="T5" fmla="*/ 3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0" y="0"/>
                        </a:lnTo>
                        <a:lnTo>
                          <a:pt x="0" y="3"/>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2807" name="Freeform 1558"/>
                  <p:cNvSpPr>
                    <a:spLocks/>
                  </p:cNvSpPr>
                  <p:nvPr/>
                </p:nvSpPr>
                <p:spPr bwMode="auto">
                  <a:xfrm>
                    <a:off x="10390" y="2072"/>
                    <a:ext cx="25" cy="17"/>
                  </a:xfrm>
                  <a:custGeom>
                    <a:avLst/>
                    <a:gdLst>
                      <a:gd name="T0" fmla="*/ 21 w 21"/>
                      <a:gd name="T1" fmla="*/ 19 h 19"/>
                      <a:gd name="T2" fmla="*/ 0 w 21"/>
                      <a:gd name="T3" fmla="*/ 0 h 19"/>
                      <a:gd name="T4" fmla="*/ 0 w 21"/>
                      <a:gd name="T5" fmla="*/ 2 h 19"/>
                      <a:gd name="T6" fmla="*/ 21 w 21"/>
                      <a:gd name="T7" fmla="*/ 19 h 19"/>
                      <a:gd name="T8" fmla="*/ 21 w 21"/>
                      <a:gd name="T9" fmla="*/ 19 h 19"/>
                    </a:gdLst>
                    <a:ahLst/>
                    <a:cxnLst>
                      <a:cxn ang="0">
                        <a:pos x="T0" y="T1"/>
                      </a:cxn>
                      <a:cxn ang="0">
                        <a:pos x="T2" y="T3"/>
                      </a:cxn>
                      <a:cxn ang="0">
                        <a:pos x="T4" y="T5"/>
                      </a:cxn>
                      <a:cxn ang="0">
                        <a:pos x="T6" y="T7"/>
                      </a:cxn>
                      <a:cxn ang="0">
                        <a:pos x="T8" y="T9"/>
                      </a:cxn>
                    </a:cxnLst>
                    <a:rect l="0" t="0" r="r" b="b"/>
                    <a:pathLst>
                      <a:path w="21" h="19">
                        <a:moveTo>
                          <a:pt x="21" y="19"/>
                        </a:moveTo>
                        <a:lnTo>
                          <a:pt x="0" y="0"/>
                        </a:lnTo>
                        <a:lnTo>
                          <a:pt x="0" y="2"/>
                        </a:lnTo>
                        <a:lnTo>
                          <a:pt x="21" y="19"/>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2808" name="Freeform 1559"/>
                  <p:cNvSpPr>
                    <a:spLocks/>
                  </p:cNvSpPr>
                  <p:nvPr/>
                </p:nvSpPr>
                <p:spPr bwMode="auto">
                  <a:xfrm>
                    <a:off x="10365" y="2125"/>
                    <a:ext cx="25" cy="9"/>
                  </a:xfrm>
                  <a:custGeom>
                    <a:avLst/>
                    <a:gdLst>
                      <a:gd name="T0" fmla="*/ 10 w 10"/>
                      <a:gd name="T1" fmla="*/ 5 h 7"/>
                      <a:gd name="T2" fmla="*/ 3 w 10"/>
                      <a:gd name="T3" fmla="*/ 0 h 7"/>
                      <a:gd name="T4" fmla="*/ 0 w 10"/>
                      <a:gd name="T5" fmla="*/ 0 h 7"/>
                      <a:gd name="T6" fmla="*/ 7 w 10"/>
                      <a:gd name="T7" fmla="*/ 7 h 7"/>
                      <a:gd name="T8" fmla="*/ 10 w 10"/>
                      <a:gd name="T9" fmla="*/ 5 h 7"/>
                    </a:gdLst>
                    <a:ahLst/>
                    <a:cxnLst>
                      <a:cxn ang="0">
                        <a:pos x="T0" y="T1"/>
                      </a:cxn>
                      <a:cxn ang="0">
                        <a:pos x="T2" y="T3"/>
                      </a:cxn>
                      <a:cxn ang="0">
                        <a:pos x="T4" y="T5"/>
                      </a:cxn>
                      <a:cxn ang="0">
                        <a:pos x="T6" y="T7"/>
                      </a:cxn>
                      <a:cxn ang="0">
                        <a:pos x="T8" y="T9"/>
                      </a:cxn>
                    </a:cxnLst>
                    <a:rect l="0" t="0" r="r" b="b"/>
                    <a:pathLst>
                      <a:path w="10" h="7">
                        <a:moveTo>
                          <a:pt x="10" y="5"/>
                        </a:moveTo>
                        <a:lnTo>
                          <a:pt x="3" y="0"/>
                        </a:lnTo>
                        <a:lnTo>
                          <a:pt x="0" y="0"/>
                        </a:lnTo>
                        <a:lnTo>
                          <a:pt x="7" y="7"/>
                        </a:lnTo>
                        <a:lnTo>
                          <a:pt x="10" y="5"/>
                        </a:lnTo>
                        <a:close/>
                      </a:path>
                    </a:pathLst>
                  </a:custGeom>
                  <a:solidFill>
                    <a:srgbClr val="01AAE5"/>
                  </a:solidFill>
                  <a:ln>
                    <a:noFill/>
                  </a:ln>
                  <a:extLst/>
                </p:spPr>
                <p:txBody>
                  <a:bodyPr/>
                  <a:lstStyle/>
                  <a:p>
                    <a:pPr eaLnBrk="1" hangingPunct="1">
                      <a:defRPr/>
                    </a:pPr>
                    <a:endParaRPr lang="zh-CN" altLang="en-US" sz="1050"/>
                  </a:p>
                </p:txBody>
              </p:sp>
              <p:sp>
                <p:nvSpPr>
                  <p:cNvPr id="2809" name="Freeform 1560"/>
                  <p:cNvSpPr>
                    <a:spLocks/>
                  </p:cNvSpPr>
                  <p:nvPr/>
                </p:nvSpPr>
                <p:spPr bwMode="auto">
                  <a:xfrm>
                    <a:off x="10415" y="2055"/>
                    <a:ext cx="25" cy="17"/>
                  </a:xfrm>
                  <a:custGeom>
                    <a:avLst/>
                    <a:gdLst>
                      <a:gd name="T0" fmla="*/ 19 w 19"/>
                      <a:gd name="T1" fmla="*/ 16 h 19"/>
                      <a:gd name="T2" fmla="*/ 0 w 19"/>
                      <a:gd name="T3" fmla="*/ 0 h 19"/>
                      <a:gd name="T4" fmla="*/ 0 w 19"/>
                      <a:gd name="T5" fmla="*/ 0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0"/>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2810" name="Freeform 1561"/>
                  <p:cNvSpPr>
                    <a:spLocks/>
                  </p:cNvSpPr>
                  <p:nvPr/>
                </p:nvSpPr>
                <p:spPr bwMode="auto">
                  <a:xfrm>
                    <a:off x="10440" y="2038"/>
                    <a:ext cx="0"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811" name="Freeform 1562"/>
                  <p:cNvSpPr>
                    <a:spLocks/>
                  </p:cNvSpPr>
                  <p:nvPr/>
                </p:nvSpPr>
                <p:spPr bwMode="auto">
                  <a:xfrm>
                    <a:off x="10440" y="2029"/>
                    <a:ext cx="8" cy="9"/>
                  </a:xfrm>
                  <a:custGeom>
                    <a:avLst/>
                    <a:gdLst>
                      <a:gd name="T0" fmla="*/ 9 w 9"/>
                      <a:gd name="T1" fmla="*/ 8 h 10"/>
                      <a:gd name="T2" fmla="*/ 2 w 9"/>
                      <a:gd name="T3" fmla="*/ 0 h 10"/>
                      <a:gd name="T4" fmla="*/ 0 w 9"/>
                      <a:gd name="T5" fmla="*/ 3 h 10"/>
                      <a:gd name="T6" fmla="*/ 7 w 9"/>
                      <a:gd name="T7" fmla="*/ 10 h 10"/>
                      <a:gd name="T8" fmla="*/ 9 w 9"/>
                      <a:gd name="T9" fmla="*/ 8 h 10"/>
                    </a:gdLst>
                    <a:ahLst/>
                    <a:cxnLst>
                      <a:cxn ang="0">
                        <a:pos x="T0" y="T1"/>
                      </a:cxn>
                      <a:cxn ang="0">
                        <a:pos x="T2" y="T3"/>
                      </a:cxn>
                      <a:cxn ang="0">
                        <a:pos x="T4" y="T5"/>
                      </a:cxn>
                      <a:cxn ang="0">
                        <a:pos x="T6" y="T7"/>
                      </a:cxn>
                      <a:cxn ang="0">
                        <a:pos x="T8" y="T9"/>
                      </a:cxn>
                    </a:cxnLst>
                    <a:rect l="0" t="0" r="r" b="b"/>
                    <a:pathLst>
                      <a:path w="9" h="10">
                        <a:moveTo>
                          <a:pt x="9" y="8"/>
                        </a:moveTo>
                        <a:lnTo>
                          <a:pt x="2" y="0"/>
                        </a:lnTo>
                        <a:lnTo>
                          <a:pt x="0" y="3"/>
                        </a:lnTo>
                        <a:lnTo>
                          <a:pt x="7" y="10"/>
                        </a:lnTo>
                        <a:lnTo>
                          <a:pt x="9" y="8"/>
                        </a:lnTo>
                        <a:close/>
                      </a:path>
                    </a:pathLst>
                  </a:custGeom>
                  <a:solidFill>
                    <a:srgbClr val="01AAE5"/>
                  </a:solidFill>
                  <a:ln>
                    <a:noFill/>
                  </a:ln>
                  <a:extLst/>
                </p:spPr>
                <p:txBody>
                  <a:bodyPr/>
                  <a:lstStyle/>
                  <a:p>
                    <a:pPr eaLnBrk="1" hangingPunct="1">
                      <a:defRPr/>
                    </a:pPr>
                    <a:endParaRPr lang="zh-CN" altLang="en-US" sz="1050"/>
                  </a:p>
                </p:txBody>
              </p:sp>
              <p:sp>
                <p:nvSpPr>
                  <p:cNvPr id="2812" name="Freeform 1563"/>
                  <p:cNvSpPr>
                    <a:spLocks/>
                  </p:cNvSpPr>
                  <p:nvPr/>
                </p:nvSpPr>
                <p:spPr bwMode="auto">
                  <a:xfrm>
                    <a:off x="10390" y="2072"/>
                    <a:ext cx="25" cy="17"/>
                  </a:xfrm>
                  <a:custGeom>
                    <a:avLst/>
                    <a:gdLst>
                      <a:gd name="T0" fmla="*/ 24 w 24"/>
                      <a:gd name="T1" fmla="*/ 21 h 21"/>
                      <a:gd name="T2" fmla="*/ 0 w 24"/>
                      <a:gd name="T3" fmla="*/ 0 h 21"/>
                      <a:gd name="T4" fmla="*/ 0 w 24"/>
                      <a:gd name="T5" fmla="*/ 3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3"/>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2813" name="Freeform 1564"/>
                  <p:cNvSpPr>
                    <a:spLocks/>
                  </p:cNvSpPr>
                  <p:nvPr/>
                </p:nvSpPr>
                <p:spPr bwMode="auto">
                  <a:xfrm>
                    <a:off x="10440" y="2038"/>
                    <a:ext cx="0" cy="17"/>
                  </a:xfrm>
                  <a:custGeom>
                    <a:avLst/>
                    <a:gdLst>
                      <a:gd name="T0" fmla="*/ 12 w 12"/>
                      <a:gd name="T1" fmla="*/ 12 h 12"/>
                      <a:gd name="T2" fmla="*/ 0 w 12"/>
                      <a:gd name="T3" fmla="*/ 0 h 12"/>
                      <a:gd name="T4" fmla="*/ 0 w 12"/>
                      <a:gd name="T5" fmla="*/ 0 h 12"/>
                      <a:gd name="T6" fmla="*/ 12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0" y="0"/>
                        </a:lnTo>
                        <a:lnTo>
                          <a:pt x="0" y="0"/>
                        </a:lnTo>
                        <a:lnTo>
                          <a:pt x="12" y="12"/>
                        </a:lnTo>
                        <a:lnTo>
                          <a:pt x="12" y="12"/>
                        </a:lnTo>
                        <a:close/>
                      </a:path>
                    </a:pathLst>
                  </a:custGeom>
                  <a:solidFill>
                    <a:srgbClr val="01AAE5"/>
                  </a:solidFill>
                  <a:ln>
                    <a:noFill/>
                  </a:ln>
                  <a:extLst/>
                </p:spPr>
                <p:txBody>
                  <a:bodyPr/>
                  <a:lstStyle/>
                  <a:p>
                    <a:pPr eaLnBrk="1" hangingPunct="1">
                      <a:defRPr/>
                    </a:pPr>
                    <a:endParaRPr lang="zh-CN" altLang="en-US" sz="1050"/>
                  </a:p>
                </p:txBody>
              </p:sp>
              <p:sp>
                <p:nvSpPr>
                  <p:cNvPr id="2814" name="Freeform 1565"/>
                  <p:cNvSpPr>
                    <a:spLocks/>
                  </p:cNvSpPr>
                  <p:nvPr/>
                </p:nvSpPr>
                <p:spPr bwMode="auto">
                  <a:xfrm>
                    <a:off x="10448" y="2029"/>
                    <a:ext cx="8" cy="9"/>
                  </a:xfrm>
                  <a:custGeom>
                    <a:avLst/>
                    <a:gdLst>
                      <a:gd name="T0" fmla="*/ 7 w 7"/>
                      <a:gd name="T1" fmla="*/ 7 h 7"/>
                      <a:gd name="T2" fmla="*/ 3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815" name="Freeform 1566"/>
                  <p:cNvSpPr>
                    <a:spLocks/>
                  </p:cNvSpPr>
                  <p:nvPr/>
                </p:nvSpPr>
                <p:spPr bwMode="auto">
                  <a:xfrm>
                    <a:off x="10440" y="2029"/>
                    <a:ext cx="8"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816" name="Freeform 1567"/>
                  <p:cNvSpPr>
                    <a:spLocks/>
                  </p:cNvSpPr>
                  <p:nvPr/>
                </p:nvSpPr>
                <p:spPr bwMode="auto">
                  <a:xfrm>
                    <a:off x="10423" y="2046"/>
                    <a:ext cx="17" cy="17"/>
                  </a:xfrm>
                  <a:custGeom>
                    <a:avLst/>
                    <a:gdLst>
                      <a:gd name="T0" fmla="*/ 14 w 14"/>
                      <a:gd name="T1" fmla="*/ 14 h 14"/>
                      <a:gd name="T2" fmla="*/ 0 w 14"/>
                      <a:gd name="T3" fmla="*/ 0 h 14"/>
                      <a:gd name="T4" fmla="*/ 0 w 14"/>
                      <a:gd name="T5" fmla="*/ 0 h 14"/>
                      <a:gd name="T6" fmla="*/ 12 w 14"/>
                      <a:gd name="T7" fmla="*/ 14 h 14"/>
                      <a:gd name="T8" fmla="*/ 14 w 14"/>
                      <a:gd name="T9" fmla="*/ 14 h 14"/>
                    </a:gdLst>
                    <a:ahLst/>
                    <a:cxnLst>
                      <a:cxn ang="0">
                        <a:pos x="T0" y="T1"/>
                      </a:cxn>
                      <a:cxn ang="0">
                        <a:pos x="T2" y="T3"/>
                      </a:cxn>
                      <a:cxn ang="0">
                        <a:pos x="T4" y="T5"/>
                      </a:cxn>
                      <a:cxn ang="0">
                        <a:pos x="T6" y="T7"/>
                      </a:cxn>
                      <a:cxn ang="0">
                        <a:pos x="T8" y="T9"/>
                      </a:cxn>
                    </a:cxnLst>
                    <a:rect l="0" t="0" r="r" b="b"/>
                    <a:pathLst>
                      <a:path w="14" h="14">
                        <a:moveTo>
                          <a:pt x="14" y="14"/>
                        </a:moveTo>
                        <a:lnTo>
                          <a:pt x="0" y="0"/>
                        </a:lnTo>
                        <a:lnTo>
                          <a:pt x="0" y="0"/>
                        </a:lnTo>
                        <a:lnTo>
                          <a:pt x="12" y="14"/>
                        </a:lnTo>
                        <a:lnTo>
                          <a:pt x="14" y="14"/>
                        </a:lnTo>
                        <a:close/>
                      </a:path>
                    </a:pathLst>
                  </a:custGeom>
                  <a:solidFill>
                    <a:srgbClr val="01AAE5"/>
                  </a:solidFill>
                  <a:ln>
                    <a:noFill/>
                  </a:ln>
                  <a:extLst/>
                </p:spPr>
                <p:txBody>
                  <a:bodyPr/>
                  <a:lstStyle/>
                  <a:p>
                    <a:pPr eaLnBrk="1" hangingPunct="1">
                      <a:defRPr/>
                    </a:pPr>
                    <a:endParaRPr lang="zh-CN" altLang="en-US" sz="1050"/>
                  </a:p>
                </p:txBody>
              </p:sp>
              <p:sp>
                <p:nvSpPr>
                  <p:cNvPr id="2817" name="Freeform 1568"/>
                  <p:cNvSpPr>
                    <a:spLocks/>
                  </p:cNvSpPr>
                  <p:nvPr/>
                </p:nvSpPr>
                <p:spPr bwMode="auto">
                  <a:xfrm>
                    <a:off x="10448" y="2029"/>
                    <a:ext cx="8"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2818" name="Freeform 1569"/>
                  <p:cNvSpPr>
                    <a:spLocks/>
                  </p:cNvSpPr>
                  <p:nvPr/>
                </p:nvSpPr>
                <p:spPr bwMode="auto">
                  <a:xfrm>
                    <a:off x="10440" y="2038"/>
                    <a:ext cx="0" cy="17"/>
                  </a:xfrm>
                  <a:custGeom>
                    <a:avLst/>
                    <a:gdLst>
                      <a:gd name="T0" fmla="*/ 10 w 10"/>
                      <a:gd name="T1" fmla="*/ 9 h 9"/>
                      <a:gd name="T2" fmla="*/ 0 w 10"/>
                      <a:gd name="T3" fmla="*/ 0 h 9"/>
                      <a:gd name="T4" fmla="*/ 0 w 10"/>
                      <a:gd name="T5" fmla="*/ 0 h 9"/>
                      <a:gd name="T6" fmla="*/ 10 w 10"/>
                      <a:gd name="T7" fmla="*/ 9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0"/>
                        </a:lnTo>
                        <a:lnTo>
                          <a:pt x="0" y="0"/>
                        </a:lnTo>
                        <a:lnTo>
                          <a:pt x="10" y="9"/>
                        </a:lnTo>
                        <a:lnTo>
                          <a:pt x="10" y="9"/>
                        </a:lnTo>
                        <a:close/>
                      </a:path>
                    </a:pathLst>
                  </a:custGeom>
                  <a:solidFill>
                    <a:srgbClr val="01AAE5"/>
                  </a:solidFill>
                  <a:ln>
                    <a:noFill/>
                  </a:ln>
                  <a:extLst/>
                </p:spPr>
                <p:txBody>
                  <a:bodyPr/>
                  <a:lstStyle/>
                  <a:p>
                    <a:pPr eaLnBrk="1" hangingPunct="1">
                      <a:defRPr/>
                    </a:pPr>
                    <a:endParaRPr lang="zh-CN" altLang="en-US" sz="1050"/>
                  </a:p>
                </p:txBody>
              </p:sp>
              <p:sp>
                <p:nvSpPr>
                  <p:cNvPr id="2819" name="Freeform 1570"/>
                  <p:cNvSpPr>
                    <a:spLocks/>
                  </p:cNvSpPr>
                  <p:nvPr/>
                </p:nvSpPr>
                <p:spPr bwMode="auto">
                  <a:xfrm>
                    <a:off x="10398" y="2064"/>
                    <a:ext cx="25" cy="26"/>
                  </a:xfrm>
                  <a:custGeom>
                    <a:avLst/>
                    <a:gdLst>
                      <a:gd name="T0" fmla="*/ 24 w 24"/>
                      <a:gd name="T1" fmla="*/ 21 h 21"/>
                      <a:gd name="T2" fmla="*/ 0 w 24"/>
                      <a:gd name="T3" fmla="*/ 0 h 21"/>
                      <a:gd name="T4" fmla="*/ 0 w 24"/>
                      <a:gd name="T5" fmla="*/ 0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0"/>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2820" name="Freeform 1571"/>
                  <p:cNvSpPr>
                    <a:spLocks/>
                  </p:cNvSpPr>
                  <p:nvPr/>
                </p:nvSpPr>
                <p:spPr bwMode="auto">
                  <a:xfrm>
                    <a:off x="10398" y="2064"/>
                    <a:ext cx="25" cy="17"/>
                  </a:xfrm>
                  <a:custGeom>
                    <a:avLst/>
                    <a:gdLst>
                      <a:gd name="T0" fmla="*/ 24 w 24"/>
                      <a:gd name="T1" fmla="*/ 22 h 22"/>
                      <a:gd name="T2" fmla="*/ 3 w 24"/>
                      <a:gd name="T3" fmla="*/ 0 h 22"/>
                      <a:gd name="T4" fmla="*/ 0 w 24"/>
                      <a:gd name="T5" fmla="*/ 3 h 22"/>
                      <a:gd name="T6" fmla="*/ 24 w 24"/>
                      <a:gd name="T7" fmla="*/ 22 h 22"/>
                      <a:gd name="T8" fmla="*/ 24 w 24"/>
                      <a:gd name="T9" fmla="*/ 22 h 22"/>
                    </a:gdLst>
                    <a:ahLst/>
                    <a:cxnLst>
                      <a:cxn ang="0">
                        <a:pos x="T0" y="T1"/>
                      </a:cxn>
                      <a:cxn ang="0">
                        <a:pos x="T2" y="T3"/>
                      </a:cxn>
                      <a:cxn ang="0">
                        <a:pos x="T4" y="T5"/>
                      </a:cxn>
                      <a:cxn ang="0">
                        <a:pos x="T6" y="T7"/>
                      </a:cxn>
                      <a:cxn ang="0">
                        <a:pos x="T8" y="T9"/>
                      </a:cxn>
                    </a:cxnLst>
                    <a:rect l="0" t="0" r="r" b="b"/>
                    <a:pathLst>
                      <a:path w="24" h="22">
                        <a:moveTo>
                          <a:pt x="24" y="22"/>
                        </a:moveTo>
                        <a:lnTo>
                          <a:pt x="3" y="0"/>
                        </a:lnTo>
                        <a:lnTo>
                          <a:pt x="0" y="3"/>
                        </a:lnTo>
                        <a:lnTo>
                          <a:pt x="24" y="22"/>
                        </a:lnTo>
                        <a:lnTo>
                          <a:pt x="24" y="22"/>
                        </a:lnTo>
                        <a:close/>
                      </a:path>
                    </a:pathLst>
                  </a:custGeom>
                  <a:solidFill>
                    <a:srgbClr val="01AAE5"/>
                  </a:solidFill>
                  <a:ln>
                    <a:noFill/>
                  </a:ln>
                  <a:extLst/>
                </p:spPr>
                <p:txBody>
                  <a:bodyPr/>
                  <a:lstStyle/>
                  <a:p>
                    <a:pPr eaLnBrk="1" hangingPunct="1">
                      <a:defRPr/>
                    </a:pPr>
                    <a:endParaRPr lang="zh-CN" altLang="en-US" sz="1050"/>
                  </a:p>
                </p:txBody>
              </p:sp>
              <p:sp>
                <p:nvSpPr>
                  <p:cNvPr id="2821" name="Freeform 1572"/>
                  <p:cNvSpPr>
                    <a:spLocks/>
                  </p:cNvSpPr>
                  <p:nvPr/>
                </p:nvSpPr>
                <p:spPr bwMode="auto">
                  <a:xfrm>
                    <a:off x="10348" y="2151"/>
                    <a:ext cx="0" cy="9"/>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2822" name="Freeform 1573"/>
                  <p:cNvSpPr>
                    <a:spLocks/>
                  </p:cNvSpPr>
                  <p:nvPr/>
                </p:nvSpPr>
                <p:spPr bwMode="auto">
                  <a:xfrm>
                    <a:off x="10415" y="2046"/>
                    <a:ext cx="25" cy="17"/>
                  </a:xfrm>
                  <a:custGeom>
                    <a:avLst/>
                    <a:gdLst>
                      <a:gd name="T0" fmla="*/ 17 w 17"/>
                      <a:gd name="T1" fmla="*/ 16 h 16"/>
                      <a:gd name="T2" fmla="*/ 0 w 17"/>
                      <a:gd name="T3" fmla="*/ 0 h 16"/>
                      <a:gd name="T4" fmla="*/ 0 w 17"/>
                      <a:gd name="T5" fmla="*/ 0 h 16"/>
                      <a:gd name="T6" fmla="*/ 14 w 17"/>
                      <a:gd name="T7" fmla="*/ 16 h 16"/>
                      <a:gd name="T8" fmla="*/ 17 w 17"/>
                      <a:gd name="T9" fmla="*/ 16 h 16"/>
                    </a:gdLst>
                    <a:ahLst/>
                    <a:cxnLst>
                      <a:cxn ang="0">
                        <a:pos x="T0" y="T1"/>
                      </a:cxn>
                      <a:cxn ang="0">
                        <a:pos x="T2" y="T3"/>
                      </a:cxn>
                      <a:cxn ang="0">
                        <a:pos x="T4" y="T5"/>
                      </a:cxn>
                      <a:cxn ang="0">
                        <a:pos x="T6" y="T7"/>
                      </a:cxn>
                      <a:cxn ang="0">
                        <a:pos x="T8" y="T9"/>
                      </a:cxn>
                    </a:cxnLst>
                    <a:rect l="0" t="0" r="r" b="b"/>
                    <a:pathLst>
                      <a:path w="17" h="16">
                        <a:moveTo>
                          <a:pt x="17" y="16"/>
                        </a:moveTo>
                        <a:lnTo>
                          <a:pt x="0" y="0"/>
                        </a:lnTo>
                        <a:lnTo>
                          <a:pt x="0" y="0"/>
                        </a:lnTo>
                        <a:lnTo>
                          <a:pt x="14" y="16"/>
                        </a:lnTo>
                        <a:lnTo>
                          <a:pt x="17" y="16"/>
                        </a:lnTo>
                        <a:close/>
                      </a:path>
                    </a:pathLst>
                  </a:custGeom>
                  <a:solidFill>
                    <a:srgbClr val="01AAE5"/>
                  </a:solidFill>
                  <a:ln>
                    <a:noFill/>
                  </a:ln>
                  <a:extLst/>
                </p:spPr>
                <p:txBody>
                  <a:bodyPr/>
                  <a:lstStyle/>
                  <a:p>
                    <a:pPr eaLnBrk="1" hangingPunct="1">
                      <a:defRPr/>
                    </a:pPr>
                    <a:endParaRPr lang="zh-CN" altLang="en-US" sz="1050"/>
                  </a:p>
                </p:txBody>
              </p:sp>
              <p:sp>
                <p:nvSpPr>
                  <p:cNvPr id="2823" name="Freeform 1574"/>
                  <p:cNvSpPr>
                    <a:spLocks/>
                  </p:cNvSpPr>
                  <p:nvPr/>
                </p:nvSpPr>
                <p:spPr bwMode="auto">
                  <a:xfrm>
                    <a:off x="10415" y="2055"/>
                    <a:ext cx="25" cy="9"/>
                  </a:xfrm>
                  <a:custGeom>
                    <a:avLst/>
                    <a:gdLst>
                      <a:gd name="T0" fmla="*/ 18 w 18"/>
                      <a:gd name="T1" fmla="*/ 17 h 19"/>
                      <a:gd name="T2" fmla="*/ 0 w 18"/>
                      <a:gd name="T3" fmla="*/ 0 h 19"/>
                      <a:gd name="T4" fmla="*/ 0 w 18"/>
                      <a:gd name="T5" fmla="*/ 2 h 19"/>
                      <a:gd name="T6" fmla="*/ 16 w 18"/>
                      <a:gd name="T7" fmla="*/ 19 h 19"/>
                      <a:gd name="T8" fmla="*/ 18 w 18"/>
                      <a:gd name="T9" fmla="*/ 17 h 19"/>
                    </a:gdLst>
                    <a:ahLst/>
                    <a:cxnLst>
                      <a:cxn ang="0">
                        <a:pos x="T0" y="T1"/>
                      </a:cxn>
                      <a:cxn ang="0">
                        <a:pos x="T2" y="T3"/>
                      </a:cxn>
                      <a:cxn ang="0">
                        <a:pos x="T4" y="T5"/>
                      </a:cxn>
                      <a:cxn ang="0">
                        <a:pos x="T6" y="T7"/>
                      </a:cxn>
                      <a:cxn ang="0">
                        <a:pos x="T8" y="T9"/>
                      </a:cxn>
                    </a:cxnLst>
                    <a:rect l="0" t="0" r="r" b="b"/>
                    <a:pathLst>
                      <a:path w="18" h="19">
                        <a:moveTo>
                          <a:pt x="18" y="17"/>
                        </a:moveTo>
                        <a:lnTo>
                          <a:pt x="0" y="0"/>
                        </a:lnTo>
                        <a:lnTo>
                          <a:pt x="0" y="2"/>
                        </a:lnTo>
                        <a:lnTo>
                          <a:pt x="16" y="19"/>
                        </a:lnTo>
                        <a:lnTo>
                          <a:pt x="18" y="17"/>
                        </a:lnTo>
                        <a:close/>
                      </a:path>
                    </a:pathLst>
                  </a:custGeom>
                  <a:solidFill>
                    <a:srgbClr val="01AAE5"/>
                  </a:solidFill>
                  <a:ln>
                    <a:noFill/>
                  </a:ln>
                  <a:extLst/>
                </p:spPr>
                <p:txBody>
                  <a:bodyPr/>
                  <a:lstStyle/>
                  <a:p>
                    <a:pPr eaLnBrk="1" hangingPunct="1">
                      <a:defRPr/>
                    </a:pPr>
                    <a:endParaRPr lang="zh-CN" altLang="en-US" sz="1050"/>
                  </a:p>
                </p:txBody>
              </p:sp>
              <p:sp>
                <p:nvSpPr>
                  <p:cNvPr id="2824" name="Freeform 1575"/>
                  <p:cNvSpPr>
                    <a:spLocks/>
                  </p:cNvSpPr>
                  <p:nvPr/>
                </p:nvSpPr>
                <p:spPr bwMode="auto">
                  <a:xfrm>
                    <a:off x="10465" y="2020"/>
                    <a:ext cx="0"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2825" name="Freeform 1576"/>
                  <p:cNvSpPr>
                    <a:spLocks/>
                  </p:cNvSpPr>
                  <p:nvPr/>
                </p:nvSpPr>
                <p:spPr bwMode="auto">
                  <a:xfrm>
                    <a:off x="10415" y="2064"/>
                    <a:ext cx="25" cy="17"/>
                  </a:xfrm>
                  <a:custGeom>
                    <a:avLst/>
                    <a:gdLst>
                      <a:gd name="T0" fmla="*/ 21 w 21"/>
                      <a:gd name="T1" fmla="*/ 19 h 21"/>
                      <a:gd name="T2" fmla="*/ 0 w 21"/>
                      <a:gd name="T3" fmla="*/ 0 h 21"/>
                      <a:gd name="T4" fmla="*/ 0 w 21"/>
                      <a:gd name="T5" fmla="*/ 0 h 21"/>
                      <a:gd name="T6" fmla="*/ 21 w 21"/>
                      <a:gd name="T7" fmla="*/ 21 h 21"/>
                      <a:gd name="T8" fmla="*/ 21 w 21"/>
                      <a:gd name="T9" fmla="*/ 19 h 21"/>
                    </a:gdLst>
                    <a:ahLst/>
                    <a:cxnLst>
                      <a:cxn ang="0">
                        <a:pos x="T0" y="T1"/>
                      </a:cxn>
                      <a:cxn ang="0">
                        <a:pos x="T2" y="T3"/>
                      </a:cxn>
                      <a:cxn ang="0">
                        <a:pos x="T4" y="T5"/>
                      </a:cxn>
                      <a:cxn ang="0">
                        <a:pos x="T6" y="T7"/>
                      </a:cxn>
                      <a:cxn ang="0">
                        <a:pos x="T8" y="T9"/>
                      </a:cxn>
                    </a:cxnLst>
                    <a:rect l="0" t="0" r="r" b="b"/>
                    <a:pathLst>
                      <a:path w="21" h="21">
                        <a:moveTo>
                          <a:pt x="21" y="19"/>
                        </a:moveTo>
                        <a:lnTo>
                          <a:pt x="0" y="0"/>
                        </a:lnTo>
                        <a:lnTo>
                          <a:pt x="0" y="0"/>
                        </a:lnTo>
                        <a:lnTo>
                          <a:pt x="21" y="21"/>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2826" name="Freeform 1577"/>
                  <p:cNvSpPr>
                    <a:spLocks/>
                  </p:cNvSpPr>
                  <p:nvPr/>
                </p:nvSpPr>
                <p:spPr bwMode="auto">
                  <a:xfrm>
                    <a:off x="10390" y="2064"/>
                    <a:ext cx="25" cy="26"/>
                  </a:xfrm>
                  <a:custGeom>
                    <a:avLst/>
                    <a:gdLst>
                      <a:gd name="T0" fmla="*/ 24 w 24"/>
                      <a:gd name="T1" fmla="*/ 19 h 19"/>
                      <a:gd name="T2" fmla="*/ 3 w 24"/>
                      <a:gd name="T3" fmla="*/ 0 h 19"/>
                      <a:gd name="T4" fmla="*/ 0 w 24"/>
                      <a:gd name="T5" fmla="*/ 0 h 19"/>
                      <a:gd name="T6" fmla="*/ 24 w 24"/>
                      <a:gd name="T7" fmla="*/ 19 h 19"/>
                      <a:gd name="T8" fmla="*/ 24 w 24"/>
                      <a:gd name="T9" fmla="*/ 19 h 19"/>
                    </a:gdLst>
                    <a:ahLst/>
                    <a:cxnLst>
                      <a:cxn ang="0">
                        <a:pos x="T0" y="T1"/>
                      </a:cxn>
                      <a:cxn ang="0">
                        <a:pos x="T2" y="T3"/>
                      </a:cxn>
                      <a:cxn ang="0">
                        <a:pos x="T4" y="T5"/>
                      </a:cxn>
                      <a:cxn ang="0">
                        <a:pos x="T6" y="T7"/>
                      </a:cxn>
                      <a:cxn ang="0">
                        <a:pos x="T8" y="T9"/>
                      </a:cxn>
                    </a:cxnLst>
                    <a:rect l="0" t="0" r="r" b="b"/>
                    <a:pathLst>
                      <a:path w="24" h="19">
                        <a:moveTo>
                          <a:pt x="24" y="19"/>
                        </a:moveTo>
                        <a:lnTo>
                          <a:pt x="3" y="0"/>
                        </a:lnTo>
                        <a:lnTo>
                          <a:pt x="0" y="0"/>
                        </a:lnTo>
                        <a:lnTo>
                          <a:pt x="24" y="19"/>
                        </a:lnTo>
                        <a:lnTo>
                          <a:pt x="24" y="19"/>
                        </a:lnTo>
                        <a:close/>
                      </a:path>
                    </a:pathLst>
                  </a:custGeom>
                  <a:solidFill>
                    <a:srgbClr val="01AAE5"/>
                  </a:solidFill>
                  <a:ln>
                    <a:noFill/>
                  </a:ln>
                  <a:extLst/>
                </p:spPr>
                <p:txBody>
                  <a:bodyPr/>
                  <a:lstStyle/>
                  <a:p>
                    <a:pPr eaLnBrk="1" hangingPunct="1">
                      <a:defRPr/>
                    </a:pPr>
                    <a:endParaRPr lang="zh-CN" altLang="en-US" sz="1050"/>
                  </a:p>
                </p:txBody>
              </p:sp>
              <p:sp>
                <p:nvSpPr>
                  <p:cNvPr id="2827" name="Freeform 1578"/>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close/>
                      </a:path>
                    </a:pathLst>
                  </a:custGeom>
                  <a:solidFill>
                    <a:srgbClr val="01AAE5"/>
                  </a:solidFill>
                  <a:ln>
                    <a:noFill/>
                  </a:ln>
                  <a:extLst/>
                </p:spPr>
                <p:txBody>
                  <a:bodyPr/>
                  <a:lstStyle/>
                  <a:p>
                    <a:pPr eaLnBrk="1" hangingPunct="1">
                      <a:defRPr/>
                    </a:pPr>
                    <a:endParaRPr lang="zh-CN" altLang="en-US" sz="1050"/>
                  </a:p>
                </p:txBody>
              </p:sp>
              <p:sp>
                <p:nvSpPr>
                  <p:cNvPr id="2828" name="Freeform 1579"/>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path>
                    </a:pathLst>
                  </a:custGeom>
                  <a:noFill/>
                  <a:ln>
                    <a:noFill/>
                  </a:ln>
                  <a:extLst/>
                </p:spPr>
                <p:txBody>
                  <a:bodyPr/>
                  <a:lstStyle/>
                  <a:p>
                    <a:pPr eaLnBrk="1" hangingPunct="1">
                      <a:defRPr/>
                    </a:pPr>
                    <a:endParaRPr lang="zh-CN" altLang="en-US" sz="1050"/>
                  </a:p>
                </p:txBody>
              </p:sp>
              <p:sp>
                <p:nvSpPr>
                  <p:cNvPr id="2829" name="Freeform 1580"/>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close/>
                      </a:path>
                    </a:pathLst>
                  </a:custGeom>
                  <a:solidFill>
                    <a:srgbClr val="01AAE5"/>
                  </a:solidFill>
                  <a:ln>
                    <a:noFill/>
                  </a:ln>
                  <a:extLst/>
                </p:spPr>
                <p:txBody>
                  <a:bodyPr/>
                  <a:lstStyle/>
                  <a:p>
                    <a:pPr eaLnBrk="1" hangingPunct="1">
                      <a:defRPr/>
                    </a:pPr>
                    <a:endParaRPr lang="zh-CN" altLang="en-US" sz="1050"/>
                  </a:p>
                </p:txBody>
              </p:sp>
              <p:sp>
                <p:nvSpPr>
                  <p:cNvPr id="2830" name="Freeform 1581"/>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path>
                    </a:pathLst>
                  </a:custGeom>
                  <a:noFill/>
                  <a:ln>
                    <a:noFill/>
                  </a:ln>
                  <a:extLst/>
                </p:spPr>
                <p:txBody>
                  <a:bodyPr/>
                  <a:lstStyle/>
                  <a:p>
                    <a:pPr eaLnBrk="1" hangingPunct="1">
                      <a:defRPr/>
                    </a:pPr>
                    <a:endParaRPr lang="zh-CN" altLang="en-US" sz="1050"/>
                  </a:p>
                </p:txBody>
              </p:sp>
              <p:sp>
                <p:nvSpPr>
                  <p:cNvPr id="2831" name="Freeform 1582"/>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close/>
                      </a:path>
                    </a:pathLst>
                  </a:custGeom>
                  <a:solidFill>
                    <a:srgbClr val="01AAE5"/>
                  </a:solidFill>
                  <a:ln>
                    <a:noFill/>
                  </a:ln>
                  <a:extLst/>
                </p:spPr>
                <p:txBody>
                  <a:bodyPr/>
                  <a:lstStyle/>
                  <a:p>
                    <a:pPr eaLnBrk="1" hangingPunct="1">
                      <a:defRPr/>
                    </a:pPr>
                    <a:endParaRPr lang="zh-CN" altLang="en-US" sz="1050"/>
                  </a:p>
                </p:txBody>
              </p:sp>
              <p:sp>
                <p:nvSpPr>
                  <p:cNvPr id="2832" name="Freeform 1583"/>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path>
                    </a:pathLst>
                  </a:custGeom>
                  <a:noFill/>
                  <a:ln>
                    <a:noFill/>
                  </a:ln>
                  <a:extLst/>
                </p:spPr>
                <p:txBody>
                  <a:bodyPr/>
                  <a:lstStyle/>
                  <a:p>
                    <a:pPr eaLnBrk="1" hangingPunct="1">
                      <a:defRPr/>
                    </a:pPr>
                    <a:endParaRPr lang="zh-CN" altLang="en-US" sz="1050"/>
                  </a:p>
                </p:txBody>
              </p:sp>
              <p:sp>
                <p:nvSpPr>
                  <p:cNvPr id="2833" name="Freeform 1584"/>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close/>
                      </a:path>
                    </a:pathLst>
                  </a:custGeom>
                  <a:solidFill>
                    <a:srgbClr val="01AAE5"/>
                  </a:solidFill>
                  <a:ln>
                    <a:noFill/>
                  </a:ln>
                  <a:extLst/>
                </p:spPr>
                <p:txBody>
                  <a:bodyPr/>
                  <a:lstStyle/>
                  <a:p>
                    <a:pPr eaLnBrk="1" hangingPunct="1">
                      <a:defRPr/>
                    </a:pPr>
                    <a:endParaRPr lang="zh-CN" altLang="en-US" sz="1050"/>
                  </a:p>
                </p:txBody>
              </p:sp>
              <p:sp>
                <p:nvSpPr>
                  <p:cNvPr id="2834" name="Freeform 1585"/>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path>
                    </a:pathLst>
                  </a:custGeom>
                  <a:noFill/>
                  <a:ln>
                    <a:noFill/>
                  </a:ln>
                  <a:extLst/>
                </p:spPr>
                <p:txBody>
                  <a:bodyPr/>
                  <a:lstStyle/>
                  <a:p>
                    <a:pPr eaLnBrk="1" hangingPunct="1">
                      <a:defRPr/>
                    </a:pPr>
                    <a:endParaRPr lang="zh-CN" altLang="en-US" sz="1050"/>
                  </a:p>
                </p:txBody>
              </p:sp>
              <p:sp>
                <p:nvSpPr>
                  <p:cNvPr id="2835" name="Freeform 1586"/>
                  <p:cNvSpPr>
                    <a:spLocks/>
                  </p:cNvSpPr>
                  <p:nvPr/>
                </p:nvSpPr>
                <p:spPr bwMode="auto">
                  <a:xfrm>
                    <a:off x="10848" y="1828"/>
                    <a:ext cx="8" cy="26"/>
                  </a:xfrm>
                  <a:custGeom>
                    <a:avLst/>
                    <a:gdLst>
                      <a:gd name="T0" fmla="*/ 5 w 5"/>
                      <a:gd name="T1" fmla="*/ 18 h 18"/>
                      <a:gd name="T2" fmla="*/ 3 w 5"/>
                      <a:gd name="T3" fmla="*/ 0 h 18"/>
                      <a:gd name="T4" fmla="*/ 0 w 5"/>
                      <a:gd name="T5" fmla="*/ 0 h 18"/>
                      <a:gd name="T6" fmla="*/ 3 w 5"/>
                      <a:gd name="T7" fmla="*/ 18 h 18"/>
                      <a:gd name="T8" fmla="*/ 5 w 5"/>
                      <a:gd name="T9" fmla="*/ 18 h 18"/>
                    </a:gdLst>
                    <a:ahLst/>
                    <a:cxnLst>
                      <a:cxn ang="0">
                        <a:pos x="T0" y="T1"/>
                      </a:cxn>
                      <a:cxn ang="0">
                        <a:pos x="T2" y="T3"/>
                      </a:cxn>
                      <a:cxn ang="0">
                        <a:pos x="T4" y="T5"/>
                      </a:cxn>
                      <a:cxn ang="0">
                        <a:pos x="T6" y="T7"/>
                      </a:cxn>
                      <a:cxn ang="0">
                        <a:pos x="T8" y="T9"/>
                      </a:cxn>
                    </a:cxnLst>
                    <a:rect l="0" t="0" r="r" b="b"/>
                    <a:pathLst>
                      <a:path w="5" h="18">
                        <a:moveTo>
                          <a:pt x="5" y="18"/>
                        </a:moveTo>
                        <a:lnTo>
                          <a:pt x="3" y="0"/>
                        </a:lnTo>
                        <a:lnTo>
                          <a:pt x="0" y="0"/>
                        </a:lnTo>
                        <a:lnTo>
                          <a:pt x="3" y="18"/>
                        </a:lnTo>
                        <a:lnTo>
                          <a:pt x="5" y="18"/>
                        </a:lnTo>
                        <a:close/>
                      </a:path>
                    </a:pathLst>
                  </a:custGeom>
                  <a:solidFill>
                    <a:srgbClr val="01AAE5"/>
                  </a:solidFill>
                  <a:ln>
                    <a:noFill/>
                  </a:ln>
                  <a:extLst/>
                </p:spPr>
                <p:txBody>
                  <a:bodyPr/>
                  <a:lstStyle/>
                  <a:p>
                    <a:pPr eaLnBrk="1" hangingPunct="1">
                      <a:defRPr/>
                    </a:pPr>
                    <a:endParaRPr lang="zh-CN" altLang="en-US" sz="1050"/>
                  </a:p>
                </p:txBody>
              </p:sp>
              <p:sp>
                <p:nvSpPr>
                  <p:cNvPr id="2836" name="Freeform 1587"/>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2837" name="Freeform 1588"/>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2838" name="Freeform 1589"/>
                  <p:cNvSpPr>
                    <a:spLocks/>
                  </p:cNvSpPr>
                  <p:nvPr/>
                </p:nvSpPr>
                <p:spPr bwMode="auto">
                  <a:xfrm>
                    <a:off x="10856" y="1828"/>
                    <a:ext cx="0" cy="26"/>
                  </a:xfrm>
                  <a:custGeom>
                    <a:avLst/>
                    <a:gdLst>
                      <a:gd name="T0" fmla="*/ 2 w 2"/>
                      <a:gd name="T1" fmla="*/ 16 h 16"/>
                      <a:gd name="T2" fmla="*/ 0 w 2"/>
                      <a:gd name="T3" fmla="*/ 0 h 16"/>
                      <a:gd name="T4" fmla="*/ 0 w 2"/>
                      <a:gd name="T5" fmla="*/ 0 h 16"/>
                      <a:gd name="T6" fmla="*/ 2 w 2"/>
                      <a:gd name="T7" fmla="*/ 16 h 16"/>
                      <a:gd name="T8" fmla="*/ 2 w 2"/>
                      <a:gd name="T9" fmla="*/ 16 h 16"/>
                    </a:gdLst>
                    <a:ahLst/>
                    <a:cxnLst>
                      <a:cxn ang="0">
                        <a:pos x="T0" y="T1"/>
                      </a:cxn>
                      <a:cxn ang="0">
                        <a:pos x="T2" y="T3"/>
                      </a:cxn>
                      <a:cxn ang="0">
                        <a:pos x="T4" y="T5"/>
                      </a:cxn>
                      <a:cxn ang="0">
                        <a:pos x="T6" y="T7"/>
                      </a:cxn>
                      <a:cxn ang="0">
                        <a:pos x="T8" y="T9"/>
                      </a:cxn>
                    </a:cxnLst>
                    <a:rect l="0" t="0" r="r" b="b"/>
                    <a:pathLst>
                      <a:path w="2" h="16">
                        <a:moveTo>
                          <a:pt x="2" y="16"/>
                        </a:moveTo>
                        <a:lnTo>
                          <a:pt x="0" y="0"/>
                        </a:lnTo>
                        <a:lnTo>
                          <a:pt x="0" y="0"/>
                        </a:lnTo>
                        <a:lnTo>
                          <a:pt x="2"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2839" name="Freeform 1590"/>
                  <p:cNvSpPr>
                    <a:spLocks/>
                  </p:cNvSpPr>
                  <p:nvPr/>
                </p:nvSpPr>
                <p:spPr bwMode="auto">
                  <a:xfrm>
                    <a:off x="10856" y="1828"/>
                    <a:ext cx="0" cy="26"/>
                  </a:xfrm>
                  <a:custGeom>
                    <a:avLst/>
                    <a:gdLst>
                      <a:gd name="T0" fmla="*/ 3 w 3"/>
                      <a:gd name="T1" fmla="*/ 16 h 16"/>
                      <a:gd name="T2" fmla="*/ 0 w 3"/>
                      <a:gd name="T3" fmla="*/ 0 h 16"/>
                      <a:gd name="T4" fmla="*/ 0 w 3"/>
                      <a:gd name="T5" fmla="*/ 0 h 16"/>
                      <a:gd name="T6" fmla="*/ 3 w 3"/>
                      <a:gd name="T7" fmla="*/ 16 h 16"/>
                      <a:gd name="T8" fmla="*/ 3 w 3"/>
                      <a:gd name="T9" fmla="*/ 16 h 16"/>
                    </a:gdLst>
                    <a:ahLst/>
                    <a:cxnLst>
                      <a:cxn ang="0">
                        <a:pos x="T0" y="T1"/>
                      </a:cxn>
                      <a:cxn ang="0">
                        <a:pos x="T2" y="T3"/>
                      </a:cxn>
                      <a:cxn ang="0">
                        <a:pos x="T4" y="T5"/>
                      </a:cxn>
                      <a:cxn ang="0">
                        <a:pos x="T6" y="T7"/>
                      </a:cxn>
                      <a:cxn ang="0">
                        <a:pos x="T8" y="T9"/>
                      </a:cxn>
                    </a:cxnLst>
                    <a:rect l="0" t="0" r="r" b="b"/>
                    <a:pathLst>
                      <a:path w="3" h="16">
                        <a:moveTo>
                          <a:pt x="3" y="16"/>
                        </a:moveTo>
                        <a:lnTo>
                          <a:pt x="0" y="0"/>
                        </a:lnTo>
                        <a:lnTo>
                          <a:pt x="0" y="0"/>
                        </a:lnTo>
                        <a:lnTo>
                          <a:pt x="3" y="16"/>
                        </a:lnTo>
                        <a:lnTo>
                          <a:pt x="3" y="16"/>
                        </a:lnTo>
                        <a:close/>
                      </a:path>
                    </a:pathLst>
                  </a:custGeom>
                  <a:solidFill>
                    <a:srgbClr val="01AAE5"/>
                  </a:solidFill>
                  <a:ln>
                    <a:noFill/>
                  </a:ln>
                  <a:extLst/>
                </p:spPr>
                <p:txBody>
                  <a:bodyPr/>
                  <a:lstStyle/>
                  <a:p>
                    <a:pPr eaLnBrk="1" hangingPunct="1">
                      <a:defRPr/>
                    </a:pPr>
                    <a:endParaRPr lang="zh-CN" altLang="en-US" sz="1050"/>
                  </a:p>
                </p:txBody>
              </p:sp>
              <p:sp>
                <p:nvSpPr>
                  <p:cNvPr id="2840" name="Freeform 1591"/>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2841" name="Freeform 1592"/>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2842" name="Freeform 1593"/>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2843" name="Freeform 1594"/>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2844" name="Freeform 1595"/>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close/>
                      </a:path>
                    </a:pathLst>
                  </a:custGeom>
                  <a:solidFill>
                    <a:srgbClr val="01AAE5"/>
                  </a:solidFill>
                  <a:ln>
                    <a:noFill/>
                  </a:ln>
                  <a:extLst/>
                </p:spPr>
                <p:txBody>
                  <a:bodyPr/>
                  <a:lstStyle/>
                  <a:p>
                    <a:pPr eaLnBrk="1" hangingPunct="1">
                      <a:defRPr/>
                    </a:pPr>
                    <a:endParaRPr lang="zh-CN" altLang="en-US" sz="1050"/>
                  </a:p>
                </p:txBody>
              </p:sp>
              <p:sp>
                <p:nvSpPr>
                  <p:cNvPr id="2845" name="Freeform 1596"/>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path>
                    </a:pathLst>
                  </a:custGeom>
                  <a:noFill/>
                  <a:ln>
                    <a:noFill/>
                  </a:ln>
                  <a:extLst/>
                </p:spPr>
                <p:txBody>
                  <a:bodyPr/>
                  <a:lstStyle/>
                  <a:p>
                    <a:pPr eaLnBrk="1" hangingPunct="1">
                      <a:defRPr/>
                    </a:pPr>
                    <a:endParaRPr lang="zh-CN" altLang="en-US" sz="1050"/>
                  </a:p>
                </p:txBody>
              </p:sp>
              <p:sp>
                <p:nvSpPr>
                  <p:cNvPr id="2846" name="Freeform 1597"/>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close/>
                      </a:path>
                    </a:pathLst>
                  </a:custGeom>
                  <a:solidFill>
                    <a:srgbClr val="01AAE5"/>
                  </a:solidFill>
                  <a:ln>
                    <a:noFill/>
                  </a:ln>
                  <a:extLst/>
                </p:spPr>
                <p:txBody>
                  <a:bodyPr/>
                  <a:lstStyle/>
                  <a:p>
                    <a:pPr eaLnBrk="1" hangingPunct="1">
                      <a:defRPr/>
                    </a:pPr>
                    <a:endParaRPr lang="zh-CN" altLang="en-US" sz="1050"/>
                  </a:p>
                </p:txBody>
              </p:sp>
              <p:sp>
                <p:nvSpPr>
                  <p:cNvPr id="2847" name="Freeform 1598"/>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path>
                    </a:pathLst>
                  </a:custGeom>
                  <a:noFill/>
                  <a:ln>
                    <a:noFill/>
                  </a:ln>
                  <a:extLst/>
                </p:spPr>
                <p:txBody>
                  <a:bodyPr/>
                  <a:lstStyle/>
                  <a:p>
                    <a:pPr eaLnBrk="1" hangingPunct="1">
                      <a:defRPr/>
                    </a:pPr>
                    <a:endParaRPr lang="zh-CN" altLang="en-US" sz="1050"/>
                  </a:p>
                </p:txBody>
              </p:sp>
              <p:sp>
                <p:nvSpPr>
                  <p:cNvPr id="2848" name="Freeform 1599"/>
                  <p:cNvSpPr>
                    <a:spLocks/>
                  </p:cNvSpPr>
                  <p:nvPr/>
                </p:nvSpPr>
                <p:spPr bwMode="auto">
                  <a:xfrm>
                    <a:off x="10864" y="1828"/>
                    <a:ext cx="0" cy="26"/>
                  </a:xfrm>
                  <a:custGeom>
                    <a:avLst/>
                    <a:gdLst>
                      <a:gd name="T0" fmla="*/ 2 w 2"/>
                      <a:gd name="T1" fmla="*/ 14 h 14"/>
                      <a:gd name="T2" fmla="*/ 2 w 2"/>
                      <a:gd name="T3" fmla="*/ 0 h 14"/>
                      <a:gd name="T4" fmla="*/ 0 w 2"/>
                      <a:gd name="T5" fmla="*/ 0 h 14"/>
                      <a:gd name="T6" fmla="*/ 2 w 2"/>
                      <a:gd name="T7" fmla="*/ 14 h 14"/>
                      <a:gd name="T8" fmla="*/ 2 w 2"/>
                      <a:gd name="T9" fmla="*/ 14 h 14"/>
                    </a:gdLst>
                    <a:ahLst/>
                    <a:cxnLst>
                      <a:cxn ang="0">
                        <a:pos x="T0" y="T1"/>
                      </a:cxn>
                      <a:cxn ang="0">
                        <a:pos x="T2" y="T3"/>
                      </a:cxn>
                      <a:cxn ang="0">
                        <a:pos x="T4" y="T5"/>
                      </a:cxn>
                      <a:cxn ang="0">
                        <a:pos x="T6" y="T7"/>
                      </a:cxn>
                      <a:cxn ang="0">
                        <a:pos x="T8" y="T9"/>
                      </a:cxn>
                    </a:cxnLst>
                    <a:rect l="0" t="0" r="r" b="b"/>
                    <a:pathLst>
                      <a:path w="2" h="14">
                        <a:moveTo>
                          <a:pt x="2" y="14"/>
                        </a:moveTo>
                        <a:lnTo>
                          <a:pt x="2" y="0"/>
                        </a:lnTo>
                        <a:lnTo>
                          <a:pt x="0" y="0"/>
                        </a:lnTo>
                        <a:lnTo>
                          <a:pt x="2"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2849" name="Freeform 1600"/>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2850" name="Freeform 1601"/>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path>
                    </a:pathLst>
                  </a:custGeom>
                  <a:noFill/>
                  <a:ln>
                    <a:noFill/>
                  </a:ln>
                  <a:extLst/>
                </p:spPr>
                <p:txBody>
                  <a:bodyPr/>
                  <a:lstStyle/>
                  <a:p>
                    <a:pPr eaLnBrk="1" hangingPunct="1">
                      <a:defRPr/>
                    </a:pPr>
                    <a:endParaRPr lang="zh-CN" altLang="en-US" sz="1050"/>
                  </a:p>
                </p:txBody>
              </p:sp>
              <p:sp>
                <p:nvSpPr>
                  <p:cNvPr id="2851" name="Freeform 1602"/>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2852" name="Freeform 1603"/>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path>
                    </a:pathLst>
                  </a:custGeom>
                  <a:noFill/>
                  <a:ln>
                    <a:noFill/>
                  </a:ln>
                  <a:extLst/>
                </p:spPr>
                <p:txBody>
                  <a:bodyPr/>
                  <a:lstStyle/>
                  <a:p>
                    <a:pPr eaLnBrk="1" hangingPunct="1">
                      <a:defRPr/>
                    </a:pPr>
                    <a:endParaRPr lang="zh-CN" altLang="en-US" sz="1050"/>
                  </a:p>
                </p:txBody>
              </p:sp>
              <p:sp>
                <p:nvSpPr>
                  <p:cNvPr id="2853" name="Freeform 1604"/>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close/>
                      </a:path>
                    </a:pathLst>
                  </a:custGeom>
                  <a:solidFill>
                    <a:srgbClr val="01AAE5"/>
                  </a:solidFill>
                  <a:ln>
                    <a:noFill/>
                  </a:ln>
                  <a:extLst/>
                </p:spPr>
                <p:txBody>
                  <a:bodyPr/>
                  <a:lstStyle/>
                  <a:p>
                    <a:pPr eaLnBrk="1" hangingPunct="1">
                      <a:defRPr/>
                    </a:pPr>
                    <a:endParaRPr lang="zh-CN" altLang="en-US" sz="1050"/>
                  </a:p>
                </p:txBody>
              </p:sp>
              <p:sp>
                <p:nvSpPr>
                  <p:cNvPr id="2854" name="Freeform 1605"/>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path>
                    </a:pathLst>
                  </a:custGeom>
                  <a:noFill/>
                  <a:ln>
                    <a:noFill/>
                  </a:ln>
                  <a:extLst/>
                </p:spPr>
                <p:txBody>
                  <a:bodyPr/>
                  <a:lstStyle/>
                  <a:p>
                    <a:pPr eaLnBrk="1" hangingPunct="1">
                      <a:defRPr/>
                    </a:pPr>
                    <a:endParaRPr lang="zh-CN" altLang="en-US" sz="1050"/>
                  </a:p>
                </p:txBody>
              </p:sp>
              <p:sp>
                <p:nvSpPr>
                  <p:cNvPr id="2855" name="Freeform 1606"/>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close/>
                      </a:path>
                    </a:pathLst>
                  </a:custGeom>
                  <a:solidFill>
                    <a:srgbClr val="01AAE5"/>
                  </a:solidFill>
                  <a:ln>
                    <a:noFill/>
                  </a:ln>
                  <a:extLst/>
                </p:spPr>
                <p:txBody>
                  <a:bodyPr/>
                  <a:lstStyle/>
                  <a:p>
                    <a:pPr eaLnBrk="1" hangingPunct="1">
                      <a:defRPr/>
                    </a:pPr>
                    <a:endParaRPr lang="zh-CN" altLang="en-US" sz="1050"/>
                  </a:p>
                </p:txBody>
              </p:sp>
              <p:sp>
                <p:nvSpPr>
                  <p:cNvPr id="2856" name="Freeform 1607"/>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path>
                    </a:pathLst>
                  </a:custGeom>
                  <a:noFill/>
                  <a:ln>
                    <a:noFill/>
                  </a:ln>
                  <a:extLst/>
                </p:spPr>
                <p:txBody>
                  <a:bodyPr/>
                  <a:lstStyle/>
                  <a:p>
                    <a:pPr eaLnBrk="1" hangingPunct="1">
                      <a:defRPr/>
                    </a:pPr>
                    <a:endParaRPr lang="zh-CN" altLang="en-US" sz="1050"/>
                  </a:p>
                </p:txBody>
              </p:sp>
              <p:sp>
                <p:nvSpPr>
                  <p:cNvPr id="2857" name="Freeform 1608"/>
                  <p:cNvSpPr>
                    <a:spLocks/>
                  </p:cNvSpPr>
                  <p:nvPr/>
                </p:nvSpPr>
                <p:spPr bwMode="auto">
                  <a:xfrm>
                    <a:off x="10914" y="1828"/>
                    <a:ext cx="0" cy="9"/>
                  </a:xfrm>
                  <a:custGeom>
                    <a:avLst/>
                    <a:gdLst>
                      <a:gd name="T0" fmla="*/ 2 w 2"/>
                      <a:gd name="T1" fmla="*/ 7 h 7"/>
                      <a:gd name="T2" fmla="*/ 0 w 2"/>
                      <a:gd name="T3" fmla="*/ 0 h 7"/>
                      <a:gd name="T4" fmla="*/ 0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0" y="0"/>
                        </a:lnTo>
                        <a:lnTo>
                          <a:pt x="0"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2858" name="Freeform 1609"/>
                  <p:cNvSpPr>
                    <a:spLocks/>
                  </p:cNvSpPr>
                  <p:nvPr/>
                </p:nvSpPr>
                <p:spPr bwMode="auto">
                  <a:xfrm>
                    <a:off x="10864" y="1828"/>
                    <a:ext cx="8" cy="26"/>
                  </a:xfrm>
                  <a:custGeom>
                    <a:avLst/>
                    <a:gdLst>
                      <a:gd name="T0" fmla="*/ 2 w 2"/>
                      <a:gd name="T1" fmla="*/ 11 h 14"/>
                      <a:gd name="T2" fmla="*/ 2 w 2"/>
                      <a:gd name="T3" fmla="*/ 0 h 14"/>
                      <a:gd name="T4" fmla="*/ 0 w 2"/>
                      <a:gd name="T5" fmla="*/ 0 h 14"/>
                      <a:gd name="T6" fmla="*/ 2 w 2"/>
                      <a:gd name="T7" fmla="*/ 14 h 14"/>
                      <a:gd name="T8" fmla="*/ 2 w 2"/>
                      <a:gd name="T9" fmla="*/ 11 h 14"/>
                    </a:gdLst>
                    <a:ahLst/>
                    <a:cxnLst>
                      <a:cxn ang="0">
                        <a:pos x="T0" y="T1"/>
                      </a:cxn>
                      <a:cxn ang="0">
                        <a:pos x="T2" y="T3"/>
                      </a:cxn>
                      <a:cxn ang="0">
                        <a:pos x="T4" y="T5"/>
                      </a:cxn>
                      <a:cxn ang="0">
                        <a:pos x="T6" y="T7"/>
                      </a:cxn>
                      <a:cxn ang="0">
                        <a:pos x="T8" y="T9"/>
                      </a:cxn>
                    </a:cxnLst>
                    <a:rect l="0" t="0" r="r" b="b"/>
                    <a:pathLst>
                      <a:path w="2" h="14">
                        <a:moveTo>
                          <a:pt x="2" y="11"/>
                        </a:moveTo>
                        <a:lnTo>
                          <a:pt x="2" y="0"/>
                        </a:lnTo>
                        <a:lnTo>
                          <a:pt x="0" y="0"/>
                        </a:lnTo>
                        <a:lnTo>
                          <a:pt x="2" y="14"/>
                        </a:lnTo>
                        <a:lnTo>
                          <a:pt x="2" y="11"/>
                        </a:lnTo>
                        <a:close/>
                      </a:path>
                    </a:pathLst>
                  </a:custGeom>
                  <a:solidFill>
                    <a:srgbClr val="01AAE5"/>
                  </a:solidFill>
                  <a:ln>
                    <a:noFill/>
                  </a:ln>
                  <a:extLst/>
                </p:spPr>
                <p:txBody>
                  <a:bodyPr/>
                  <a:lstStyle/>
                  <a:p>
                    <a:pPr eaLnBrk="1" hangingPunct="1">
                      <a:defRPr/>
                    </a:pPr>
                    <a:endParaRPr lang="zh-CN" altLang="en-US" sz="1050"/>
                  </a:p>
                </p:txBody>
              </p:sp>
              <p:sp>
                <p:nvSpPr>
                  <p:cNvPr id="2859" name="Rectangle 1610"/>
                  <p:cNvSpPr>
                    <a:spLocks noChangeArrowheads="1"/>
                  </p:cNvSpPr>
                  <p:nvPr/>
                </p:nvSpPr>
                <p:spPr bwMode="auto">
                  <a:xfrm>
                    <a:off x="10922" y="1828"/>
                    <a:ext cx="8" cy="9"/>
                  </a:xfrm>
                  <a:prstGeom prst="rect">
                    <a:avLst/>
                  </a:prstGeom>
                  <a:solidFill>
                    <a:srgbClr val="01AAE5"/>
                  </a:solidFill>
                  <a:ln>
                    <a:noFill/>
                  </a:ln>
                  <a:extLst/>
                </p:spPr>
                <p:txBody>
                  <a:bodyPr/>
                  <a:lstStyle/>
                  <a:p>
                    <a:pPr eaLnBrk="1" hangingPunct="1">
                      <a:defRPr/>
                    </a:pPr>
                    <a:endParaRPr lang="zh-CN" altLang="en-US" sz="1050"/>
                  </a:p>
                </p:txBody>
              </p:sp>
              <p:sp>
                <p:nvSpPr>
                  <p:cNvPr id="2860" name="Freeform 1611"/>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2861" name="Freeform 1612"/>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2862" name="Rectangle 1613"/>
                  <p:cNvSpPr>
                    <a:spLocks noChangeArrowheads="1"/>
                  </p:cNvSpPr>
                  <p:nvPr/>
                </p:nvSpPr>
                <p:spPr bwMode="auto">
                  <a:xfrm>
                    <a:off x="10931" y="1828"/>
                    <a:ext cx="0" cy="9"/>
                  </a:xfrm>
                  <a:prstGeom prst="rect">
                    <a:avLst/>
                  </a:prstGeom>
                  <a:solidFill>
                    <a:srgbClr val="01AAE5"/>
                  </a:solidFill>
                  <a:ln>
                    <a:noFill/>
                  </a:ln>
                  <a:extLst/>
                </p:spPr>
                <p:txBody>
                  <a:bodyPr/>
                  <a:lstStyle/>
                  <a:p>
                    <a:pPr eaLnBrk="1" hangingPunct="1">
                      <a:defRPr/>
                    </a:pPr>
                    <a:endParaRPr lang="zh-CN" altLang="en-US" sz="1050"/>
                  </a:p>
                </p:txBody>
              </p:sp>
              <p:sp>
                <p:nvSpPr>
                  <p:cNvPr id="2863" name="Rectangle 1614"/>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2864" name="Freeform 1615"/>
                  <p:cNvSpPr>
                    <a:spLocks/>
                  </p:cNvSpPr>
                  <p:nvPr/>
                </p:nvSpPr>
                <p:spPr bwMode="auto">
                  <a:xfrm>
                    <a:off x="10249" y="2325"/>
                    <a:ext cx="75" cy="17"/>
                  </a:xfrm>
                  <a:custGeom>
                    <a:avLst/>
                    <a:gdLst>
                      <a:gd name="T0" fmla="*/ 71 w 71"/>
                      <a:gd name="T1" fmla="*/ 21 h 23"/>
                      <a:gd name="T2" fmla="*/ 71 w 71"/>
                      <a:gd name="T3" fmla="*/ 21 h 23"/>
                      <a:gd name="T4" fmla="*/ 0 w 71"/>
                      <a:gd name="T5" fmla="*/ 0 h 23"/>
                      <a:gd name="T6" fmla="*/ 0 w 71"/>
                      <a:gd name="T7" fmla="*/ 0 h 23"/>
                      <a:gd name="T8" fmla="*/ 71 w 71"/>
                      <a:gd name="T9" fmla="*/ 23 h 23"/>
                      <a:gd name="T10" fmla="*/ 71 w 71"/>
                      <a:gd name="T11" fmla="*/ 21 h 23"/>
                    </a:gdLst>
                    <a:ahLst/>
                    <a:cxnLst>
                      <a:cxn ang="0">
                        <a:pos x="T0" y="T1"/>
                      </a:cxn>
                      <a:cxn ang="0">
                        <a:pos x="T2" y="T3"/>
                      </a:cxn>
                      <a:cxn ang="0">
                        <a:pos x="T4" y="T5"/>
                      </a:cxn>
                      <a:cxn ang="0">
                        <a:pos x="T6" y="T7"/>
                      </a:cxn>
                      <a:cxn ang="0">
                        <a:pos x="T8" y="T9"/>
                      </a:cxn>
                      <a:cxn ang="0">
                        <a:pos x="T10" y="T11"/>
                      </a:cxn>
                    </a:cxnLst>
                    <a:rect l="0" t="0" r="r" b="b"/>
                    <a:pathLst>
                      <a:path w="71" h="23">
                        <a:moveTo>
                          <a:pt x="71" y="21"/>
                        </a:moveTo>
                        <a:lnTo>
                          <a:pt x="71" y="21"/>
                        </a:lnTo>
                        <a:lnTo>
                          <a:pt x="0" y="0"/>
                        </a:lnTo>
                        <a:lnTo>
                          <a:pt x="0" y="0"/>
                        </a:lnTo>
                        <a:lnTo>
                          <a:pt x="71"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2865" name="Rectangle 1616"/>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2866" name="Rectangle 1617"/>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2867" name="Freeform 1618"/>
                  <p:cNvSpPr>
                    <a:spLocks/>
                  </p:cNvSpPr>
                  <p:nvPr/>
                </p:nvSpPr>
                <p:spPr bwMode="auto">
                  <a:xfrm>
                    <a:off x="10922" y="1828"/>
                    <a:ext cx="0" cy="9"/>
                  </a:xfrm>
                  <a:custGeom>
                    <a:avLst/>
                    <a:gdLst>
                      <a:gd name="T0" fmla="*/ 2 w 2"/>
                      <a:gd name="T1" fmla="*/ 10 h 10"/>
                      <a:gd name="T2" fmla="*/ 2 w 2"/>
                      <a:gd name="T3" fmla="*/ 0 h 10"/>
                      <a:gd name="T4" fmla="*/ 0 w 2"/>
                      <a:gd name="T5" fmla="*/ 3 h 10"/>
                      <a:gd name="T6" fmla="*/ 0 w 2"/>
                      <a:gd name="T7" fmla="*/ 1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0"/>
                        </a:lnTo>
                        <a:lnTo>
                          <a:pt x="0" y="3"/>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2868" name="Freeform 1619"/>
                  <p:cNvSpPr>
                    <a:spLocks/>
                  </p:cNvSpPr>
                  <p:nvPr/>
                </p:nvSpPr>
                <p:spPr bwMode="auto">
                  <a:xfrm>
                    <a:off x="10881" y="1828"/>
                    <a:ext cx="0" cy="17"/>
                  </a:xfrm>
                  <a:custGeom>
                    <a:avLst/>
                    <a:gdLst>
                      <a:gd name="T0" fmla="*/ 3 w 3"/>
                      <a:gd name="T1" fmla="*/ 9 h 11"/>
                      <a:gd name="T2" fmla="*/ 0 w 3"/>
                      <a:gd name="T3" fmla="*/ 0 h 11"/>
                      <a:gd name="T4" fmla="*/ 0 w 3"/>
                      <a:gd name="T5" fmla="*/ 0 h 11"/>
                      <a:gd name="T6" fmla="*/ 0 w 3"/>
                      <a:gd name="T7" fmla="*/ 11 h 11"/>
                      <a:gd name="T8" fmla="*/ 3 w 3"/>
                      <a:gd name="T9" fmla="*/ 9 h 11"/>
                    </a:gdLst>
                    <a:ahLst/>
                    <a:cxnLst>
                      <a:cxn ang="0">
                        <a:pos x="T0" y="T1"/>
                      </a:cxn>
                      <a:cxn ang="0">
                        <a:pos x="T2" y="T3"/>
                      </a:cxn>
                      <a:cxn ang="0">
                        <a:pos x="T4" y="T5"/>
                      </a:cxn>
                      <a:cxn ang="0">
                        <a:pos x="T6" y="T7"/>
                      </a:cxn>
                      <a:cxn ang="0">
                        <a:pos x="T8" y="T9"/>
                      </a:cxn>
                    </a:cxnLst>
                    <a:rect l="0" t="0" r="r" b="b"/>
                    <a:pathLst>
                      <a:path w="3" h="11">
                        <a:moveTo>
                          <a:pt x="3" y="9"/>
                        </a:moveTo>
                        <a:lnTo>
                          <a:pt x="0" y="0"/>
                        </a:lnTo>
                        <a:lnTo>
                          <a:pt x="0" y="0"/>
                        </a:lnTo>
                        <a:lnTo>
                          <a:pt x="0" y="11"/>
                        </a:lnTo>
                        <a:lnTo>
                          <a:pt x="3" y="9"/>
                        </a:lnTo>
                        <a:close/>
                      </a:path>
                    </a:pathLst>
                  </a:custGeom>
                  <a:solidFill>
                    <a:srgbClr val="01AAE5"/>
                  </a:solidFill>
                  <a:ln>
                    <a:noFill/>
                  </a:ln>
                  <a:extLst/>
                </p:spPr>
                <p:txBody>
                  <a:bodyPr/>
                  <a:lstStyle/>
                  <a:p>
                    <a:pPr eaLnBrk="1" hangingPunct="1">
                      <a:defRPr/>
                    </a:pPr>
                    <a:endParaRPr lang="zh-CN" altLang="en-US" sz="1050"/>
                  </a:p>
                </p:txBody>
              </p:sp>
              <p:sp>
                <p:nvSpPr>
                  <p:cNvPr id="2869" name="Rectangle 1620"/>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2870" name="Freeform 1621"/>
                  <p:cNvSpPr>
                    <a:spLocks/>
                  </p:cNvSpPr>
                  <p:nvPr/>
                </p:nvSpPr>
                <p:spPr bwMode="auto">
                  <a:xfrm>
                    <a:off x="10873" y="1828"/>
                    <a:ext cx="8" cy="17"/>
                  </a:xfrm>
                  <a:custGeom>
                    <a:avLst/>
                    <a:gdLst>
                      <a:gd name="T0" fmla="*/ 3 w 3"/>
                      <a:gd name="T1" fmla="*/ 11 h 11"/>
                      <a:gd name="T2" fmla="*/ 3 w 3"/>
                      <a:gd name="T3" fmla="*/ 0 h 11"/>
                      <a:gd name="T4" fmla="*/ 0 w 3"/>
                      <a:gd name="T5" fmla="*/ 0 h 11"/>
                      <a:gd name="T6" fmla="*/ 3 w 3"/>
                      <a:gd name="T7" fmla="*/ 11 h 11"/>
                      <a:gd name="T8" fmla="*/ 3 w 3"/>
                      <a:gd name="T9" fmla="*/ 11 h 11"/>
                    </a:gdLst>
                    <a:ahLst/>
                    <a:cxnLst>
                      <a:cxn ang="0">
                        <a:pos x="T0" y="T1"/>
                      </a:cxn>
                      <a:cxn ang="0">
                        <a:pos x="T2" y="T3"/>
                      </a:cxn>
                      <a:cxn ang="0">
                        <a:pos x="T4" y="T5"/>
                      </a:cxn>
                      <a:cxn ang="0">
                        <a:pos x="T6" y="T7"/>
                      </a:cxn>
                      <a:cxn ang="0">
                        <a:pos x="T8" y="T9"/>
                      </a:cxn>
                    </a:cxnLst>
                    <a:rect l="0" t="0" r="r" b="b"/>
                    <a:pathLst>
                      <a:path w="3" h="11">
                        <a:moveTo>
                          <a:pt x="3" y="11"/>
                        </a:moveTo>
                        <a:lnTo>
                          <a:pt x="3" y="0"/>
                        </a:lnTo>
                        <a:lnTo>
                          <a:pt x="0" y="0"/>
                        </a:lnTo>
                        <a:lnTo>
                          <a:pt x="3" y="11"/>
                        </a:lnTo>
                        <a:lnTo>
                          <a:pt x="3" y="11"/>
                        </a:lnTo>
                        <a:close/>
                      </a:path>
                    </a:pathLst>
                  </a:custGeom>
                  <a:solidFill>
                    <a:srgbClr val="01AAE5"/>
                  </a:solidFill>
                  <a:ln>
                    <a:noFill/>
                  </a:ln>
                  <a:extLst/>
                </p:spPr>
                <p:txBody>
                  <a:bodyPr/>
                  <a:lstStyle/>
                  <a:p>
                    <a:pPr eaLnBrk="1" hangingPunct="1">
                      <a:defRPr/>
                    </a:pPr>
                    <a:endParaRPr lang="zh-CN" altLang="en-US" sz="1050"/>
                  </a:p>
                </p:txBody>
              </p:sp>
              <p:sp>
                <p:nvSpPr>
                  <p:cNvPr id="2871" name="Freeform 1622"/>
                  <p:cNvSpPr>
                    <a:spLocks/>
                  </p:cNvSpPr>
                  <p:nvPr/>
                </p:nvSpPr>
                <p:spPr bwMode="auto">
                  <a:xfrm>
                    <a:off x="10881" y="1828"/>
                    <a:ext cx="0" cy="17"/>
                  </a:xfrm>
                  <a:custGeom>
                    <a:avLst/>
                    <a:gdLst>
                      <a:gd name="T0" fmla="*/ 2 w 2"/>
                      <a:gd name="T1" fmla="*/ 9 h 9"/>
                      <a:gd name="T2" fmla="*/ 0 w 2"/>
                      <a:gd name="T3" fmla="*/ 0 h 9"/>
                      <a:gd name="T4" fmla="*/ 0 w 2"/>
                      <a:gd name="T5" fmla="*/ 0 h 9"/>
                      <a:gd name="T6" fmla="*/ 0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0"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2872" name="Freeform 1623"/>
                  <p:cNvSpPr>
                    <a:spLocks/>
                  </p:cNvSpPr>
                  <p:nvPr/>
                </p:nvSpPr>
                <p:spPr bwMode="auto">
                  <a:xfrm>
                    <a:off x="10897" y="1828"/>
                    <a:ext cx="8" cy="17"/>
                  </a:xfrm>
                  <a:custGeom>
                    <a:avLst/>
                    <a:gdLst>
                      <a:gd name="T0" fmla="*/ 3 w 3"/>
                      <a:gd name="T1" fmla="*/ 9 h 9"/>
                      <a:gd name="T2" fmla="*/ 3 w 3"/>
                      <a:gd name="T3" fmla="*/ 0 h 9"/>
                      <a:gd name="T4" fmla="*/ 0 w 3"/>
                      <a:gd name="T5" fmla="*/ 0 h 9"/>
                      <a:gd name="T6" fmla="*/ 3 w 3"/>
                      <a:gd name="T7" fmla="*/ 9 h 9"/>
                      <a:gd name="T8" fmla="*/ 3 w 3"/>
                      <a:gd name="T9" fmla="*/ 9 h 9"/>
                    </a:gdLst>
                    <a:ahLst/>
                    <a:cxnLst>
                      <a:cxn ang="0">
                        <a:pos x="T0" y="T1"/>
                      </a:cxn>
                      <a:cxn ang="0">
                        <a:pos x="T2" y="T3"/>
                      </a:cxn>
                      <a:cxn ang="0">
                        <a:pos x="T4" y="T5"/>
                      </a:cxn>
                      <a:cxn ang="0">
                        <a:pos x="T6" y="T7"/>
                      </a:cxn>
                      <a:cxn ang="0">
                        <a:pos x="T8" y="T9"/>
                      </a:cxn>
                    </a:cxnLst>
                    <a:rect l="0" t="0" r="r" b="b"/>
                    <a:pathLst>
                      <a:path w="3" h="9">
                        <a:moveTo>
                          <a:pt x="3" y="9"/>
                        </a:moveTo>
                        <a:lnTo>
                          <a:pt x="3" y="0"/>
                        </a:lnTo>
                        <a:lnTo>
                          <a:pt x="0" y="0"/>
                        </a:lnTo>
                        <a:lnTo>
                          <a:pt x="3"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2873" name="Rectangle 1624"/>
                  <p:cNvSpPr>
                    <a:spLocks noChangeArrowheads="1"/>
                  </p:cNvSpPr>
                  <p:nvPr/>
                </p:nvSpPr>
                <p:spPr bwMode="auto">
                  <a:xfrm>
                    <a:off x="10889"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2874" name="Rectangle 1625"/>
                  <p:cNvSpPr>
                    <a:spLocks noChangeArrowheads="1"/>
                  </p:cNvSpPr>
                  <p:nvPr/>
                </p:nvSpPr>
                <p:spPr bwMode="auto">
                  <a:xfrm>
                    <a:off x="10897"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2875" name="Freeform 1626"/>
                  <p:cNvSpPr>
                    <a:spLocks/>
                  </p:cNvSpPr>
                  <p:nvPr/>
                </p:nvSpPr>
                <p:spPr bwMode="auto">
                  <a:xfrm>
                    <a:off x="10739" y="1855"/>
                    <a:ext cx="0" cy="17"/>
                  </a:xfrm>
                  <a:custGeom>
                    <a:avLst/>
                    <a:gdLst>
                      <a:gd name="T0" fmla="*/ 4 w 4"/>
                      <a:gd name="T1" fmla="*/ 11 h 11"/>
                      <a:gd name="T2" fmla="*/ 0 w 4"/>
                      <a:gd name="T3" fmla="*/ 0 h 11"/>
                      <a:gd name="T4" fmla="*/ 0 w 4"/>
                      <a:gd name="T5" fmla="*/ 0 h 11"/>
                      <a:gd name="T6" fmla="*/ 2 w 4"/>
                      <a:gd name="T7" fmla="*/ 11 h 11"/>
                      <a:gd name="T8" fmla="*/ 4 w 4"/>
                      <a:gd name="T9" fmla="*/ 11 h 11"/>
                    </a:gdLst>
                    <a:ahLst/>
                    <a:cxnLst>
                      <a:cxn ang="0">
                        <a:pos x="T0" y="T1"/>
                      </a:cxn>
                      <a:cxn ang="0">
                        <a:pos x="T2" y="T3"/>
                      </a:cxn>
                      <a:cxn ang="0">
                        <a:pos x="T4" y="T5"/>
                      </a:cxn>
                      <a:cxn ang="0">
                        <a:pos x="T6" y="T7"/>
                      </a:cxn>
                      <a:cxn ang="0">
                        <a:pos x="T8" y="T9"/>
                      </a:cxn>
                    </a:cxnLst>
                    <a:rect l="0" t="0" r="r" b="b"/>
                    <a:pathLst>
                      <a:path w="4" h="11">
                        <a:moveTo>
                          <a:pt x="4" y="11"/>
                        </a:moveTo>
                        <a:lnTo>
                          <a:pt x="0" y="0"/>
                        </a:lnTo>
                        <a:lnTo>
                          <a:pt x="0" y="0"/>
                        </a:lnTo>
                        <a:lnTo>
                          <a:pt x="2" y="11"/>
                        </a:lnTo>
                        <a:lnTo>
                          <a:pt x="4" y="11"/>
                        </a:lnTo>
                        <a:close/>
                      </a:path>
                    </a:pathLst>
                  </a:custGeom>
                  <a:solidFill>
                    <a:srgbClr val="01AAE5"/>
                  </a:solidFill>
                  <a:ln>
                    <a:noFill/>
                  </a:ln>
                  <a:extLst/>
                </p:spPr>
                <p:txBody>
                  <a:bodyPr/>
                  <a:lstStyle/>
                  <a:p>
                    <a:pPr eaLnBrk="1" hangingPunct="1">
                      <a:defRPr/>
                    </a:pPr>
                    <a:endParaRPr lang="zh-CN" altLang="en-US" sz="1050"/>
                  </a:p>
                </p:txBody>
              </p:sp>
              <p:sp>
                <p:nvSpPr>
                  <p:cNvPr id="2876" name="Freeform 1627"/>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close/>
                      </a:path>
                    </a:pathLst>
                  </a:custGeom>
                  <a:solidFill>
                    <a:srgbClr val="01AAE5"/>
                  </a:solidFill>
                  <a:ln>
                    <a:noFill/>
                  </a:ln>
                  <a:extLst/>
                </p:spPr>
                <p:txBody>
                  <a:bodyPr/>
                  <a:lstStyle/>
                  <a:p>
                    <a:pPr eaLnBrk="1" hangingPunct="1">
                      <a:defRPr/>
                    </a:pPr>
                    <a:endParaRPr lang="zh-CN" altLang="en-US" sz="1050"/>
                  </a:p>
                </p:txBody>
              </p:sp>
              <p:sp>
                <p:nvSpPr>
                  <p:cNvPr id="2877" name="Freeform 1628"/>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path>
                    </a:pathLst>
                  </a:custGeom>
                  <a:noFill/>
                  <a:ln>
                    <a:noFill/>
                  </a:ln>
                  <a:extLst/>
                </p:spPr>
                <p:txBody>
                  <a:bodyPr/>
                  <a:lstStyle/>
                  <a:p>
                    <a:pPr eaLnBrk="1" hangingPunct="1">
                      <a:defRPr/>
                    </a:pPr>
                    <a:endParaRPr lang="zh-CN" altLang="en-US" sz="1050"/>
                  </a:p>
                </p:txBody>
              </p:sp>
              <p:sp>
                <p:nvSpPr>
                  <p:cNvPr id="2878" name="Freeform 1629"/>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close/>
                      </a:path>
                    </a:pathLst>
                  </a:custGeom>
                  <a:solidFill>
                    <a:srgbClr val="01AAE5"/>
                  </a:solidFill>
                  <a:ln>
                    <a:noFill/>
                  </a:ln>
                  <a:extLst/>
                </p:spPr>
                <p:txBody>
                  <a:bodyPr/>
                  <a:lstStyle/>
                  <a:p>
                    <a:pPr eaLnBrk="1" hangingPunct="1">
                      <a:defRPr/>
                    </a:pPr>
                    <a:endParaRPr lang="zh-CN" altLang="en-US" sz="1050"/>
                  </a:p>
                </p:txBody>
              </p:sp>
              <p:sp>
                <p:nvSpPr>
                  <p:cNvPr id="2879" name="Freeform 1630"/>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path>
                    </a:pathLst>
                  </a:custGeom>
                  <a:noFill/>
                  <a:ln>
                    <a:noFill/>
                  </a:ln>
                  <a:extLst/>
                </p:spPr>
                <p:txBody>
                  <a:bodyPr/>
                  <a:lstStyle/>
                  <a:p>
                    <a:pPr eaLnBrk="1" hangingPunct="1">
                      <a:defRPr/>
                    </a:pPr>
                    <a:endParaRPr lang="zh-CN" altLang="en-US" sz="1050"/>
                  </a:p>
                </p:txBody>
              </p:sp>
              <p:sp>
                <p:nvSpPr>
                  <p:cNvPr id="2880" name="Freeform 1631"/>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close/>
                      </a:path>
                    </a:pathLst>
                  </a:custGeom>
                  <a:solidFill>
                    <a:srgbClr val="01AAE5"/>
                  </a:solidFill>
                  <a:ln>
                    <a:noFill/>
                  </a:ln>
                  <a:extLst/>
                </p:spPr>
                <p:txBody>
                  <a:bodyPr/>
                  <a:lstStyle/>
                  <a:p>
                    <a:pPr eaLnBrk="1" hangingPunct="1">
                      <a:defRPr/>
                    </a:pPr>
                    <a:endParaRPr lang="zh-CN" altLang="en-US" sz="1050"/>
                  </a:p>
                </p:txBody>
              </p:sp>
              <p:sp>
                <p:nvSpPr>
                  <p:cNvPr id="2881" name="Freeform 1632"/>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path>
                    </a:pathLst>
                  </a:custGeom>
                  <a:noFill/>
                  <a:ln>
                    <a:noFill/>
                  </a:ln>
                  <a:extLst/>
                </p:spPr>
                <p:txBody>
                  <a:bodyPr/>
                  <a:lstStyle/>
                  <a:p>
                    <a:pPr eaLnBrk="1" hangingPunct="1">
                      <a:defRPr/>
                    </a:pPr>
                    <a:endParaRPr lang="zh-CN" altLang="en-US" sz="1050"/>
                  </a:p>
                </p:txBody>
              </p:sp>
              <p:sp>
                <p:nvSpPr>
                  <p:cNvPr id="2882" name="Freeform 1633"/>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close/>
                      </a:path>
                    </a:pathLst>
                  </a:custGeom>
                  <a:solidFill>
                    <a:srgbClr val="01AAE5"/>
                  </a:solidFill>
                  <a:ln>
                    <a:noFill/>
                  </a:ln>
                  <a:extLst/>
                </p:spPr>
                <p:txBody>
                  <a:bodyPr/>
                  <a:lstStyle/>
                  <a:p>
                    <a:pPr eaLnBrk="1" hangingPunct="1">
                      <a:defRPr/>
                    </a:pPr>
                    <a:endParaRPr lang="zh-CN" altLang="en-US" sz="1050"/>
                  </a:p>
                </p:txBody>
              </p:sp>
              <p:sp>
                <p:nvSpPr>
                  <p:cNvPr id="2883" name="Freeform 1634"/>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path>
                    </a:pathLst>
                  </a:custGeom>
                  <a:noFill/>
                  <a:ln>
                    <a:noFill/>
                  </a:ln>
                  <a:extLst/>
                </p:spPr>
                <p:txBody>
                  <a:bodyPr/>
                  <a:lstStyle/>
                  <a:p>
                    <a:pPr eaLnBrk="1" hangingPunct="1">
                      <a:defRPr/>
                    </a:pPr>
                    <a:endParaRPr lang="zh-CN" altLang="en-US" sz="1050"/>
                  </a:p>
                </p:txBody>
              </p:sp>
              <p:sp>
                <p:nvSpPr>
                  <p:cNvPr id="2884" name="Freeform 1635"/>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close/>
                      </a:path>
                    </a:pathLst>
                  </a:custGeom>
                  <a:solidFill>
                    <a:srgbClr val="01AAE5"/>
                  </a:solidFill>
                  <a:ln>
                    <a:noFill/>
                  </a:ln>
                  <a:extLst/>
                </p:spPr>
                <p:txBody>
                  <a:bodyPr/>
                  <a:lstStyle/>
                  <a:p>
                    <a:pPr eaLnBrk="1" hangingPunct="1">
                      <a:defRPr/>
                    </a:pPr>
                    <a:endParaRPr lang="zh-CN" altLang="en-US" sz="1050"/>
                  </a:p>
                </p:txBody>
              </p:sp>
              <p:sp>
                <p:nvSpPr>
                  <p:cNvPr id="2885" name="Freeform 1636"/>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path>
                    </a:pathLst>
                  </a:custGeom>
                  <a:noFill/>
                  <a:ln>
                    <a:noFill/>
                  </a:ln>
                  <a:extLst/>
                </p:spPr>
                <p:txBody>
                  <a:bodyPr/>
                  <a:lstStyle/>
                  <a:p>
                    <a:pPr eaLnBrk="1" hangingPunct="1">
                      <a:defRPr/>
                    </a:pPr>
                    <a:endParaRPr lang="zh-CN" altLang="en-US" sz="1050"/>
                  </a:p>
                </p:txBody>
              </p:sp>
              <p:sp>
                <p:nvSpPr>
                  <p:cNvPr id="2886" name="Freeform 1637"/>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close/>
                      </a:path>
                    </a:pathLst>
                  </a:custGeom>
                  <a:solidFill>
                    <a:srgbClr val="01AAE5"/>
                  </a:solidFill>
                  <a:ln>
                    <a:noFill/>
                  </a:ln>
                  <a:extLst/>
                </p:spPr>
                <p:txBody>
                  <a:bodyPr/>
                  <a:lstStyle/>
                  <a:p>
                    <a:pPr eaLnBrk="1" hangingPunct="1">
                      <a:defRPr/>
                    </a:pPr>
                    <a:endParaRPr lang="zh-CN" altLang="en-US" sz="1050"/>
                  </a:p>
                </p:txBody>
              </p:sp>
              <p:sp>
                <p:nvSpPr>
                  <p:cNvPr id="2887" name="Freeform 1638"/>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path>
                    </a:pathLst>
                  </a:custGeom>
                  <a:noFill/>
                  <a:ln>
                    <a:noFill/>
                  </a:ln>
                  <a:extLst/>
                </p:spPr>
                <p:txBody>
                  <a:bodyPr/>
                  <a:lstStyle/>
                  <a:p>
                    <a:pPr eaLnBrk="1" hangingPunct="1">
                      <a:defRPr/>
                    </a:pPr>
                    <a:endParaRPr lang="zh-CN" altLang="en-US" sz="1050"/>
                  </a:p>
                </p:txBody>
              </p:sp>
              <p:sp>
                <p:nvSpPr>
                  <p:cNvPr id="2888" name="Freeform 1639"/>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2889" name="Freeform 1640"/>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path>
                    </a:pathLst>
                  </a:custGeom>
                  <a:noFill/>
                  <a:ln>
                    <a:noFill/>
                  </a:ln>
                  <a:extLst/>
                </p:spPr>
                <p:txBody>
                  <a:bodyPr/>
                  <a:lstStyle/>
                  <a:p>
                    <a:pPr eaLnBrk="1" hangingPunct="1">
                      <a:defRPr/>
                    </a:pPr>
                    <a:endParaRPr lang="zh-CN" altLang="en-US" sz="1050"/>
                  </a:p>
                </p:txBody>
              </p:sp>
              <p:sp>
                <p:nvSpPr>
                  <p:cNvPr id="2890" name="Freeform 1641"/>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2891" name="Freeform 1642"/>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path>
                    </a:pathLst>
                  </a:custGeom>
                  <a:noFill/>
                  <a:ln>
                    <a:noFill/>
                  </a:ln>
                  <a:extLst/>
                </p:spPr>
                <p:txBody>
                  <a:bodyPr/>
                  <a:lstStyle/>
                  <a:p>
                    <a:pPr eaLnBrk="1" hangingPunct="1">
                      <a:defRPr/>
                    </a:pPr>
                    <a:endParaRPr lang="zh-CN" altLang="en-US" sz="1050"/>
                  </a:p>
                </p:txBody>
              </p:sp>
              <p:sp>
                <p:nvSpPr>
                  <p:cNvPr id="2892" name="Freeform 1643"/>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close/>
                      </a:path>
                    </a:pathLst>
                  </a:custGeom>
                  <a:solidFill>
                    <a:srgbClr val="01AAE5"/>
                  </a:solidFill>
                  <a:ln>
                    <a:noFill/>
                  </a:ln>
                  <a:extLst/>
                </p:spPr>
                <p:txBody>
                  <a:bodyPr/>
                  <a:lstStyle/>
                  <a:p>
                    <a:pPr eaLnBrk="1" hangingPunct="1">
                      <a:defRPr/>
                    </a:pPr>
                    <a:endParaRPr lang="zh-CN" altLang="en-US" sz="1050"/>
                  </a:p>
                </p:txBody>
              </p:sp>
              <p:sp>
                <p:nvSpPr>
                  <p:cNvPr id="2893" name="Freeform 1644"/>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path>
                    </a:pathLst>
                  </a:custGeom>
                  <a:noFill/>
                  <a:ln>
                    <a:noFill/>
                  </a:ln>
                  <a:extLst/>
                </p:spPr>
                <p:txBody>
                  <a:bodyPr/>
                  <a:lstStyle/>
                  <a:p>
                    <a:pPr eaLnBrk="1" hangingPunct="1">
                      <a:defRPr/>
                    </a:pPr>
                    <a:endParaRPr lang="zh-CN" altLang="en-US" sz="1050"/>
                  </a:p>
                </p:txBody>
              </p:sp>
              <p:sp>
                <p:nvSpPr>
                  <p:cNvPr id="2894" name="Freeform 1645"/>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2895" name="Freeform 1646"/>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2896" name="Freeform 1647"/>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2897" name="Freeform 1648"/>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2898" name="Freeform 1649"/>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2899" name="Freeform 1650"/>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path>
                    </a:pathLst>
                  </a:custGeom>
                  <a:noFill/>
                  <a:ln>
                    <a:noFill/>
                  </a:ln>
                  <a:extLst/>
                </p:spPr>
                <p:txBody>
                  <a:bodyPr/>
                  <a:lstStyle/>
                  <a:p>
                    <a:pPr eaLnBrk="1" hangingPunct="1">
                      <a:defRPr/>
                    </a:pPr>
                    <a:endParaRPr lang="zh-CN" altLang="en-US" sz="1050"/>
                  </a:p>
                </p:txBody>
              </p:sp>
              <p:sp>
                <p:nvSpPr>
                  <p:cNvPr id="2900" name="Freeform 1651"/>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2901" name="Freeform 1652"/>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2902" name="Freeform 1653"/>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close/>
                      </a:path>
                    </a:pathLst>
                  </a:custGeom>
                  <a:solidFill>
                    <a:srgbClr val="01AAE5"/>
                  </a:solidFill>
                  <a:ln>
                    <a:noFill/>
                  </a:ln>
                  <a:extLst/>
                </p:spPr>
                <p:txBody>
                  <a:bodyPr/>
                  <a:lstStyle/>
                  <a:p>
                    <a:pPr eaLnBrk="1" hangingPunct="1">
                      <a:defRPr/>
                    </a:pPr>
                    <a:endParaRPr lang="zh-CN" altLang="en-US" sz="1050"/>
                  </a:p>
                </p:txBody>
              </p:sp>
              <p:sp>
                <p:nvSpPr>
                  <p:cNvPr id="2903" name="Freeform 1654"/>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path>
                    </a:pathLst>
                  </a:custGeom>
                  <a:noFill/>
                  <a:ln>
                    <a:noFill/>
                  </a:ln>
                  <a:extLst/>
                </p:spPr>
                <p:txBody>
                  <a:bodyPr/>
                  <a:lstStyle/>
                  <a:p>
                    <a:pPr eaLnBrk="1" hangingPunct="1">
                      <a:defRPr/>
                    </a:pPr>
                    <a:endParaRPr lang="zh-CN" altLang="en-US" sz="1050"/>
                  </a:p>
                </p:txBody>
              </p:sp>
              <p:sp>
                <p:nvSpPr>
                  <p:cNvPr id="2904" name="Freeform 1655"/>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close/>
                      </a:path>
                    </a:pathLst>
                  </a:custGeom>
                  <a:solidFill>
                    <a:srgbClr val="01AAE5"/>
                  </a:solidFill>
                  <a:ln>
                    <a:noFill/>
                  </a:ln>
                  <a:extLst/>
                </p:spPr>
                <p:txBody>
                  <a:bodyPr/>
                  <a:lstStyle/>
                  <a:p>
                    <a:pPr eaLnBrk="1" hangingPunct="1">
                      <a:defRPr/>
                    </a:pPr>
                    <a:endParaRPr lang="zh-CN" altLang="en-US" sz="1050"/>
                  </a:p>
                </p:txBody>
              </p:sp>
              <p:sp>
                <p:nvSpPr>
                  <p:cNvPr id="2905" name="Freeform 1656"/>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path>
                    </a:pathLst>
                  </a:custGeom>
                  <a:noFill/>
                  <a:ln>
                    <a:noFill/>
                  </a:ln>
                  <a:extLst/>
                </p:spPr>
                <p:txBody>
                  <a:bodyPr/>
                  <a:lstStyle/>
                  <a:p>
                    <a:pPr eaLnBrk="1" hangingPunct="1">
                      <a:defRPr/>
                    </a:pPr>
                    <a:endParaRPr lang="zh-CN" altLang="en-US" sz="1050"/>
                  </a:p>
                </p:txBody>
              </p:sp>
              <p:sp>
                <p:nvSpPr>
                  <p:cNvPr id="2906" name="Freeform 1657"/>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close/>
                      </a:path>
                    </a:pathLst>
                  </a:custGeom>
                  <a:solidFill>
                    <a:srgbClr val="01AAE5"/>
                  </a:solidFill>
                  <a:ln>
                    <a:noFill/>
                  </a:ln>
                  <a:extLst/>
                </p:spPr>
                <p:txBody>
                  <a:bodyPr/>
                  <a:lstStyle/>
                  <a:p>
                    <a:pPr eaLnBrk="1" hangingPunct="1">
                      <a:defRPr/>
                    </a:pPr>
                    <a:endParaRPr lang="zh-CN" altLang="en-US" sz="1050"/>
                  </a:p>
                </p:txBody>
              </p:sp>
              <p:sp>
                <p:nvSpPr>
                  <p:cNvPr id="2907" name="Freeform 1658"/>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path>
                    </a:pathLst>
                  </a:custGeom>
                  <a:noFill/>
                  <a:ln>
                    <a:noFill/>
                  </a:ln>
                  <a:extLst/>
                </p:spPr>
                <p:txBody>
                  <a:bodyPr/>
                  <a:lstStyle/>
                  <a:p>
                    <a:pPr eaLnBrk="1" hangingPunct="1">
                      <a:defRPr/>
                    </a:pPr>
                    <a:endParaRPr lang="zh-CN" altLang="en-US" sz="1050"/>
                  </a:p>
                </p:txBody>
              </p:sp>
              <p:sp>
                <p:nvSpPr>
                  <p:cNvPr id="2908" name="Freeform 1659"/>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2909" name="Freeform 1660"/>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path>
                    </a:pathLst>
                  </a:custGeom>
                  <a:noFill/>
                  <a:ln>
                    <a:noFill/>
                  </a:ln>
                  <a:extLst/>
                </p:spPr>
                <p:txBody>
                  <a:bodyPr/>
                  <a:lstStyle/>
                  <a:p>
                    <a:pPr eaLnBrk="1" hangingPunct="1">
                      <a:defRPr/>
                    </a:pPr>
                    <a:endParaRPr lang="zh-CN" altLang="en-US" sz="1050"/>
                  </a:p>
                </p:txBody>
              </p:sp>
              <p:sp>
                <p:nvSpPr>
                  <p:cNvPr id="2910" name="Freeform 1661"/>
                  <p:cNvSpPr>
                    <a:spLocks/>
                  </p:cNvSpPr>
                  <p:nvPr/>
                </p:nvSpPr>
                <p:spPr bwMode="auto">
                  <a:xfrm>
                    <a:off x="10706" y="1881"/>
                    <a:ext cx="0" cy="9"/>
                  </a:xfrm>
                  <a:custGeom>
                    <a:avLst/>
                    <a:gdLst>
                      <a:gd name="T0" fmla="*/ 5 w 5"/>
                      <a:gd name="T1" fmla="*/ 10 h 10"/>
                      <a:gd name="T2" fmla="*/ 3 w 5"/>
                      <a:gd name="T3" fmla="*/ 0 h 10"/>
                      <a:gd name="T4" fmla="*/ 0 w 5"/>
                      <a:gd name="T5" fmla="*/ 0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3" y="0"/>
                        </a:lnTo>
                        <a:lnTo>
                          <a:pt x="0" y="0"/>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2911" name="Freeform 1662"/>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close/>
                      </a:path>
                    </a:pathLst>
                  </a:custGeom>
                  <a:solidFill>
                    <a:srgbClr val="01AAE5"/>
                  </a:solidFill>
                  <a:ln>
                    <a:noFill/>
                  </a:ln>
                  <a:extLst/>
                </p:spPr>
                <p:txBody>
                  <a:bodyPr/>
                  <a:lstStyle/>
                  <a:p>
                    <a:pPr eaLnBrk="1" hangingPunct="1">
                      <a:defRPr/>
                    </a:pPr>
                    <a:endParaRPr lang="zh-CN" altLang="en-US" sz="1050"/>
                  </a:p>
                </p:txBody>
              </p:sp>
              <p:sp>
                <p:nvSpPr>
                  <p:cNvPr id="2912" name="Freeform 1663"/>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path>
                    </a:pathLst>
                  </a:custGeom>
                  <a:noFill/>
                  <a:ln>
                    <a:noFill/>
                  </a:ln>
                  <a:extLst/>
                </p:spPr>
                <p:txBody>
                  <a:bodyPr/>
                  <a:lstStyle/>
                  <a:p>
                    <a:pPr eaLnBrk="1" hangingPunct="1">
                      <a:defRPr/>
                    </a:pPr>
                    <a:endParaRPr lang="zh-CN" altLang="en-US" sz="1050"/>
                  </a:p>
                </p:txBody>
              </p:sp>
              <p:sp>
                <p:nvSpPr>
                  <p:cNvPr id="2913" name="Freeform 1664"/>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2914" name="Freeform 1665"/>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path>
                    </a:pathLst>
                  </a:custGeom>
                  <a:noFill/>
                  <a:ln>
                    <a:noFill/>
                  </a:ln>
                  <a:extLst/>
                </p:spPr>
                <p:txBody>
                  <a:bodyPr/>
                  <a:lstStyle/>
                  <a:p>
                    <a:pPr eaLnBrk="1" hangingPunct="1">
                      <a:defRPr/>
                    </a:pPr>
                    <a:endParaRPr lang="zh-CN" altLang="en-US" sz="1050"/>
                  </a:p>
                </p:txBody>
              </p:sp>
              <p:sp>
                <p:nvSpPr>
                  <p:cNvPr id="2915" name="Freeform 1666"/>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2916" name="Freeform 1667"/>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path>
                    </a:pathLst>
                  </a:custGeom>
                  <a:noFill/>
                  <a:ln>
                    <a:noFill/>
                  </a:ln>
                  <a:extLst/>
                </p:spPr>
                <p:txBody>
                  <a:bodyPr/>
                  <a:lstStyle/>
                  <a:p>
                    <a:pPr eaLnBrk="1" hangingPunct="1">
                      <a:defRPr/>
                    </a:pPr>
                    <a:endParaRPr lang="zh-CN" altLang="en-US" sz="1050"/>
                  </a:p>
                </p:txBody>
              </p:sp>
              <p:sp>
                <p:nvSpPr>
                  <p:cNvPr id="2917" name="Freeform 1668"/>
                  <p:cNvSpPr>
                    <a:spLocks/>
                  </p:cNvSpPr>
                  <p:nvPr/>
                </p:nvSpPr>
                <p:spPr bwMode="auto">
                  <a:xfrm>
                    <a:off x="10748" y="1855"/>
                    <a:ext cx="8" cy="17"/>
                  </a:xfrm>
                  <a:custGeom>
                    <a:avLst/>
                    <a:gdLst>
                      <a:gd name="T0" fmla="*/ 4 w 4"/>
                      <a:gd name="T1" fmla="*/ 19 h 19"/>
                      <a:gd name="T2" fmla="*/ 0 w 4"/>
                      <a:gd name="T3" fmla="*/ 0 h 19"/>
                      <a:gd name="T4" fmla="*/ 0 w 4"/>
                      <a:gd name="T5" fmla="*/ 0 h 19"/>
                      <a:gd name="T6" fmla="*/ 4 w 4"/>
                      <a:gd name="T7" fmla="*/ 19 h 19"/>
                      <a:gd name="T8" fmla="*/ 4 w 4"/>
                      <a:gd name="T9" fmla="*/ 19 h 19"/>
                    </a:gdLst>
                    <a:ahLst/>
                    <a:cxnLst>
                      <a:cxn ang="0">
                        <a:pos x="T0" y="T1"/>
                      </a:cxn>
                      <a:cxn ang="0">
                        <a:pos x="T2" y="T3"/>
                      </a:cxn>
                      <a:cxn ang="0">
                        <a:pos x="T4" y="T5"/>
                      </a:cxn>
                      <a:cxn ang="0">
                        <a:pos x="T6" y="T7"/>
                      </a:cxn>
                      <a:cxn ang="0">
                        <a:pos x="T8" y="T9"/>
                      </a:cxn>
                    </a:cxnLst>
                    <a:rect l="0" t="0" r="r" b="b"/>
                    <a:pathLst>
                      <a:path w="4" h="19">
                        <a:moveTo>
                          <a:pt x="4" y="19"/>
                        </a:moveTo>
                        <a:lnTo>
                          <a:pt x="0" y="0"/>
                        </a:lnTo>
                        <a:lnTo>
                          <a:pt x="0" y="0"/>
                        </a:lnTo>
                        <a:lnTo>
                          <a:pt x="4" y="19"/>
                        </a:lnTo>
                        <a:lnTo>
                          <a:pt x="4" y="19"/>
                        </a:lnTo>
                        <a:close/>
                      </a:path>
                    </a:pathLst>
                  </a:custGeom>
                  <a:solidFill>
                    <a:srgbClr val="01AAE5"/>
                  </a:solidFill>
                  <a:ln>
                    <a:noFill/>
                  </a:ln>
                  <a:extLst/>
                </p:spPr>
                <p:txBody>
                  <a:bodyPr/>
                  <a:lstStyle/>
                  <a:p>
                    <a:pPr eaLnBrk="1" hangingPunct="1">
                      <a:defRPr/>
                    </a:pPr>
                    <a:endParaRPr lang="zh-CN" altLang="en-US" sz="1050"/>
                  </a:p>
                </p:txBody>
              </p:sp>
              <p:sp>
                <p:nvSpPr>
                  <p:cNvPr id="2918" name="Freeform 1669"/>
                  <p:cNvSpPr>
                    <a:spLocks/>
                  </p:cNvSpPr>
                  <p:nvPr/>
                </p:nvSpPr>
                <p:spPr bwMode="auto">
                  <a:xfrm>
                    <a:off x="10739" y="1855"/>
                    <a:ext cx="0" cy="17"/>
                  </a:xfrm>
                  <a:custGeom>
                    <a:avLst/>
                    <a:gdLst>
                      <a:gd name="T0" fmla="*/ 5 w 5"/>
                      <a:gd name="T1" fmla="*/ 14 h 14"/>
                      <a:gd name="T2" fmla="*/ 0 w 5"/>
                      <a:gd name="T3" fmla="*/ 0 h 14"/>
                      <a:gd name="T4" fmla="*/ 0 w 5"/>
                      <a:gd name="T5" fmla="*/ 2 h 14"/>
                      <a:gd name="T6" fmla="*/ 2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2"/>
                        </a:lnTo>
                        <a:lnTo>
                          <a:pt x="2"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2919" name="Freeform 1670"/>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2920" name="Freeform 1671"/>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path>
                    </a:pathLst>
                  </a:custGeom>
                  <a:noFill/>
                  <a:ln>
                    <a:noFill/>
                  </a:ln>
                  <a:extLst/>
                </p:spPr>
                <p:txBody>
                  <a:bodyPr/>
                  <a:lstStyle/>
                  <a:p>
                    <a:pPr eaLnBrk="1" hangingPunct="1">
                      <a:defRPr/>
                    </a:pPr>
                    <a:endParaRPr lang="zh-CN" altLang="en-US" sz="1050"/>
                  </a:p>
                </p:txBody>
              </p:sp>
              <p:sp>
                <p:nvSpPr>
                  <p:cNvPr id="2921" name="Freeform 1672"/>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close/>
                      </a:path>
                    </a:pathLst>
                  </a:custGeom>
                  <a:solidFill>
                    <a:srgbClr val="01AAE5"/>
                  </a:solidFill>
                  <a:ln>
                    <a:noFill/>
                  </a:ln>
                  <a:extLst/>
                </p:spPr>
                <p:txBody>
                  <a:bodyPr/>
                  <a:lstStyle/>
                  <a:p>
                    <a:pPr eaLnBrk="1" hangingPunct="1">
                      <a:defRPr/>
                    </a:pPr>
                    <a:endParaRPr lang="zh-CN" altLang="en-US" sz="1050"/>
                  </a:p>
                </p:txBody>
              </p:sp>
              <p:sp>
                <p:nvSpPr>
                  <p:cNvPr id="2922" name="Freeform 1673"/>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path>
                    </a:pathLst>
                  </a:custGeom>
                  <a:noFill/>
                  <a:ln>
                    <a:noFill/>
                  </a:ln>
                  <a:extLst/>
                </p:spPr>
                <p:txBody>
                  <a:bodyPr/>
                  <a:lstStyle/>
                  <a:p>
                    <a:pPr eaLnBrk="1" hangingPunct="1">
                      <a:defRPr/>
                    </a:pPr>
                    <a:endParaRPr lang="zh-CN" altLang="en-US" sz="1050"/>
                  </a:p>
                </p:txBody>
              </p:sp>
              <p:sp>
                <p:nvSpPr>
                  <p:cNvPr id="2923" name="Freeform 1674"/>
                  <p:cNvSpPr>
                    <a:spLocks/>
                  </p:cNvSpPr>
                  <p:nvPr/>
                </p:nvSpPr>
                <p:spPr bwMode="auto">
                  <a:xfrm>
                    <a:off x="10756" y="1855"/>
                    <a:ext cx="8" cy="17"/>
                  </a:xfrm>
                  <a:custGeom>
                    <a:avLst/>
                    <a:gdLst>
                      <a:gd name="T0" fmla="*/ 5 w 5"/>
                      <a:gd name="T1" fmla="*/ 19 h 19"/>
                      <a:gd name="T2" fmla="*/ 0 w 5"/>
                      <a:gd name="T3" fmla="*/ 0 h 19"/>
                      <a:gd name="T4" fmla="*/ 0 w 5"/>
                      <a:gd name="T5" fmla="*/ 0 h 19"/>
                      <a:gd name="T6" fmla="*/ 5 w 5"/>
                      <a:gd name="T7" fmla="*/ 19 h 19"/>
                      <a:gd name="T8" fmla="*/ 5 w 5"/>
                      <a:gd name="T9" fmla="*/ 19 h 19"/>
                    </a:gdLst>
                    <a:ahLst/>
                    <a:cxnLst>
                      <a:cxn ang="0">
                        <a:pos x="T0" y="T1"/>
                      </a:cxn>
                      <a:cxn ang="0">
                        <a:pos x="T2" y="T3"/>
                      </a:cxn>
                      <a:cxn ang="0">
                        <a:pos x="T4" y="T5"/>
                      </a:cxn>
                      <a:cxn ang="0">
                        <a:pos x="T6" y="T7"/>
                      </a:cxn>
                      <a:cxn ang="0">
                        <a:pos x="T8" y="T9"/>
                      </a:cxn>
                    </a:cxnLst>
                    <a:rect l="0" t="0" r="r" b="b"/>
                    <a:pathLst>
                      <a:path w="5" h="19">
                        <a:moveTo>
                          <a:pt x="5" y="19"/>
                        </a:moveTo>
                        <a:lnTo>
                          <a:pt x="0" y="0"/>
                        </a:lnTo>
                        <a:lnTo>
                          <a:pt x="0" y="0"/>
                        </a:lnTo>
                        <a:lnTo>
                          <a:pt x="5" y="19"/>
                        </a:lnTo>
                        <a:lnTo>
                          <a:pt x="5" y="19"/>
                        </a:lnTo>
                        <a:close/>
                      </a:path>
                    </a:pathLst>
                  </a:custGeom>
                  <a:solidFill>
                    <a:srgbClr val="01AAE5"/>
                  </a:solidFill>
                  <a:ln>
                    <a:noFill/>
                  </a:ln>
                  <a:extLst/>
                </p:spPr>
                <p:txBody>
                  <a:bodyPr/>
                  <a:lstStyle/>
                  <a:p>
                    <a:pPr eaLnBrk="1" hangingPunct="1">
                      <a:defRPr/>
                    </a:pPr>
                    <a:endParaRPr lang="zh-CN" altLang="en-US" sz="1050"/>
                  </a:p>
                </p:txBody>
              </p:sp>
              <p:sp>
                <p:nvSpPr>
                  <p:cNvPr id="2924" name="Freeform 1675"/>
                  <p:cNvSpPr>
                    <a:spLocks/>
                  </p:cNvSpPr>
                  <p:nvPr/>
                </p:nvSpPr>
                <p:spPr bwMode="auto">
                  <a:xfrm>
                    <a:off x="10731" y="1863"/>
                    <a:ext cx="8" cy="17"/>
                  </a:xfrm>
                  <a:custGeom>
                    <a:avLst/>
                    <a:gdLst>
                      <a:gd name="T0" fmla="*/ 5 w 5"/>
                      <a:gd name="T1" fmla="*/ 12 h 12"/>
                      <a:gd name="T2" fmla="*/ 0 w 5"/>
                      <a:gd name="T3" fmla="*/ 0 h 12"/>
                      <a:gd name="T4" fmla="*/ 0 w 5"/>
                      <a:gd name="T5" fmla="*/ 2 h 12"/>
                      <a:gd name="T6" fmla="*/ 2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0" y="0"/>
                        </a:lnTo>
                        <a:lnTo>
                          <a:pt x="0" y="2"/>
                        </a:lnTo>
                        <a:lnTo>
                          <a:pt x="2"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2925" name="Freeform 1676"/>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2926" name="Freeform 1677"/>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path>
                    </a:pathLst>
                  </a:custGeom>
                  <a:noFill/>
                  <a:ln>
                    <a:noFill/>
                  </a:ln>
                  <a:extLst/>
                </p:spPr>
                <p:txBody>
                  <a:bodyPr/>
                  <a:lstStyle/>
                  <a:p>
                    <a:pPr eaLnBrk="1" hangingPunct="1">
                      <a:defRPr/>
                    </a:pPr>
                    <a:endParaRPr lang="zh-CN" altLang="en-US" sz="1050"/>
                  </a:p>
                </p:txBody>
              </p:sp>
              <p:sp>
                <p:nvSpPr>
                  <p:cNvPr id="2927" name="Freeform 1678"/>
                  <p:cNvSpPr>
                    <a:spLocks/>
                  </p:cNvSpPr>
                  <p:nvPr/>
                </p:nvSpPr>
                <p:spPr bwMode="auto">
                  <a:xfrm>
                    <a:off x="10706" y="1881"/>
                    <a:ext cx="8" cy="9"/>
                  </a:xfrm>
                  <a:custGeom>
                    <a:avLst/>
                    <a:gdLst>
                      <a:gd name="T0" fmla="*/ 5 w 5"/>
                      <a:gd name="T1" fmla="*/ 7 h 7"/>
                      <a:gd name="T2" fmla="*/ 2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2"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2928" name="Freeform 1679"/>
                  <p:cNvSpPr>
                    <a:spLocks/>
                  </p:cNvSpPr>
                  <p:nvPr/>
                </p:nvSpPr>
                <p:spPr bwMode="auto">
                  <a:xfrm>
                    <a:off x="10698" y="1881"/>
                    <a:ext cx="8" cy="9"/>
                  </a:xfrm>
                  <a:custGeom>
                    <a:avLst/>
                    <a:gdLst>
                      <a:gd name="T0" fmla="*/ 5 w 5"/>
                      <a:gd name="T1" fmla="*/ 12 h 12"/>
                      <a:gd name="T2" fmla="*/ 3 w 5"/>
                      <a:gd name="T3" fmla="*/ 0 h 12"/>
                      <a:gd name="T4" fmla="*/ 0 w 5"/>
                      <a:gd name="T5" fmla="*/ 0 h 12"/>
                      <a:gd name="T6" fmla="*/ 5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3" y="0"/>
                        </a:lnTo>
                        <a:lnTo>
                          <a:pt x="0" y="0"/>
                        </a:lnTo>
                        <a:lnTo>
                          <a:pt x="5"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2929" name="Freeform 1680"/>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close/>
                      </a:path>
                    </a:pathLst>
                  </a:custGeom>
                  <a:solidFill>
                    <a:srgbClr val="01AAE5"/>
                  </a:solidFill>
                  <a:ln>
                    <a:noFill/>
                  </a:ln>
                  <a:extLst/>
                </p:spPr>
                <p:txBody>
                  <a:bodyPr/>
                  <a:lstStyle/>
                  <a:p>
                    <a:pPr eaLnBrk="1" hangingPunct="1">
                      <a:defRPr/>
                    </a:pPr>
                    <a:endParaRPr lang="zh-CN" altLang="en-US" sz="1050"/>
                  </a:p>
                </p:txBody>
              </p:sp>
              <p:sp>
                <p:nvSpPr>
                  <p:cNvPr id="2930" name="Freeform 1681"/>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path>
                    </a:pathLst>
                  </a:custGeom>
                  <a:noFill/>
                  <a:ln>
                    <a:noFill/>
                  </a:ln>
                  <a:extLst/>
                </p:spPr>
                <p:txBody>
                  <a:bodyPr/>
                  <a:lstStyle/>
                  <a:p>
                    <a:pPr eaLnBrk="1" hangingPunct="1">
                      <a:defRPr/>
                    </a:pPr>
                    <a:endParaRPr lang="zh-CN" altLang="en-US" sz="1050"/>
                  </a:p>
                </p:txBody>
              </p:sp>
              <p:sp>
                <p:nvSpPr>
                  <p:cNvPr id="2931" name="Freeform 1682"/>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close/>
                      </a:path>
                    </a:pathLst>
                  </a:custGeom>
                  <a:solidFill>
                    <a:srgbClr val="01AAE5"/>
                  </a:solidFill>
                  <a:ln>
                    <a:noFill/>
                  </a:ln>
                  <a:extLst/>
                </p:spPr>
                <p:txBody>
                  <a:bodyPr/>
                  <a:lstStyle/>
                  <a:p>
                    <a:pPr eaLnBrk="1" hangingPunct="1">
                      <a:defRPr/>
                    </a:pPr>
                    <a:endParaRPr lang="zh-CN" altLang="en-US" sz="1050"/>
                  </a:p>
                </p:txBody>
              </p:sp>
              <p:sp>
                <p:nvSpPr>
                  <p:cNvPr id="2932" name="Freeform 1683"/>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path>
                    </a:pathLst>
                  </a:custGeom>
                  <a:noFill/>
                  <a:ln>
                    <a:noFill/>
                  </a:ln>
                  <a:extLst/>
                </p:spPr>
                <p:txBody>
                  <a:bodyPr/>
                  <a:lstStyle/>
                  <a:p>
                    <a:pPr eaLnBrk="1" hangingPunct="1">
                      <a:defRPr/>
                    </a:pPr>
                    <a:endParaRPr lang="zh-CN" altLang="en-US" sz="1050"/>
                  </a:p>
                </p:txBody>
              </p:sp>
              <p:sp>
                <p:nvSpPr>
                  <p:cNvPr id="2933" name="Freeform 1684"/>
                  <p:cNvSpPr>
                    <a:spLocks/>
                  </p:cNvSpPr>
                  <p:nvPr/>
                </p:nvSpPr>
                <p:spPr bwMode="auto">
                  <a:xfrm>
                    <a:off x="10714" y="1881"/>
                    <a:ext cx="0" cy="9"/>
                  </a:xfrm>
                  <a:custGeom>
                    <a:avLst/>
                    <a:gdLst>
                      <a:gd name="T0" fmla="*/ 2 w 2"/>
                      <a:gd name="T1" fmla="*/ 7 h 9"/>
                      <a:gd name="T2" fmla="*/ 0 w 2"/>
                      <a:gd name="T3" fmla="*/ 0 h 9"/>
                      <a:gd name="T4" fmla="*/ 0 w 2"/>
                      <a:gd name="T5" fmla="*/ 0 h 9"/>
                      <a:gd name="T6" fmla="*/ 2 w 2"/>
                      <a:gd name="T7" fmla="*/ 9 h 9"/>
                      <a:gd name="T8" fmla="*/ 2 w 2"/>
                      <a:gd name="T9" fmla="*/ 7 h 9"/>
                    </a:gdLst>
                    <a:ahLst/>
                    <a:cxnLst>
                      <a:cxn ang="0">
                        <a:pos x="T0" y="T1"/>
                      </a:cxn>
                      <a:cxn ang="0">
                        <a:pos x="T2" y="T3"/>
                      </a:cxn>
                      <a:cxn ang="0">
                        <a:pos x="T4" y="T5"/>
                      </a:cxn>
                      <a:cxn ang="0">
                        <a:pos x="T6" y="T7"/>
                      </a:cxn>
                      <a:cxn ang="0">
                        <a:pos x="T8" y="T9"/>
                      </a:cxn>
                    </a:cxnLst>
                    <a:rect l="0" t="0" r="r" b="b"/>
                    <a:pathLst>
                      <a:path w="2" h="9">
                        <a:moveTo>
                          <a:pt x="2" y="7"/>
                        </a:moveTo>
                        <a:lnTo>
                          <a:pt x="0" y="0"/>
                        </a:lnTo>
                        <a:lnTo>
                          <a:pt x="0" y="0"/>
                        </a:lnTo>
                        <a:lnTo>
                          <a:pt x="2" y="9"/>
                        </a:lnTo>
                        <a:lnTo>
                          <a:pt x="2" y="7"/>
                        </a:lnTo>
                        <a:close/>
                      </a:path>
                    </a:pathLst>
                  </a:custGeom>
                  <a:solidFill>
                    <a:srgbClr val="01AAE5"/>
                  </a:solidFill>
                  <a:ln>
                    <a:noFill/>
                  </a:ln>
                  <a:extLst/>
                </p:spPr>
                <p:txBody>
                  <a:bodyPr/>
                  <a:lstStyle/>
                  <a:p>
                    <a:pPr eaLnBrk="1" hangingPunct="1">
                      <a:defRPr/>
                    </a:pPr>
                    <a:endParaRPr lang="zh-CN" altLang="en-US" sz="1050"/>
                  </a:p>
                </p:txBody>
              </p:sp>
              <p:sp>
                <p:nvSpPr>
                  <p:cNvPr id="2934" name="Freeform 1685"/>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2935" name="Freeform 1686"/>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path>
                    </a:pathLst>
                  </a:custGeom>
                  <a:noFill/>
                  <a:ln>
                    <a:noFill/>
                  </a:ln>
                  <a:extLst/>
                </p:spPr>
                <p:txBody>
                  <a:bodyPr/>
                  <a:lstStyle/>
                  <a:p>
                    <a:pPr eaLnBrk="1" hangingPunct="1">
                      <a:defRPr/>
                    </a:pPr>
                    <a:endParaRPr lang="zh-CN" altLang="en-US" sz="1050"/>
                  </a:p>
                </p:txBody>
              </p:sp>
              <p:sp>
                <p:nvSpPr>
                  <p:cNvPr id="2936" name="Freeform 1687"/>
                  <p:cNvSpPr>
                    <a:spLocks/>
                  </p:cNvSpPr>
                  <p:nvPr/>
                </p:nvSpPr>
                <p:spPr bwMode="auto">
                  <a:xfrm>
                    <a:off x="10274" y="2726"/>
                    <a:ext cx="17" cy="0"/>
                  </a:xfrm>
                  <a:custGeom>
                    <a:avLst/>
                    <a:gdLst>
                      <a:gd name="T0" fmla="*/ 10 w 10"/>
                      <a:gd name="T1" fmla="*/ 0 h 2"/>
                      <a:gd name="T2" fmla="*/ 0 w 10"/>
                      <a:gd name="T3" fmla="*/ 2 h 2"/>
                      <a:gd name="T4" fmla="*/ 3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2"/>
                        </a:lnTo>
                        <a:lnTo>
                          <a:pt x="3"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937" name="Freeform 1688"/>
                  <p:cNvSpPr>
                    <a:spLocks/>
                  </p:cNvSpPr>
                  <p:nvPr/>
                </p:nvSpPr>
                <p:spPr bwMode="auto">
                  <a:xfrm>
                    <a:off x="10249" y="2613"/>
                    <a:ext cx="25" cy="9"/>
                  </a:xfrm>
                  <a:custGeom>
                    <a:avLst/>
                    <a:gdLst>
                      <a:gd name="T0" fmla="*/ 19 w 19"/>
                      <a:gd name="T1" fmla="*/ 0 h 2"/>
                      <a:gd name="T2" fmla="*/ 0 w 19"/>
                      <a:gd name="T3" fmla="*/ 2 h 2"/>
                      <a:gd name="T4" fmla="*/ 0 w 19"/>
                      <a:gd name="T5" fmla="*/ 2 h 2"/>
                      <a:gd name="T6" fmla="*/ 19 w 19"/>
                      <a:gd name="T7" fmla="*/ 0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lnTo>
                          <a:pt x="0" y="2"/>
                        </a:lnTo>
                        <a:lnTo>
                          <a:pt x="0" y="2"/>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938" name="Freeform 1689"/>
                  <p:cNvSpPr>
                    <a:spLocks/>
                  </p:cNvSpPr>
                  <p:nvPr/>
                </p:nvSpPr>
                <p:spPr bwMode="auto">
                  <a:xfrm>
                    <a:off x="10257" y="2499"/>
                    <a:ext cx="17" cy="0"/>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2939" name="Freeform 1690"/>
                  <p:cNvSpPr>
                    <a:spLocks/>
                  </p:cNvSpPr>
                  <p:nvPr/>
                </p:nvSpPr>
                <p:spPr bwMode="auto">
                  <a:xfrm>
                    <a:off x="10249" y="2613"/>
                    <a:ext cx="25" cy="0"/>
                  </a:xfrm>
                  <a:custGeom>
                    <a:avLst/>
                    <a:gdLst>
                      <a:gd name="T0" fmla="*/ 19 w 19"/>
                      <a:gd name="T1" fmla="*/ 0 h 3"/>
                      <a:gd name="T2" fmla="*/ 0 w 19"/>
                      <a:gd name="T3" fmla="*/ 0 h 3"/>
                      <a:gd name="T4" fmla="*/ 0 w 19"/>
                      <a:gd name="T5" fmla="*/ 3 h 3"/>
                      <a:gd name="T6" fmla="*/ 19 w 19"/>
                      <a:gd name="T7" fmla="*/ 0 h 3"/>
                      <a:gd name="T8" fmla="*/ 19 w 19"/>
                      <a:gd name="T9" fmla="*/ 0 h 3"/>
                    </a:gdLst>
                    <a:ahLst/>
                    <a:cxnLst>
                      <a:cxn ang="0">
                        <a:pos x="T0" y="T1"/>
                      </a:cxn>
                      <a:cxn ang="0">
                        <a:pos x="T2" y="T3"/>
                      </a:cxn>
                      <a:cxn ang="0">
                        <a:pos x="T4" y="T5"/>
                      </a:cxn>
                      <a:cxn ang="0">
                        <a:pos x="T6" y="T7"/>
                      </a:cxn>
                      <a:cxn ang="0">
                        <a:pos x="T8" y="T9"/>
                      </a:cxn>
                    </a:cxnLst>
                    <a:rect l="0" t="0" r="r" b="b"/>
                    <a:pathLst>
                      <a:path w="19" h="3">
                        <a:moveTo>
                          <a:pt x="19" y="0"/>
                        </a:moveTo>
                        <a:lnTo>
                          <a:pt x="0" y="0"/>
                        </a:lnTo>
                        <a:lnTo>
                          <a:pt x="0" y="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940" name="Freeform 1691"/>
                  <p:cNvSpPr>
                    <a:spLocks/>
                  </p:cNvSpPr>
                  <p:nvPr/>
                </p:nvSpPr>
                <p:spPr bwMode="auto">
                  <a:xfrm>
                    <a:off x="10249" y="2621"/>
                    <a:ext cx="25" cy="0"/>
                  </a:xfrm>
                  <a:custGeom>
                    <a:avLst/>
                    <a:gdLst>
                      <a:gd name="T0" fmla="*/ 21 w 21"/>
                      <a:gd name="T1" fmla="*/ 0 h 2"/>
                      <a:gd name="T2" fmla="*/ 0 w 21"/>
                      <a:gd name="T3" fmla="*/ 2 h 2"/>
                      <a:gd name="T4" fmla="*/ 0 w 21"/>
                      <a:gd name="T5" fmla="*/ 2 h 2"/>
                      <a:gd name="T6" fmla="*/ 21 w 21"/>
                      <a:gd name="T7" fmla="*/ 0 h 2"/>
                      <a:gd name="T8" fmla="*/ 21 w 21"/>
                      <a:gd name="T9" fmla="*/ 0 h 2"/>
                    </a:gdLst>
                    <a:ahLst/>
                    <a:cxnLst>
                      <a:cxn ang="0">
                        <a:pos x="T0" y="T1"/>
                      </a:cxn>
                      <a:cxn ang="0">
                        <a:pos x="T2" y="T3"/>
                      </a:cxn>
                      <a:cxn ang="0">
                        <a:pos x="T4" y="T5"/>
                      </a:cxn>
                      <a:cxn ang="0">
                        <a:pos x="T6" y="T7"/>
                      </a:cxn>
                      <a:cxn ang="0">
                        <a:pos x="T8" y="T9"/>
                      </a:cxn>
                    </a:cxnLst>
                    <a:rect l="0" t="0" r="r" b="b"/>
                    <a:pathLst>
                      <a:path w="21" h="2">
                        <a:moveTo>
                          <a:pt x="21" y="0"/>
                        </a:moveTo>
                        <a:lnTo>
                          <a:pt x="0" y="2"/>
                        </a:lnTo>
                        <a:lnTo>
                          <a:pt x="0" y="2"/>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941" name="Freeform 1692"/>
                  <p:cNvSpPr>
                    <a:spLocks/>
                  </p:cNvSpPr>
                  <p:nvPr/>
                </p:nvSpPr>
                <p:spPr bwMode="auto">
                  <a:xfrm>
                    <a:off x="10348" y="2151"/>
                    <a:ext cx="0" cy="9"/>
                  </a:xfrm>
                  <a:custGeom>
                    <a:avLst/>
                    <a:gdLst>
                      <a:gd name="T0" fmla="*/ 7 w 7"/>
                      <a:gd name="T1" fmla="*/ 7 h 7"/>
                      <a:gd name="T2" fmla="*/ 0 w 7"/>
                      <a:gd name="T3" fmla="*/ 0 h 7"/>
                      <a:gd name="T4" fmla="*/ 0 w 7"/>
                      <a:gd name="T5" fmla="*/ 3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3"/>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2942" name="Freeform 1693"/>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943" name="Freeform 1694"/>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944" name="Freeform 1695"/>
                  <p:cNvSpPr>
                    <a:spLocks/>
                  </p:cNvSpPr>
                  <p:nvPr/>
                </p:nvSpPr>
                <p:spPr bwMode="auto">
                  <a:xfrm>
                    <a:off x="10249" y="2595"/>
                    <a:ext cx="25" cy="9"/>
                  </a:xfrm>
                  <a:custGeom>
                    <a:avLst/>
                    <a:gdLst>
                      <a:gd name="T0" fmla="*/ 16 w 16"/>
                      <a:gd name="T1" fmla="*/ 0 h 2"/>
                      <a:gd name="T2" fmla="*/ 2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2"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2945" name="Freeform 1696"/>
                  <p:cNvSpPr>
                    <a:spLocks/>
                  </p:cNvSpPr>
                  <p:nvPr/>
                </p:nvSpPr>
                <p:spPr bwMode="auto">
                  <a:xfrm>
                    <a:off x="10249" y="2665"/>
                    <a:ext cx="25" cy="0"/>
                  </a:xfrm>
                  <a:custGeom>
                    <a:avLst/>
                    <a:gdLst>
                      <a:gd name="T0" fmla="*/ 30 w 30"/>
                      <a:gd name="T1" fmla="*/ 0 h 4"/>
                      <a:gd name="T2" fmla="*/ 30 w 30"/>
                      <a:gd name="T3" fmla="*/ 0 h 4"/>
                      <a:gd name="T4" fmla="*/ 0 w 30"/>
                      <a:gd name="T5" fmla="*/ 4 h 4"/>
                      <a:gd name="T6" fmla="*/ 0 w 30"/>
                      <a:gd name="T7" fmla="*/ 4 h 4"/>
                      <a:gd name="T8" fmla="*/ 30 w 30"/>
                      <a:gd name="T9" fmla="*/ 0 h 4"/>
                      <a:gd name="T10" fmla="*/ 30 w 30"/>
                      <a:gd name="T11" fmla="*/ 0 h 4"/>
                    </a:gdLst>
                    <a:ahLst/>
                    <a:cxnLst>
                      <a:cxn ang="0">
                        <a:pos x="T0" y="T1"/>
                      </a:cxn>
                      <a:cxn ang="0">
                        <a:pos x="T2" y="T3"/>
                      </a:cxn>
                      <a:cxn ang="0">
                        <a:pos x="T4" y="T5"/>
                      </a:cxn>
                      <a:cxn ang="0">
                        <a:pos x="T6" y="T7"/>
                      </a:cxn>
                      <a:cxn ang="0">
                        <a:pos x="T8" y="T9"/>
                      </a:cxn>
                      <a:cxn ang="0">
                        <a:pos x="T10" y="T11"/>
                      </a:cxn>
                    </a:cxnLst>
                    <a:rect l="0" t="0" r="r" b="b"/>
                    <a:pathLst>
                      <a:path w="30" h="4">
                        <a:moveTo>
                          <a:pt x="30" y="0"/>
                        </a:moveTo>
                        <a:lnTo>
                          <a:pt x="30" y="0"/>
                        </a:lnTo>
                        <a:lnTo>
                          <a:pt x="0" y="4"/>
                        </a:lnTo>
                        <a:lnTo>
                          <a:pt x="0" y="4"/>
                        </a:lnTo>
                        <a:lnTo>
                          <a:pt x="30" y="0"/>
                        </a:lnTo>
                        <a:lnTo>
                          <a:pt x="30" y="0"/>
                        </a:lnTo>
                        <a:close/>
                      </a:path>
                    </a:pathLst>
                  </a:custGeom>
                  <a:solidFill>
                    <a:srgbClr val="01AAE5"/>
                  </a:solidFill>
                  <a:ln>
                    <a:noFill/>
                  </a:ln>
                  <a:extLst/>
                </p:spPr>
                <p:txBody>
                  <a:bodyPr/>
                  <a:lstStyle/>
                  <a:p>
                    <a:pPr eaLnBrk="1" hangingPunct="1">
                      <a:defRPr/>
                    </a:pPr>
                    <a:endParaRPr lang="zh-CN" altLang="en-US" sz="1050"/>
                  </a:p>
                </p:txBody>
              </p:sp>
              <p:sp>
                <p:nvSpPr>
                  <p:cNvPr id="2946" name="Freeform 1697"/>
                  <p:cNvSpPr>
                    <a:spLocks/>
                  </p:cNvSpPr>
                  <p:nvPr/>
                </p:nvSpPr>
                <p:spPr bwMode="auto">
                  <a:xfrm>
                    <a:off x="10249" y="2656"/>
                    <a:ext cx="25" cy="9"/>
                  </a:xfrm>
                  <a:custGeom>
                    <a:avLst/>
                    <a:gdLst>
                      <a:gd name="T0" fmla="*/ 33 w 33"/>
                      <a:gd name="T1" fmla="*/ 0 h 5"/>
                      <a:gd name="T2" fmla="*/ 0 w 33"/>
                      <a:gd name="T3" fmla="*/ 5 h 5"/>
                      <a:gd name="T4" fmla="*/ 3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5"/>
                        </a:lnTo>
                        <a:lnTo>
                          <a:pt x="3"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2947" name="Freeform 1698"/>
                  <p:cNvSpPr>
                    <a:spLocks/>
                  </p:cNvSpPr>
                  <p:nvPr/>
                </p:nvSpPr>
                <p:spPr bwMode="auto">
                  <a:xfrm>
                    <a:off x="10249" y="2647"/>
                    <a:ext cx="25" cy="9"/>
                  </a:xfrm>
                  <a:custGeom>
                    <a:avLst/>
                    <a:gdLst>
                      <a:gd name="T0" fmla="*/ 33 w 33"/>
                      <a:gd name="T1" fmla="*/ 0 h 5"/>
                      <a:gd name="T2" fmla="*/ 0 w 33"/>
                      <a:gd name="T3" fmla="*/ 3 h 5"/>
                      <a:gd name="T4" fmla="*/ 0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3"/>
                        </a:lnTo>
                        <a:lnTo>
                          <a:pt x="0"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2948" name="Freeform 1699"/>
                  <p:cNvSpPr>
                    <a:spLocks/>
                  </p:cNvSpPr>
                  <p:nvPr/>
                </p:nvSpPr>
                <p:spPr bwMode="auto">
                  <a:xfrm>
                    <a:off x="10249" y="2647"/>
                    <a:ext cx="25" cy="0"/>
                  </a:xfrm>
                  <a:custGeom>
                    <a:avLst/>
                    <a:gdLst>
                      <a:gd name="T0" fmla="*/ 31 w 31"/>
                      <a:gd name="T1" fmla="*/ 0 h 7"/>
                      <a:gd name="T2" fmla="*/ 0 w 31"/>
                      <a:gd name="T3" fmla="*/ 5 h 7"/>
                      <a:gd name="T4" fmla="*/ 0 w 31"/>
                      <a:gd name="T5" fmla="*/ 7 h 7"/>
                      <a:gd name="T6" fmla="*/ 31 w 31"/>
                      <a:gd name="T7" fmla="*/ 2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2"/>
                        </a:lnTo>
                        <a:lnTo>
                          <a:pt x="31" y="0"/>
                        </a:lnTo>
                        <a:close/>
                      </a:path>
                    </a:pathLst>
                  </a:custGeom>
                  <a:solidFill>
                    <a:srgbClr val="01AAE5"/>
                  </a:solidFill>
                  <a:ln>
                    <a:noFill/>
                  </a:ln>
                  <a:extLst/>
                </p:spPr>
                <p:txBody>
                  <a:bodyPr/>
                  <a:lstStyle/>
                  <a:p>
                    <a:pPr eaLnBrk="1" hangingPunct="1">
                      <a:defRPr/>
                    </a:pPr>
                    <a:endParaRPr lang="zh-CN" altLang="en-US" sz="1050"/>
                  </a:p>
                </p:txBody>
              </p:sp>
              <p:sp>
                <p:nvSpPr>
                  <p:cNvPr id="2949" name="Freeform 1700"/>
                  <p:cNvSpPr>
                    <a:spLocks/>
                  </p:cNvSpPr>
                  <p:nvPr/>
                </p:nvSpPr>
                <p:spPr bwMode="auto">
                  <a:xfrm>
                    <a:off x="10249" y="2621"/>
                    <a:ext cx="25" cy="9"/>
                  </a:xfrm>
                  <a:custGeom>
                    <a:avLst/>
                    <a:gdLst>
                      <a:gd name="T0" fmla="*/ 26 w 26"/>
                      <a:gd name="T1" fmla="*/ 0 h 5"/>
                      <a:gd name="T2" fmla="*/ 0 w 26"/>
                      <a:gd name="T3" fmla="*/ 3 h 5"/>
                      <a:gd name="T4" fmla="*/ 0 w 26"/>
                      <a:gd name="T5" fmla="*/ 5 h 5"/>
                      <a:gd name="T6" fmla="*/ 26 w 26"/>
                      <a:gd name="T7" fmla="*/ 3 h 5"/>
                      <a:gd name="T8" fmla="*/ 26 w 26"/>
                      <a:gd name="T9" fmla="*/ 0 h 5"/>
                    </a:gdLst>
                    <a:ahLst/>
                    <a:cxnLst>
                      <a:cxn ang="0">
                        <a:pos x="T0" y="T1"/>
                      </a:cxn>
                      <a:cxn ang="0">
                        <a:pos x="T2" y="T3"/>
                      </a:cxn>
                      <a:cxn ang="0">
                        <a:pos x="T4" y="T5"/>
                      </a:cxn>
                      <a:cxn ang="0">
                        <a:pos x="T6" y="T7"/>
                      </a:cxn>
                      <a:cxn ang="0">
                        <a:pos x="T8" y="T9"/>
                      </a:cxn>
                    </a:cxnLst>
                    <a:rect l="0" t="0" r="r" b="b"/>
                    <a:pathLst>
                      <a:path w="26" h="5">
                        <a:moveTo>
                          <a:pt x="26" y="0"/>
                        </a:moveTo>
                        <a:lnTo>
                          <a:pt x="0" y="3"/>
                        </a:lnTo>
                        <a:lnTo>
                          <a:pt x="0" y="5"/>
                        </a:lnTo>
                        <a:lnTo>
                          <a:pt x="26"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950" name="Rectangle 1701"/>
                  <p:cNvSpPr>
                    <a:spLocks noChangeArrowheads="1"/>
                  </p:cNvSpPr>
                  <p:nvPr/>
                </p:nvSpPr>
                <p:spPr bwMode="auto">
                  <a:xfrm>
                    <a:off x="10257"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2951" name="Freeform 1702"/>
                  <p:cNvSpPr>
                    <a:spLocks/>
                  </p:cNvSpPr>
                  <p:nvPr/>
                </p:nvSpPr>
                <p:spPr bwMode="auto">
                  <a:xfrm>
                    <a:off x="10249" y="2630"/>
                    <a:ext cx="25" cy="9"/>
                  </a:xfrm>
                  <a:custGeom>
                    <a:avLst/>
                    <a:gdLst>
                      <a:gd name="T0" fmla="*/ 29 w 29"/>
                      <a:gd name="T1" fmla="*/ 0 h 5"/>
                      <a:gd name="T2" fmla="*/ 0 w 29"/>
                      <a:gd name="T3" fmla="*/ 5 h 5"/>
                      <a:gd name="T4" fmla="*/ 0 w 29"/>
                      <a:gd name="T5" fmla="*/ 5 h 5"/>
                      <a:gd name="T6" fmla="*/ 29 w 29"/>
                      <a:gd name="T7" fmla="*/ 2 h 5"/>
                      <a:gd name="T8" fmla="*/ 29 w 29"/>
                      <a:gd name="T9" fmla="*/ 0 h 5"/>
                    </a:gdLst>
                    <a:ahLst/>
                    <a:cxnLst>
                      <a:cxn ang="0">
                        <a:pos x="T0" y="T1"/>
                      </a:cxn>
                      <a:cxn ang="0">
                        <a:pos x="T2" y="T3"/>
                      </a:cxn>
                      <a:cxn ang="0">
                        <a:pos x="T4" y="T5"/>
                      </a:cxn>
                      <a:cxn ang="0">
                        <a:pos x="T6" y="T7"/>
                      </a:cxn>
                      <a:cxn ang="0">
                        <a:pos x="T8" y="T9"/>
                      </a:cxn>
                    </a:cxnLst>
                    <a:rect l="0" t="0" r="r" b="b"/>
                    <a:pathLst>
                      <a:path w="29" h="5">
                        <a:moveTo>
                          <a:pt x="29" y="0"/>
                        </a:moveTo>
                        <a:lnTo>
                          <a:pt x="0" y="5"/>
                        </a:lnTo>
                        <a:lnTo>
                          <a:pt x="0" y="5"/>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2952" name="Freeform 1703"/>
                  <p:cNvSpPr>
                    <a:spLocks/>
                  </p:cNvSpPr>
                  <p:nvPr/>
                </p:nvSpPr>
                <p:spPr bwMode="auto">
                  <a:xfrm>
                    <a:off x="10249" y="2639"/>
                    <a:ext cx="25" cy="0"/>
                  </a:xfrm>
                  <a:custGeom>
                    <a:avLst/>
                    <a:gdLst>
                      <a:gd name="T0" fmla="*/ 29 w 29"/>
                      <a:gd name="T1" fmla="*/ 0 h 4"/>
                      <a:gd name="T2" fmla="*/ 0 w 29"/>
                      <a:gd name="T3" fmla="*/ 4 h 4"/>
                      <a:gd name="T4" fmla="*/ 0 w 29"/>
                      <a:gd name="T5" fmla="*/ 4 h 4"/>
                      <a:gd name="T6" fmla="*/ 29 w 29"/>
                      <a:gd name="T7" fmla="*/ 2 h 4"/>
                      <a:gd name="T8" fmla="*/ 29 w 29"/>
                      <a:gd name="T9" fmla="*/ 0 h 4"/>
                    </a:gdLst>
                    <a:ahLst/>
                    <a:cxnLst>
                      <a:cxn ang="0">
                        <a:pos x="T0" y="T1"/>
                      </a:cxn>
                      <a:cxn ang="0">
                        <a:pos x="T2" y="T3"/>
                      </a:cxn>
                      <a:cxn ang="0">
                        <a:pos x="T4" y="T5"/>
                      </a:cxn>
                      <a:cxn ang="0">
                        <a:pos x="T6" y="T7"/>
                      </a:cxn>
                      <a:cxn ang="0">
                        <a:pos x="T8" y="T9"/>
                      </a:cxn>
                    </a:cxnLst>
                    <a:rect l="0" t="0" r="r" b="b"/>
                    <a:pathLst>
                      <a:path w="29" h="4">
                        <a:moveTo>
                          <a:pt x="29" y="0"/>
                        </a:moveTo>
                        <a:lnTo>
                          <a:pt x="0" y="4"/>
                        </a:lnTo>
                        <a:lnTo>
                          <a:pt x="0" y="4"/>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2953" name="Freeform 1704"/>
                  <p:cNvSpPr>
                    <a:spLocks/>
                  </p:cNvSpPr>
                  <p:nvPr/>
                </p:nvSpPr>
                <p:spPr bwMode="auto">
                  <a:xfrm>
                    <a:off x="10249" y="2639"/>
                    <a:ext cx="25" cy="9"/>
                  </a:xfrm>
                  <a:custGeom>
                    <a:avLst/>
                    <a:gdLst>
                      <a:gd name="T0" fmla="*/ 31 w 31"/>
                      <a:gd name="T1" fmla="*/ 0 h 7"/>
                      <a:gd name="T2" fmla="*/ 0 w 31"/>
                      <a:gd name="T3" fmla="*/ 5 h 7"/>
                      <a:gd name="T4" fmla="*/ 0 w 31"/>
                      <a:gd name="T5" fmla="*/ 7 h 7"/>
                      <a:gd name="T6" fmla="*/ 31 w 31"/>
                      <a:gd name="T7" fmla="*/ 3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3"/>
                        </a:lnTo>
                        <a:lnTo>
                          <a:pt x="31" y="0"/>
                        </a:lnTo>
                        <a:close/>
                      </a:path>
                    </a:pathLst>
                  </a:custGeom>
                  <a:solidFill>
                    <a:srgbClr val="01AAE5"/>
                  </a:solidFill>
                  <a:ln>
                    <a:noFill/>
                  </a:ln>
                  <a:extLst/>
                </p:spPr>
                <p:txBody>
                  <a:bodyPr/>
                  <a:lstStyle/>
                  <a:p>
                    <a:pPr eaLnBrk="1" hangingPunct="1">
                      <a:defRPr/>
                    </a:pPr>
                    <a:endParaRPr lang="zh-CN" altLang="en-US" sz="1050"/>
                  </a:p>
                </p:txBody>
              </p:sp>
              <p:sp>
                <p:nvSpPr>
                  <p:cNvPr id="2954" name="Rectangle 1705"/>
                  <p:cNvSpPr>
                    <a:spLocks noChangeArrowheads="1"/>
                  </p:cNvSpPr>
                  <p:nvPr/>
                </p:nvSpPr>
                <p:spPr bwMode="auto">
                  <a:xfrm>
                    <a:off x="10257" y="2560"/>
                    <a:ext cx="0" cy="0"/>
                  </a:xfrm>
                  <a:prstGeom prst="rect">
                    <a:avLst/>
                  </a:prstGeom>
                  <a:solidFill>
                    <a:srgbClr val="01AAE5"/>
                  </a:solidFill>
                  <a:ln>
                    <a:noFill/>
                  </a:ln>
                  <a:extLst/>
                </p:spPr>
                <p:txBody>
                  <a:bodyPr/>
                  <a:lstStyle/>
                  <a:p>
                    <a:pPr eaLnBrk="1" hangingPunct="1">
                      <a:defRPr/>
                    </a:pPr>
                    <a:endParaRPr lang="zh-CN" altLang="en-US" sz="1050"/>
                  </a:p>
                </p:txBody>
              </p:sp>
              <p:sp>
                <p:nvSpPr>
                  <p:cNvPr id="2955" name="Rectangle 1706"/>
                  <p:cNvSpPr>
                    <a:spLocks noChangeArrowheads="1"/>
                  </p:cNvSpPr>
                  <p:nvPr/>
                </p:nvSpPr>
                <p:spPr bwMode="auto">
                  <a:xfrm>
                    <a:off x="10257" y="2525"/>
                    <a:ext cx="0" cy="0"/>
                  </a:xfrm>
                  <a:prstGeom prst="rect">
                    <a:avLst/>
                  </a:prstGeom>
                  <a:solidFill>
                    <a:srgbClr val="01AAE5"/>
                  </a:solidFill>
                  <a:ln>
                    <a:noFill/>
                  </a:ln>
                  <a:extLst/>
                </p:spPr>
                <p:txBody>
                  <a:bodyPr/>
                  <a:lstStyle/>
                  <a:p>
                    <a:pPr eaLnBrk="1" hangingPunct="1">
                      <a:defRPr/>
                    </a:pPr>
                    <a:endParaRPr lang="zh-CN" altLang="en-US" sz="1050"/>
                  </a:p>
                </p:txBody>
              </p:sp>
              <p:sp>
                <p:nvSpPr>
                  <p:cNvPr id="2956" name="Freeform 1707"/>
                  <p:cNvSpPr>
                    <a:spLocks/>
                  </p:cNvSpPr>
                  <p:nvPr/>
                </p:nvSpPr>
                <p:spPr bwMode="auto">
                  <a:xfrm>
                    <a:off x="10257" y="2525"/>
                    <a:ext cx="0" cy="9"/>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2957" name="Rectangle 1708"/>
                  <p:cNvSpPr>
                    <a:spLocks noChangeArrowheads="1"/>
                  </p:cNvSpPr>
                  <p:nvPr/>
                </p:nvSpPr>
                <p:spPr bwMode="auto">
                  <a:xfrm>
                    <a:off x="10257" y="2578"/>
                    <a:ext cx="0" cy="0"/>
                  </a:xfrm>
                  <a:prstGeom prst="rect">
                    <a:avLst/>
                  </a:prstGeom>
                  <a:solidFill>
                    <a:srgbClr val="01AAE5"/>
                  </a:solidFill>
                  <a:ln>
                    <a:noFill/>
                  </a:ln>
                  <a:extLst/>
                </p:spPr>
                <p:txBody>
                  <a:bodyPr/>
                  <a:lstStyle/>
                  <a:p>
                    <a:pPr eaLnBrk="1" hangingPunct="1">
                      <a:defRPr/>
                    </a:pPr>
                    <a:endParaRPr lang="zh-CN" altLang="en-US" sz="1050"/>
                  </a:p>
                </p:txBody>
              </p:sp>
              <p:sp>
                <p:nvSpPr>
                  <p:cNvPr id="2958" name="Rectangle 1709"/>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2959" name="Rectangle 1710"/>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2960" name="Freeform 1711"/>
                  <p:cNvSpPr>
                    <a:spLocks/>
                  </p:cNvSpPr>
                  <p:nvPr/>
                </p:nvSpPr>
                <p:spPr bwMode="auto">
                  <a:xfrm>
                    <a:off x="10257" y="2508"/>
                    <a:ext cx="0" cy="9"/>
                  </a:xfrm>
                  <a:custGeom>
                    <a:avLst/>
                    <a:gdLst>
                      <a:gd name="T0" fmla="*/ 8 w 8"/>
                      <a:gd name="T1" fmla="*/ 0 h 3"/>
                      <a:gd name="T2" fmla="*/ 0 w 8"/>
                      <a:gd name="T3" fmla="*/ 0 h 3"/>
                      <a:gd name="T4" fmla="*/ 0 w 8"/>
                      <a:gd name="T5" fmla="*/ 0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0" y="0"/>
                        </a:lnTo>
                        <a:lnTo>
                          <a:pt x="0" y="0"/>
                        </a:lnTo>
                        <a:lnTo>
                          <a:pt x="8" y="3"/>
                        </a:lnTo>
                        <a:lnTo>
                          <a:pt x="8" y="0"/>
                        </a:lnTo>
                        <a:close/>
                      </a:path>
                    </a:pathLst>
                  </a:custGeom>
                  <a:solidFill>
                    <a:srgbClr val="01AAE5"/>
                  </a:solidFill>
                  <a:ln>
                    <a:noFill/>
                  </a:ln>
                  <a:extLst/>
                </p:spPr>
                <p:txBody>
                  <a:bodyPr/>
                  <a:lstStyle/>
                  <a:p>
                    <a:pPr eaLnBrk="1" hangingPunct="1">
                      <a:defRPr/>
                    </a:pPr>
                    <a:endParaRPr lang="zh-CN" altLang="en-US" sz="1050"/>
                  </a:p>
                </p:txBody>
              </p:sp>
            </p:grpSp>
            <p:grpSp>
              <p:nvGrpSpPr>
                <p:cNvPr id="18" name="Group 1913"/>
                <p:cNvGrpSpPr>
                  <a:grpSpLocks/>
                </p:cNvGrpSpPr>
                <p:nvPr/>
              </p:nvGrpSpPr>
              <p:grpSpPr bwMode="auto">
                <a:xfrm>
                  <a:off x="16149638" y="3429000"/>
                  <a:ext cx="1431925" cy="1789113"/>
                  <a:chOff x="10173" y="2160"/>
                  <a:chExt cx="902" cy="1127"/>
                </a:xfrm>
              </p:grpSpPr>
              <p:sp>
                <p:nvSpPr>
                  <p:cNvPr id="2561" name="Rectangle 1713"/>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2562" name="Rectangle 1714"/>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2563" name="Rectangle 1715"/>
                  <p:cNvSpPr>
                    <a:spLocks noChangeArrowheads="1"/>
                  </p:cNvSpPr>
                  <p:nvPr/>
                </p:nvSpPr>
                <p:spPr bwMode="auto">
                  <a:xfrm>
                    <a:off x="10190" y="2517"/>
                    <a:ext cx="8" cy="9"/>
                  </a:xfrm>
                  <a:prstGeom prst="rect">
                    <a:avLst/>
                  </a:prstGeom>
                  <a:solidFill>
                    <a:srgbClr val="01AAE5"/>
                  </a:solidFill>
                  <a:ln>
                    <a:noFill/>
                  </a:ln>
                  <a:extLst/>
                </p:spPr>
                <p:txBody>
                  <a:bodyPr/>
                  <a:lstStyle/>
                  <a:p>
                    <a:pPr eaLnBrk="1" hangingPunct="1">
                      <a:defRPr/>
                    </a:pPr>
                    <a:endParaRPr lang="zh-CN" altLang="en-US" sz="1050"/>
                  </a:p>
                </p:txBody>
              </p:sp>
              <p:sp>
                <p:nvSpPr>
                  <p:cNvPr id="2564" name="Freeform 1716"/>
                  <p:cNvSpPr>
                    <a:spLocks/>
                  </p:cNvSpPr>
                  <p:nvPr/>
                </p:nvSpPr>
                <p:spPr bwMode="auto">
                  <a:xfrm>
                    <a:off x="10182" y="2543"/>
                    <a:ext cx="17" cy="0"/>
                  </a:xfrm>
                  <a:custGeom>
                    <a:avLst/>
                    <a:gdLst>
                      <a:gd name="T0" fmla="*/ 10 w 10"/>
                      <a:gd name="T1" fmla="*/ 0 h 3"/>
                      <a:gd name="T2" fmla="*/ 0 w 10"/>
                      <a:gd name="T3" fmla="*/ 0 h 3"/>
                      <a:gd name="T4" fmla="*/ 0 w 10"/>
                      <a:gd name="T5" fmla="*/ 0 h 3"/>
                      <a:gd name="T6" fmla="*/ 1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0"/>
                        </a:lnTo>
                        <a:lnTo>
                          <a:pt x="0" y="0"/>
                        </a:lnTo>
                        <a:lnTo>
                          <a:pt x="1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565" name="Rectangle 1717"/>
                  <p:cNvSpPr>
                    <a:spLocks noChangeArrowheads="1"/>
                  </p:cNvSpPr>
                  <p:nvPr/>
                </p:nvSpPr>
                <p:spPr bwMode="auto">
                  <a:xfrm>
                    <a:off x="10182"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2566" name="Freeform 1718"/>
                  <p:cNvSpPr>
                    <a:spLocks/>
                  </p:cNvSpPr>
                  <p:nvPr/>
                </p:nvSpPr>
                <p:spPr bwMode="auto">
                  <a:xfrm>
                    <a:off x="10182" y="2578"/>
                    <a:ext cx="17" cy="0"/>
                  </a:xfrm>
                  <a:custGeom>
                    <a:avLst/>
                    <a:gdLst>
                      <a:gd name="T0" fmla="*/ 10 w 10"/>
                      <a:gd name="T1" fmla="*/ 0 h 2"/>
                      <a:gd name="T2" fmla="*/ 0 w 10"/>
                      <a:gd name="T3" fmla="*/ 0 h 2"/>
                      <a:gd name="T4" fmla="*/ 0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0"/>
                        </a:lnTo>
                        <a:lnTo>
                          <a:pt x="0"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567" name="Rectangle 1719"/>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2568" name="Rectangle 1720"/>
                  <p:cNvSpPr>
                    <a:spLocks noChangeArrowheads="1"/>
                  </p:cNvSpPr>
                  <p:nvPr/>
                </p:nvSpPr>
                <p:spPr bwMode="auto">
                  <a:xfrm>
                    <a:off x="10182"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2569" name="Freeform 1721"/>
                  <p:cNvSpPr>
                    <a:spLocks/>
                  </p:cNvSpPr>
                  <p:nvPr/>
                </p:nvSpPr>
                <p:spPr bwMode="auto">
                  <a:xfrm>
                    <a:off x="10182" y="2674"/>
                    <a:ext cx="33" cy="9"/>
                  </a:xfrm>
                  <a:custGeom>
                    <a:avLst/>
                    <a:gdLst>
                      <a:gd name="T0" fmla="*/ 33 w 33"/>
                      <a:gd name="T1" fmla="*/ 0 h 7"/>
                      <a:gd name="T2" fmla="*/ 0 w 33"/>
                      <a:gd name="T3" fmla="*/ 5 h 7"/>
                      <a:gd name="T4" fmla="*/ 0 w 33"/>
                      <a:gd name="T5" fmla="*/ 7 h 7"/>
                      <a:gd name="T6" fmla="*/ 33 w 33"/>
                      <a:gd name="T7" fmla="*/ 0 h 7"/>
                      <a:gd name="T8" fmla="*/ 33 w 33"/>
                      <a:gd name="T9" fmla="*/ 0 h 7"/>
                    </a:gdLst>
                    <a:ahLst/>
                    <a:cxnLst>
                      <a:cxn ang="0">
                        <a:pos x="T0" y="T1"/>
                      </a:cxn>
                      <a:cxn ang="0">
                        <a:pos x="T2" y="T3"/>
                      </a:cxn>
                      <a:cxn ang="0">
                        <a:pos x="T4" y="T5"/>
                      </a:cxn>
                      <a:cxn ang="0">
                        <a:pos x="T6" y="T7"/>
                      </a:cxn>
                      <a:cxn ang="0">
                        <a:pos x="T8" y="T9"/>
                      </a:cxn>
                    </a:cxnLst>
                    <a:rect l="0" t="0" r="r" b="b"/>
                    <a:pathLst>
                      <a:path w="33" h="7">
                        <a:moveTo>
                          <a:pt x="33" y="0"/>
                        </a:moveTo>
                        <a:lnTo>
                          <a:pt x="0" y="5"/>
                        </a:lnTo>
                        <a:lnTo>
                          <a:pt x="0" y="7"/>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2570" name="Rectangle 1722"/>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2571" name="Freeform 1723"/>
                  <p:cNvSpPr>
                    <a:spLocks/>
                  </p:cNvSpPr>
                  <p:nvPr/>
                </p:nvSpPr>
                <p:spPr bwMode="auto">
                  <a:xfrm>
                    <a:off x="10182" y="2621"/>
                    <a:ext cx="25" cy="9"/>
                  </a:xfrm>
                  <a:custGeom>
                    <a:avLst/>
                    <a:gdLst>
                      <a:gd name="T0" fmla="*/ 24 w 26"/>
                      <a:gd name="T1" fmla="*/ 0 h 5"/>
                      <a:gd name="T2" fmla="*/ 0 w 26"/>
                      <a:gd name="T3" fmla="*/ 3 h 5"/>
                      <a:gd name="T4" fmla="*/ 0 w 26"/>
                      <a:gd name="T5" fmla="*/ 5 h 5"/>
                      <a:gd name="T6" fmla="*/ 26 w 26"/>
                      <a:gd name="T7" fmla="*/ 3 h 5"/>
                      <a:gd name="T8" fmla="*/ 24 w 26"/>
                      <a:gd name="T9" fmla="*/ 0 h 5"/>
                    </a:gdLst>
                    <a:ahLst/>
                    <a:cxnLst>
                      <a:cxn ang="0">
                        <a:pos x="T0" y="T1"/>
                      </a:cxn>
                      <a:cxn ang="0">
                        <a:pos x="T2" y="T3"/>
                      </a:cxn>
                      <a:cxn ang="0">
                        <a:pos x="T4" y="T5"/>
                      </a:cxn>
                      <a:cxn ang="0">
                        <a:pos x="T6" y="T7"/>
                      </a:cxn>
                      <a:cxn ang="0">
                        <a:pos x="T8" y="T9"/>
                      </a:cxn>
                    </a:cxnLst>
                    <a:rect l="0" t="0" r="r" b="b"/>
                    <a:pathLst>
                      <a:path w="26" h="5">
                        <a:moveTo>
                          <a:pt x="24" y="0"/>
                        </a:moveTo>
                        <a:lnTo>
                          <a:pt x="0" y="3"/>
                        </a:lnTo>
                        <a:lnTo>
                          <a:pt x="0" y="5"/>
                        </a:lnTo>
                        <a:lnTo>
                          <a:pt x="26" y="3"/>
                        </a:lnTo>
                        <a:lnTo>
                          <a:pt x="24" y="0"/>
                        </a:lnTo>
                        <a:close/>
                      </a:path>
                    </a:pathLst>
                  </a:custGeom>
                  <a:solidFill>
                    <a:srgbClr val="01AAE5"/>
                  </a:solidFill>
                  <a:ln>
                    <a:noFill/>
                  </a:ln>
                  <a:extLst/>
                </p:spPr>
                <p:txBody>
                  <a:bodyPr/>
                  <a:lstStyle/>
                  <a:p>
                    <a:pPr eaLnBrk="1" hangingPunct="1">
                      <a:defRPr/>
                    </a:pPr>
                    <a:endParaRPr lang="zh-CN" altLang="en-US" sz="1050"/>
                  </a:p>
                </p:txBody>
              </p:sp>
              <p:sp>
                <p:nvSpPr>
                  <p:cNvPr id="2572" name="Freeform 1724"/>
                  <p:cNvSpPr>
                    <a:spLocks/>
                  </p:cNvSpPr>
                  <p:nvPr/>
                </p:nvSpPr>
                <p:spPr bwMode="auto">
                  <a:xfrm>
                    <a:off x="10232" y="2787"/>
                    <a:ext cx="0"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73" name="Freeform 1725"/>
                  <p:cNvSpPr>
                    <a:spLocks/>
                  </p:cNvSpPr>
                  <p:nvPr/>
                </p:nvSpPr>
                <p:spPr bwMode="auto">
                  <a:xfrm>
                    <a:off x="10232" y="2796"/>
                    <a:ext cx="0" cy="0"/>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74" name="Freeform 1726"/>
                  <p:cNvSpPr>
                    <a:spLocks/>
                  </p:cNvSpPr>
                  <p:nvPr/>
                </p:nvSpPr>
                <p:spPr bwMode="auto">
                  <a:xfrm>
                    <a:off x="10232" y="2796"/>
                    <a:ext cx="8" cy="9"/>
                  </a:xfrm>
                  <a:custGeom>
                    <a:avLst/>
                    <a:gdLst>
                      <a:gd name="T0" fmla="*/ 7 w 10"/>
                      <a:gd name="T1" fmla="*/ 0 h 4"/>
                      <a:gd name="T2" fmla="*/ 0 w 10"/>
                      <a:gd name="T3" fmla="*/ 4 h 4"/>
                      <a:gd name="T4" fmla="*/ 0 w 10"/>
                      <a:gd name="T5" fmla="*/ 4 h 4"/>
                      <a:gd name="T6" fmla="*/ 10 w 10"/>
                      <a:gd name="T7" fmla="*/ 2 h 4"/>
                      <a:gd name="T8" fmla="*/ 7 w 10"/>
                      <a:gd name="T9" fmla="*/ 0 h 4"/>
                    </a:gdLst>
                    <a:ahLst/>
                    <a:cxnLst>
                      <a:cxn ang="0">
                        <a:pos x="T0" y="T1"/>
                      </a:cxn>
                      <a:cxn ang="0">
                        <a:pos x="T2" y="T3"/>
                      </a:cxn>
                      <a:cxn ang="0">
                        <a:pos x="T4" y="T5"/>
                      </a:cxn>
                      <a:cxn ang="0">
                        <a:pos x="T6" y="T7"/>
                      </a:cxn>
                      <a:cxn ang="0">
                        <a:pos x="T8" y="T9"/>
                      </a:cxn>
                    </a:cxnLst>
                    <a:rect l="0" t="0" r="r" b="b"/>
                    <a:pathLst>
                      <a:path w="10" h="4">
                        <a:moveTo>
                          <a:pt x="7" y="0"/>
                        </a:moveTo>
                        <a:lnTo>
                          <a:pt x="0" y="4"/>
                        </a:lnTo>
                        <a:lnTo>
                          <a:pt x="0" y="4"/>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75" name="Freeform 1727"/>
                  <p:cNvSpPr>
                    <a:spLocks/>
                  </p:cNvSpPr>
                  <p:nvPr/>
                </p:nvSpPr>
                <p:spPr bwMode="auto">
                  <a:xfrm>
                    <a:off x="10232" y="2796"/>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76" name="Freeform 1728"/>
                  <p:cNvSpPr>
                    <a:spLocks/>
                  </p:cNvSpPr>
                  <p:nvPr/>
                </p:nvSpPr>
                <p:spPr bwMode="auto">
                  <a:xfrm>
                    <a:off x="10232" y="2778"/>
                    <a:ext cx="0" cy="9"/>
                  </a:xfrm>
                  <a:custGeom>
                    <a:avLst/>
                    <a:gdLst>
                      <a:gd name="T0" fmla="*/ 7 w 10"/>
                      <a:gd name="T1" fmla="*/ 0 h 5"/>
                      <a:gd name="T2" fmla="*/ 0 w 10"/>
                      <a:gd name="T3" fmla="*/ 5 h 5"/>
                      <a:gd name="T4" fmla="*/ 0 w 10"/>
                      <a:gd name="T5" fmla="*/ 5 h 5"/>
                      <a:gd name="T6" fmla="*/ 10 w 10"/>
                      <a:gd name="T7" fmla="*/ 2 h 5"/>
                      <a:gd name="T8" fmla="*/ 7 w 10"/>
                      <a:gd name="T9" fmla="*/ 0 h 5"/>
                    </a:gdLst>
                    <a:ahLst/>
                    <a:cxnLst>
                      <a:cxn ang="0">
                        <a:pos x="T0" y="T1"/>
                      </a:cxn>
                      <a:cxn ang="0">
                        <a:pos x="T2" y="T3"/>
                      </a:cxn>
                      <a:cxn ang="0">
                        <a:pos x="T4" y="T5"/>
                      </a:cxn>
                      <a:cxn ang="0">
                        <a:pos x="T6" y="T7"/>
                      </a:cxn>
                      <a:cxn ang="0">
                        <a:pos x="T8" y="T9"/>
                      </a:cxn>
                    </a:cxnLst>
                    <a:rect l="0" t="0" r="r" b="b"/>
                    <a:pathLst>
                      <a:path w="10" h="5">
                        <a:moveTo>
                          <a:pt x="7" y="0"/>
                        </a:moveTo>
                        <a:lnTo>
                          <a:pt x="0" y="5"/>
                        </a:lnTo>
                        <a:lnTo>
                          <a:pt x="0" y="5"/>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77" name="Freeform 1729"/>
                  <p:cNvSpPr>
                    <a:spLocks/>
                  </p:cNvSpPr>
                  <p:nvPr/>
                </p:nvSpPr>
                <p:spPr bwMode="auto">
                  <a:xfrm>
                    <a:off x="10224" y="2769"/>
                    <a:ext cx="0" cy="0"/>
                  </a:xfrm>
                  <a:custGeom>
                    <a:avLst/>
                    <a:gdLst>
                      <a:gd name="T0" fmla="*/ 10 w 10"/>
                      <a:gd name="T1" fmla="*/ 0 h 5"/>
                      <a:gd name="T2" fmla="*/ 0 w 10"/>
                      <a:gd name="T3" fmla="*/ 2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2"/>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578" name="Freeform 1730"/>
                  <p:cNvSpPr>
                    <a:spLocks/>
                  </p:cNvSpPr>
                  <p:nvPr/>
                </p:nvSpPr>
                <p:spPr bwMode="auto">
                  <a:xfrm>
                    <a:off x="10224" y="2769"/>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79" name="Freeform 1731"/>
                  <p:cNvSpPr>
                    <a:spLocks/>
                  </p:cNvSpPr>
                  <p:nvPr/>
                </p:nvSpPr>
                <p:spPr bwMode="auto">
                  <a:xfrm>
                    <a:off x="10224" y="2778"/>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80" name="Freeform 1732"/>
                  <p:cNvSpPr>
                    <a:spLocks/>
                  </p:cNvSpPr>
                  <p:nvPr/>
                </p:nvSpPr>
                <p:spPr bwMode="auto">
                  <a:xfrm>
                    <a:off x="10224" y="2769"/>
                    <a:ext cx="0" cy="0"/>
                  </a:xfrm>
                  <a:custGeom>
                    <a:avLst/>
                    <a:gdLst>
                      <a:gd name="T0" fmla="*/ 7 w 9"/>
                      <a:gd name="T1" fmla="*/ 0 h 4"/>
                      <a:gd name="T2" fmla="*/ 0 w 9"/>
                      <a:gd name="T3" fmla="*/ 2 h 4"/>
                      <a:gd name="T4" fmla="*/ 0 w 9"/>
                      <a:gd name="T5" fmla="*/ 4 h 4"/>
                      <a:gd name="T6" fmla="*/ 9 w 9"/>
                      <a:gd name="T7" fmla="*/ 2 h 4"/>
                      <a:gd name="T8" fmla="*/ 7 w 9"/>
                      <a:gd name="T9" fmla="*/ 0 h 4"/>
                    </a:gdLst>
                    <a:ahLst/>
                    <a:cxnLst>
                      <a:cxn ang="0">
                        <a:pos x="T0" y="T1"/>
                      </a:cxn>
                      <a:cxn ang="0">
                        <a:pos x="T2" y="T3"/>
                      </a:cxn>
                      <a:cxn ang="0">
                        <a:pos x="T4" y="T5"/>
                      </a:cxn>
                      <a:cxn ang="0">
                        <a:pos x="T6" y="T7"/>
                      </a:cxn>
                      <a:cxn ang="0">
                        <a:pos x="T8" y="T9"/>
                      </a:cxn>
                    </a:cxnLst>
                    <a:rect l="0" t="0" r="r" b="b"/>
                    <a:pathLst>
                      <a:path w="9" h="4">
                        <a:moveTo>
                          <a:pt x="7" y="0"/>
                        </a:moveTo>
                        <a:lnTo>
                          <a:pt x="0" y="2"/>
                        </a:lnTo>
                        <a:lnTo>
                          <a:pt x="0" y="4"/>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81" name="Freeform 1733"/>
                  <p:cNvSpPr>
                    <a:spLocks/>
                  </p:cNvSpPr>
                  <p:nvPr/>
                </p:nvSpPr>
                <p:spPr bwMode="auto">
                  <a:xfrm>
                    <a:off x="10240" y="2830"/>
                    <a:ext cx="17" cy="0"/>
                  </a:xfrm>
                  <a:custGeom>
                    <a:avLst/>
                    <a:gdLst>
                      <a:gd name="T0" fmla="*/ 7 w 9"/>
                      <a:gd name="T1" fmla="*/ 0 h 5"/>
                      <a:gd name="T2" fmla="*/ 0 w 9"/>
                      <a:gd name="T3" fmla="*/ 5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5"/>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82" name="Freeform 1734"/>
                  <p:cNvSpPr>
                    <a:spLocks/>
                  </p:cNvSpPr>
                  <p:nvPr/>
                </p:nvSpPr>
                <p:spPr bwMode="auto">
                  <a:xfrm>
                    <a:off x="10249" y="2830"/>
                    <a:ext cx="8"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83" name="Freeform 1735"/>
                  <p:cNvSpPr>
                    <a:spLocks/>
                  </p:cNvSpPr>
                  <p:nvPr/>
                </p:nvSpPr>
                <p:spPr bwMode="auto">
                  <a:xfrm>
                    <a:off x="10249" y="2830"/>
                    <a:ext cx="8" cy="0"/>
                  </a:xfrm>
                  <a:custGeom>
                    <a:avLst/>
                    <a:gdLst>
                      <a:gd name="T0" fmla="*/ 7 w 7"/>
                      <a:gd name="T1" fmla="*/ 0 h 5"/>
                      <a:gd name="T2" fmla="*/ 0 w 7"/>
                      <a:gd name="T3" fmla="*/ 5 h 5"/>
                      <a:gd name="T4" fmla="*/ 0 w 7"/>
                      <a:gd name="T5" fmla="*/ 5 h 5"/>
                      <a:gd name="T6" fmla="*/ 7 w 7"/>
                      <a:gd name="T7" fmla="*/ 2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84" name="Freeform 1736"/>
                  <p:cNvSpPr>
                    <a:spLocks/>
                  </p:cNvSpPr>
                  <p:nvPr/>
                </p:nvSpPr>
                <p:spPr bwMode="auto">
                  <a:xfrm>
                    <a:off x="10249" y="2839"/>
                    <a:ext cx="8" cy="9"/>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85" name="Freeform 1737"/>
                  <p:cNvSpPr>
                    <a:spLocks/>
                  </p:cNvSpPr>
                  <p:nvPr/>
                </p:nvSpPr>
                <p:spPr bwMode="auto">
                  <a:xfrm>
                    <a:off x="10232" y="2813"/>
                    <a:ext cx="17" cy="9"/>
                  </a:xfrm>
                  <a:custGeom>
                    <a:avLst/>
                    <a:gdLst>
                      <a:gd name="T0" fmla="*/ 10 w 10"/>
                      <a:gd name="T1" fmla="*/ 0 h 5"/>
                      <a:gd name="T2" fmla="*/ 0 w 10"/>
                      <a:gd name="T3" fmla="*/ 5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5"/>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586" name="Freeform 1738"/>
                  <p:cNvSpPr>
                    <a:spLocks/>
                  </p:cNvSpPr>
                  <p:nvPr/>
                </p:nvSpPr>
                <p:spPr bwMode="auto">
                  <a:xfrm>
                    <a:off x="10240" y="2822"/>
                    <a:ext cx="8" cy="9"/>
                  </a:xfrm>
                  <a:custGeom>
                    <a:avLst/>
                    <a:gdLst>
                      <a:gd name="T0" fmla="*/ 10 w 10"/>
                      <a:gd name="T1" fmla="*/ 0 h 4"/>
                      <a:gd name="T2" fmla="*/ 0 w 10"/>
                      <a:gd name="T3" fmla="*/ 4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4"/>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587" name="Freeform 1739"/>
                  <p:cNvSpPr>
                    <a:spLocks/>
                  </p:cNvSpPr>
                  <p:nvPr/>
                </p:nvSpPr>
                <p:spPr bwMode="auto">
                  <a:xfrm>
                    <a:off x="10232" y="2813"/>
                    <a:ext cx="17" cy="0"/>
                  </a:xfrm>
                  <a:custGeom>
                    <a:avLst/>
                    <a:gdLst>
                      <a:gd name="T0" fmla="*/ 9 w 9"/>
                      <a:gd name="T1" fmla="*/ 0 h 2"/>
                      <a:gd name="T2" fmla="*/ 0 w 9"/>
                      <a:gd name="T3" fmla="*/ 2 h 2"/>
                      <a:gd name="T4" fmla="*/ 2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2"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88" name="Freeform 1740"/>
                  <p:cNvSpPr>
                    <a:spLocks/>
                  </p:cNvSpPr>
                  <p:nvPr/>
                </p:nvSpPr>
                <p:spPr bwMode="auto">
                  <a:xfrm>
                    <a:off x="10232" y="2804"/>
                    <a:ext cx="8" cy="9"/>
                  </a:xfrm>
                  <a:custGeom>
                    <a:avLst/>
                    <a:gdLst>
                      <a:gd name="T0" fmla="*/ 7 w 7"/>
                      <a:gd name="T1" fmla="*/ 0 h 5"/>
                      <a:gd name="T2" fmla="*/ 0 w 7"/>
                      <a:gd name="T3" fmla="*/ 5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89" name="Freeform 1741"/>
                  <p:cNvSpPr>
                    <a:spLocks/>
                  </p:cNvSpPr>
                  <p:nvPr/>
                </p:nvSpPr>
                <p:spPr bwMode="auto">
                  <a:xfrm>
                    <a:off x="10207" y="2743"/>
                    <a:ext cx="17" cy="0"/>
                  </a:xfrm>
                  <a:custGeom>
                    <a:avLst/>
                    <a:gdLst>
                      <a:gd name="T0" fmla="*/ 7 w 7"/>
                      <a:gd name="T1" fmla="*/ 0 h 2"/>
                      <a:gd name="T2" fmla="*/ 0 w 7"/>
                      <a:gd name="T3" fmla="*/ 2 h 2"/>
                      <a:gd name="T4" fmla="*/ 0 w 7"/>
                      <a:gd name="T5" fmla="*/ 2 h 2"/>
                      <a:gd name="T6" fmla="*/ 7 w 7"/>
                      <a:gd name="T7" fmla="*/ 0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2"/>
                        </a:lnTo>
                        <a:lnTo>
                          <a:pt x="0" y="2"/>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2590" name="Freeform 1742"/>
                  <p:cNvSpPr>
                    <a:spLocks/>
                  </p:cNvSpPr>
                  <p:nvPr/>
                </p:nvSpPr>
                <p:spPr bwMode="auto">
                  <a:xfrm>
                    <a:off x="10199" y="2708"/>
                    <a:ext cx="17" cy="9"/>
                  </a:xfrm>
                  <a:custGeom>
                    <a:avLst/>
                    <a:gdLst>
                      <a:gd name="T0" fmla="*/ 14 w 14"/>
                      <a:gd name="T1" fmla="*/ 0 h 5"/>
                      <a:gd name="T2" fmla="*/ 0 w 14"/>
                      <a:gd name="T3" fmla="*/ 2 h 5"/>
                      <a:gd name="T4" fmla="*/ 3 w 14"/>
                      <a:gd name="T5" fmla="*/ 5 h 5"/>
                      <a:gd name="T6" fmla="*/ 14 w 14"/>
                      <a:gd name="T7" fmla="*/ 2 h 5"/>
                      <a:gd name="T8" fmla="*/ 14 w 14"/>
                      <a:gd name="T9" fmla="*/ 0 h 5"/>
                    </a:gdLst>
                    <a:ahLst/>
                    <a:cxnLst>
                      <a:cxn ang="0">
                        <a:pos x="T0" y="T1"/>
                      </a:cxn>
                      <a:cxn ang="0">
                        <a:pos x="T2" y="T3"/>
                      </a:cxn>
                      <a:cxn ang="0">
                        <a:pos x="T4" y="T5"/>
                      </a:cxn>
                      <a:cxn ang="0">
                        <a:pos x="T6" y="T7"/>
                      </a:cxn>
                      <a:cxn ang="0">
                        <a:pos x="T8" y="T9"/>
                      </a:cxn>
                    </a:cxnLst>
                    <a:rect l="0" t="0" r="r" b="b"/>
                    <a:pathLst>
                      <a:path w="14" h="5">
                        <a:moveTo>
                          <a:pt x="14" y="0"/>
                        </a:moveTo>
                        <a:lnTo>
                          <a:pt x="0" y="2"/>
                        </a:lnTo>
                        <a:lnTo>
                          <a:pt x="3" y="5"/>
                        </a:lnTo>
                        <a:lnTo>
                          <a:pt x="14" y="2"/>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591" name="Freeform 1743"/>
                  <p:cNvSpPr>
                    <a:spLocks/>
                  </p:cNvSpPr>
                  <p:nvPr/>
                </p:nvSpPr>
                <p:spPr bwMode="auto">
                  <a:xfrm>
                    <a:off x="10199" y="2700"/>
                    <a:ext cx="17" cy="9"/>
                  </a:xfrm>
                  <a:custGeom>
                    <a:avLst/>
                    <a:gdLst>
                      <a:gd name="T0" fmla="*/ 16 w 16"/>
                      <a:gd name="T1" fmla="*/ 0 h 5"/>
                      <a:gd name="T2" fmla="*/ 0 w 16"/>
                      <a:gd name="T3" fmla="*/ 2 h 5"/>
                      <a:gd name="T4" fmla="*/ 0 w 16"/>
                      <a:gd name="T5" fmla="*/ 5 h 5"/>
                      <a:gd name="T6" fmla="*/ 16 w 16"/>
                      <a:gd name="T7" fmla="*/ 0 h 5"/>
                      <a:gd name="T8" fmla="*/ 16 w 16"/>
                      <a:gd name="T9" fmla="*/ 0 h 5"/>
                    </a:gdLst>
                    <a:ahLst/>
                    <a:cxnLst>
                      <a:cxn ang="0">
                        <a:pos x="T0" y="T1"/>
                      </a:cxn>
                      <a:cxn ang="0">
                        <a:pos x="T2" y="T3"/>
                      </a:cxn>
                      <a:cxn ang="0">
                        <a:pos x="T4" y="T5"/>
                      </a:cxn>
                      <a:cxn ang="0">
                        <a:pos x="T6" y="T7"/>
                      </a:cxn>
                      <a:cxn ang="0">
                        <a:pos x="T8" y="T9"/>
                      </a:cxn>
                    </a:cxnLst>
                    <a:rect l="0" t="0" r="r" b="b"/>
                    <a:pathLst>
                      <a:path w="16" h="5">
                        <a:moveTo>
                          <a:pt x="16" y="0"/>
                        </a:moveTo>
                        <a:lnTo>
                          <a:pt x="0" y="2"/>
                        </a:lnTo>
                        <a:lnTo>
                          <a:pt x="0" y="5"/>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2592" name="Freeform 1744"/>
                  <p:cNvSpPr>
                    <a:spLocks/>
                  </p:cNvSpPr>
                  <p:nvPr/>
                </p:nvSpPr>
                <p:spPr bwMode="auto">
                  <a:xfrm>
                    <a:off x="10199" y="2691"/>
                    <a:ext cx="17" cy="9"/>
                  </a:xfrm>
                  <a:custGeom>
                    <a:avLst/>
                    <a:gdLst>
                      <a:gd name="T0" fmla="*/ 18 w 18"/>
                      <a:gd name="T1" fmla="*/ 0 h 5"/>
                      <a:gd name="T2" fmla="*/ 0 w 18"/>
                      <a:gd name="T3" fmla="*/ 3 h 5"/>
                      <a:gd name="T4" fmla="*/ 0 w 18"/>
                      <a:gd name="T5" fmla="*/ 5 h 5"/>
                      <a:gd name="T6" fmla="*/ 18 w 18"/>
                      <a:gd name="T7" fmla="*/ 0 h 5"/>
                      <a:gd name="T8" fmla="*/ 18 w 18"/>
                      <a:gd name="T9" fmla="*/ 0 h 5"/>
                    </a:gdLst>
                    <a:ahLst/>
                    <a:cxnLst>
                      <a:cxn ang="0">
                        <a:pos x="T0" y="T1"/>
                      </a:cxn>
                      <a:cxn ang="0">
                        <a:pos x="T2" y="T3"/>
                      </a:cxn>
                      <a:cxn ang="0">
                        <a:pos x="T4" y="T5"/>
                      </a:cxn>
                      <a:cxn ang="0">
                        <a:pos x="T6" y="T7"/>
                      </a:cxn>
                      <a:cxn ang="0">
                        <a:pos x="T8" y="T9"/>
                      </a:cxn>
                    </a:cxnLst>
                    <a:rect l="0" t="0" r="r" b="b"/>
                    <a:pathLst>
                      <a:path w="18" h="5">
                        <a:moveTo>
                          <a:pt x="18" y="0"/>
                        </a:moveTo>
                        <a:lnTo>
                          <a:pt x="0" y="3"/>
                        </a:lnTo>
                        <a:lnTo>
                          <a:pt x="0" y="5"/>
                        </a:lnTo>
                        <a:lnTo>
                          <a:pt x="18" y="0"/>
                        </a:lnTo>
                        <a:lnTo>
                          <a:pt x="18" y="0"/>
                        </a:lnTo>
                        <a:close/>
                      </a:path>
                    </a:pathLst>
                  </a:custGeom>
                  <a:solidFill>
                    <a:srgbClr val="01AAE5"/>
                  </a:solidFill>
                  <a:ln>
                    <a:noFill/>
                  </a:ln>
                  <a:extLst/>
                </p:spPr>
                <p:txBody>
                  <a:bodyPr/>
                  <a:lstStyle/>
                  <a:p>
                    <a:pPr eaLnBrk="1" hangingPunct="1">
                      <a:defRPr/>
                    </a:pPr>
                    <a:endParaRPr lang="zh-CN" altLang="en-US" sz="1050"/>
                  </a:p>
                </p:txBody>
              </p:sp>
              <p:sp>
                <p:nvSpPr>
                  <p:cNvPr id="2593" name="Freeform 1745"/>
                  <p:cNvSpPr>
                    <a:spLocks/>
                  </p:cNvSpPr>
                  <p:nvPr/>
                </p:nvSpPr>
                <p:spPr bwMode="auto">
                  <a:xfrm>
                    <a:off x="10199" y="2708"/>
                    <a:ext cx="17" cy="0"/>
                  </a:xfrm>
                  <a:custGeom>
                    <a:avLst/>
                    <a:gdLst>
                      <a:gd name="T0" fmla="*/ 11 w 11"/>
                      <a:gd name="T1" fmla="*/ 0 h 4"/>
                      <a:gd name="T2" fmla="*/ 0 w 11"/>
                      <a:gd name="T3" fmla="*/ 2 h 4"/>
                      <a:gd name="T4" fmla="*/ 2 w 11"/>
                      <a:gd name="T5" fmla="*/ 4 h 4"/>
                      <a:gd name="T6" fmla="*/ 11 w 11"/>
                      <a:gd name="T7" fmla="*/ 2 h 4"/>
                      <a:gd name="T8" fmla="*/ 11 w 11"/>
                      <a:gd name="T9" fmla="*/ 0 h 4"/>
                    </a:gdLst>
                    <a:ahLst/>
                    <a:cxnLst>
                      <a:cxn ang="0">
                        <a:pos x="T0" y="T1"/>
                      </a:cxn>
                      <a:cxn ang="0">
                        <a:pos x="T2" y="T3"/>
                      </a:cxn>
                      <a:cxn ang="0">
                        <a:pos x="T4" y="T5"/>
                      </a:cxn>
                      <a:cxn ang="0">
                        <a:pos x="T6" y="T7"/>
                      </a:cxn>
                      <a:cxn ang="0">
                        <a:pos x="T8" y="T9"/>
                      </a:cxn>
                    </a:cxnLst>
                    <a:rect l="0" t="0" r="r" b="b"/>
                    <a:pathLst>
                      <a:path w="11" h="4">
                        <a:moveTo>
                          <a:pt x="11" y="0"/>
                        </a:moveTo>
                        <a:lnTo>
                          <a:pt x="0" y="2"/>
                        </a:lnTo>
                        <a:lnTo>
                          <a:pt x="2" y="4"/>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2594" name="Freeform 1746"/>
                  <p:cNvSpPr>
                    <a:spLocks/>
                  </p:cNvSpPr>
                  <p:nvPr/>
                </p:nvSpPr>
                <p:spPr bwMode="auto">
                  <a:xfrm>
                    <a:off x="10199" y="2708"/>
                    <a:ext cx="17" cy="9"/>
                  </a:xfrm>
                  <a:custGeom>
                    <a:avLst/>
                    <a:gdLst>
                      <a:gd name="T0" fmla="*/ 9 w 9"/>
                      <a:gd name="T1" fmla="*/ 0 h 5"/>
                      <a:gd name="T2" fmla="*/ 0 w 9"/>
                      <a:gd name="T3" fmla="*/ 3 h 5"/>
                      <a:gd name="T4" fmla="*/ 0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3"/>
                        </a:lnTo>
                        <a:lnTo>
                          <a:pt x="0"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95" name="Freeform 1747"/>
                  <p:cNvSpPr>
                    <a:spLocks/>
                  </p:cNvSpPr>
                  <p:nvPr/>
                </p:nvSpPr>
                <p:spPr bwMode="auto">
                  <a:xfrm>
                    <a:off x="10190" y="2682"/>
                    <a:ext cx="25" cy="0"/>
                  </a:xfrm>
                  <a:custGeom>
                    <a:avLst/>
                    <a:gdLst>
                      <a:gd name="T0" fmla="*/ 29 w 29"/>
                      <a:gd name="T1" fmla="*/ 0 h 7"/>
                      <a:gd name="T2" fmla="*/ 0 w 29"/>
                      <a:gd name="T3" fmla="*/ 5 h 7"/>
                      <a:gd name="T4" fmla="*/ 0 w 29"/>
                      <a:gd name="T5" fmla="*/ 7 h 7"/>
                      <a:gd name="T6" fmla="*/ 29 w 29"/>
                      <a:gd name="T7" fmla="*/ 2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lnTo>
                          <a:pt x="0" y="5"/>
                        </a:lnTo>
                        <a:lnTo>
                          <a:pt x="0" y="7"/>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2596" name="Freeform 1748"/>
                  <p:cNvSpPr>
                    <a:spLocks/>
                  </p:cNvSpPr>
                  <p:nvPr/>
                </p:nvSpPr>
                <p:spPr bwMode="auto">
                  <a:xfrm>
                    <a:off x="10190" y="2682"/>
                    <a:ext cx="25" cy="9"/>
                  </a:xfrm>
                  <a:custGeom>
                    <a:avLst/>
                    <a:gdLst>
                      <a:gd name="T0" fmla="*/ 21 w 21"/>
                      <a:gd name="T1" fmla="*/ 0 h 7"/>
                      <a:gd name="T2" fmla="*/ 0 w 21"/>
                      <a:gd name="T3" fmla="*/ 5 h 7"/>
                      <a:gd name="T4" fmla="*/ 0 w 21"/>
                      <a:gd name="T5" fmla="*/ 7 h 7"/>
                      <a:gd name="T6" fmla="*/ 21 w 21"/>
                      <a:gd name="T7" fmla="*/ 3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lnTo>
                          <a:pt x="0" y="5"/>
                        </a:lnTo>
                        <a:lnTo>
                          <a:pt x="0" y="7"/>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597" name="Freeform 1749"/>
                  <p:cNvSpPr>
                    <a:spLocks/>
                  </p:cNvSpPr>
                  <p:nvPr/>
                </p:nvSpPr>
                <p:spPr bwMode="auto">
                  <a:xfrm>
                    <a:off x="10190" y="2682"/>
                    <a:ext cx="25" cy="9"/>
                  </a:xfrm>
                  <a:custGeom>
                    <a:avLst/>
                    <a:gdLst>
                      <a:gd name="T0" fmla="*/ 26 w 26"/>
                      <a:gd name="T1" fmla="*/ 0 h 7"/>
                      <a:gd name="T2" fmla="*/ 0 w 26"/>
                      <a:gd name="T3" fmla="*/ 4 h 7"/>
                      <a:gd name="T4" fmla="*/ 0 w 26"/>
                      <a:gd name="T5" fmla="*/ 7 h 7"/>
                      <a:gd name="T6" fmla="*/ 26 w 26"/>
                      <a:gd name="T7" fmla="*/ 2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4"/>
                        </a:lnTo>
                        <a:lnTo>
                          <a:pt x="0" y="7"/>
                        </a:lnTo>
                        <a:lnTo>
                          <a:pt x="26"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598" name="Freeform 1750"/>
                  <p:cNvSpPr>
                    <a:spLocks/>
                  </p:cNvSpPr>
                  <p:nvPr/>
                </p:nvSpPr>
                <p:spPr bwMode="auto">
                  <a:xfrm>
                    <a:off x="10207" y="2735"/>
                    <a:ext cx="17" cy="0"/>
                  </a:xfrm>
                  <a:custGeom>
                    <a:avLst/>
                    <a:gdLst>
                      <a:gd name="T0" fmla="*/ 9 w 9"/>
                      <a:gd name="T1" fmla="*/ 0 h 2"/>
                      <a:gd name="T2" fmla="*/ 0 w 9"/>
                      <a:gd name="T3" fmla="*/ 2 h 2"/>
                      <a:gd name="T4" fmla="*/ 0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0"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599" name="Freeform 1751"/>
                  <p:cNvSpPr>
                    <a:spLocks/>
                  </p:cNvSpPr>
                  <p:nvPr/>
                </p:nvSpPr>
                <p:spPr bwMode="auto">
                  <a:xfrm>
                    <a:off x="10215" y="2752"/>
                    <a:ext cx="8" cy="0"/>
                  </a:xfrm>
                  <a:custGeom>
                    <a:avLst/>
                    <a:gdLst>
                      <a:gd name="T0" fmla="*/ 10 w 10"/>
                      <a:gd name="T1" fmla="*/ 0 h 4"/>
                      <a:gd name="T2" fmla="*/ 0 w 10"/>
                      <a:gd name="T3" fmla="*/ 2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2"/>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600" name="Freeform 1752"/>
                  <p:cNvSpPr>
                    <a:spLocks/>
                  </p:cNvSpPr>
                  <p:nvPr/>
                </p:nvSpPr>
                <p:spPr bwMode="auto">
                  <a:xfrm>
                    <a:off x="10215" y="2743"/>
                    <a:ext cx="8" cy="9"/>
                  </a:xfrm>
                  <a:custGeom>
                    <a:avLst/>
                    <a:gdLst>
                      <a:gd name="T0" fmla="*/ 8 w 8"/>
                      <a:gd name="T1" fmla="*/ 0 h 5"/>
                      <a:gd name="T2" fmla="*/ 0 w 8"/>
                      <a:gd name="T3" fmla="*/ 2 h 5"/>
                      <a:gd name="T4" fmla="*/ 0 w 8"/>
                      <a:gd name="T5" fmla="*/ 5 h 5"/>
                      <a:gd name="T6" fmla="*/ 8 w 8"/>
                      <a:gd name="T7" fmla="*/ 0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lnTo>
                          <a:pt x="0" y="2"/>
                        </a:lnTo>
                        <a:lnTo>
                          <a:pt x="0" y="5"/>
                        </a:lnTo>
                        <a:lnTo>
                          <a:pt x="8" y="0"/>
                        </a:lnTo>
                        <a:lnTo>
                          <a:pt x="8" y="0"/>
                        </a:lnTo>
                        <a:close/>
                      </a:path>
                    </a:pathLst>
                  </a:custGeom>
                  <a:solidFill>
                    <a:srgbClr val="01AAE5"/>
                  </a:solidFill>
                  <a:ln>
                    <a:noFill/>
                  </a:ln>
                  <a:extLst/>
                </p:spPr>
                <p:txBody>
                  <a:bodyPr/>
                  <a:lstStyle/>
                  <a:p>
                    <a:pPr eaLnBrk="1" hangingPunct="1">
                      <a:defRPr/>
                    </a:pPr>
                    <a:endParaRPr lang="zh-CN" altLang="en-US" sz="1050"/>
                  </a:p>
                </p:txBody>
              </p:sp>
              <p:sp>
                <p:nvSpPr>
                  <p:cNvPr id="2601" name="Freeform 1753"/>
                  <p:cNvSpPr>
                    <a:spLocks/>
                  </p:cNvSpPr>
                  <p:nvPr/>
                </p:nvSpPr>
                <p:spPr bwMode="auto">
                  <a:xfrm>
                    <a:off x="10215" y="2752"/>
                    <a:ext cx="17" cy="9"/>
                  </a:xfrm>
                  <a:custGeom>
                    <a:avLst/>
                    <a:gdLst>
                      <a:gd name="T0" fmla="*/ 7 w 9"/>
                      <a:gd name="T1" fmla="*/ 0 h 5"/>
                      <a:gd name="T2" fmla="*/ 0 w 9"/>
                      <a:gd name="T3" fmla="*/ 3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3"/>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602" name="Freeform 1754"/>
                  <p:cNvSpPr>
                    <a:spLocks/>
                  </p:cNvSpPr>
                  <p:nvPr/>
                </p:nvSpPr>
                <p:spPr bwMode="auto">
                  <a:xfrm>
                    <a:off x="10207" y="2717"/>
                    <a:ext cx="8" cy="9"/>
                  </a:xfrm>
                  <a:custGeom>
                    <a:avLst/>
                    <a:gdLst>
                      <a:gd name="T0" fmla="*/ 10 w 10"/>
                      <a:gd name="T1" fmla="*/ 0 h 3"/>
                      <a:gd name="T2" fmla="*/ 10 w 10"/>
                      <a:gd name="T3" fmla="*/ 0 h 3"/>
                      <a:gd name="T4" fmla="*/ 0 w 10"/>
                      <a:gd name="T5" fmla="*/ 0 h 3"/>
                      <a:gd name="T6" fmla="*/ 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10" y="0"/>
                        </a:lnTo>
                        <a:lnTo>
                          <a:pt x="0" y="0"/>
                        </a:lnTo>
                        <a:lnTo>
                          <a:pt x="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603" name="Freeform 1755"/>
                  <p:cNvSpPr>
                    <a:spLocks/>
                  </p:cNvSpPr>
                  <p:nvPr/>
                </p:nvSpPr>
                <p:spPr bwMode="auto">
                  <a:xfrm>
                    <a:off x="10224" y="2761"/>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604" name="Freeform 1756"/>
                  <p:cNvSpPr>
                    <a:spLocks/>
                  </p:cNvSpPr>
                  <p:nvPr/>
                </p:nvSpPr>
                <p:spPr bwMode="auto">
                  <a:xfrm>
                    <a:off x="10182" y="2674"/>
                    <a:ext cx="33" cy="9"/>
                  </a:xfrm>
                  <a:custGeom>
                    <a:avLst/>
                    <a:gdLst>
                      <a:gd name="T0" fmla="*/ 31 w 31"/>
                      <a:gd name="T1" fmla="*/ 0 h 7"/>
                      <a:gd name="T2" fmla="*/ 0 w 31"/>
                      <a:gd name="T3" fmla="*/ 5 h 7"/>
                      <a:gd name="T4" fmla="*/ 0 w 31"/>
                      <a:gd name="T5" fmla="*/ 7 h 7"/>
                      <a:gd name="T6" fmla="*/ 31 w 31"/>
                      <a:gd name="T7" fmla="*/ 0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0"/>
                        </a:lnTo>
                        <a:lnTo>
                          <a:pt x="31" y="0"/>
                        </a:lnTo>
                        <a:close/>
                      </a:path>
                    </a:pathLst>
                  </a:custGeom>
                  <a:solidFill>
                    <a:srgbClr val="01AAE5"/>
                  </a:solidFill>
                  <a:ln>
                    <a:noFill/>
                  </a:ln>
                  <a:extLst/>
                </p:spPr>
                <p:txBody>
                  <a:bodyPr/>
                  <a:lstStyle/>
                  <a:p>
                    <a:pPr eaLnBrk="1" hangingPunct="1">
                      <a:defRPr/>
                    </a:pPr>
                    <a:endParaRPr lang="zh-CN" altLang="en-US" sz="1050"/>
                  </a:p>
                </p:txBody>
              </p:sp>
              <p:sp>
                <p:nvSpPr>
                  <p:cNvPr id="2605" name="Freeform 1757"/>
                  <p:cNvSpPr>
                    <a:spLocks/>
                  </p:cNvSpPr>
                  <p:nvPr/>
                </p:nvSpPr>
                <p:spPr bwMode="auto">
                  <a:xfrm>
                    <a:off x="10207" y="2743"/>
                    <a:ext cx="17" cy="0"/>
                  </a:xfrm>
                  <a:custGeom>
                    <a:avLst/>
                    <a:gdLst>
                      <a:gd name="T0" fmla="*/ 10 w 10"/>
                      <a:gd name="T1" fmla="*/ 0 h 3"/>
                      <a:gd name="T2" fmla="*/ 0 w 10"/>
                      <a:gd name="T3" fmla="*/ 3 h 3"/>
                      <a:gd name="T4" fmla="*/ 0 w 10"/>
                      <a:gd name="T5" fmla="*/ 3 h 3"/>
                      <a:gd name="T6" fmla="*/ 10 w 10"/>
                      <a:gd name="T7" fmla="*/ 0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3"/>
                        </a:lnTo>
                        <a:lnTo>
                          <a:pt x="0" y="3"/>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606" name="Freeform 1758"/>
                  <p:cNvSpPr>
                    <a:spLocks/>
                  </p:cNvSpPr>
                  <p:nvPr/>
                </p:nvSpPr>
                <p:spPr bwMode="auto">
                  <a:xfrm>
                    <a:off x="10182" y="2604"/>
                    <a:ext cx="17" cy="9"/>
                  </a:xfrm>
                  <a:custGeom>
                    <a:avLst/>
                    <a:gdLst>
                      <a:gd name="T0" fmla="*/ 16 w 16"/>
                      <a:gd name="T1" fmla="*/ 0 h 2"/>
                      <a:gd name="T2" fmla="*/ 0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0"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2607" name="Freeform 1759"/>
                  <p:cNvSpPr>
                    <a:spLocks/>
                  </p:cNvSpPr>
                  <p:nvPr/>
                </p:nvSpPr>
                <p:spPr bwMode="auto">
                  <a:xfrm>
                    <a:off x="10190" y="2299"/>
                    <a:ext cx="67" cy="26"/>
                  </a:xfrm>
                  <a:custGeom>
                    <a:avLst/>
                    <a:gdLst>
                      <a:gd name="T0" fmla="*/ 69 w 69"/>
                      <a:gd name="T1" fmla="*/ 24 h 26"/>
                      <a:gd name="T2" fmla="*/ 3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3"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2608" name="Freeform 1760"/>
                  <p:cNvSpPr>
                    <a:spLocks/>
                  </p:cNvSpPr>
                  <p:nvPr/>
                </p:nvSpPr>
                <p:spPr bwMode="auto">
                  <a:xfrm>
                    <a:off x="10257" y="2229"/>
                    <a:ext cx="17" cy="17"/>
                  </a:xfrm>
                  <a:custGeom>
                    <a:avLst/>
                    <a:gdLst>
                      <a:gd name="T0" fmla="*/ 16 w 16"/>
                      <a:gd name="T1" fmla="*/ 9 h 9"/>
                      <a:gd name="T2" fmla="*/ 0 w 16"/>
                      <a:gd name="T3" fmla="*/ 0 h 9"/>
                      <a:gd name="T4" fmla="*/ 0 w 16"/>
                      <a:gd name="T5" fmla="*/ 2 h 9"/>
                      <a:gd name="T6" fmla="*/ 16 w 16"/>
                      <a:gd name="T7" fmla="*/ 9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0" y="0"/>
                        </a:lnTo>
                        <a:lnTo>
                          <a:pt x="0" y="2"/>
                        </a:lnTo>
                        <a:lnTo>
                          <a:pt x="16" y="9"/>
                        </a:lnTo>
                        <a:lnTo>
                          <a:pt x="16" y="9"/>
                        </a:lnTo>
                        <a:close/>
                      </a:path>
                    </a:pathLst>
                  </a:custGeom>
                  <a:solidFill>
                    <a:srgbClr val="01AAE5"/>
                  </a:solidFill>
                  <a:ln>
                    <a:noFill/>
                  </a:ln>
                  <a:extLst/>
                </p:spPr>
                <p:txBody>
                  <a:bodyPr/>
                  <a:lstStyle/>
                  <a:p>
                    <a:pPr eaLnBrk="1" hangingPunct="1">
                      <a:defRPr/>
                    </a:pPr>
                    <a:endParaRPr lang="zh-CN" altLang="en-US" sz="1050"/>
                  </a:p>
                </p:txBody>
              </p:sp>
              <p:sp>
                <p:nvSpPr>
                  <p:cNvPr id="2609" name="Freeform 1761"/>
                  <p:cNvSpPr>
                    <a:spLocks/>
                  </p:cNvSpPr>
                  <p:nvPr/>
                </p:nvSpPr>
                <p:spPr bwMode="auto">
                  <a:xfrm>
                    <a:off x="10232" y="2255"/>
                    <a:ext cx="33" cy="9"/>
                  </a:xfrm>
                  <a:custGeom>
                    <a:avLst/>
                    <a:gdLst>
                      <a:gd name="T0" fmla="*/ 37 w 37"/>
                      <a:gd name="T1" fmla="*/ 17 h 17"/>
                      <a:gd name="T2" fmla="*/ 2 w 37"/>
                      <a:gd name="T3" fmla="*/ 0 h 17"/>
                      <a:gd name="T4" fmla="*/ 0 w 37"/>
                      <a:gd name="T5" fmla="*/ 3 h 17"/>
                      <a:gd name="T6" fmla="*/ 37 w 37"/>
                      <a:gd name="T7" fmla="*/ 17 h 17"/>
                      <a:gd name="T8" fmla="*/ 37 w 37"/>
                      <a:gd name="T9" fmla="*/ 17 h 17"/>
                    </a:gdLst>
                    <a:ahLst/>
                    <a:cxnLst>
                      <a:cxn ang="0">
                        <a:pos x="T0" y="T1"/>
                      </a:cxn>
                      <a:cxn ang="0">
                        <a:pos x="T2" y="T3"/>
                      </a:cxn>
                      <a:cxn ang="0">
                        <a:pos x="T4" y="T5"/>
                      </a:cxn>
                      <a:cxn ang="0">
                        <a:pos x="T6" y="T7"/>
                      </a:cxn>
                      <a:cxn ang="0">
                        <a:pos x="T8" y="T9"/>
                      </a:cxn>
                    </a:cxnLst>
                    <a:rect l="0" t="0" r="r" b="b"/>
                    <a:pathLst>
                      <a:path w="37" h="17">
                        <a:moveTo>
                          <a:pt x="37" y="17"/>
                        </a:moveTo>
                        <a:lnTo>
                          <a:pt x="2" y="0"/>
                        </a:lnTo>
                        <a:lnTo>
                          <a:pt x="0" y="3"/>
                        </a:lnTo>
                        <a:lnTo>
                          <a:pt x="37" y="17"/>
                        </a:lnTo>
                        <a:lnTo>
                          <a:pt x="37" y="17"/>
                        </a:lnTo>
                        <a:close/>
                      </a:path>
                    </a:pathLst>
                  </a:custGeom>
                  <a:solidFill>
                    <a:srgbClr val="01AAE5"/>
                  </a:solidFill>
                  <a:ln>
                    <a:noFill/>
                  </a:ln>
                  <a:extLst/>
                </p:spPr>
                <p:txBody>
                  <a:bodyPr/>
                  <a:lstStyle/>
                  <a:p>
                    <a:pPr eaLnBrk="1" hangingPunct="1">
                      <a:defRPr/>
                    </a:pPr>
                    <a:endParaRPr lang="zh-CN" altLang="en-US" sz="1050"/>
                  </a:p>
                </p:txBody>
              </p:sp>
              <p:sp>
                <p:nvSpPr>
                  <p:cNvPr id="2610" name="Freeform 1762"/>
                  <p:cNvSpPr>
                    <a:spLocks/>
                  </p:cNvSpPr>
                  <p:nvPr/>
                </p:nvSpPr>
                <p:spPr bwMode="auto">
                  <a:xfrm>
                    <a:off x="10232" y="2255"/>
                    <a:ext cx="33" cy="17"/>
                  </a:xfrm>
                  <a:custGeom>
                    <a:avLst/>
                    <a:gdLst>
                      <a:gd name="T0" fmla="*/ 38 w 38"/>
                      <a:gd name="T1" fmla="*/ 16 h 16"/>
                      <a:gd name="T2" fmla="*/ 0 w 38"/>
                      <a:gd name="T3" fmla="*/ 0 h 16"/>
                      <a:gd name="T4" fmla="*/ 0 w 38"/>
                      <a:gd name="T5" fmla="*/ 0 h 16"/>
                      <a:gd name="T6" fmla="*/ 38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0" y="0"/>
                        </a:lnTo>
                        <a:lnTo>
                          <a:pt x="0" y="0"/>
                        </a:lnTo>
                        <a:lnTo>
                          <a:pt x="38" y="16"/>
                        </a:lnTo>
                        <a:lnTo>
                          <a:pt x="38" y="16"/>
                        </a:lnTo>
                        <a:close/>
                      </a:path>
                    </a:pathLst>
                  </a:custGeom>
                  <a:solidFill>
                    <a:srgbClr val="01AAE5"/>
                  </a:solidFill>
                  <a:ln>
                    <a:noFill/>
                  </a:ln>
                  <a:extLst/>
                </p:spPr>
                <p:txBody>
                  <a:bodyPr/>
                  <a:lstStyle/>
                  <a:p>
                    <a:pPr eaLnBrk="1" hangingPunct="1">
                      <a:defRPr/>
                    </a:pPr>
                    <a:endParaRPr lang="zh-CN" altLang="en-US" sz="1050"/>
                  </a:p>
                </p:txBody>
              </p:sp>
              <p:sp>
                <p:nvSpPr>
                  <p:cNvPr id="2611" name="Freeform 1763"/>
                  <p:cNvSpPr>
                    <a:spLocks/>
                  </p:cNvSpPr>
                  <p:nvPr/>
                </p:nvSpPr>
                <p:spPr bwMode="auto">
                  <a:xfrm>
                    <a:off x="10249" y="2247"/>
                    <a:ext cx="17" cy="0"/>
                  </a:xfrm>
                  <a:custGeom>
                    <a:avLst/>
                    <a:gdLst>
                      <a:gd name="T0" fmla="*/ 24 w 24"/>
                      <a:gd name="T1" fmla="*/ 9 h 12"/>
                      <a:gd name="T2" fmla="*/ 3 w 24"/>
                      <a:gd name="T3" fmla="*/ 0 h 12"/>
                      <a:gd name="T4" fmla="*/ 0 w 24"/>
                      <a:gd name="T5" fmla="*/ 0 h 12"/>
                      <a:gd name="T6" fmla="*/ 24 w 24"/>
                      <a:gd name="T7" fmla="*/ 12 h 12"/>
                      <a:gd name="T8" fmla="*/ 24 w 24"/>
                      <a:gd name="T9" fmla="*/ 9 h 12"/>
                    </a:gdLst>
                    <a:ahLst/>
                    <a:cxnLst>
                      <a:cxn ang="0">
                        <a:pos x="T0" y="T1"/>
                      </a:cxn>
                      <a:cxn ang="0">
                        <a:pos x="T2" y="T3"/>
                      </a:cxn>
                      <a:cxn ang="0">
                        <a:pos x="T4" y="T5"/>
                      </a:cxn>
                      <a:cxn ang="0">
                        <a:pos x="T6" y="T7"/>
                      </a:cxn>
                      <a:cxn ang="0">
                        <a:pos x="T8" y="T9"/>
                      </a:cxn>
                    </a:cxnLst>
                    <a:rect l="0" t="0" r="r" b="b"/>
                    <a:pathLst>
                      <a:path w="24" h="12">
                        <a:moveTo>
                          <a:pt x="24" y="9"/>
                        </a:moveTo>
                        <a:lnTo>
                          <a:pt x="3" y="0"/>
                        </a:lnTo>
                        <a:lnTo>
                          <a:pt x="0" y="0"/>
                        </a:lnTo>
                        <a:lnTo>
                          <a:pt x="24" y="12"/>
                        </a:lnTo>
                        <a:lnTo>
                          <a:pt x="24" y="9"/>
                        </a:lnTo>
                        <a:close/>
                      </a:path>
                    </a:pathLst>
                  </a:custGeom>
                  <a:solidFill>
                    <a:srgbClr val="01AAE5"/>
                  </a:solidFill>
                  <a:ln>
                    <a:noFill/>
                  </a:ln>
                  <a:extLst/>
                </p:spPr>
                <p:txBody>
                  <a:bodyPr/>
                  <a:lstStyle/>
                  <a:p>
                    <a:pPr eaLnBrk="1" hangingPunct="1">
                      <a:defRPr/>
                    </a:pPr>
                    <a:endParaRPr lang="zh-CN" altLang="en-US" sz="1050"/>
                  </a:p>
                </p:txBody>
              </p:sp>
              <p:sp>
                <p:nvSpPr>
                  <p:cNvPr id="2612" name="Freeform 1764"/>
                  <p:cNvSpPr>
                    <a:spLocks/>
                  </p:cNvSpPr>
                  <p:nvPr/>
                </p:nvSpPr>
                <p:spPr bwMode="auto">
                  <a:xfrm>
                    <a:off x="10240" y="2247"/>
                    <a:ext cx="25" cy="9"/>
                  </a:xfrm>
                  <a:custGeom>
                    <a:avLst/>
                    <a:gdLst>
                      <a:gd name="T0" fmla="*/ 26 w 26"/>
                      <a:gd name="T1" fmla="*/ 12 h 15"/>
                      <a:gd name="T2" fmla="*/ 0 w 26"/>
                      <a:gd name="T3" fmla="*/ 0 h 15"/>
                      <a:gd name="T4" fmla="*/ 0 w 26"/>
                      <a:gd name="T5" fmla="*/ 3 h 15"/>
                      <a:gd name="T6" fmla="*/ 26 w 26"/>
                      <a:gd name="T7" fmla="*/ 15 h 15"/>
                      <a:gd name="T8" fmla="*/ 26 w 26"/>
                      <a:gd name="T9" fmla="*/ 12 h 15"/>
                    </a:gdLst>
                    <a:ahLst/>
                    <a:cxnLst>
                      <a:cxn ang="0">
                        <a:pos x="T0" y="T1"/>
                      </a:cxn>
                      <a:cxn ang="0">
                        <a:pos x="T2" y="T3"/>
                      </a:cxn>
                      <a:cxn ang="0">
                        <a:pos x="T4" y="T5"/>
                      </a:cxn>
                      <a:cxn ang="0">
                        <a:pos x="T6" y="T7"/>
                      </a:cxn>
                      <a:cxn ang="0">
                        <a:pos x="T8" y="T9"/>
                      </a:cxn>
                    </a:cxnLst>
                    <a:rect l="0" t="0" r="r" b="b"/>
                    <a:pathLst>
                      <a:path w="26" h="15">
                        <a:moveTo>
                          <a:pt x="26" y="12"/>
                        </a:moveTo>
                        <a:lnTo>
                          <a:pt x="0" y="0"/>
                        </a:lnTo>
                        <a:lnTo>
                          <a:pt x="0" y="3"/>
                        </a:lnTo>
                        <a:lnTo>
                          <a:pt x="26" y="15"/>
                        </a:lnTo>
                        <a:lnTo>
                          <a:pt x="26" y="12"/>
                        </a:lnTo>
                        <a:close/>
                      </a:path>
                    </a:pathLst>
                  </a:custGeom>
                  <a:solidFill>
                    <a:srgbClr val="01AAE5"/>
                  </a:solidFill>
                  <a:ln>
                    <a:noFill/>
                  </a:ln>
                  <a:extLst/>
                </p:spPr>
                <p:txBody>
                  <a:bodyPr/>
                  <a:lstStyle/>
                  <a:p>
                    <a:pPr eaLnBrk="1" hangingPunct="1">
                      <a:defRPr/>
                    </a:pPr>
                    <a:endParaRPr lang="zh-CN" altLang="en-US" sz="1050"/>
                  </a:p>
                </p:txBody>
              </p:sp>
              <p:sp>
                <p:nvSpPr>
                  <p:cNvPr id="2613" name="Freeform 1765"/>
                  <p:cNvSpPr>
                    <a:spLocks/>
                  </p:cNvSpPr>
                  <p:nvPr/>
                </p:nvSpPr>
                <p:spPr bwMode="auto">
                  <a:xfrm>
                    <a:off x="10249" y="2238"/>
                    <a:ext cx="25" cy="9"/>
                  </a:xfrm>
                  <a:custGeom>
                    <a:avLst/>
                    <a:gdLst>
                      <a:gd name="T0" fmla="*/ 21 w 21"/>
                      <a:gd name="T1" fmla="*/ 10 h 12"/>
                      <a:gd name="T2" fmla="*/ 2 w 21"/>
                      <a:gd name="T3" fmla="*/ 0 h 12"/>
                      <a:gd name="T4" fmla="*/ 0 w 21"/>
                      <a:gd name="T5" fmla="*/ 0 h 12"/>
                      <a:gd name="T6" fmla="*/ 21 w 21"/>
                      <a:gd name="T7" fmla="*/ 12 h 12"/>
                      <a:gd name="T8" fmla="*/ 21 w 21"/>
                      <a:gd name="T9" fmla="*/ 10 h 12"/>
                    </a:gdLst>
                    <a:ahLst/>
                    <a:cxnLst>
                      <a:cxn ang="0">
                        <a:pos x="T0" y="T1"/>
                      </a:cxn>
                      <a:cxn ang="0">
                        <a:pos x="T2" y="T3"/>
                      </a:cxn>
                      <a:cxn ang="0">
                        <a:pos x="T4" y="T5"/>
                      </a:cxn>
                      <a:cxn ang="0">
                        <a:pos x="T6" y="T7"/>
                      </a:cxn>
                      <a:cxn ang="0">
                        <a:pos x="T8" y="T9"/>
                      </a:cxn>
                    </a:cxnLst>
                    <a:rect l="0" t="0" r="r" b="b"/>
                    <a:pathLst>
                      <a:path w="21" h="12">
                        <a:moveTo>
                          <a:pt x="21" y="10"/>
                        </a:moveTo>
                        <a:lnTo>
                          <a:pt x="2" y="0"/>
                        </a:lnTo>
                        <a:lnTo>
                          <a:pt x="0" y="0"/>
                        </a:lnTo>
                        <a:lnTo>
                          <a:pt x="21" y="12"/>
                        </a:lnTo>
                        <a:lnTo>
                          <a:pt x="21" y="10"/>
                        </a:lnTo>
                        <a:close/>
                      </a:path>
                    </a:pathLst>
                  </a:custGeom>
                  <a:solidFill>
                    <a:srgbClr val="01AAE5"/>
                  </a:solidFill>
                  <a:ln>
                    <a:noFill/>
                  </a:ln>
                  <a:extLst/>
                </p:spPr>
                <p:txBody>
                  <a:bodyPr/>
                  <a:lstStyle/>
                  <a:p>
                    <a:pPr eaLnBrk="1" hangingPunct="1">
                      <a:defRPr/>
                    </a:pPr>
                    <a:endParaRPr lang="zh-CN" altLang="en-US" sz="1050"/>
                  </a:p>
                </p:txBody>
              </p:sp>
              <p:sp>
                <p:nvSpPr>
                  <p:cNvPr id="2614" name="Freeform 1766"/>
                  <p:cNvSpPr>
                    <a:spLocks/>
                  </p:cNvSpPr>
                  <p:nvPr/>
                </p:nvSpPr>
                <p:spPr bwMode="auto">
                  <a:xfrm>
                    <a:off x="10224" y="2264"/>
                    <a:ext cx="42" cy="17"/>
                  </a:xfrm>
                  <a:custGeom>
                    <a:avLst/>
                    <a:gdLst>
                      <a:gd name="T0" fmla="*/ 42 w 42"/>
                      <a:gd name="T1" fmla="*/ 16 h 19"/>
                      <a:gd name="T2" fmla="*/ 0 w 42"/>
                      <a:gd name="T3" fmla="*/ 0 h 19"/>
                      <a:gd name="T4" fmla="*/ 0 w 42"/>
                      <a:gd name="T5" fmla="*/ 0 h 19"/>
                      <a:gd name="T6" fmla="*/ 42 w 42"/>
                      <a:gd name="T7" fmla="*/ 19 h 19"/>
                      <a:gd name="T8" fmla="*/ 42 w 42"/>
                      <a:gd name="T9" fmla="*/ 16 h 19"/>
                    </a:gdLst>
                    <a:ahLst/>
                    <a:cxnLst>
                      <a:cxn ang="0">
                        <a:pos x="T0" y="T1"/>
                      </a:cxn>
                      <a:cxn ang="0">
                        <a:pos x="T2" y="T3"/>
                      </a:cxn>
                      <a:cxn ang="0">
                        <a:pos x="T4" y="T5"/>
                      </a:cxn>
                      <a:cxn ang="0">
                        <a:pos x="T6" y="T7"/>
                      </a:cxn>
                      <a:cxn ang="0">
                        <a:pos x="T8" y="T9"/>
                      </a:cxn>
                    </a:cxnLst>
                    <a:rect l="0" t="0" r="r" b="b"/>
                    <a:pathLst>
                      <a:path w="42" h="19">
                        <a:moveTo>
                          <a:pt x="42" y="16"/>
                        </a:moveTo>
                        <a:lnTo>
                          <a:pt x="0" y="0"/>
                        </a:lnTo>
                        <a:lnTo>
                          <a:pt x="0" y="0"/>
                        </a:lnTo>
                        <a:lnTo>
                          <a:pt x="42" y="19"/>
                        </a:lnTo>
                        <a:lnTo>
                          <a:pt x="42" y="16"/>
                        </a:lnTo>
                        <a:close/>
                      </a:path>
                    </a:pathLst>
                  </a:custGeom>
                  <a:solidFill>
                    <a:srgbClr val="01AAE5"/>
                  </a:solidFill>
                  <a:ln>
                    <a:noFill/>
                  </a:ln>
                  <a:extLst/>
                </p:spPr>
                <p:txBody>
                  <a:bodyPr/>
                  <a:lstStyle/>
                  <a:p>
                    <a:pPr eaLnBrk="1" hangingPunct="1">
                      <a:defRPr/>
                    </a:pPr>
                    <a:endParaRPr lang="zh-CN" altLang="en-US" sz="1050"/>
                  </a:p>
                </p:txBody>
              </p:sp>
              <p:sp>
                <p:nvSpPr>
                  <p:cNvPr id="2615" name="Freeform 1767"/>
                  <p:cNvSpPr>
                    <a:spLocks/>
                  </p:cNvSpPr>
                  <p:nvPr/>
                </p:nvSpPr>
                <p:spPr bwMode="auto">
                  <a:xfrm>
                    <a:off x="10232" y="2247"/>
                    <a:ext cx="33" cy="17"/>
                  </a:xfrm>
                  <a:custGeom>
                    <a:avLst/>
                    <a:gdLst>
                      <a:gd name="T0" fmla="*/ 33 w 33"/>
                      <a:gd name="T1" fmla="*/ 14 h 14"/>
                      <a:gd name="T2" fmla="*/ 3 w 33"/>
                      <a:gd name="T3" fmla="*/ 0 h 14"/>
                      <a:gd name="T4" fmla="*/ 0 w 33"/>
                      <a:gd name="T5" fmla="*/ 0 h 14"/>
                      <a:gd name="T6" fmla="*/ 33 w 33"/>
                      <a:gd name="T7" fmla="*/ 14 h 14"/>
                      <a:gd name="T8" fmla="*/ 33 w 33"/>
                      <a:gd name="T9" fmla="*/ 14 h 14"/>
                    </a:gdLst>
                    <a:ahLst/>
                    <a:cxnLst>
                      <a:cxn ang="0">
                        <a:pos x="T0" y="T1"/>
                      </a:cxn>
                      <a:cxn ang="0">
                        <a:pos x="T2" y="T3"/>
                      </a:cxn>
                      <a:cxn ang="0">
                        <a:pos x="T4" y="T5"/>
                      </a:cxn>
                      <a:cxn ang="0">
                        <a:pos x="T6" y="T7"/>
                      </a:cxn>
                      <a:cxn ang="0">
                        <a:pos x="T8" y="T9"/>
                      </a:cxn>
                    </a:cxnLst>
                    <a:rect l="0" t="0" r="r" b="b"/>
                    <a:pathLst>
                      <a:path w="33" h="14">
                        <a:moveTo>
                          <a:pt x="33" y="14"/>
                        </a:moveTo>
                        <a:lnTo>
                          <a:pt x="3" y="0"/>
                        </a:lnTo>
                        <a:lnTo>
                          <a:pt x="0" y="0"/>
                        </a:lnTo>
                        <a:lnTo>
                          <a:pt x="33" y="14"/>
                        </a:lnTo>
                        <a:lnTo>
                          <a:pt x="33" y="14"/>
                        </a:lnTo>
                        <a:close/>
                      </a:path>
                    </a:pathLst>
                  </a:custGeom>
                  <a:solidFill>
                    <a:srgbClr val="01AAE5"/>
                  </a:solidFill>
                  <a:ln>
                    <a:noFill/>
                  </a:ln>
                  <a:extLst/>
                </p:spPr>
                <p:txBody>
                  <a:bodyPr/>
                  <a:lstStyle/>
                  <a:p>
                    <a:pPr eaLnBrk="1" hangingPunct="1">
                      <a:defRPr/>
                    </a:pPr>
                    <a:endParaRPr lang="zh-CN" altLang="en-US" sz="1050"/>
                  </a:p>
                </p:txBody>
              </p:sp>
              <p:sp>
                <p:nvSpPr>
                  <p:cNvPr id="2616" name="Freeform 1768"/>
                  <p:cNvSpPr>
                    <a:spLocks/>
                  </p:cNvSpPr>
                  <p:nvPr/>
                </p:nvSpPr>
                <p:spPr bwMode="auto">
                  <a:xfrm>
                    <a:off x="10199" y="2281"/>
                    <a:ext cx="58" cy="17"/>
                  </a:xfrm>
                  <a:custGeom>
                    <a:avLst/>
                    <a:gdLst>
                      <a:gd name="T0" fmla="*/ 56 w 56"/>
                      <a:gd name="T1" fmla="*/ 23 h 23"/>
                      <a:gd name="T2" fmla="*/ 0 w 56"/>
                      <a:gd name="T3" fmla="*/ 0 h 23"/>
                      <a:gd name="T4" fmla="*/ 0 w 56"/>
                      <a:gd name="T5" fmla="*/ 2 h 23"/>
                      <a:gd name="T6" fmla="*/ 56 w 56"/>
                      <a:gd name="T7" fmla="*/ 23 h 23"/>
                      <a:gd name="T8" fmla="*/ 56 w 56"/>
                      <a:gd name="T9" fmla="*/ 23 h 23"/>
                    </a:gdLst>
                    <a:ahLst/>
                    <a:cxnLst>
                      <a:cxn ang="0">
                        <a:pos x="T0" y="T1"/>
                      </a:cxn>
                      <a:cxn ang="0">
                        <a:pos x="T2" y="T3"/>
                      </a:cxn>
                      <a:cxn ang="0">
                        <a:pos x="T4" y="T5"/>
                      </a:cxn>
                      <a:cxn ang="0">
                        <a:pos x="T6" y="T7"/>
                      </a:cxn>
                      <a:cxn ang="0">
                        <a:pos x="T8" y="T9"/>
                      </a:cxn>
                    </a:cxnLst>
                    <a:rect l="0" t="0" r="r" b="b"/>
                    <a:pathLst>
                      <a:path w="56" h="23">
                        <a:moveTo>
                          <a:pt x="56" y="23"/>
                        </a:moveTo>
                        <a:lnTo>
                          <a:pt x="0" y="0"/>
                        </a:lnTo>
                        <a:lnTo>
                          <a:pt x="0" y="2"/>
                        </a:lnTo>
                        <a:lnTo>
                          <a:pt x="56" y="23"/>
                        </a:lnTo>
                        <a:lnTo>
                          <a:pt x="56" y="23"/>
                        </a:lnTo>
                        <a:close/>
                      </a:path>
                    </a:pathLst>
                  </a:custGeom>
                  <a:solidFill>
                    <a:srgbClr val="01AAE5"/>
                  </a:solidFill>
                  <a:ln>
                    <a:noFill/>
                  </a:ln>
                  <a:extLst/>
                </p:spPr>
                <p:txBody>
                  <a:bodyPr/>
                  <a:lstStyle/>
                  <a:p>
                    <a:pPr eaLnBrk="1" hangingPunct="1">
                      <a:defRPr/>
                    </a:pPr>
                    <a:endParaRPr lang="zh-CN" altLang="en-US" sz="1050"/>
                  </a:p>
                </p:txBody>
              </p:sp>
              <p:sp>
                <p:nvSpPr>
                  <p:cNvPr id="2617" name="Freeform 1769"/>
                  <p:cNvSpPr>
                    <a:spLocks/>
                  </p:cNvSpPr>
                  <p:nvPr/>
                </p:nvSpPr>
                <p:spPr bwMode="auto">
                  <a:xfrm>
                    <a:off x="10215" y="2264"/>
                    <a:ext cx="50" cy="26"/>
                  </a:xfrm>
                  <a:custGeom>
                    <a:avLst/>
                    <a:gdLst>
                      <a:gd name="T0" fmla="*/ 47 w 47"/>
                      <a:gd name="T1" fmla="*/ 19 h 21"/>
                      <a:gd name="T2" fmla="*/ 2 w 47"/>
                      <a:gd name="T3" fmla="*/ 0 h 21"/>
                      <a:gd name="T4" fmla="*/ 0 w 47"/>
                      <a:gd name="T5" fmla="*/ 2 h 21"/>
                      <a:gd name="T6" fmla="*/ 47 w 47"/>
                      <a:gd name="T7" fmla="*/ 21 h 21"/>
                      <a:gd name="T8" fmla="*/ 47 w 47"/>
                      <a:gd name="T9" fmla="*/ 19 h 21"/>
                    </a:gdLst>
                    <a:ahLst/>
                    <a:cxnLst>
                      <a:cxn ang="0">
                        <a:pos x="T0" y="T1"/>
                      </a:cxn>
                      <a:cxn ang="0">
                        <a:pos x="T2" y="T3"/>
                      </a:cxn>
                      <a:cxn ang="0">
                        <a:pos x="T4" y="T5"/>
                      </a:cxn>
                      <a:cxn ang="0">
                        <a:pos x="T6" y="T7"/>
                      </a:cxn>
                      <a:cxn ang="0">
                        <a:pos x="T8" y="T9"/>
                      </a:cxn>
                    </a:cxnLst>
                    <a:rect l="0" t="0" r="r" b="b"/>
                    <a:pathLst>
                      <a:path w="47" h="21">
                        <a:moveTo>
                          <a:pt x="47" y="19"/>
                        </a:moveTo>
                        <a:lnTo>
                          <a:pt x="2" y="0"/>
                        </a:lnTo>
                        <a:lnTo>
                          <a:pt x="0" y="2"/>
                        </a:lnTo>
                        <a:lnTo>
                          <a:pt x="47" y="21"/>
                        </a:lnTo>
                        <a:lnTo>
                          <a:pt x="47" y="19"/>
                        </a:lnTo>
                        <a:close/>
                      </a:path>
                    </a:pathLst>
                  </a:custGeom>
                  <a:solidFill>
                    <a:srgbClr val="01AAE5"/>
                  </a:solidFill>
                  <a:ln>
                    <a:noFill/>
                  </a:ln>
                  <a:extLst/>
                </p:spPr>
                <p:txBody>
                  <a:bodyPr/>
                  <a:lstStyle/>
                  <a:p>
                    <a:pPr eaLnBrk="1" hangingPunct="1">
                      <a:defRPr/>
                    </a:pPr>
                    <a:endParaRPr lang="zh-CN" altLang="en-US" sz="1050"/>
                  </a:p>
                </p:txBody>
              </p:sp>
              <p:sp>
                <p:nvSpPr>
                  <p:cNvPr id="2618" name="Freeform 1770"/>
                  <p:cNvSpPr>
                    <a:spLocks/>
                  </p:cNvSpPr>
                  <p:nvPr/>
                </p:nvSpPr>
                <p:spPr bwMode="auto">
                  <a:xfrm>
                    <a:off x="10199" y="2290"/>
                    <a:ext cx="58" cy="17"/>
                  </a:xfrm>
                  <a:custGeom>
                    <a:avLst/>
                    <a:gdLst>
                      <a:gd name="T0" fmla="*/ 61 w 61"/>
                      <a:gd name="T1" fmla="*/ 24 h 24"/>
                      <a:gd name="T2" fmla="*/ 2 w 61"/>
                      <a:gd name="T3" fmla="*/ 0 h 24"/>
                      <a:gd name="T4" fmla="*/ 0 w 61"/>
                      <a:gd name="T5" fmla="*/ 3 h 24"/>
                      <a:gd name="T6" fmla="*/ 61 w 61"/>
                      <a:gd name="T7" fmla="*/ 24 h 24"/>
                      <a:gd name="T8" fmla="*/ 61 w 61"/>
                      <a:gd name="T9" fmla="*/ 24 h 24"/>
                    </a:gdLst>
                    <a:ahLst/>
                    <a:cxnLst>
                      <a:cxn ang="0">
                        <a:pos x="T0" y="T1"/>
                      </a:cxn>
                      <a:cxn ang="0">
                        <a:pos x="T2" y="T3"/>
                      </a:cxn>
                      <a:cxn ang="0">
                        <a:pos x="T4" y="T5"/>
                      </a:cxn>
                      <a:cxn ang="0">
                        <a:pos x="T6" y="T7"/>
                      </a:cxn>
                      <a:cxn ang="0">
                        <a:pos x="T8" y="T9"/>
                      </a:cxn>
                    </a:cxnLst>
                    <a:rect l="0" t="0" r="r" b="b"/>
                    <a:pathLst>
                      <a:path w="61" h="24">
                        <a:moveTo>
                          <a:pt x="61" y="24"/>
                        </a:moveTo>
                        <a:lnTo>
                          <a:pt x="2" y="0"/>
                        </a:lnTo>
                        <a:lnTo>
                          <a:pt x="0" y="3"/>
                        </a:lnTo>
                        <a:lnTo>
                          <a:pt x="61" y="24"/>
                        </a:lnTo>
                        <a:lnTo>
                          <a:pt x="61" y="24"/>
                        </a:lnTo>
                        <a:close/>
                      </a:path>
                    </a:pathLst>
                  </a:custGeom>
                  <a:solidFill>
                    <a:srgbClr val="01AAE5"/>
                  </a:solidFill>
                  <a:ln>
                    <a:noFill/>
                  </a:ln>
                  <a:extLst/>
                </p:spPr>
                <p:txBody>
                  <a:bodyPr/>
                  <a:lstStyle/>
                  <a:p>
                    <a:pPr eaLnBrk="1" hangingPunct="1">
                      <a:defRPr/>
                    </a:pPr>
                    <a:endParaRPr lang="zh-CN" altLang="en-US" sz="1050"/>
                  </a:p>
                </p:txBody>
              </p:sp>
              <p:sp>
                <p:nvSpPr>
                  <p:cNvPr id="2619" name="Freeform 1771"/>
                  <p:cNvSpPr>
                    <a:spLocks/>
                  </p:cNvSpPr>
                  <p:nvPr/>
                </p:nvSpPr>
                <p:spPr bwMode="auto">
                  <a:xfrm>
                    <a:off x="10190" y="2299"/>
                    <a:ext cx="67" cy="26"/>
                  </a:xfrm>
                  <a:custGeom>
                    <a:avLst/>
                    <a:gdLst>
                      <a:gd name="T0" fmla="*/ 64 w 64"/>
                      <a:gd name="T1" fmla="*/ 23 h 26"/>
                      <a:gd name="T2" fmla="*/ 0 w 64"/>
                      <a:gd name="T3" fmla="*/ 0 h 26"/>
                      <a:gd name="T4" fmla="*/ 0 w 64"/>
                      <a:gd name="T5" fmla="*/ 2 h 26"/>
                      <a:gd name="T6" fmla="*/ 64 w 64"/>
                      <a:gd name="T7" fmla="*/ 26 h 26"/>
                      <a:gd name="T8" fmla="*/ 64 w 64"/>
                      <a:gd name="T9" fmla="*/ 23 h 26"/>
                    </a:gdLst>
                    <a:ahLst/>
                    <a:cxnLst>
                      <a:cxn ang="0">
                        <a:pos x="T0" y="T1"/>
                      </a:cxn>
                      <a:cxn ang="0">
                        <a:pos x="T2" y="T3"/>
                      </a:cxn>
                      <a:cxn ang="0">
                        <a:pos x="T4" y="T5"/>
                      </a:cxn>
                      <a:cxn ang="0">
                        <a:pos x="T6" y="T7"/>
                      </a:cxn>
                      <a:cxn ang="0">
                        <a:pos x="T8" y="T9"/>
                      </a:cxn>
                    </a:cxnLst>
                    <a:rect l="0" t="0" r="r" b="b"/>
                    <a:pathLst>
                      <a:path w="64" h="26">
                        <a:moveTo>
                          <a:pt x="64" y="23"/>
                        </a:moveTo>
                        <a:lnTo>
                          <a:pt x="0" y="0"/>
                        </a:lnTo>
                        <a:lnTo>
                          <a:pt x="0" y="2"/>
                        </a:lnTo>
                        <a:lnTo>
                          <a:pt x="64" y="26"/>
                        </a:lnTo>
                        <a:lnTo>
                          <a:pt x="64" y="23"/>
                        </a:lnTo>
                        <a:close/>
                      </a:path>
                    </a:pathLst>
                  </a:custGeom>
                  <a:solidFill>
                    <a:srgbClr val="01AAE5"/>
                  </a:solidFill>
                  <a:ln>
                    <a:noFill/>
                  </a:ln>
                  <a:extLst/>
                </p:spPr>
                <p:txBody>
                  <a:bodyPr/>
                  <a:lstStyle/>
                  <a:p>
                    <a:pPr eaLnBrk="1" hangingPunct="1">
                      <a:defRPr/>
                    </a:pPr>
                    <a:endParaRPr lang="zh-CN" altLang="en-US" sz="1050"/>
                  </a:p>
                </p:txBody>
              </p:sp>
              <p:sp>
                <p:nvSpPr>
                  <p:cNvPr id="2620" name="Freeform 1772"/>
                  <p:cNvSpPr>
                    <a:spLocks/>
                  </p:cNvSpPr>
                  <p:nvPr/>
                </p:nvSpPr>
                <p:spPr bwMode="auto">
                  <a:xfrm>
                    <a:off x="10199" y="2290"/>
                    <a:ext cx="58" cy="26"/>
                  </a:xfrm>
                  <a:custGeom>
                    <a:avLst/>
                    <a:gdLst>
                      <a:gd name="T0" fmla="*/ 63 w 63"/>
                      <a:gd name="T1" fmla="*/ 24 h 24"/>
                      <a:gd name="T2" fmla="*/ 0 w 63"/>
                      <a:gd name="T3" fmla="*/ 0 h 24"/>
                      <a:gd name="T4" fmla="*/ 0 w 63"/>
                      <a:gd name="T5" fmla="*/ 2 h 24"/>
                      <a:gd name="T6" fmla="*/ 63 w 63"/>
                      <a:gd name="T7" fmla="*/ 24 h 24"/>
                      <a:gd name="T8" fmla="*/ 63 w 63"/>
                      <a:gd name="T9" fmla="*/ 24 h 24"/>
                    </a:gdLst>
                    <a:ahLst/>
                    <a:cxnLst>
                      <a:cxn ang="0">
                        <a:pos x="T0" y="T1"/>
                      </a:cxn>
                      <a:cxn ang="0">
                        <a:pos x="T2" y="T3"/>
                      </a:cxn>
                      <a:cxn ang="0">
                        <a:pos x="T4" y="T5"/>
                      </a:cxn>
                      <a:cxn ang="0">
                        <a:pos x="T6" y="T7"/>
                      </a:cxn>
                      <a:cxn ang="0">
                        <a:pos x="T8" y="T9"/>
                      </a:cxn>
                    </a:cxnLst>
                    <a:rect l="0" t="0" r="r" b="b"/>
                    <a:pathLst>
                      <a:path w="63" h="24">
                        <a:moveTo>
                          <a:pt x="63" y="24"/>
                        </a:moveTo>
                        <a:lnTo>
                          <a:pt x="0" y="0"/>
                        </a:lnTo>
                        <a:lnTo>
                          <a:pt x="0" y="2"/>
                        </a:lnTo>
                        <a:lnTo>
                          <a:pt x="63" y="24"/>
                        </a:lnTo>
                        <a:lnTo>
                          <a:pt x="63" y="24"/>
                        </a:lnTo>
                        <a:close/>
                      </a:path>
                    </a:pathLst>
                  </a:custGeom>
                  <a:solidFill>
                    <a:srgbClr val="01AAE5"/>
                  </a:solidFill>
                  <a:ln>
                    <a:noFill/>
                  </a:ln>
                  <a:extLst/>
                </p:spPr>
                <p:txBody>
                  <a:bodyPr/>
                  <a:lstStyle/>
                  <a:p>
                    <a:pPr eaLnBrk="1" hangingPunct="1">
                      <a:defRPr/>
                    </a:pPr>
                    <a:endParaRPr lang="zh-CN" altLang="en-US" sz="1050"/>
                  </a:p>
                </p:txBody>
              </p:sp>
              <p:sp>
                <p:nvSpPr>
                  <p:cNvPr id="2621" name="Freeform 1773"/>
                  <p:cNvSpPr>
                    <a:spLocks/>
                  </p:cNvSpPr>
                  <p:nvPr/>
                </p:nvSpPr>
                <p:spPr bwMode="auto">
                  <a:xfrm>
                    <a:off x="10199" y="2273"/>
                    <a:ext cx="58" cy="26"/>
                  </a:xfrm>
                  <a:custGeom>
                    <a:avLst/>
                    <a:gdLst>
                      <a:gd name="T0" fmla="*/ 57 w 57"/>
                      <a:gd name="T1" fmla="*/ 21 h 21"/>
                      <a:gd name="T2" fmla="*/ 2 w 57"/>
                      <a:gd name="T3" fmla="*/ 0 h 21"/>
                      <a:gd name="T4" fmla="*/ 0 w 57"/>
                      <a:gd name="T5" fmla="*/ 0 h 21"/>
                      <a:gd name="T6" fmla="*/ 57 w 57"/>
                      <a:gd name="T7" fmla="*/ 21 h 21"/>
                      <a:gd name="T8" fmla="*/ 57 w 57"/>
                      <a:gd name="T9" fmla="*/ 21 h 21"/>
                    </a:gdLst>
                    <a:ahLst/>
                    <a:cxnLst>
                      <a:cxn ang="0">
                        <a:pos x="T0" y="T1"/>
                      </a:cxn>
                      <a:cxn ang="0">
                        <a:pos x="T2" y="T3"/>
                      </a:cxn>
                      <a:cxn ang="0">
                        <a:pos x="T4" y="T5"/>
                      </a:cxn>
                      <a:cxn ang="0">
                        <a:pos x="T6" y="T7"/>
                      </a:cxn>
                      <a:cxn ang="0">
                        <a:pos x="T8" y="T9"/>
                      </a:cxn>
                    </a:cxnLst>
                    <a:rect l="0" t="0" r="r" b="b"/>
                    <a:pathLst>
                      <a:path w="57" h="21">
                        <a:moveTo>
                          <a:pt x="57" y="21"/>
                        </a:moveTo>
                        <a:lnTo>
                          <a:pt x="2" y="0"/>
                        </a:lnTo>
                        <a:lnTo>
                          <a:pt x="0" y="0"/>
                        </a:lnTo>
                        <a:lnTo>
                          <a:pt x="57" y="21"/>
                        </a:lnTo>
                        <a:lnTo>
                          <a:pt x="57" y="21"/>
                        </a:lnTo>
                        <a:close/>
                      </a:path>
                    </a:pathLst>
                  </a:custGeom>
                  <a:solidFill>
                    <a:srgbClr val="01AAE5"/>
                  </a:solidFill>
                  <a:ln>
                    <a:noFill/>
                  </a:ln>
                  <a:extLst/>
                </p:spPr>
                <p:txBody>
                  <a:bodyPr/>
                  <a:lstStyle/>
                  <a:p>
                    <a:pPr eaLnBrk="1" hangingPunct="1">
                      <a:defRPr/>
                    </a:pPr>
                    <a:endParaRPr lang="zh-CN" altLang="en-US" sz="1050"/>
                  </a:p>
                </p:txBody>
              </p:sp>
              <p:sp>
                <p:nvSpPr>
                  <p:cNvPr id="2622" name="Freeform 1774"/>
                  <p:cNvSpPr>
                    <a:spLocks/>
                  </p:cNvSpPr>
                  <p:nvPr/>
                </p:nvSpPr>
                <p:spPr bwMode="auto">
                  <a:xfrm>
                    <a:off x="10215" y="2273"/>
                    <a:ext cx="42" cy="17"/>
                  </a:xfrm>
                  <a:custGeom>
                    <a:avLst/>
                    <a:gdLst>
                      <a:gd name="T0" fmla="*/ 48 w 48"/>
                      <a:gd name="T1" fmla="*/ 19 h 21"/>
                      <a:gd name="T2" fmla="*/ 0 w 48"/>
                      <a:gd name="T3" fmla="*/ 0 h 21"/>
                      <a:gd name="T4" fmla="*/ 0 w 48"/>
                      <a:gd name="T5" fmla="*/ 2 h 21"/>
                      <a:gd name="T6" fmla="*/ 48 w 48"/>
                      <a:gd name="T7" fmla="*/ 21 h 21"/>
                      <a:gd name="T8" fmla="*/ 48 w 48"/>
                      <a:gd name="T9" fmla="*/ 19 h 21"/>
                    </a:gdLst>
                    <a:ahLst/>
                    <a:cxnLst>
                      <a:cxn ang="0">
                        <a:pos x="T0" y="T1"/>
                      </a:cxn>
                      <a:cxn ang="0">
                        <a:pos x="T2" y="T3"/>
                      </a:cxn>
                      <a:cxn ang="0">
                        <a:pos x="T4" y="T5"/>
                      </a:cxn>
                      <a:cxn ang="0">
                        <a:pos x="T6" y="T7"/>
                      </a:cxn>
                      <a:cxn ang="0">
                        <a:pos x="T8" y="T9"/>
                      </a:cxn>
                    </a:cxnLst>
                    <a:rect l="0" t="0" r="r" b="b"/>
                    <a:pathLst>
                      <a:path w="48" h="21">
                        <a:moveTo>
                          <a:pt x="48" y="19"/>
                        </a:moveTo>
                        <a:lnTo>
                          <a:pt x="0" y="0"/>
                        </a:lnTo>
                        <a:lnTo>
                          <a:pt x="0" y="2"/>
                        </a:lnTo>
                        <a:lnTo>
                          <a:pt x="48" y="21"/>
                        </a:lnTo>
                        <a:lnTo>
                          <a:pt x="48" y="19"/>
                        </a:lnTo>
                        <a:close/>
                      </a:path>
                    </a:pathLst>
                  </a:custGeom>
                  <a:solidFill>
                    <a:srgbClr val="01AAE5"/>
                  </a:solidFill>
                  <a:ln>
                    <a:noFill/>
                  </a:ln>
                  <a:extLst/>
                </p:spPr>
                <p:txBody>
                  <a:bodyPr/>
                  <a:lstStyle/>
                  <a:p>
                    <a:pPr eaLnBrk="1" hangingPunct="1">
                      <a:defRPr/>
                    </a:pPr>
                    <a:endParaRPr lang="zh-CN" altLang="en-US" sz="1050"/>
                  </a:p>
                </p:txBody>
              </p:sp>
              <p:sp>
                <p:nvSpPr>
                  <p:cNvPr id="2623" name="Freeform 1775"/>
                  <p:cNvSpPr>
                    <a:spLocks/>
                  </p:cNvSpPr>
                  <p:nvPr/>
                </p:nvSpPr>
                <p:spPr bwMode="auto">
                  <a:xfrm>
                    <a:off x="10207" y="2273"/>
                    <a:ext cx="50" cy="26"/>
                  </a:xfrm>
                  <a:custGeom>
                    <a:avLst/>
                    <a:gdLst>
                      <a:gd name="T0" fmla="*/ 52 w 52"/>
                      <a:gd name="T1" fmla="*/ 22 h 22"/>
                      <a:gd name="T2" fmla="*/ 0 w 52"/>
                      <a:gd name="T3" fmla="*/ 0 h 22"/>
                      <a:gd name="T4" fmla="*/ 0 w 52"/>
                      <a:gd name="T5" fmla="*/ 0 h 22"/>
                      <a:gd name="T6" fmla="*/ 52 w 52"/>
                      <a:gd name="T7" fmla="*/ 22 h 22"/>
                      <a:gd name="T8" fmla="*/ 52 w 52"/>
                      <a:gd name="T9" fmla="*/ 22 h 22"/>
                    </a:gdLst>
                    <a:ahLst/>
                    <a:cxnLst>
                      <a:cxn ang="0">
                        <a:pos x="T0" y="T1"/>
                      </a:cxn>
                      <a:cxn ang="0">
                        <a:pos x="T2" y="T3"/>
                      </a:cxn>
                      <a:cxn ang="0">
                        <a:pos x="T4" y="T5"/>
                      </a:cxn>
                      <a:cxn ang="0">
                        <a:pos x="T6" y="T7"/>
                      </a:cxn>
                      <a:cxn ang="0">
                        <a:pos x="T8" y="T9"/>
                      </a:cxn>
                    </a:cxnLst>
                    <a:rect l="0" t="0" r="r" b="b"/>
                    <a:pathLst>
                      <a:path w="52" h="22">
                        <a:moveTo>
                          <a:pt x="52" y="22"/>
                        </a:moveTo>
                        <a:lnTo>
                          <a:pt x="0" y="0"/>
                        </a:lnTo>
                        <a:lnTo>
                          <a:pt x="0" y="0"/>
                        </a:lnTo>
                        <a:lnTo>
                          <a:pt x="52" y="22"/>
                        </a:lnTo>
                        <a:lnTo>
                          <a:pt x="52" y="22"/>
                        </a:lnTo>
                        <a:close/>
                      </a:path>
                    </a:pathLst>
                  </a:custGeom>
                  <a:solidFill>
                    <a:srgbClr val="01AAE5"/>
                  </a:solidFill>
                  <a:ln>
                    <a:noFill/>
                  </a:ln>
                  <a:extLst/>
                </p:spPr>
                <p:txBody>
                  <a:bodyPr/>
                  <a:lstStyle/>
                  <a:p>
                    <a:pPr eaLnBrk="1" hangingPunct="1">
                      <a:defRPr/>
                    </a:pPr>
                    <a:endParaRPr lang="zh-CN" altLang="en-US" sz="1050"/>
                  </a:p>
                </p:txBody>
              </p:sp>
              <p:sp>
                <p:nvSpPr>
                  <p:cNvPr id="2624" name="Freeform 1776"/>
                  <p:cNvSpPr>
                    <a:spLocks/>
                  </p:cNvSpPr>
                  <p:nvPr/>
                </p:nvSpPr>
                <p:spPr bwMode="auto">
                  <a:xfrm>
                    <a:off x="10232" y="2247"/>
                    <a:ext cx="33" cy="17"/>
                  </a:xfrm>
                  <a:custGeom>
                    <a:avLst/>
                    <a:gdLst>
                      <a:gd name="T0" fmla="*/ 28 w 28"/>
                      <a:gd name="T1" fmla="*/ 12 h 14"/>
                      <a:gd name="T2" fmla="*/ 0 w 28"/>
                      <a:gd name="T3" fmla="*/ 0 h 14"/>
                      <a:gd name="T4" fmla="*/ 0 w 28"/>
                      <a:gd name="T5" fmla="*/ 0 h 14"/>
                      <a:gd name="T6" fmla="*/ 28 w 28"/>
                      <a:gd name="T7" fmla="*/ 14 h 14"/>
                      <a:gd name="T8" fmla="*/ 28 w 28"/>
                      <a:gd name="T9" fmla="*/ 12 h 14"/>
                    </a:gdLst>
                    <a:ahLst/>
                    <a:cxnLst>
                      <a:cxn ang="0">
                        <a:pos x="T0" y="T1"/>
                      </a:cxn>
                      <a:cxn ang="0">
                        <a:pos x="T2" y="T3"/>
                      </a:cxn>
                      <a:cxn ang="0">
                        <a:pos x="T4" y="T5"/>
                      </a:cxn>
                      <a:cxn ang="0">
                        <a:pos x="T6" y="T7"/>
                      </a:cxn>
                      <a:cxn ang="0">
                        <a:pos x="T8" y="T9"/>
                      </a:cxn>
                    </a:cxnLst>
                    <a:rect l="0" t="0" r="r" b="b"/>
                    <a:pathLst>
                      <a:path w="28" h="14">
                        <a:moveTo>
                          <a:pt x="28" y="12"/>
                        </a:moveTo>
                        <a:lnTo>
                          <a:pt x="0" y="0"/>
                        </a:lnTo>
                        <a:lnTo>
                          <a:pt x="0" y="0"/>
                        </a:lnTo>
                        <a:lnTo>
                          <a:pt x="28" y="14"/>
                        </a:lnTo>
                        <a:lnTo>
                          <a:pt x="28" y="12"/>
                        </a:lnTo>
                        <a:close/>
                      </a:path>
                    </a:pathLst>
                  </a:custGeom>
                  <a:solidFill>
                    <a:srgbClr val="01AAE5"/>
                  </a:solidFill>
                  <a:ln>
                    <a:noFill/>
                  </a:ln>
                  <a:extLst/>
                </p:spPr>
                <p:txBody>
                  <a:bodyPr/>
                  <a:lstStyle/>
                  <a:p>
                    <a:pPr eaLnBrk="1" hangingPunct="1">
                      <a:defRPr/>
                    </a:pPr>
                    <a:endParaRPr lang="zh-CN" altLang="en-US" sz="1050"/>
                  </a:p>
                </p:txBody>
              </p:sp>
              <p:sp>
                <p:nvSpPr>
                  <p:cNvPr id="2625" name="Freeform 1777"/>
                  <p:cNvSpPr>
                    <a:spLocks/>
                  </p:cNvSpPr>
                  <p:nvPr/>
                </p:nvSpPr>
                <p:spPr bwMode="auto">
                  <a:xfrm>
                    <a:off x="10290" y="2186"/>
                    <a:ext cx="8" cy="0"/>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2626" name="Freeform 1778"/>
                  <p:cNvSpPr>
                    <a:spLocks/>
                  </p:cNvSpPr>
                  <p:nvPr/>
                </p:nvSpPr>
                <p:spPr bwMode="auto">
                  <a:xfrm>
                    <a:off x="10282" y="2186"/>
                    <a:ext cx="8" cy="0"/>
                  </a:xfrm>
                  <a:custGeom>
                    <a:avLst/>
                    <a:gdLst>
                      <a:gd name="T0" fmla="*/ 7 w 7"/>
                      <a:gd name="T1" fmla="*/ 2 h 4"/>
                      <a:gd name="T2" fmla="*/ 0 w 7"/>
                      <a:gd name="T3" fmla="*/ 0 h 4"/>
                      <a:gd name="T4" fmla="*/ 0 w 7"/>
                      <a:gd name="T5" fmla="*/ 0 h 4"/>
                      <a:gd name="T6" fmla="*/ 7 w 7"/>
                      <a:gd name="T7" fmla="*/ 4 h 4"/>
                      <a:gd name="T8" fmla="*/ 7 w 7"/>
                      <a:gd name="T9" fmla="*/ 2 h 4"/>
                    </a:gdLst>
                    <a:ahLst/>
                    <a:cxnLst>
                      <a:cxn ang="0">
                        <a:pos x="T0" y="T1"/>
                      </a:cxn>
                      <a:cxn ang="0">
                        <a:pos x="T2" y="T3"/>
                      </a:cxn>
                      <a:cxn ang="0">
                        <a:pos x="T4" y="T5"/>
                      </a:cxn>
                      <a:cxn ang="0">
                        <a:pos x="T6" y="T7"/>
                      </a:cxn>
                      <a:cxn ang="0">
                        <a:pos x="T8" y="T9"/>
                      </a:cxn>
                    </a:cxnLst>
                    <a:rect l="0" t="0" r="r" b="b"/>
                    <a:pathLst>
                      <a:path w="7" h="4">
                        <a:moveTo>
                          <a:pt x="7" y="2"/>
                        </a:moveTo>
                        <a:lnTo>
                          <a:pt x="0" y="0"/>
                        </a:lnTo>
                        <a:lnTo>
                          <a:pt x="0" y="0"/>
                        </a:lnTo>
                        <a:lnTo>
                          <a:pt x="7" y="4"/>
                        </a:lnTo>
                        <a:lnTo>
                          <a:pt x="7" y="2"/>
                        </a:lnTo>
                        <a:close/>
                      </a:path>
                    </a:pathLst>
                  </a:custGeom>
                  <a:solidFill>
                    <a:srgbClr val="01AAE5"/>
                  </a:solidFill>
                  <a:ln>
                    <a:noFill/>
                  </a:ln>
                  <a:extLst/>
                </p:spPr>
                <p:txBody>
                  <a:bodyPr/>
                  <a:lstStyle/>
                  <a:p>
                    <a:pPr eaLnBrk="1" hangingPunct="1">
                      <a:defRPr/>
                    </a:pPr>
                    <a:endParaRPr lang="zh-CN" altLang="en-US" sz="1050"/>
                  </a:p>
                </p:txBody>
              </p:sp>
              <p:sp>
                <p:nvSpPr>
                  <p:cNvPr id="2627" name="Freeform 1779"/>
                  <p:cNvSpPr>
                    <a:spLocks/>
                  </p:cNvSpPr>
                  <p:nvPr/>
                </p:nvSpPr>
                <p:spPr bwMode="auto">
                  <a:xfrm>
                    <a:off x="10290" y="2177"/>
                    <a:ext cx="8" cy="9"/>
                  </a:xfrm>
                  <a:custGeom>
                    <a:avLst/>
                    <a:gdLst>
                      <a:gd name="T0" fmla="*/ 10 w 10"/>
                      <a:gd name="T1" fmla="*/ 5 h 5"/>
                      <a:gd name="T2" fmla="*/ 0 w 10"/>
                      <a:gd name="T3" fmla="*/ 0 h 5"/>
                      <a:gd name="T4" fmla="*/ 0 w 10"/>
                      <a:gd name="T5" fmla="*/ 0 h 5"/>
                      <a:gd name="T6" fmla="*/ 8 w 10"/>
                      <a:gd name="T7" fmla="*/ 5 h 5"/>
                      <a:gd name="T8" fmla="*/ 10 w 10"/>
                      <a:gd name="T9" fmla="*/ 5 h 5"/>
                    </a:gdLst>
                    <a:ahLst/>
                    <a:cxnLst>
                      <a:cxn ang="0">
                        <a:pos x="T0" y="T1"/>
                      </a:cxn>
                      <a:cxn ang="0">
                        <a:pos x="T2" y="T3"/>
                      </a:cxn>
                      <a:cxn ang="0">
                        <a:pos x="T4" y="T5"/>
                      </a:cxn>
                      <a:cxn ang="0">
                        <a:pos x="T6" y="T7"/>
                      </a:cxn>
                      <a:cxn ang="0">
                        <a:pos x="T8" y="T9"/>
                      </a:cxn>
                    </a:cxnLst>
                    <a:rect l="0" t="0" r="r" b="b"/>
                    <a:pathLst>
                      <a:path w="10" h="5">
                        <a:moveTo>
                          <a:pt x="10" y="5"/>
                        </a:moveTo>
                        <a:lnTo>
                          <a:pt x="0" y="0"/>
                        </a:lnTo>
                        <a:lnTo>
                          <a:pt x="0" y="0"/>
                        </a:lnTo>
                        <a:lnTo>
                          <a:pt x="8" y="5"/>
                        </a:lnTo>
                        <a:lnTo>
                          <a:pt x="10" y="5"/>
                        </a:lnTo>
                        <a:close/>
                      </a:path>
                    </a:pathLst>
                  </a:custGeom>
                  <a:solidFill>
                    <a:srgbClr val="01AAE5"/>
                  </a:solidFill>
                  <a:ln>
                    <a:noFill/>
                  </a:ln>
                  <a:extLst/>
                </p:spPr>
                <p:txBody>
                  <a:bodyPr/>
                  <a:lstStyle/>
                  <a:p>
                    <a:pPr eaLnBrk="1" hangingPunct="1">
                      <a:defRPr/>
                    </a:pPr>
                    <a:endParaRPr lang="zh-CN" altLang="en-US" sz="1050"/>
                  </a:p>
                </p:txBody>
              </p:sp>
              <p:sp>
                <p:nvSpPr>
                  <p:cNvPr id="2628" name="Freeform 1780"/>
                  <p:cNvSpPr>
                    <a:spLocks/>
                  </p:cNvSpPr>
                  <p:nvPr/>
                </p:nvSpPr>
                <p:spPr bwMode="auto">
                  <a:xfrm>
                    <a:off x="10282" y="2194"/>
                    <a:ext cx="8"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2629" name="Freeform 1781"/>
                  <p:cNvSpPr>
                    <a:spLocks/>
                  </p:cNvSpPr>
                  <p:nvPr/>
                </p:nvSpPr>
                <p:spPr bwMode="auto">
                  <a:xfrm>
                    <a:off x="10282" y="2186"/>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2630" name="Freeform 1782"/>
                  <p:cNvSpPr>
                    <a:spLocks/>
                  </p:cNvSpPr>
                  <p:nvPr/>
                </p:nvSpPr>
                <p:spPr bwMode="auto">
                  <a:xfrm>
                    <a:off x="10257" y="2229"/>
                    <a:ext cx="17" cy="9"/>
                  </a:xfrm>
                  <a:custGeom>
                    <a:avLst/>
                    <a:gdLst>
                      <a:gd name="T0" fmla="*/ 17 w 17"/>
                      <a:gd name="T1" fmla="*/ 7 h 7"/>
                      <a:gd name="T2" fmla="*/ 2 w 17"/>
                      <a:gd name="T3" fmla="*/ 0 h 7"/>
                      <a:gd name="T4" fmla="*/ 0 w 17"/>
                      <a:gd name="T5" fmla="*/ 0 h 7"/>
                      <a:gd name="T6" fmla="*/ 17 w 17"/>
                      <a:gd name="T7" fmla="*/ 7 h 7"/>
                      <a:gd name="T8" fmla="*/ 17 w 17"/>
                      <a:gd name="T9" fmla="*/ 7 h 7"/>
                    </a:gdLst>
                    <a:ahLst/>
                    <a:cxnLst>
                      <a:cxn ang="0">
                        <a:pos x="T0" y="T1"/>
                      </a:cxn>
                      <a:cxn ang="0">
                        <a:pos x="T2" y="T3"/>
                      </a:cxn>
                      <a:cxn ang="0">
                        <a:pos x="T4" y="T5"/>
                      </a:cxn>
                      <a:cxn ang="0">
                        <a:pos x="T6" y="T7"/>
                      </a:cxn>
                      <a:cxn ang="0">
                        <a:pos x="T8" y="T9"/>
                      </a:cxn>
                    </a:cxnLst>
                    <a:rect l="0" t="0" r="r" b="b"/>
                    <a:pathLst>
                      <a:path w="17" h="7">
                        <a:moveTo>
                          <a:pt x="17" y="7"/>
                        </a:moveTo>
                        <a:lnTo>
                          <a:pt x="2" y="0"/>
                        </a:lnTo>
                        <a:lnTo>
                          <a:pt x="0" y="0"/>
                        </a:lnTo>
                        <a:lnTo>
                          <a:pt x="17" y="7"/>
                        </a:lnTo>
                        <a:lnTo>
                          <a:pt x="17" y="7"/>
                        </a:lnTo>
                        <a:close/>
                      </a:path>
                    </a:pathLst>
                  </a:custGeom>
                  <a:solidFill>
                    <a:srgbClr val="01AAE5"/>
                  </a:solidFill>
                  <a:ln>
                    <a:noFill/>
                  </a:ln>
                  <a:extLst/>
                </p:spPr>
                <p:txBody>
                  <a:bodyPr/>
                  <a:lstStyle/>
                  <a:p>
                    <a:pPr eaLnBrk="1" hangingPunct="1">
                      <a:defRPr/>
                    </a:pPr>
                    <a:endParaRPr lang="zh-CN" altLang="en-US" sz="1050"/>
                  </a:p>
                </p:txBody>
              </p:sp>
              <p:sp>
                <p:nvSpPr>
                  <p:cNvPr id="2631" name="Freeform 1783"/>
                  <p:cNvSpPr>
                    <a:spLocks/>
                  </p:cNvSpPr>
                  <p:nvPr/>
                </p:nvSpPr>
                <p:spPr bwMode="auto">
                  <a:xfrm>
                    <a:off x="10290" y="2168"/>
                    <a:ext cx="17" cy="9"/>
                  </a:xfrm>
                  <a:custGeom>
                    <a:avLst/>
                    <a:gdLst>
                      <a:gd name="T0" fmla="*/ 9 w 9"/>
                      <a:gd name="T1" fmla="*/ 5 h 5"/>
                      <a:gd name="T2" fmla="*/ 2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2632" name="Freeform 1784"/>
                  <p:cNvSpPr>
                    <a:spLocks/>
                  </p:cNvSpPr>
                  <p:nvPr/>
                </p:nvSpPr>
                <p:spPr bwMode="auto">
                  <a:xfrm>
                    <a:off x="10299" y="2168"/>
                    <a:ext cx="8" cy="9"/>
                  </a:xfrm>
                  <a:custGeom>
                    <a:avLst/>
                    <a:gdLst>
                      <a:gd name="T0" fmla="*/ 10 w 10"/>
                      <a:gd name="T1" fmla="*/ 4 h 7"/>
                      <a:gd name="T2" fmla="*/ 3 w 10"/>
                      <a:gd name="T3" fmla="*/ 0 h 7"/>
                      <a:gd name="T4" fmla="*/ 0 w 10"/>
                      <a:gd name="T5" fmla="*/ 2 h 7"/>
                      <a:gd name="T6" fmla="*/ 10 w 10"/>
                      <a:gd name="T7" fmla="*/ 7 h 7"/>
                      <a:gd name="T8" fmla="*/ 10 w 10"/>
                      <a:gd name="T9" fmla="*/ 4 h 7"/>
                    </a:gdLst>
                    <a:ahLst/>
                    <a:cxnLst>
                      <a:cxn ang="0">
                        <a:pos x="T0" y="T1"/>
                      </a:cxn>
                      <a:cxn ang="0">
                        <a:pos x="T2" y="T3"/>
                      </a:cxn>
                      <a:cxn ang="0">
                        <a:pos x="T4" y="T5"/>
                      </a:cxn>
                      <a:cxn ang="0">
                        <a:pos x="T6" y="T7"/>
                      </a:cxn>
                      <a:cxn ang="0">
                        <a:pos x="T8" y="T9"/>
                      </a:cxn>
                    </a:cxnLst>
                    <a:rect l="0" t="0" r="r" b="b"/>
                    <a:pathLst>
                      <a:path w="10" h="7">
                        <a:moveTo>
                          <a:pt x="10" y="4"/>
                        </a:moveTo>
                        <a:lnTo>
                          <a:pt x="3" y="0"/>
                        </a:lnTo>
                        <a:lnTo>
                          <a:pt x="0" y="2"/>
                        </a:lnTo>
                        <a:lnTo>
                          <a:pt x="10" y="7"/>
                        </a:lnTo>
                        <a:lnTo>
                          <a:pt x="10" y="4"/>
                        </a:lnTo>
                        <a:close/>
                      </a:path>
                    </a:pathLst>
                  </a:custGeom>
                  <a:solidFill>
                    <a:srgbClr val="01AAE5"/>
                  </a:solidFill>
                  <a:ln>
                    <a:noFill/>
                  </a:ln>
                  <a:extLst/>
                </p:spPr>
                <p:txBody>
                  <a:bodyPr/>
                  <a:lstStyle/>
                  <a:p>
                    <a:pPr eaLnBrk="1" hangingPunct="1">
                      <a:defRPr/>
                    </a:pPr>
                    <a:endParaRPr lang="zh-CN" altLang="en-US" sz="1050"/>
                  </a:p>
                </p:txBody>
              </p:sp>
              <p:sp>
                <p:nvSpPr>
                  <p:cNvPr id="2633" name="Freeform 1785"/>
                  <p:cNvSpPr>
                    <a:spLocks/>
                  </p:cNvSpPr>
                  <p:nvPr/>
                </p:nvSpPr>
                <p:spPr bwMode="auto">
                  <a:xfrm>
                    <a:off x="10299" y="2159"/>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2634" name="Freeform 1786"/>
                  <p:cNvSpPr>
                    <a:spLocks/>
                  </p:cNvSpPr>
                  <p:nvPr/>
                </p:nvSpPr>
                <p:spPr bwMode="auto">
                  <a:xfrm>
                    <a:off x="10265" y="2212"/>
                    <a:ext cx="8" cy="9"/>
                  </a:xfrm>
                  <a:custGeom>
                    <a:avLst/>
                    <a:gdLst>
                      <a:gd name="T0" fmla="*/ 12 w 12"/>
                      <a:gd name="T1" fmla="*/ 7 h 7"/>
                      <a:gd name="T2" fmla="*/ 2 w 12"/>
                      <a:gd name="T3" fmla="*/ 0 h 7"/>
                      <a:gd name="T4" fmla="*/ 0 w 12"/>
                      <a:gd name="T5" fmla="*/ 2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2" y="0"/>
                        </a:lnTo>
                        <a:lnTo>
                          <a:pt x="0" y="2"/>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2635" name="Freeform 1787"/>
                  <p:cNvSpPr>
                    <a:spLocks/>
                  </p:cNvSpPr>
                  <p:nvPr/>
                </p:nvSpPr>
                <p:spPr bwMode="auto">
                  <a:xfrm>
                    <a:off x="10265" y="2212"/>
                    <a:ext cx="17" cy="9"/>
                  </a:xfrm>
                  <a:custGeom>
                    <a:avLst/>
                    <a:gdLst>
                      <a:gd name="T0" fmla="*/ 9 w 9"/>
                      <a:gd name="T1" fmla="*/ 5 h 5"/>
                      <a:gd name="T2" fmla="*/ 0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2636" name="Freeform 1788"/>
                  <p:cNvSpPr>
                    <a:spLocks/>
                  </p:cNvSpPr>
                  <p:nvPr/>
                </p:nvSpPr>
                <p:spPr bwMode="auto">
                  <a:xfrm>
                    <a:off x="10282" y="2194"/>
                    <a:ext cx="0" cy="9"/>
                  </a:xfrm>
                  <a:custGeom>
                    <a:avLst/>
                    <a:gdLst>
                      <a:gd name="T0" fmla="*/ 7 w 7"/>
                      <a:gd name="T1" fmla="*/ 5 h 8"/>
                      <a:gd name="T2" fmla="*/ 0 w 7"/>
                      <a:gd name="T3" fmla="*/ 0 h 8"/>
                      <a:gd name="T4" fmla="*/ 0 w 7"/>
                      <a:gd name="T5" fmla="*/ 3 h 8"/>
                      <a:gd name="T6" fmla="*/ 7 w 7"/>
                      <a:gd name="T7" fmla="*/ 8 h 8"/>
                      <a:gd name="T8" fmla="*/ 7 w 7"/>
                      <a:gd name="T9" fmla="*/ 5 h 8"/>
                    </a:gdLst>
                    <a:ahLst/>
                    <a:cxnLst>
                      <a:cxn ang="0">
                        <a:pos x="T0" y="T1"/>
                      </a:cxn>
                      <a:cxn ang="0">
                        <a:pos x="T2" y="T3"/>
                      </a:cxn>
                      <a:cxn ang="0">
                        <a:pos x="T4" y="T5"/>
                      </a:cxn>
                      <a:cxn ang="0">
                        <a:pos x="T6" y="T7"/>
                      </a:cxn>
                      <a:cxn ang="0">
                        <a:pos x="T8" y="T9"/>
                      </a:cxn>
                    </a:cxnLst>
                    <a:rect l="0" t="0" r="r" b="b"/>
                    <a:pathLst>
                      <a:path w="7" h="8">
                        <a:moveTo>
                          <a:pt x="7" y="5"/>
                        </a:moveTo>
                        <a:lnTo>
                          <a:pt x="0" y="0"/>
                        </a:lnTo>
                        <a:lnTo>
                          <a:pt x="0" y="3"/>
                        </a:lnTo>
                        <a:lnTo>
                          <a:pt x="7" y="8"/>
                        </a:lnTo>
                        <a:lnTo>
                          <a:pt x="7" y="5"/>
                        </a:lnTo>
                        <a:close/>
                      </a:path>
                    </a:pathLst>
                  </a:custGeom>
                  <a:solidFill>
                    <a:srgbClr val="01AAE5"/>
                  </a:solidFill>
                  <a:ln>
                    <a:noFill/>
                  </a:ln>
                  <a:extLst/>
                </p:spPr>
                <p:txBody>
                  <a:bodyPr/>
                  <a:lstStyle/>
                  <a:p>
                    <a:pPr eaLnBrk="1" hangingPunct="1">
                      <a:defRPr/>
                    </a:pPr>
                    <a:endParaRPr lang="zh-CN" altLang="en-US" sz="1050"/>
                  </a:p>
                </p:txBody>
              </p:sp>
              <p:sp>
                <p:nvSpPr>
                  <p:cNvPr id="2637" name="Freeform 1789"/>
                  <p:cNvSpPr>
                    <a:spLocks/>
                  </p:cNvSpPr>
                  <p:nvPr/>
                </p:nvSpPr>
                <p:spPr bwMode="auto">
                  <a:xfrm>
                    <a:off x="10257" y="2220"/>
                    <a:ext cx="17" cy="9"/>
                  </a:xfrm>
                  <a:custGeom>
                    <a:avLst/>
                    <a:gdLst>
                      <a:gd name="T0" fmla="*/ 14 w 14"/>
                      <a:gd name="T1" fmla="*/ 8 h 8"/>
                      <a:gd name="T2" fmla="*/ 0 w 14"/>
                      <a:gd name="T3" fmla="*/ 0 h 8"/>
                      <a:gd name="T4" fmla="*/ 0 w 14"/>
                      <a:gd name="T5" fmla="*/ 0 h 8"/>
                      <a:gd name="T6" fmla="*/ 14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lnTo>
                          <a:pt x="0" y="0"/>
                        </a:lnTo>
                        <a:lnTo>
                          <a:pt x="0" y="0"/>
                        </a:lnTo>
                        <a:lnTo>
                          <a:pt x="14" y="8"/>
                        </a:lnTo>
                        <a:lnTo>
                          <a:pt x="14" y="8"/>
                        </a:lnTo>
                        <a:close/>
                      </a:path>
                    </a:pathLst>
                  </a:custGeom>
                  <a:solidFill>
                    <a:srgbClr val="01AAE5"/>
                  </a:solidFill>
                  <a:ln>
                    <a:noFill/>
                  </a:ln>
                  <a:extLst/>
                </p:spPr>
                <p:txBody>
                  <a:bodyPr/>
                  <a:lstStyle/>
                  <a:p>
                    <a:pPr eaLnBrk="1" hangingPunct="1">
                      <a:defRPr/>
                    </a:pPr>
                    <a:endParaRPr lang="zh-CN" altLang="en-US" sz="1050"/>
                  </a:p>
                </p:txBody>
              </p:sp>
              <p:sp>
                <p:nvSpPr>
                  <p:cNvPr id="2638" name="Freeform 1790"/>
                  <p:cNvSpPr>
                    <a:spLocks/>
                  </p:cNvSpPr>
                  <p:nvPr/>
                </p:nvSpPr>
                <p:spPr bwMode="auto">
                  <a:xfrm>
                    <a:off x="10274" y="2212"/>
                    <a:ext cx="8" cy="0"/>
                  </a:xfrm>
                  <a:custGeom>
                    <a:avLst/>
                    <a:gdLst>
                      <a:gd name="T0" fmla="*/ 10 w 10"/>
                      <a:gd name="T1" fmla="*/ 4 h 4"/>
                      <a:gd name="T2" fmla="*/ 0 w 10"/>
                      <a:gd name="T3" fmla="*/ 0 h 4"/>
                      <a:gd name="T4" fmla="*/ 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0"/>
                        </a:lnTo>
                        <a:lnTo>
                          <a:pt x="0" y="0"/>
                        </a:lnTo>
                        <a:lnTo>
                          <a:pt x="10" y="4"/>
                        </a:lnTo>
                        <a:lnTo>
                          <a:pt x="10" y="4"/>
                        </a:lnTo>
                        <a:close/>
                      </a:path>
                    </a:pathLst>
                  </a:custGeom>
                  <a:solidFill>
                    <a:srgbClr val="01AAE5"/>
                  </a:solidFill>
                  <a:ln>
                    <a:noFill/>
                  </a:ln>
                  <a:extLst/>
                </p:spPr>
                <p:txBody>
                  <a:bodyPr/>
                  <a:lstStyle/>
                  <a:p>
                    <a:pPr eaLnBrk="1" hangingPunct="1">
                      <a:defRPr/>
                    </a:pPr>
                    <a:endParaRPr lang="zh-CN" altLang="en-US" sz="1050"/>
                  </a:p>
                </p:txBody>
              </p:sp>
              <p:sp>
                <p:nvSpPr>
                  <p:cNvPr id="2639" name="Freeform 1791"/>
                  <p:cNvSpPr>
                    <a:spLocks/>
                  </p:cNvSpPr>
                  <p:nvPr/>
                </p:nvSpPr>
                <p:spPr bwMode="auto">
                  <a:xfrm>
                    <a:off x="10274" y="2203"/>
                    <a:ext cx="17" cy="9"/>
                  </a:xfrm>
                  <a:custGeom>
                    <a:avLst/>
                    <a:gdLst>
                      <a:gd name="T0" fmla="*/ 9 w 9"/>
                      <a:gd name="T1" fmla="*/ 5 h 5"/>
                      <a:gd name="T2" fmla="*/ 9 w 9"/>
                      <a:gd name="T3" fmla="*/ 5 h 5"/>
                      <a:gd name="T4" fmla="*/ 2 w 9"/>
                      <a:gd name="T5" fmla="*/ 0 h 5"/>
                      <a:gd name="T6" fmla="*/ 0 w 9"/>
                      <a:gd name="T7" fmla="*/ 3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9" y="5"/>
                        </a:lnTo>
                        <a:lnTo>
                          <a:pt x="2" y="0"/>
                        </a:lnTo>
                        <a:lnTo>
                          <a:pt x="0" y="3"/>
                        </a:lnTo>
                        <a:lnTo>
                          <a:pt x="9" y="5"/>
                        </a:lnTo>
                        <a:close/>
                      </a:path>
                    </a:pathLst>
                  </a:custGeom>
                  <a:solidFill>
                    <a:srgbClr val="01AAE5"/>
                  </a:solidFill>
                  <a:ln>
                    <a:noFill/>
                  </a:ln>
                  <a:extLst/>
                </p:spPr>
                <p:txBody>
                  <a:bodyPr/>
                  <a:lstStyle/>
                  <a:p>
                    <a:pPr eaLnBrk="1" hangingPunct="1">
                      <a:defRPr/>
                    </a:pPr>
                    <a:endParaRPr lang="zh-CN" altLang="en-US" sz="1050"/>
                  </a:p>
                </p:txBody>
              </p:sp>
              <p:sp>
                <p:nvSpPr>
                  <p:cNvPr id="2640" name="Freeform 1792"/>
                  <p:cNvSpPr>
                    <a:spLocks/>
                  </p:cNvSpPr>
                  <p:nvPr/>
                </p:nvSpPr>
                <p:spPr bwMode="auto">
                  <a:xfrm>
                    <a:off x="10274" y="2212"/>
                    <a:ext cx="8" cy="0"/>
                  </a:xfrm>
                  <a:custGeom>
                    <a:avLst/>
                    <a:gdLst>
                      <a:gd name="T0" fmla="*/ 9 w 9"/>
                      <a:gd name="T1" fmla="*/ 5 h 5"/>
                      <a:gd name="T2" fmla="*/ 2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2641" name="Freeform 1793"/>
                  <p:cNvSpPr>
                    <a:spLocks/>
                  </p:cNvSpPr>
                  <p:nvPr/>
                </p:nvSpPr>
                <p:spPr bwMode="auto">
                  <a:xfrm>
                    <a:off x="10182" y="2421"/>
                    <a:ext cx="25" cy="9"/>
                  </a:xfrm>
                  <a:custGeom>
                    <a:avLst/>
                    <a:gdLst>
                      <a:gd name="T0" fmla="*/ 26 w 26"/>
                      <a:gd name="T1" fmla="*/ 4 h 7"/>
                      <a:gd name="T2" fmla="*/ 0 w 26"/>
                      <a:gd name="T3" fmla="*/ 0 h 7"/>
                      <a:gd name="T4" fmla="*/ 0 w 26"/>
                      <a:gd name="T5" fmla="*/ 2 h 7"/>
                      <a:gd name="T6" fmla="*/ 26 w 26"/>
                      <a:gd name="T7" fmla="*/ 7 h 7"/>
                      <a:gd name="T8" fmla="*/ 26 w 26"/>
                      <a:gd name="T9" fmla="*/ 4 h 7"/>
                    </a:gdLst>
                    <a:ahLst/>
                    <a:cxnLst>
                      <a:cxn ang="0">
                        <a:pos x="T0" y="T1"/>
                      </a:cxn>
                      <a:cxn ang="0">
                        <a:pos x="T2" y="T3"/>
                      </a:cxn>
                      <a:cxn ang="0">
                        <a:pos x="T4" y="T5"/>
                      </a:cxn>
                      <a:cxn ang="0">
                        <a:pos x="T6" y="T7"/>
                      </a:cxn>
                      <a:cxn ang="0">
                        <a:pos x="T8" y="T9"/>
                      </a:cxn>
                    </a:cxnLst>
                    <a:rect l="0" t="0" r="r" b="b"/>
                    <a:pathLst>
                      <a:path w="26" h="7">
                        <a:moveTo>
                          <a:pt x="26" y="4"/>
                        </a:moveTo>
                        <a:lnTo>
                          <a:pt x="0" y="0"/>
                        </a:lnTo>
                        <a:lnTo>
                          <a:pt x="0" y="2"/>
                        </a:lnTo>
                        <a:lnTo>
                          <a:pt x="26" y="7"/>
                        </a:lnTo>
                        <a:lnTo>
                          <a:pt x="26" y="4"/>
                        </a:lnTo>
                        <a:close/>
                      </a:path>
                    </a:pathLst>
                  </a:custGeom>
                  <a:solidFill>
                    <a:srgbClr val="01AAE5"/>
                  </a:solidFill>
                  <a:ln>
                    <a:noFill/>
                  </a:ln>
                  <a:extLst/>
                </p:spPr>
                <p:txBody>
                  <a:bodyPr/>
                  <a:lstStyle/>
                  <a:p>
                    <a:pPr eaLnBrk="1" hangingPunct="1">
                      <a:defRPr/>
                    </a:pPr>
                    <a:endParaRPr lang="zh-CN" altLang="en-US" sz="1050"/>
                  </a:p>
                </p:txBody>
              </p:sp>
              <p:sp>
                <p:nvSpPr>
                  <p:cNvPr id="2642" name="Freeform 1794"/>
                  <p:cNvSpPr>
                    <a:spLocks/>
                  </p:cNvSpPr>
                  <p:nvPr/>
                </p:nvSpPr>
                <p:spPr bwMode="auto">
                  <a:xfrm>
                    <a:off x="10190" y="2430"/>
                    <a:ext cx="17" cy="9"/>
                  </a:xfrm>
                  <a:custGeom>
                    <a:avLst/>
                    <a:gdLst>
                      <a:gd name="T0" fmla="*/ 22 w 22"/>
                      <a:gd name="T1" fmla="*/ 2 h 4"/>
                      <a:gd name="T2" fmla="*/ 0 w 22"/>
                      <a:gd name="T3" fmla="*/ 0 h 4"/>
                      <a:gd name="T4" fmla="*/ 0 w 22"/>
                      <a:gd name="T5" fmla="*/ 0 h 4"/>
                      <a:gd name="T6" fmla="*/ 22 w 22"/>
                      <a:gd name="T7" fmla="*/ 4 h 4"/>
                      <a:gd name="T8" fmla="*/ 22 w 22"/>
                      <a:gd name="T9" fmla="*/ 2 h 4"/>
                    </a:gdLst>
                    <a:ahLst/>
                    <a:cxnLst>
                      <a:cxn ang="0">
                        <a:pos x="T0" y="T1"/>
                      </a:cxn>
                      <a:cxn ang="0">
                        <a:pos x="T2" y="T3"/>
                      </a:cxn>
                      <a:cxn ang="0">
                        <a:pos x="T4" y="T5"/>
                      </a:cxn>
                      <a:cxn ang="0">
                        <a:pos x="T6" y="T7"/>
                      </a:cxn>
                      <a:cxn ang="0">
                        <a:pos x="T8" y="T9"/>
                      </a:cxn>
                    </a:cxnLst>
                    <a:rect l="0" t="0" r="r" b="b"/>
                    <a:pathLst>
                      <a:path w="22" h="4">
                        <a:moveTo>
                          <a:pt x="22" y="2"/>
                        </a:moveTo>
                        <a:lnTo>
                          <a:pt x="0" y="0"/>
                        </a:lnTo>
                        <a:lnTo>
                          <a:pt x="0" y="0"/>
                        </a:lnTo>
                        <a:lnTo>
                          <a:pt x="22" y="4"/>
                        </a:lnTo>
                        <a:lnTo>
                          <a:pt x="22" y="2"/>
                        </a:lnTo>
                        <a:close/>
                      </a:path>
                    </a:pathLst>
                  </a:custGeom>
                  <a:solidFill>
                    <a:srgbClr val="01AAE5"/>
                  </a:solidFill>
                  <a:ln>
                    <a:noFill/>
                  </a:ln>
                  <a:extLst/>
                </p:spPr>
                <p:txBody>
                  <a:bodyPr/>
                  <a:lstStyle/>
                  <a:p>
                    <a:pPr eaLnBrk="1" hangingPunct="1">
                      <a:defRPr/>
                    </a:pPr>
                    <a:endParaRPr lang="zh-CN" altLang="en-US" sz="1050"/>
                  </a:p>
                </p:txBody>
              </p:sp>
              <p:sp>
                <p:nvSpPr>
                  <p:cNvPr id="2643" name="Rectangle 1795"/>
                  <p:cNvSpPr>
                    <a:spLocks noChangeArrowheads="1"/>
                  </p:cNvSpPr>
                  <p:nvPr/>
                </p:nvSpPr>
                <p:spPr bwMode="auto">
                  <a:xfrm>
                    <a:off x="10190" y="2491"/>
                    <a:ext cx="8" cy="9"/>
                  </a:xfrm>
                  <a:prstGeom prst="rect">
                    <a:avLst/>
                  </a:prstGeom>
                  <a:solidFill>
                    <a:srgbClr val="01AAE5"/>
                  </a:solidFill>
                  <a:ln>
                    <a:noFill/>
                  </a:ln>
                  <a:extLst/>
                </p:spPr>
                <p:txBody>
                  <a:bodyPr/>
                  <a:lstStyle/>
                  <a:p>
                    <a:pPr eaLnBrk="1" hangingPunct="1">
                      <a:defRPr/>
                    </a:pPr>
                    <a:endParaRPr lang="zh-CN" altLang="en-US" sz="1050"/>
                  </a:p>
                </p:txBody>
              </p:sp>
              <p:sp>
                <p:nvSpPr>
                  <p:cNvPr id="2644" name="Freeform 1796"/>
                  <p:cNvSpPr>
                    <a:spLocks/>
                  </p:cNvSpPr>
                  <p:nvPr/>
                </p:nvSpPr>
                <p:spPr bwMode="auto">
                  <a:xfrm>
                    <a:off x="10190" y="2438"/>
                    <a:ext cx="17" cy="9"/>
                  </a:xfrm>
                  <a:custGeom>
                    <a:avLst/>
                    <a:gdLst>
                      <a:gd name="T0" fmla="*/ 19 w 19"/>
                      <a:gd name="T1" fmla="*/ 3 h 5"/>
                      <a:gd name="T2" fmla="*/ 0 w 19"/>
                      <a:gd name="T3" fmla="*/ 0 h 5"/>
                      <a:gd name="T4" fmla="*/ 0 w 19"/>
                      <a:gd name="T5" fmla="*/ 3 h 5"/>
                      <a:gd name="T6" fmla="*/ 19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0" y="3"/>
                        </a:lnTo>
                        <a:lnTo>
                          <a:pt x="19"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2645" name="Freeform 1797"/>
                  <p:cNvSpPr>
                    <a:spLocks/>
                  </p:cNvSpPr>
                  <p:nvPr/>
                </p:nvSpPr>
                <p:spPr bwMode="auto">
                  <a:xfrm>
                    <a:off x="10190" y="2447"/>
                    <a:ext cx="17" cy="0"/>
                  </a:xfrm>
                  <a:custGeom>
                    <a:avLst/>
                    <a:gdLst>
                      <a:gd name="T0" fmla="*/ 19 w 19"/>
                      <a:gd name="T1" fmla="*/ 3 h 5"/>
                      <a:gd name="T2" fmla="*/ 0 w 19"/>
                      <a:gd name="T3" fmla="*/ 0 h 5"/>
                      <a:gd name="T4" fmla="*/ 3 w 19"/>
                      <a:gd name="T5" fmla="*/ 3 h 5"/>
                      <a:gd name="T6" fmla="*/ 17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3" y="3"/>
                        </a:lnTo>
                        <a:lnTo>
                          <a:pt x="17"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2646" name="Freeform 1798"/>
                  <p:cNvSpPr>
                    <a:spLocks/>
                  </p:cNvSpPr>
                  <p:nvPr/>
                </p:nvSpPr>
                <p:spPr bwMode="auto">
                  <a:xfrm>
                    <a:off x="10182" y="2412"/>
                    <a:ext cx="42" cy="9"/>
                  </a:xfrm>
                  <a:custGeom>
                    <a:avLst/>
                    <a:gdLst>
                      <a:gd name="T0" fmla="*/ 35 w 35"/>
                      <a:gd name="T1" fmla="*/ 7 h 10"/>
                      <a:gd name="T2" fmla="*/ 0 w 35"/>
                      <a:gd name="T3" fmla="*/ 0 h 10"/>
                      <a:gd name="T4" fmla="*/ 0 w 35"/>
                      <a:gd name="T5" fmla="*/ 2 h 10"/>
                      <a:gd name="T6" fmla="*/ 33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2"/>
                        </a:lnTo>
                        <a:lnTo>
                          <a:pt x="33"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2647" name="Freeform 1799"/>
                  <p:cNvSpPr>
                    <a:spLocks/>
                  </p:cNvSpPr>
                  <p:nvPr/>
                </p:nvSpPr>
                <p:spPr bwMode="auto">
                  <a:xfrm>
                    <a:off x="10190" y="2447"/>
                    <a:ext cx="8" cy="0"/>
                  </a:xfrm>
                  <a:custGeom>
                    <a:avLst/>
                    <a:gdLst>
                      <a:gd name="T0" fmla="*/ 14 w 14"/>
                      <a:gd name="T1" fmla="*/ 2 h 5"/>
                      <a:gd name="T2" fmla="*/ 0 w 14"/>
                      <a:gd name="T3" fmla="*/ 0 h 5"/>
                      <a:gd name="T4" fmla="*/ 0 w 14"/>
                      <a:gd name="T5" fmla="*/ 2 h 5"/>
                      <a:gd name="T6" fmla="*/ 14 w 14"/>
                      <a:gd name="T7" fmla="*/ 5 h 5"/>
                      <a:gd name="T8" fmla="*/ 14 w 14"/>
                      <a:gd name="T9" fmla="*/ 2 h 5"/>
                    </a:gdLst>
                    <a:ahLst/>
                    <a:cxnLst>
                      <a:cxn ang="0">
                        <a:pos x="T0" y="T1"/>
                      </a:cxn>
                      <a:cxn ang="0">
                        <a:pos x="T2" y="T3"/>
                      </a:cxn>
                      <a:cxn ang="0">
                        <a:pos x="T4" y="T5"/>
                      </a:cxn>
                      <a:cxn ang="0">
                        <a:pos x="T6" y="T7"/>
                      </a:cxn>
                      <a:cxn ang="0">
                        <a:pos x="T8" y="T9"/>
                      </a:cxn>
                    </a:cxnLst>
                    <a:rect l="0" t="0" r="r" b="b"/>
                    <a:pathLst>
                      <a:path w="14" h="5">
                        <a:moveTo>
                          <a:pt x="14" y="2"/>
                        </a:moveTo>
                        <a:lnTo>
                          <a:pt x="0" y="0"/>
                        </a:lnTo>
                        <a:lnTo>
                          <a:pt x="0" y="2"/>
                        </a:lnTo>
                        <a:lnTo>
                          <a:pt x="14" y="5"/>
                        </a:lnTo>
                        <a:lnTo>
                          <a:pt x="14" y="2"/>
                        </a:lnTo>
                        <a:close/>
                      </a:path>
                    </a:pathLst>
                  </a:custGeom>
                  <a:solidFill>
                    <a:srgbClr val="01AAE5"/>
                  </a:solidFill>
                  <a:ln>
                    <a:noFill/>
                  </a:ln>
                  <a:extLst/>
                </p:spPr>
                <p:txBody>
                  <a:bodyPr/>
                  <a:lstStyle/>
                  <a:p>
                    <a:pPr eaLnBrk="1" hangingPunct="1">
                      <a:defRPr/>
                    </a:pPr>
                    <a:endParaRPr lang="zh-CN" altLang="en-US" sz="1050"/>
                  </a:p>
                </p:txBody>
              </p:sp>
              <p:sp>
                <p:nvSpPr>
                  <p:cNvPr id="2648" name="Freeform 1800"/>
                  <p:cNvSpPr>
                    <a:spLocks/>
                  </p:cNvSpPr>
                  <p:nvPr/>
                </p:nvSpPr>
                <p:spPr bwMode="auto">
                  <a:xfrm>
                    <a:off x="10182" y="2421"/>
                    <a:ext cx="33" cy="9"/>
                  </a:xfrm>
                  <a:custGeom>
                    <a:avLst/>
                    <a:gdLst>
                      <a:gd name="T0" fmla="*/ 28 w 28"/>
                      <a:gd name="T1" fmla="*/ 5 h 7"/>
                      <a:gd name="T2" fmla="*/ 0 w 28"/>
                      <a:gd name="T3" fmla="*/ 0 h 7"/>
                      <a:gd name="T4" fmla="*/ 0 w 28"/>
                      <a:gd name="T5" fmla="*/ 2 h 7"/>
                      <a:gd name="T6" fmla="*/ 28 w 28"/>
                      <a:gd name="T7" fmla="*/ 7 h 7"/>
                      <a:gd name="T8" fmla="*/ 28 w 28"/>
                      <a:gd name="T9" fmla="*/ 5 h 7"/>
                    </a:gdLst>
                    <a:ahLst/>
                    <a:cxnLst>
                      <a:cxn ang="0">
                        <a:pos x="T0" y="T1"/>
                      </a:cxn>
                      <a:cxn ang="0">
                        <a:pos x="T2" y="T3"/>
                      </a:cxn>
                      <a:cxn ang="0">
                        <a:pos x="T4" y="T5"/>
                      </a:cxn>
                      <a:cxn ang="0">
                        <a:pos x="T6" y="T7"/>
                      </a:cxn>
                      <a:cxn ang="0">
                        <a:pos x="T8" y="T9"/>
                      </a:cxn>
                    </a:cxnLst>
                    <a:rect l="0" t="0" r="r" b="b"/>
                    <a:pathLst>
                      <a:path w="28" h="7">
                        <a:moveTo>
                          <a:pt x="28" y="5"/>
                        </a:moveTo>
                        <a:lnTo>
                          <a:pt x="0" y="0"/>
                        </a:lnTo>
                        <a:lnTo>
                          <a:pt x="0" y="2"/>
                        </a:lnTo>
                        <a:lnTo>
                          <a:pt x="28" y="7"/>
                        </a:lnTo>
                        <a:lnTo>
                          <a:pt x="28" y="5"/>
                        </a:lnTo>
                        <a:close/>
                      </a:path>
                    </a:pathLst>
                  </a:custGeom>
                  <a:solidFill>
                    <a:srgbClr val="01AAE5"/>
                  </a:solidFill>
                  <a:ln>
                    <a:noFill/>
                  </a:ln>
                  <a:extLst/>
                </p:spPr>
                <p:txBody>
                  <a:bodyPr/>
                  <a:lstStyle/>
                  <a:p>
                    <a:pPr eaLnBrk="1" hangingPunct="1">
                      <a:defRPr/>
                    </a:pPr>
                    <a:endParaRPr lang="zh-CN" altLang="en-US" sz="1050"/>
                  </a:p>
                </p:txBody>
              </p:sp>
              <p:sp>
                <p:nvSpPr>
                  <p:cNvPr id="2649" name="Freeform 1801"/>
                  <p:cNvSpPr>
                    <a:spLocks/>
                  </p:cNvSpPr>
                  <p:nvPr/>
                </p:nvSpPr>
                <p:spPr bwMode="auto">
                  <a:xfrm>
                    <a:off x="10182" y="2421"/>
                    <a:ext cx="33" cy="0"/>
                  </a:xfrm>
                  <a:custGeom>
                    <a:avLst/>
                    <a:gdLst>
                      <a:gd name="T0" fmla="*/ 33 w 33"/>
                      <a:gd name="T1" fmla="*/ 5 h 7"/>
                      <a:gd name="T2" fmla="*/ 0 w 33"/>
                      <a:gd name="T3" fmla="*/ 0 h 7"/>
                      <a:gd name="T4" fmla="*/ 2 w 33"/>
                      <a:gd name="T5" fmla="*/ 0 h 7"/>
                      <a:gd name="T6" fmla="*/ 30 w 33"/>
                      <a:gd name="T7" fmla="*/ 7 h 7"/>
                      <a:gd name="T8" fmla="*/ 33 w 33"/>
                      <a:gd name="T9" fmla="*/ 5 h 7"/>
                    </a:gdLst>
                    <a:ahLst/>
                    <a:cxnLst>
                      <a:cxn ang="0">
                        <a:pos x="T0" y="T1"/>
                      </a:cxn>
                      <a:cxn ang="0">
                        <a:pos x="T2" y="T3"/>
                      </a:cxn>
                      <a:cxn ang="0">
                        <a:pos x="T4" y="T5"/>
                      </a:cxn>
                      <a:cxn ang="0">
                        <a:pos x="T6" y="T7"/>
                      </a:cxn>
                      <a:cxn ang="0">
                        <a:pos x="T8" y="T9"/>
                      </a:cxn>
                    </a:cxnLst>
                    <a:rect l="0" t="0" r="r" b="b"/>
                    <a:pathLst>
                      <a:path w="33" h="7">
                        <a:moveTo>
                          <a:pt x="33" y="5"/>
                        </a:moveTo>
                        <a:lnTo>
                          <a:pt x="0" y="0"/>
                        </a:lnTo>
                        <a:lnTo>
                          <a:pt x="2" y="0"/>
                        </a:lnTo>
                        <a:lnTo>
                          <a:pt x="30" y="7"/>
                        </a:lnTo>
                        <a:lnTo>
                          <a:pt x="33" y="5"/>
                        </a:lnTo>
                        <a:close/>
                      </a:path>
                    </a:pathLst>
                  </a:custGeom>
                  <a:solidFill>
                    <a:srgbClr val="01AAE5"/>
                  </a:solidFill>
                  <a:ln>
                    <a:noFill/>
                  </a:ln>
                  <a:extLst/>
                </p:spPr>
                <p:txBody>
                  <a:bodyPr/>
                  <a:lstStyle/>
                  <a:p>
                    <a:pPr eaLnBrk="1" hangingPunct="1">
                      <a:defRPr/>
                    </a:pPr>
                    <a:endParaRPr lang="zh-CN" altLang="en-US" sz="1050"/>
                  </a:p>
                </p:txBody>
              </p:sp>
              <p:sp>
                <p:nvSpPr>
                  <p:cNvPr id="2650" name="Rectangle 1802"/>
                  <p:cNvSpPr>
                    <a:spLocks noChangeArrowheads="1"/>
                  </p:cNvSpPr>
                  <p:nvPr/>
                </p:nvSpPr>
                <p:spPr bwMode="auto">
                  <a:xfrm>
                    <a:off x="10190" y="2482"/>
                    <a:ext cx="8" cy="0"/>
                  </a:xfrm>
                  <a:prstGeom prst="rect">
                    <a:avLst/>
                  </a:prstGeom>
                  <a:solidFill>
                    <a:srgbClr val="01AAE5"/>
                  </a:solidFill>
                  <a:ln>
                    <a:noFill/>
                  </a:ln>
                  <a:extLst/>
                </p:spPr>
                <p:txBody>
                  <a:bodyPr/>
                  <a:lstStyle/>
                  <a:p>
                    <a:pPr eaLnBrk="1" hangingPunct="1">
                      <a:defRPr/>
                    </a:pPr>
                    <a:endParaRPr lang="zh-CN" altLang="en-US" sz="1050"/>
                  </a:p>
                </p:txBody>
              </p:sp>
              <p:sp>
                <p:nvSpPr>
                  <p:cNvPr id="2651" name="Freeform 1803"/>
                  <p:cNvSpPr>
                    <a:spLocks/>
                  </p:cNvSpPr>
                  <p:nvPr/>
                </p:nvSpPr>
                <p:spPr bwMode="auto">
                  <a:xfrm>
                    <a:off x="10182" y="2403"/>
                    <a:ext cx="42" cy="9"/>
                  </a:xfrm>
                  <a:custGeom>
                    <a:avLst/>
                    <a:gdLst>
                      <a:gd name="T0" fmla="*/ 35 w 35"/>
                      <a:gd name="T1" fmla="*/ 7 h 10"/>
                      <a:gd name="T2" fmla="*/ 0 w 35"/>
                      <a:gd name="T3" fmla="*/ 0 h 10"/>
                      <a:gd name="T4" fmla="*/ 0 w 35"/>
                      <a:gd name="T5" fmla="*/ 3 h 10"/>
                      <a:gd name="T6" fmla="*/ 35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3"/>
                        </a:lnTo>
                        <a:lnTo>
                          <a:pt x="35"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2652" name="Freeform 1804"/>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653" name="Freeform 1805"/>
                  <p:cNvSpPr>
                    <a:spLocks/>
                  </p:cNvSpPr>
                  <p:nvPr/>
                </p:nvSpPr>
                <p:spPr bwMode="auto">
                  <a:xfrm>
                    <a:off x="10182" y="2299"/>
                    <a:ext cx="75" cy="35"/>
                  </a:xfrm>
                  <a:custGeom>
                    <a:avLst/>
                    <a:gdLst>
                      <a:gd name="T0" fmla="*/ 69 w 69"/>
                      <a:gd name="T1" fmla="*/ 24 h 26"/>
                      <a:gd name="T2" fmla="*/ 2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2"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2654" name="Rectangle 1806"/>
                  <p:cNvSpPr>
                    <a:spLocks noChangeArrowheads="1"/>
                  </p:cNvSpPr>
                  <p:nvPr/>
                </p:nvSpPr>
                <p:spPr bwMode="auto">
                  <a:xfrm>
                    <a:off x="10190" y="2491"/>
                    <a:ext cx="8" cy="0"/>
                  </a:xfrm>
                  <a:prstGeom prst="rect">
                    <a:avLst/>
                  </a:prstGeom>
                  <a:solidFill>
                    <a:srgbClr val="01AAE5"/>
                  </a:solidFill>
                  <a:ln>
                    <a:noFill/>
                  </a:ln>
                  <a:extLst/>
                </p:spPr>
                <p:txBody>
                  <a:bodyPr/>
                  <a:lstStyle/>
                  <a:p>
                    <a:pPr eaLnBrk="1" hangingPunct="1">
                      <a:defRPr/>
                    </a:pPr>
                    <a:endParaRPr lang="zh-CN" altLang="en-US" sz="1050"/>
                  </a:p>
                </p:txBody>
              </p:sp>
              <p:sp>
                <p:nvSpPr>
                  <p:cNvPr id="2655" name="Freeform 1807"/>
                  <p:cNvSpPr>
                    <a:spLocks/>
                  </p:cNvSpPr>
                  <p:nvPr/>
                </p:nvSpPr>
                <p:spPr bwMode="auto">
                  <a:xfrm>
                    <a:off x="10190" y="2464"/>
                    <a:ext cx="8" cy="0"/>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2656" name="Freeform 1808"/>
                  <p:cNvSpPr>
                    <a:spLocks/>
                  </p:cNvSpPr>
                  <p:nvPr/>
                </p:nvSpPr>
                <p:spPr bwMode="auto">
                  <a:xfrm>
                    <a:off x="10190" y="2456"/>
                    <a:ext cx="8" cy="0"/>
                  </a:xfrm>
                  <a:custGeom>
                    <a:avLst/>
                    <a:gdLst>
                      <a:gd name="T0" fmla="*/ 12 w 12"/>
                      <a:gd name="T1" fmla="*/ 2 h 2"/>
                      <a:gd name="T2" fmla="*/ 0 w 12"/>
                      <a:gd name="T3" fmla="*/ 0 h 2"/>
                      <a:gd name="T4" fmla="*/ 0 w 12"/>
                      <a:gd name="T5" fmla="*/ 0 h 2"/>
                      <a:gd name="T6" fmla="*/ 12 w 12"/>
                      <a:gd name="T7" fmla="*/ 2 h 2"/>
                      <a:gd name="T8" fmla="*/ 12 w 12"/>
                      <a:gd name="T9" fmla="*/ 2 h 2"/>
                    </a:gdLst>
                    <a:ahLst/>
                    <a:cxnLst>
                      <a:cxn ang="0">
                        <a:pos x="T0" y="T1"/>
                      </a:cxn>
                      <a:cxn ang="0">
                        <a:pos x="T2" y="T3"/>
                      </a:cxn>
                      <a:cxn ang="0">
                        <a:pos x="T4" y="T5"/>
                      </a:cxn>
                      <a:cxn ang="0">
                        <a:pos x="T6" y="T7"/>
                      </a:cxn>
                      <a:cxn ang="0">
                        <a:pos x="T8" y="T9"/>
                      </a:cxn>
                    </a:cxnLst>
                    <a:rect l="0" t="0" r="r" b="b"/>
                    <a:pathLst>
                      <a:path w="12" h="2">
                        <a:moveTo>
                          <a:pt x="12" y="2"/>
                        </a:moveTo>
                        <a:lnTo>
                          <a:pt x="0" y="0"/>
                        </a:lnTo>
                        <a:lnTo>
                          <a:pt x="0" y="0"/>
                        </a:lnTo>
                        <a:lnTo>
                          <a:pt x="12" y="2"/>
                        </a:lnTo>
                        <a:lnTo>
                          <a:pt x="12" y="2"/>
                        </a:lnTo>
                        <a:close/>
                      </a:path>
                    </a:pathLst>
                  </a:custGeom>
                  <a:solidFill>
                    <a:srgbClr val="01AAE5"/>
                  </a:solidFill>
                  <a:ln>
                    <a:noFill/>
                  </a:ln>
                  <a:extLst/>
                </p:spPr>
                <p:txBody>
                  <a:bodyPr/>
                  <a:lstStyle/>
                  <a:p>
                    <a:pPr eaLnBrk="1" hangingPunct="1">
                      <a:defRPr/>
                    </a:pPr>
                    <a:endParaRPr lang="zh-CN" altLang="en-US" sz="1050"/>
                  </a:p>
                </p:txBody>
              </p:sp>
              <p:sp>
                <p:nvSpPr>
                  <p:cNvPr id="2657" name="Freeform 1809"/>
                  <p:cNvSpPr>
                    <a:spLocks/>
                  </p:cNvSpPr>
                  <p:nvPr/>
                </p:nvSpPr>
                <p:spPr bwMode="auto">
                  <a:xfrm>
                    <a:off x="10190" y="2464"/>
                    <a:ext cx="8" cy="9"/>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2658" name="Freeform 1810"/>
                  <p:cNvSpPr>
                    <a:spLocks/>
                  </p:cNvSpPr>
                  <p:nvPr/>
                </p:nvSpPr>
                <p:spPr bwMode="auto">
                  <a:xfrm>
                    <a:off x="10190" y="2447"/>
                    <a:ext cx="8" cy="9"/>
                  </a:xfrm>
                  <a:custGeom>
                    <a:avLst/>
                    <a:gdLst>
                      <a:gd name="T0" fmla="*/ 12 w 12"/>
                      <a:gd name="T1" fmla="*/ 0 h 2"/>
                      <a:gd name="T2" fmla="*/ 0 w 12"/>
                      <a:gd name="T3" fmla="*/ 0 h 2"/>
                      <a:gd name="T4" fmla="*/ 0 w 12"/>
                      <a:gd name="T5" fmla="*/ 0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0"/>
                        </a:lnTo>
                        <a:lnTo>
                          <a:pt x="0" y="0"/>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659" name="Freeform 1811"/>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660" name="Freeform 1812"/>
                  <p:cNvSpPr>
                    <a:spLocks/>
                  </p:cNvSpPr>
                  <p:nvPr/>
                </p:nvSpPr>
                <p:spPr bwMode="auto">
                  <a:xfrm>
                    <a:off x="10174" y="2342"/>
                    <a:ext cx="75" cy="17"/>
                  </a:xfrm>
                  <a:custGeom>
                    <a:avLst/>
                    <a:gdLst>
                      <a:gd name="T0" fmla="*/ 68 w 68"/>
                      <a:gd name="T1" fmla="*/ 19 h 19"/>
                      <a:gd name="T2" fmla="*/ 0 w 68"/>
                      <a:gd name="T3" fmla="*/ 0 h 19"/>
                      <a:gd name="T4" fmla="*/ 0 w 68"/>
                      <a:gd name="T5" fmla="*/ 0 h 19"/>
                      <a:gd name="T6" fmla="*/ 68 w 68"/>
                      <a:gd name="T7" fmla="*/ 19 h 19"/>
                      <a:gd name="T8" fmla="*/ 68 w 68"/>
                      <a:gd name="T9" fmla="*/ 19 h 19"/>
                    </a:gdLst>
                    <a:ahLst/>
                    <a:cxnLst>
                      <a:cxn ang="0">
                        <a:pos x="T0" y="T1"/>
                      </a:cxn>
                      <a:cxn ang="0">
                        <a:pos x="T2" y="T3"/>
                      </a:cxn>
                      <a:cxn ang="0">
                        <a:pos x="T4" y="T5"/>
                      </a:cxn>
                      <a:cxn ang="0">
                        <a:pos x="T6" y="T7"/>
                      </a:cxn>
                      <a:cxn ang="0">
                        <a:pos x="T8" y="T9"/>
                      </a:cxn>
                    </a:cxnLst>
                    <a:rect l="0" t="0" r="r" b="b"/>
                    <a:pathLst>
                      <a:path w="68" h="19">
                        <a:moveTo>
                          <a:pt x="68" y="19"/>
                        </a:moveTo>
                        <a:lnTo>
                          <a:pt x="0" y="0"/>
                        </a:lnTo>
                        <a:lnTo>
                          <a:pt x="0" y="0"/>
                        </a:lnTo>
                        <a:lnTo>
                          <a:pt x="68" y="19"/>
                        </a:lnTo>
                        <a:lnTo>
                          <a:pt x="68" y="19"/>
                        </a:lnTo>
                        <a:close/>
                      </a:path>
                    </a:pathLst>
                  </a:custGeom>
                  <a:solidFill>
                    <a:srgbClr val="01AAE5"/>
                  </a:solidFill>
                  <a:ln>
                    <a:noFill/>
                  </a:ln>
                  <a:extLst/>
                </p:spPr>
                <p:txBody>
                  <a:bodyPr/>
                  <a:lstStyle/>
                  <a:p>
                    <a:pPr eaLnBrk="1" hangingPunct="1">
                      <a:defRPr/>
                    </a:pPr>
                    <a:endParaRPr lang="zh-CN" altLang="en-US" sz="1050"/>
                  </a:p>
                </p:txBody>
              </p:sp>
              <p:sp>
                <p:nvSpPr>
                  <p:cNvPr id="2661" name="Freeform 1813"/>
                  <p:cNvSpPr>
                    <a:spLocks/>
                  </p:cNvSpPr>
                  <p:nvPr/>
                </p:nvSpPr>
                <p:spPr bwMode="auto">
                  <a:xfrm>
                    <a:off x="10174" y="2334"/>
                    <a:ext cx="75" cy="26"/>
                  </a:xfrm>
                  <a:custGeom>
                    <a:avLst/>
                    <a:gdLst>
                      <a:gd name="T0" fmla="*/ 71 w 71"/>
                      <a:gd name="T1" fmla="*/ 21 h 23"/>
                      <a:gd name="T2" fmla="*/ 0 w 71"/>
                      <a:gd name="T3" fmla="*/ 0 h 23"/>
                      <a:gd name="T4" fmla="*/ 0 w 71"/>
                      <a:gd name="T5" fmla="*/ 2 h 23"/>
                      <a:gd name="T6" fmla="*/ 68 w 71"/>
                      <a:gd name="T7" fmla="*/ 23 h 23"/>
                      <a:gd name="T8" fmla="*/ 71 w 71"/>
                      <a:gd name="T9" fmla="*/ 21 h 23"/>
                    </a:gdLst>
                    <a:ahLst/>
                    <a:cxnLst>
                      <a:cxn ang="0">
                        <a:pos x="T0" y="T1"/>
                      </a:cxn>
                      <a:cxn ang="0">
                        <a:pos x="T2" y="T3"/>
                      </a:cxn>
                      <a:cxn ang="0">
                        <a:pos x="T4" y="T5"/>
                      </a:cxn>
                      <a:cxn ang="0">
                        <a:pos x="T6" y="T7"/>
                      </a:cxn>
                      <a:cxn ang="0">
                        <a:pos x="T8" y="T9"/>
                      </a:cxn>
                    </a:cxnLst>
                    <a:rect l="0" t="0" r="r" b="b"/>
                    <a:pathLst>
                      <a:path w="71" h="23">
                        <a:moveTo>
                          <a:pt x="71" y="21"/>
                        </a:moveTo>
                        <a:lnTo>
                          <a:pt x="0" y="0"/>
                        </a:lnTo>
                        <a:lnTo>
                          <a:pt x="0" y="2"/>
                        </a:lnTo>
                        <a:lnTo>
                          <a:pt x="68"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2662" name="Freeform 1814"/>
                  <p:cNvSpPr>
                    <a:spLocks/>
                  </p:cNvSpPr>
                  <p:nvPr/>
                </p:nvSpPr>
                <p:spPr bwMode="auto">
                  <a:xfrm>
                    <a:off x="10174" y="2351"/>
                    <a:ext cx="67" cy="17"/>
                  </a:xfrm>
                  <a:custGeom>
                    <a:avLst/>
                    <a:gdLst>
                      <a:gd name="T0" fmla="*/ 66 w 66"/>
                      <a:gd name="T1" fmla="*/ 19 h 19"/>
                      <a:gd name="T2" fmla="*/ 0 w 66"/>
                      <a:gd name="T3" fmla="*/ 0 h 19"/>
                      <a:gd name="T4" fmla="*/ 0 w 66"/>
                      <a:gd name="T5" fmla="*/ 2 h 19"/>
                      <a:gd name="T6" fmla="*/ 66 w 66"/>
                      <a:gd name="T7" fmla="*/ 19 h 19"/>
                      <a:gd name="T8" fmla="*/ 66 w 66"/>
                      <a:gd name="T9" fmla="*/ 19 h 19"/>
                    </a:gdLst>
                    <a:ahLst/>
                    <a:cxnLst>
                      <a:cxn ang="0">
                        <a:pos x="T0" y="T1"/>
                      </a:cxn>
                      <a:cxn ang="0">
                        <a:pos x="T2" y="T3"/>
                      </a:cxn>
                      <a:cxn ang="0">
                        <a:pos x="T4" y="T5"/>
                      </a:cxn>
                      <a:cxn ang="0">
                        <a:pos x="T6" y="T7"/>
                      </a:cxn>
                      <a:cxn ang="0">
                        <a:pos x="T8" y="T9"/>
                      </a:cxn>
                    </a:cxnLst>
                    <a:rect l="0" t="0" r="r" b="b"/>
                    <a:pathLst>
                      <a:path w="66" h="19">
                        <a:moveTo>
                          <a:pt x="66" y="19"/>
                        </a:moveTo>
                        <a:lnTo>
                          <a:pt x="0" y="0"/>
                        </a:lnTo>
                        <a:lnTo>
                          <a:pt x="0" y="2"/>
                        </a:lnTo>
                        <a:lnTo>
                          <a:pt x="66" y="19"/>
                        </a:lnTo>
                        <a:lnTo>
                          <a:pt x="66" y="19"/>
                        </a:lnTo>
                        <a:close/>
                      </a:path>
                    </a:pathLst>
                  </a:custGeom>
                  <a:solidFill>
                    <a:srgbClr val="01AAE5"/>
                  </a:solidFill>
                  <a:ln>
                    <a:noFill/>
                  </a:ln>
                  <a:extLst/>
                </p:spPr>
                <p:txBody>
                  <a:bodyPr/>
                  <a:lstStyle/>
                  <a:p>
                    <a:pPr eaLnBrk="1" hangingPunct="1">
                      <a:defRPr/>
                    </a:pPr>
                    <a:endParaRPr lang="zh-CN" altLang="en-US" sz="1050"/>
                  </a:p>
                </p:txBody>
              </p:sp>
              <p:sp>
                <p:nvSpPr>
                  <p:cNvPr id="2663" name="Freeform 1815"/>
                  <p:cNvSpPr>
                    <a:spLocks/>
                  </p:cNvSpPr>
                  <p:nvPr/>
                </p:nvSpPr>
                <p:spPr bwMode="auto">
                  <a:xfrm>
                    <a:off x="10174" y="2334"/>
                    <a:ext cx="75" cy="26"/>
                  </a:xfrm>
                  <a:custGeom>
                    <a:avLst/>
                    <a:gdLst>
                      <a:gd name="T0" fmla="*/ 69 w 69"/>
                      <a:gd name="T1" fmla="*/ 21 h 24"/>
                      <a:gd name="T2" fmla="*/ 0 w 69"/>
                      <a:gd name="T3" fmla="*/ 0 h 24"/>
                      <a:gd name="T4" fmla="*/ 0 w 69"/>
                      <a:gd name="T5" fmla="*/ 2 h 24"/>
                      <a:gd name="T6" fmla="*/ 69 w 69"/>
                      <a:gd name="T7" fmla="*/ 24 h 24"/>
                      <a:gd name="T8" fmla="*/ 69 w 69"/>
                      <a:gd name="T9" fmla="*/ 21 h 24"/>
                    </a:gdLst>
                    <a:ahLst/>
                    <a:cxnLst>
                      <a:cxn ang="0">
                        <a:pos x="T0" y="T1"/>
                      </a:cxn>
                      <a:cxn ang="0">
                        <a:pos x="T2" y="T3"/>
                      </a:cxn>
                      <a:cxn ang="0">
                        <a:pos x="T4" y="T5"/>
                      </a:cxn>
                      <a:cxn ang="0">
                        <a:pos x="T6" y="T7"/>
                      </a:cxn>
                      <a:cxn ang="0">
                        <a:pos x="T8" y="T9"/>
                      </a:cxn>
                    </a:cxnLst>
                    <a:rect l="0" t="0" r="r" b="b"/>
                    <a:pathLst>
                      <a:path w="69" h="24">
                        <a:moveTo>
                          <a:pt x="69" y="21"/>
                        </a:moveTo>
                        <a:lnTo>
                          <a:pt x="0" y="0"/>
                        </a:lnTo>
                        <a:lnTo>
                          <a:pt x="0" y="2"/>
                        </a:lnTo>
                        <a:lnTo>
                          <a:pt x="69" y="24"/>
                        </a:lnTo>
                        <a:lnTo>
                          <a:pt x="69" y="21"/>
                        </a:lnTo>
                        <a:close/>
                      </a:path>
                    </a:pathLst>
                  </a:custGeom>
                  <a:solidFill>
                    <a:srgbClr val="01AAE5"/>
                  </a:solidFill>
                  <a:ln>
                    <a:noFill/>
                  </a:ln>
                  <a:extLst/>
                </p:spPr>
                <p:txBody>
                  <a:bodyPr/>
                  <a:lstStyle/>
                  <a:p>
                    <a:pPr eaLnBrk="1" hangingPunct="1">
                      <a:defRPr/>
                    </a:pPr>
                    <a:endParaRPr lang="zh-CN" altLang="en-US" sz="1050"/>
                  </a:p>
                </p:txBody>
              </p:sp>
              <p:sp>
                <p:nvSpPr>
                  <p:cNvPr id="2664" name="Freeform 1816"/>
                  <p:cNvSpPr>
                    <a:spLocks/>
                  </p:cNvSpPr>
                  <p:nvPr/>
                </p:nvSpPr>
                <p:spPr bwMode="auto">
                  <a:xfrm>
                    <a:off x="10182" y="2308"/>
                    <a:ext cx="75" cy="26"/>
                  </a:xfrm>
                  <a:custGeom>
                    <a:avLst/>
                    <a:gdLst>
                      <a:gd name="T0" fmla="*/ 71 w 71"/>
                      <a:gd name="T1" fmla="*/ 23 h 26"/>
                      <a:gd name="T2" fmla="*/ 2 w 71"/>
                      <a:gd name="T3" fmla="*/ 0 h 26"/>
                      <a:gd name="T4" fmla="*/ 0 w 71"/>
                      <a:gd name="T5" fmla="*/ 2 h 26"/>
                      <a:gd name="T6" fmla="*/ 71 w 71"/>
                      <a:gd name="T7" fmla="*/ 26 h 26"/>
                      <a:gd name="T8" fmla="*/ 71 w 71"/>
                      <a:gd name="T9" fmla="*/ 23 h 26"/>
                    </a:gdLst>
                    <a:ahLst/>
                    <a:cxnLst>
                      <a:cxn ang="0">
                        <a:pos x="T0" y="T1"/>
                      </a:cxn>
                      <a:cxn ang="0">
                        <a:pos x="T2" y="T3"/>
                      </a:cxn>
                      <a:cxn ang="0">
                        <a:pos x="T4" y="T5"/>
                      </a:cxn>
                      <a:cxn ang="0">
                        <a:pos x="T6" y="T7"/>
                      </a:cxn>
                      <a:cxn ang="0">
                        <a:pos x="T8" y="T9"/>
                      </a:cxn>
                    </a:cxnLst>
                    <a:rect l="0" t="0" r="r" b="b"/>
                    <a:pathLst>
                      <a:path w="71" h="26">
                        <a:moveTo>
                          <a:pt x="71" y="23"/>
                        </a:moveTo>
                        <a:lnTo>
                          <a:pt x="2" y="0"/>
                        </a:lnTo>
                        <a:lnTo>
                          <a:pt x="0" y="2"/>
                        </a:lnTo>
                        <a:lnTo>
                          <a:pt x="71" y="26"/>
                        </a:lnTo>
                        <a:lnTo>
                          <a:pt x="71" y="23"/>
                        </a:lnTo>
                        <a:close/>
                      </a:path>
                    </a:pathLst>
                  </a:custGeom>
                  <a:solidFill>
                    <a:srgbClr val="01AAE5"/>
                  </a:solidFill>
                  <a:ln>
                    <a:noFill/>
                  </a:ln>
                  <a:extLst/>
                </p:spPr>
                <p:txBody>
                  <a:bodyPr/>
                  <a:lstStyle/>
                  <a:p>
                    <a:pPr eaLnBrk="1" hangingPunct="1">
                      <a:defRPr/>
                    </a:pPr>
                    <a:endParaRPr lang="zh-CN" altLang="en-US" sz="1050"/>
                  </a:p>
                </p:txBody>
              </p:sp>
              <p:sp>
                <p:nvSpPr>
                  <p:cNvPr id="2665" name="Freeform 1817"/>
                  <p:cNvSpPr>
                    <a:spLocks/>
                  </p:cNvSpPr>
                  <p:nvPr/>
                </p:nvSpPr>
                <p:spPr bwMode="auto">
                  <a:xfrm>
                    <a:off x="10174" y="2351"/>
                    <a:ext cx="67" cy="17"/>
                  </a:xfrm>
                  <a:custGeom>
                    <a:avLst/>
                    <a:gdLst>
                      <a:gd name="T0" fmla="*/ 63 w 63"/>
                      <a:gd name="T1" fmla="*/ 19 h 19"/>
                      <a:gd name="T2" fmla="*/ 0 w 63"/>
                      <a:gd name="T3" fmla="*/ 0 h 19"/>
                      <a:gd name="T4" fmla="*/ 0 w 63"/>
                      <a:gd name="T5" fmla="*/ 3 h 19"/>
                      <a:gd name="T6" fmla="*/ 63 w 63"/>
                      <a:gd name="T7" fmla="*/ 19 h 19"/>
                      <a:gd name="T8" fmla="*/ 63 w 63"/>
                      <a:gd name="T9" fmla="*/ 19 h 19"/>
                    </a:gdLst>
                    <a:ahLst/>
                    <a:cxnLst>
                      <a:cxn ang="0">
                        <a:pos x="T0" y="T1"/>
                      </a:cxn>
                      <a:cxn ang="0">
                        <a:pos x="T2" y="T3"/>
                      </a:cxn>
                      <a:cxn ang="0">
                        <a:pos x="T4" y="T5"/>
                      </a:cxn>
                      <a:cxn ang="0">
                        <a:pos x="T6" y="T7"/>
                      </a:cxn>
                      <a:cxn ang="0">
                        <a:pos x="T8" y="T9"/>
                      </a:cxn>
                    </a:cxnLst>
                    <a:rect l="0" t="0" r="r" b="b"/>
                    <a:pathLst>
                      <a:path w="63" h="19">
                        <a:moveTo>
                          <a:pt x="63" y="19"/>
                        </a:moveTo>
                        <a:lnTo>
                          <a:pt x="0" y="0"/>
                        </a:lnTo>
                        <a:lnTo>
                          <a:pt x="0" y="3"/>
                        </a:lnTo>
                        <a:lnTo>
                          <a:pt x="63" y="19"/>
                        </a:lnTo>
                        <a:lnTo>
                          <a:pt x="63" y="19"/>
                        </a:lnTo>
                        <a:close/>
                      </a:path>
                    </a:pathLst>
                  </a:custGeom>
                  <a:solidFill>
                    <a:srgbClr val="01AAE5"/>
                  </a:solidFill>
                  <a:ln>
                    <a:noFill/>
                  </a:ln>
                  <a:extLst/>
                </p:spPr>
                <p:txBody>
                  <a:bodyPr/>
                  <a:lstStyle/>
                  <a:p>
                    <a:pPr eaLnBrk="1" hangingPunct="1">
                      <a:defRPr/>
                    </a:pPr>
                    <a:endParaRPr lang="zh-CN" altLang="en-US" sz="1050"/>
                  </a:p>
                </p:txBody>
              </p:sp>
              <p:sp>
                <p:nvSpPr>
                  <p:cNvPr id="2666" name="Freeform 1818"/>
                  <p:cNvSpPr>
                    <a:spLocks/>
                  </p:cNvSpPr>
                  <p:nvPr/>
                </p:nvSpPr>
                <p:spPr bwMode="auto">
                  <a:xfrm>
                    <a:off x="10182" y="2316"/>
                    <a:ext cx="75" cy="26"/>
                  </a:xfrm>
                  <a:custGeom>
                    <a:avLst/>
                    <a:gdLst>
                      <a:gd name="T0" fmla="*/ 68 w 68"/>
                      <a:gd name="T1" fmla="*/ 23 h 26"/>
                      <a:gd name="T2" fmla="*/ 0 w 68"/>
                      <a:gd name="T3" fmla="*/ 0 h 26"/>
                      <a:gd name="T4" fmla="*/ 0 w 68"/>
                      <a:gd name="T5" fmla="*/ 2 h 26"/>
                      <a:gd name="T6" fmla="*/ 68 w 68"/>
                      <a:gd name="T7" fmla="*/ 26 h 26"/>
                      <a:gd name="T8" fmla="*/ 68 w 68"/>
                      <a:gd name="T9" fmla="*/ 23 h 26"/>
                    </a:gdLst>
                    <a:ahLst/>
                    <a:cxnLst>
                      <a:cxn ang="0">
                        <a:pos x="T0" y="T1"/>
                      </a:cxn>
                      <a:cxn ang="0">
                        <a:pos x="T2" y="T3"/>
                      </a:cxn>
                      <a:cxn ang="0">
                        <a:pos x="T4" y="T5"/>
                      </a:cxn>
                      <a:cxn ang="0">
                        <a:pos x="T6" y="T7"/>
                      </a:cxn>
                      <a:cxn ang="0">
                        <a:pos x="T8" y="T9"/>
                      </a:cxn>
                    </a:cxnLst>
                    <a:rect l="0" t="0" r="r" b="b"/>
                    <a:pathLst>
                      <a:path w="68" h="26">
                        <a:moveTo>
                          <a:pt x="68" y="23"/>
                        </a:moveTo>
                        <a:lnTo>
                          <a:pt x="0" y="0"/>
                        </a:lnTo>
                        <a:lnTo>
                          <a:pt x="0" y="2"/>
                        </a:lnTo>
                        <a:lnTo>
                          <a:pt x="68" y="26"/>
                        </a:lnTo>
                        <a:lnTo>
                          <a:pt x="68" y="23"/>
                        </a:lnTo>
                        <a:close/>
                      </a:path>
                    </a:pathLst>
                  </a:custGeom>
                  <a:solidFill>
                    <a:srgbClr val="01AAE5"/>
                  </a:solidFill>
                  <a:ln>
                    <a:noFill/>
                  </a:ln>
                  <a:extLst/>
                </p:spPr>
                <p:txBody>
                  <a:bodyPr/>
                  <a:lstStyle/>
                  <a:p>
                    <a:pPr eaLnBrk="1" hangingPunct="1">
                      <a:defRPr/>
                    </a:pPr>
                    <a:endParaRPr lang="zh-CN" altLang="en-US" sz="1050"/>
                  </a:p>
                </p:txBody>
              </p:sp>
              <p:sp>
                <p:nvSpPr>
                  <p:cNvPr id="2667" name="Freeform 1819"/>
                  <p:cNvSpPr>
                    <a:spLocks/>
                  </p:cNvSpPr>
                  <p:nvPr/>
                </p:nvSpPr>
                <p:spPr bwMode="auto">
                  <a:xfrm>
                    <a:off x="10182" y="2395"/>
                    <a:ext cx="42" cy="17"/>
                  </a:xfrm>
                  <a:custGeom>
                    <a:avLst/>
                    <a:gdLst>
                      <a:gd name="T0" fmla="*/ 41 w 41"/>
                      <a:gd name="T1" fmla="*/ 7 h 9"/>
                      <a:gd name="T2" fmla="*/ 0 w 41"/>
                      <a:gd name="T3" fmla="*/ 0 h 9"/>
                      <a:gd name="T4" fmla="*/ 0 w 41"/>
                      <a:gd name="T5" fmla="*/ 0 h 9"/>
                      <a:gd name="T6" fmla="*/ 41 w 41"/>
                      <a:gd name="T7" fmla="*/ 9 h 9"/>
                      <a:gd name="T8" fmla="*/ 41 w 41"/>
                      <a:gd name="T9" fmla="*/ 7 h 9"/>
                    </a:gdLst>
                    <a:ahLst/>
                    <a:cxnLst>
                      <a:cxn ang="0">
                        <a:pos x="T0" y="T1"/>
                      </a:cxn>
                      <a:cxn ang="0">
                        <a:pos x="T2" y="T3"/>
                      </a:cxn>
                      <a:cxn ang="0">
                        <a:pos x="T4" y="T5"/>
                      </a:cxn>
                      <a:cxn ang="0">
                        <a:pos x="T6" y="T7"/>
                      </a:cxn>
                      <a:cxn ang="0">
                        <a:pos x="T8" y="T9"/>
                      </a:cxn>
                    </a:cxnLst>
                    <a:rect l="0" t="0" r="r" b="b"/>
                    <a:pathLst>
                      <a:path w="41" h="9">
                        <a:moveTo>
                          <a:pt x="41" y="7"/>
                        </a:moveTo>
                        <a:lnTo>
                          <a:pt x="0" y="0"/>
                        </a:lnTo>
                        <a:lnTo>
                          <a:pt x="0" y="0"/>
                        </a:lnTo>
                        <a:lnTo>
                          <a:pt x="41" y="9"/>
                        </a:lnTo>
                        <a:lnTo>
                          <a:pt x="41" y="7"/>
                        </a:lnTo>
                        <a:close/>
                      </a:path>
                    </a:pathLst>
                  </a:custGeom>
                  <a:solidFill>
                    <a:srgbClr val="01AAE5"/>
                  </a:solidFill>
                  <a:ln>
                    <a:noFill/>
                  </a:ln>
                  <a:extLst/>
                </p:spPr>
                <p:txBody>
                  <a:bodyPr/>
                  <a:lstStyle/>
                  <a:p>
                    <a:pPr eaLnBrk="1" hangingPunct="1">
                      <a:defRPr/>
                    </a:pPr>
                    <a:endParaRPr lang="zh-CN" altLang="en-US" sz="1050"/>
                  </a:p>
                </p:txBody>
              </p:sp>
              <p:sp>
                <p:nvSpPr>
                  <p:cNvPr id="2668" name="Freeform 1820"/>
                  <p:cNvSpPr>
                    <a:spLocks/>
                  </p:cNvSpPr>
                  <p:nvPr/>
                </p:nvSpPr>
                <p:spPr bwMode="auto">
                  <a:xfrm>
                    <a:off x="10174" y="2325"/>
                    <a:ext cx="75" cy="26"/>
                  </a:xfrm>
                  <a:custGeom>
                    <a:avLst/>
                    <a:gdLst>
                      <a:gd name="T0" fmla="*/ 71 w 71"/>
                      <a:gd name="T1" fmla="*/ 22 h 24"/>
                      <a:gd name="T2" fmla="*/ 0 w 71"/>
                      <a:gd name="T3" fmla="*/ 0 h 24"/>
                      <a:gd name="T4" fmla="*/ 0 w 71"/>
                      <a:gd name="T5" fmla="*/ 0 h 24"/>
                      <a:gd name="T6" fmla="*/ 71 w 71"/>
                      <a:gd name="T7" fmla="*/ 24 h 24"/>
                      <a:gd name="T8" fmla="*/ 71 w 71"/>
                      <a:gd name="T9" fmla="*/ 22 h 24"/>
                    </a:gdLst>
                    <a:ahLst/>
                    <a:cxnLst>
                      <a:cxn ang="0">
                        <a:pos x="T0" y="T1"/>
                      </a:cxn>
                      <a:cxn ang="0">
                        <a:pos x="T2" y="T3"/>
                      </a:cxn>
                      <a:cxn ang="0">
                        <a:pos x="T4" y="T5"/>
                      </a:cxn>
                      <a:cxn ang="0">
                        <a:pos x="T6" y="T7"/>
                      </a:cxn>
                      <a:cxn ang="0">
                        <a:pos x="T8" y="T9"/>
                      </a:cxn>
                    </a:cxnLst>
                    <a:rect l="0" t="0" r="r" b="b"/>
                    <a:pathLst>
                      <a:path w="71" h="24">
                        <a:moveTo>
                          <a:pt x="71" y="22"/>
                        </a:moveTo>
                        <a:lnTo>
                          <a:pt x="0" y="0"/>
                        </a:lnTo>
                        <a:lnTo>
                          <a:pt x="0" y="0"/>
                        </a:lnTo>
                        <a:lnTo>
                          <a:pt x="71" y="24"/>
                        </a:lnTo>
                        <a:lnTo>
                          <a:pt x="71" y="22"/>
                        </a:lnTo>
                        <a:close/>
                      </a:path>
                    </a:pathLst>
                  </a:custGeom>
                  <a:solidFill>
                    <a:srgbClr val="01AAE5"/>
                  </a:solidFill>
                  <a:ln>
                    <a:noFill/>
                  </a:ln>
                  <a:extLst/>
                </p:spPr>
                <p:txBody>
                  <a:bodyPr/>
                  <a:lstStyle/>
                  <a:p>
                    <a:pPr eaLnBrk="1" hangingPunct="1">
                      <a:defRPr/>
                    </a:pPr>
                    <a:endParaRPr lang="zh-CN" altLang="en-US" sz="1050"/>
                  </a:p>
                </p:txBody>
              </p:sp>
              <p:sp>
                <p:nvSpPr>
                  <p:cNvPr id="2669" name="Freeform 1821"/>
                  <p:cNvSpPr>
                    <a:spLocks/>
                  </p:cNvSpPr>
                  <p:nvPr/>
                </p:nvSpPr>
                <p:spPr bwMode="auto">
                  <a:xfrm>
                    <a:off x="10174" y="2386"/>
                    <a:ext cx="50" cy="9"/>
                  </a:xfrm>
                  <a:custGeom>
                    <a:avLst/>
                    <a:gdLst>
                      <a:gd name="T0" fmla="*/ 50 w 50"/>
                      <a:gd name="T1" fmla="*/ 12 h 14"/>
                      <a:gd name="T2" fmla="*/ 0 w 50"/>
                      <a:gd name="T3" fmla="*/ 0 h 14"/>
                      <a:gd name="T4" fmla="*/ 0 w 50"/>
                      <a:gd name="T5" fmla="*/ 2 h 14"/>
                      <a:gd name="T6" fmla="*/ 50 w 50"/>
                      <a:gd name="T7" fmla="*/ 14 h 14"/>
                      <a:gd name="T8" fmla="*/ 50 w 50"/>
                      <a:gd name="T9" fmla="*/ 12 h 14"/>
                    </a:gdLst>
                    <a:ahLst/>
                    <a:cxnLst>
                      <a:cxn ang="0">
                        <a:pos x="T0" y="T1"/>
                      </a:cxn>
                      <a:cxn ang="0">
                        <a:pos x="T2" y="T3"/>
                      </a:cxn>
                      <a:cxn ang="0">
                        <a:pos x="T4" y="T5"/>
                      </a:cxn>
                      <a:cxn ang="0">
                        <a:pos x="T6" y="T7"/>
                      </a:cxn>
                      <a:cxn ang="0">
                        <a:pos x="T8" y="T9"/>
                      </a:cxn>
                    </a:cxnLst>
                    <a:rect l="0" t="0" r="r" b="b"/>
                    <a:pathLst>
                      <a:path w="50" h="14">
                        <a:moveTo>
                          <a:pt x="50" y="12"/>
                        </a:moveTo>
                        <a:lnTo>
                          <a:pt x="0" y="0"/>
                        </a:lnTo>
                        <a:lnTo>
                          <a:pt x="0" y="2"/>
                        </a:lnTo>
                        <a:lnTo>
                          <a:pt x="50" y="14"/>
                        </a:lnTo>
                        <a:lnTo>
                          <a:pt x="50" y="12"/>
                        </a:lnTo>
                        <a:close/>
                      </a:path>
                    </a:pathLst>
                  </a:custGeom>
                  <a:solidFill>
                    <a:srgbClr val="01AAE5"/>
                  </a:solidFill>
                  <a:ln>
                    <a:noFill/>
                  </a:ln>
                  <a:extLst/>
                </p:spPr>
                <p:txBody>
                  <a:bodyPr/>
                  <a:lstStyle/>
                  <a:p>
                    <a:pPr eaLnBrk="1" hangingPunct="1">
                      <a:defRPr/>
                    </a:pPr>
                    <a:endParaRPr lang="zh-CN" altLang="en-US" sz="1050"/>
                  </a:p>
                </p:txBody>
              </p:sp>
              <p:sp>
                <p:nvSpPr>
                  <p:cNvPr id="2670" name="Freeform 1822"/>
                  <p:cNvSpPr>
                    <a:spLocks/>
                  </p:cNvSpPr>
                  <p:nvPr/>
                </p:nvSpPr>
                <p:spPr bwMode="auto">
                  <a:xfrm>
                    <a:off x="10174" y="2386"/>
                    <a:ext cx="50" cy="9"/>
                  </a:xfrm>
                  <a:custGeom>
                    <a:avLst/>
                    <a:gdLst>
                      <a:gd name="T0" fmla="*/ 47 w 47"/>
                      <a:gd name="T1" fmla="*/ 9 h 12"/>
                      <a:gd name="T2" fmla="*/ 0 w 47"/>
                      <a:gd name="T3" fmla="*/ 0 h 12"/>
                      <a:gd name="T4" fmla="*/ 0 w 47"/>
                      <a:gd name="T5" fmla="*/ 0 h 12"/>
                      <a:gd name="T6" fmla="*/ 47 w 47"/>
                      <a:gd name="T7" fmla="*/ 12 h 12"/>
                      <a:gd name="T8" fmla="*/ 47 w 47"/>
                      <a:gd name="T9" fmla="*/ 9 h 12"/>
                    </a:gdLst>
                    <a:ahLst/>
                    <a:cxnLst>
                      <a:cxn ang="0">
                        <a:pos x="T0" y="T1"/>
                      </a:cxn>
                      <a:cxn ang="0">
                        <a:pos x="T2" y="T3"/>
                      </a:cxn>
                      <a:cxn ang="0">
                        <a:pos x="T4" y="T5"/>
                      </a:cxn>
                      <a:cxn ang="0">
                        <a:pos x="T6" y="T7"/>
                      </a:cxn>
                      <a:cxn ang="0">
                        <a:pos x="T8" y="T9"/>
                      </a:cxn>
                    </a:cxnLst>
                    <a:rect l="0" t="0" r="r" b="b"/>
                    <a:pathLst>
                      <a:path w="47" h="12">
                        <a:moveTo>
                          <a:pt x="47" y="9"/>
                        </a:moveTo>
                        <a:lnTo>
                          <a:pt x="0" y="0"/>
                        </a:lnTo>
                        <a:lnTo>
                          <a:pt x="0" y="0"/>
                        </a:lnTo>
                        <a:lnTo>
                          <a:pt x="47" y="12"/>
                        </a:lnTo>
                        <a:lnTo>
                          <a:pt x="47" y="9"/>
                        </a:lnTo>
                        <a:close/>
                      </a:path>
                    </a:pathLst>
                  </a:custGeom>
                  <a:solidFill>
                    <a:srgbClr val="01AAE5"/>
                  </a:solidFill>
                  <a:ln>
                    <a:noFill/>
                  </a:ln>
                  <a:extLst/>
                </p:spPr>
                <p:txBody>
                  <a:bodyPr/>
                  <a:lstStyle/>
                  <a:p>
                    <a:pPr eaLnBrk="1" hangingPunct="1">
                      <a:defRPr/>
                    </a:pPr>
                    <a:endParaRPr lang="zh-CN" altLang="en-US" sz="1050"/>
                  </a:p>
                </p:txBody>
              </p:sp>
              <p:sp>
                <p:nvSpPr>
                  <p:cNvPr id="2671" name="Freeform 1823"/>
                  <p:cNvSpPr>
                    <a:spLocks/>
                  </p:cNvSpPr>
                  <p:nvPr/>
                </p:nvSpPr>
                <p:spPr bwMode="auto">
                  <a:xfrm>
                    <a:off x="10182" y="2386"/>
                    <a:ext cx="42" cy="17"/>
                  </a:xfrm>
                  <a:custGeom>
                    <a:avLst/>
                    <a:gdLst>
                      <a:gd name="T0" fmla="*/ 43 w 43"/>
                      <a:gd name="T1" fmla="*/ 9 h 11"/>
                      <a:gd name="T2" fmla="*/ 0 w 43"/>
                      <a:gd name="T3" fmla="*/ 0 h 11"/>
                      <a:gd name="T4" fmla="*/ 0 w 43"/>
                      <a:gd name="T5" fmla="*/ 2 h 11"/>
                      <a:gd name="T6" fmla="*/ 43 w 43"/>
                      <a:gd name="T7" fmla="*/ 11 h 11"/>
                      <a:gd name="T8" fmla="*/ 43 w 43"/>
                      <a:gd name="T9" fmla="*/ 9 h 11"/>
                    </a:gdLst>
                    <a:ahLst/>
                    <a:cxnLst>
                      <a:cxn ang="0">
                        <a:pos x="T0" y="T1"/>
                      </a:cxn>
                      <a:cxn ang="0">
                        <a:pos x="T2" y="T3"/>
                      </a:cxn>
                      <a:cxn ang="0">
                        <a:pos x="T4" y="T5"/>
                      </a:cxn>
                      <a:cxn ang="0">
                        <a:pos x="T6" y="T7"/>
                      </a:cxn>
                      <a:cxn ang="0">
                        <a:pos x="T8" y="T9"/>
                      </a:cxn>
                    </a:cxnLst>
                    <a:rect l="0" t="0" r="r" b="b"/>
                    <a:pathLst>
                      <a:path w="43" h="11">
                        <a:moveTo>
                          <a:pt x="43" y="9"/>
                        </a:moveTo>
                        <a:lnTo>
                          <a:pt x="0" y="0"/>
                        </a:lnTo>
                        <a:lnTo>
                          <a:pt x="0" y="2"/>
                        </a:lnTo>
                        <a:lnTo>
                          <a:pt x="43" y="11"/>
                        </a:lnTo>
                        <a:lnTo>
                          <a:pt x="43" y="9"/>
                        </a:lnTo>
                        <a:close/>
                      </a:path>
                    </a:pathLst>
                  </a:custGeom>
                  <a:solidFill>
                    <a:srgbClr val="01AAE5"/>
                  </a:solidFill>
                  <a:ln>
                    <a:noFill/>
                  </a:ln>
                  <a:extLst/>
                </p:spPr>
                <p:txBody>
                  <a:bodyPr/>
                  <a:lstStyle/>
                  <a:p>
                    <a:pPr eaLnBrk="1" hangingPunct="1">
                      <a:defRPr/>
                    </a:pPr>
                    <a:endParaRPr lang="zh-CN" altLang="en-US" sz="1050"/>
                  </a:p>
                </p:txBody>
              </p:sp>
              <p:sp>
                <p:nvSpPr>
                  <p:cNvPr id="2672" name="Freeform 1824"/>
                  <p:cNvSpPr>
                    <a:spLocks/>
                  </p:cNvSpPr>
                  <p:nvPr/>
                </p:nvSpPr>
                <p:spPr bwMode="auto">
                  <a:xfrm>
                    <a:off x="10174" y="2360"/>
                    <a:ext cx="58" cy="17"/>
                  </a:xfrm>
                  <a:custGeom>
                    <a:avLst/>
                    <a:gdLst>
                      <a:gd name="T0" fmla="*/ 61 w 61"/>
                      <a:gd name="T1" fmla="*/ 17 h 17"/>
                      <a:gd name="T2" fmla="*/ 0 w 61"/>
                      <a:gd name="T3" fmla="*/ 0 h 17"/>
                      <a:gd name="T4" fmla="*/ 0 w 61"/>
                      <a:gd name="T5" fmla="*/ 0 h 17"/>
                      <a:gd name="T6" fmla="*/ 61 w 61"/>
                      <a:gd name="T7" fmla="*/ 17 h 17"/>
                      <a:gd name="T8" fmla="*/ 61 w 61"/>
                      <a:gd name="T9" fmla="*/ 17 h 17"/>
                    </a:gdLst>
                    <a:ahLst/>
                    <a:cxnLst>
                      <a:cxn ang="0">
                        <a:pos x="T0" y="T1"/>
                      </a:cxn>
                      <a:cxn ang="0">
                        <a:pos x="T2" y="T3"/>
                      </a:cxn>
                      <a:cxn ang="0">
                        <a:pos x="T4" y="T5"/>
                      </a:cxn>
                      <a:cxn ang="0">
                        <a:pos x="T6" y="T7"/>
                      </a:cxn>
                      <a:cxn ang="0">
                        <a:pos x="T8" y="T9"/>
                      </a:cxn>
                    </a:cxnLst>
                    <a:rect l="0" t="0" r="r" b="b"/>
                    <a:pathLst>
                      <a:path w="61" h="17">
                        <a:moveTo>
                          <a:pt x="61" y="17"/>
                        </a:moveTo>
                        <a:lnTo>
                          <a:pt x="0" y="0"/>
                        </a:lnTo>
                        <a:lnTo>
                          <a:pt x="0" y="0"/>
                        </a:lnTo>
                        <a:lnTo>
                          <a:pt x="61" y="17"/>
                        </a:lnTo>
                        <a:lnTo>
                          <a:pt x="61" y="17"/>
                        </a:lnTo>
                        <a:close/>
                      </a:path>
                    </a:pathLst>
                  </a:custGeom>
                  <a:solidFill>
                    <a:srgbClr val="01AAE5"/>
                  </a:solidFill>
                  <a:ln>
                    <a:noFill/>
                  </a:ln>
                  <a:extLst/>
                </p:spPr>
                <p:txBody>
                  <a:bodyPr/>
                  <a:lstStyle/>
                  <a:p>
                    <a:pPr eaLnBrk="1" hangingPunct="1">
                      <a:defRPr/>
                    </a:pPr>
                    <a:endParaRPr lang="zh-CN" altLang="en-US" sz="1050"/>
                  </a:p>
                </p:txBody>
              </p:sp>
              <p:sp>
                <p:nvSpPr>
                  <p:cNvPr id="2673" name="Freeform 1825"/>
                  <p:cNvSpPr>
                    <a:spLocks/>
                  </p:cNvSpPr>
                  <p:nvPr/>
                </p:nvSpPr>
                <p:spPr bwMode="auto">
                  <a:xfrm>
                    <a:off x="10174" y="2360"/>
                    <a:ext cx="58" cy="26"/>
                  </a:xfrm>
                  <a:custGeom>
                    <a:avLst/>
                    <a:gdLst>
                      <a:gd name="T0" fmla="*/ 59 w 59"/>
                      <a:gd name="T1" fmla="*/ 17 h 17"/>
                      <a:gd name="T2" fmla="*/ 0 w 59"/>
                      <a:gd name="T3" fmla="*/ 0 h 17"/>
                      <a:gd name="T4" fmla="*/ 0 w 59"/>
                      <a:gd name="T5" fmla="*/ 3 h 17"/>
                      <a:gd name="T6" fmla="*/ 59 w 59"/>
                      <a:gd name="T7" fmla="*/ 17 h 17"/>
                      <a:gd name="T8" fmla="*/ 59 w 59"/>
                      <a:gd name="T9" fmla="*/ 17 h 17"/>
                    </a:gdLst>
                    <a:ahLst/>
                    <a:cxnLst>
                      <a:cxn ang="0">
                        <a:pos x="T0" y="T1"/>
                      </a:cxn>
                      <a:cxn ang="0">
                        <a:pos x="T2" y="T3"/>
                      </a:cxn>
                      <a:cxn ang="0">
                        <a:pos x="T4" y="T5"/>
                      </a:cxn>
                      <a:cxn ang="0">
                        <a:pos x="T6" y="T7"/>
                      </a:cxn>
                      <a:cxn ang="0">
                        <a:pos x="T8" y="T9"/>
                      </a:cxn>
                    </a:cxnLst>
                    <a:rect l="0" t="0" r="r" b="b"/>
                    <a:pathLst>
                      <a:path w="59" h="17">
                        <a:moveTo>
                          <a:pt x="59" y="17"/>
                        </a:moveTo>
                        <a:lnTo>
                          <a:pt x="0" y="0"/>
                        </a:lnTo>
                        <a:lnTo>
                          <a:pt x="0" y="3"/>
                        </a:lnTo>
                        <a:lnTo>
                          <a:pt x="59" y="17"/>
                        </a:lnTo>
                        <a:lnTo>
                          <a:pt x="59" y="17"/>
                        </a:lnTo>
                        <a:close/>
                      </a:path>
                    </a:pathLst>
                  </a:custGeom>
                  <a:solidFill>
                    <a:srgbClr val="01AAE5"/>
                  </a:solidFill>
                  <a:ln>
                    <a:noFill/>
                  </a:ln>
                  <a:extLst/>
                </p:spPr>
                <p:txBody>
                  <a:bodyPr/>
                  <a:lstStyle/>
                  <a:p>
                    <a:pPr eaLnBrk="1" hangingPunct="1">
                      <a:defRPr/>
                    </a:pPr>
                    <a:endParaRPr lang="zh-CN" altLang="en-US" sz="1050"/>
                  </a:p>
                </p:txBody>
              </p:sp>
              <p:sp>
                <p:nvSpPr>
                  <p:cNvPr id="2674" name="Freeform 1826"/>
                  <p:cNvSpPr>
                    <a:spLocks/>
                  </p:cNvSpPr>
                  <p:nvPr/>
                </p:nvSpPr>
                <p:spPr bwMode="auto">
                  <a:xfrm>
                    <a:off x="10174" y="2377"/>
                    <a:ext cx="50" cy="9"/>
                  </a:xfrm>
                  <a:custGeom>
                    <a:avLst/>
                    <a:gdLst>
                      <a:gd name="T0" fmla="*/ 52 w 52"/>
                      <a:gd name="T1" fmla="*/ 12 h 14"/>
                      <a:gd name="T2" fmla="*/ 0 w 52"/>
                      <a:gd name="T3" fmla="*/ 0 h 14"/>
                      <a:gd name="T4" fmla="*/ 0 w 52"/>
                      <a:gd name="T5" fmla="*/ 2 h 14"/>
                      <a:gd name="T6" fmla="*/ 52 w 52"/>
                      <a:gd name="T7" fmla="*/ 14 h 14"/>
                      <a:gd name="T8" fmla="*/ 52 w 52"/>
                      <a:gd name="T9" fmla="*/ 12 h 14"/>
                    </a:gdLst>
                    <a:ahLst/>
                    <a:cxnLst>
                      <a:cxn ang="0">
                        <a:pos x="T0" y="T1"/>
                      </a:cxn>
                      <a:cxn ang="0">
                        <a:pos x="T2" y="T3"/>
                      </a:cxn>
                      <a:cxn ang="0">
                        <a:pos x="T4" y="T5"/>
                      </a:cxn>
                      <a:cxn ang="0">
                        <a:pos x="T6" y="T7"/>
                      </a:cxn>
                      <a:cxn ang="0">
                        <a:pos x="T8" y="T9"/>
                      </a:cxn>
                    </a:cxnLst>
                    <a:rect l="0" t="0" r="r" b="b"/>
                    <a:pathLst>
                      <a:path w="52" h="14">
                        <a:moveTo>
                          <a:pt x="52" y="12"/>
                        </a:moveTo>
                        <a:lnTo>
                          <a:pt x="0" y="0"/>
                        </a:lnTo>
                        <a:lnTo>
                          <a:pt x="0" y="2"/>
                        </a:lnTo>
                        <a:lnTo>
                          <a:pt x="52" y="14"/>
                        </a:lnTo>
                        <a:lnTo>
                          <a:pt x="52" y="12"/>
                        </a:lnTo>
                        <a:close/>
                      </a:path>
                    </a:pathLst>
                  </a:custGeom>
                  <a:solidFill>
                    <a:srgbClr val="01AAE5"/>
                  </a:solidFill>
                  <a:ln>
                    <a:noFill/>
                  </a:ln>
                  <a:extLst/>
                </p:spPr>
                <p:txBody>
                  <a:bodyPr/>
                  <a:lstStyle/>
                  <a:p>
                    <a:pPr eaLnBrk="1" hangingPunct="1">
                      <a:defRPr/>
                    </a:pPr>
                    <a:endParaRPr lang="zh-CN" altLang="en-US" sz="1050"/>
                  </a:p>
                </p:txBody>
              </p:sp>
              <p:sp>
                <p:nvSpPr>
                  <p:cNvPr id="2675" name="Freeform 1827"/>
                  <p:cNvSpPr>
                    <a:spLocks/>
                  </p:cNvSpPr>
                  <p:nvPr/>
                </p:nvSpPr>
                <p:spPr bwMode="auto">
                  <a:xfrm>
                    <a:off x="10174" y="2369"/>
                    <a:ext cx="58" cy="17"/>
                  </a:xfrm>
                  <a:custGeom>
                    <a:avLst/>
                    <a:gdLst>
                      <a:gd name="T0" fmla="*/ 56 w 56"/>
                      <a:gd name="T1" fmla="*/ 14 h 14"/>
                      <a:gd name="T2" fmla="*/ 0 w 56"/>
                      <a:gd name="T3" fmla="*/ 0 h 14"/>
                      <a:gd name="T4" fmla="*/ 0 w 56"/>
                      <a:gd name="T5" fmla="*/ 0 h 14"/>
                      <a:gd name="T6" fmla="*/ 56 w 56"/>
                      <a:gd name="T7" fmla="*/ 14 h 14"/>
                      <a:gd name="T8" fmla="*/ 56 w 56"/>
                      <a:gd name="T9" fmla="*/ 14 h 14"/>
                    </a:gdLst>
                    <a:ahLst/>
                    <a:cxnLst>
                      <a:cxn ang="0">
                        <a:pos x="T0" y="T1"/>
                      </a:cxn>
                      <a:cxn ang="0">
                        <a:pos x="T2" y="T3"/>
                      </a:cxn>
                      <a:cxn ang="0">
                        <a:pos x="T4" y="T5"/>
                      </a:cxn>
                      <a:cxn ang="0">
                        <a:pos x="T6" y="T7"/>
                      </a:cxn>
                      <a:cxn ang="0">
                        <a:pos x="T8" y="T9"/>
                      </a:cxn>
                    </a:cxnLst>
                    <a:rect l="0" t="0" r="r" b="b"/>
                    <a:pathLst>
                      <a:path w="56" h="14">
                        <a:moveTo>
                          <a:pt x="56" y="14"/>
                        </a:moveTo>
                        <a:lnTo>
                          <a:pt x="0" y="0"/>
                        </a:lnTo>
                        <a:lnTo>
                          <a:pt x="0" y="0"/>
                        </a:lnTo>
                        <a:lnTo>
                          <a:pt x="56" y="14"/>
                        </a:lnTo>
                        <a:lnTo>
                          <a:pt x="56" y="14"/>
                        </a:lnTo>
                        <a:close/>
                      </a:path>
                    </a:pathLst>
                  </a:custGeom>
                  <a:solidFill>
                    <a:srgbClr val="01AAE5"/>
                  </a:solidFill>
                  <a:ln>
                    <a:noFill/>
                  </a:ln>
                  <a:extLst/>
                </p:spPr>
                <p:txBody>
                  <a:bodyPr/>
                  <a:lstStyle/>
                  <a:p>
                    <a:pPr eaLnBrk="1" hangingPunct="1">
                      <a:defRPr/>
                    </a:pPr>
                    <a:endParaRPr lang="zh-CN" altLang="en-US" sz="1050"/>
                  </a:p>
                </p:txBody>
              </p:sp>
              <p:sp>
                <p:nvSpPr>
                  <p:cNvPr id="2676" name="Freeform 1828"/>
                  <p:cNvSpPr>
                    <a:spLocks/>
                  </p:cNvSpPr>
                  <p:nvPr/>
                </p:nvSpPr>
                <p:spPr bwMode="auto">
                  <a:xfrm>
                    <a:off x="10748"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77" name="Freeform 1829"/>
                  <p:cNvSpPr>
                    <a:spLocks/>
                  </p:cNvSpPr>
                  <p:nvPr/>
                </p:nvSpPr>
                <p:spPr bwMode="auto">
                  <a:xfrm>
                    <a:off x="10781" y="3240"/>
                    <a:ext cx="0" cy="17"/>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78" name="Freeform 1830"/>
                  <p:cNvSpPr>
                    <a:spLocks/>
                  </p:cNvSpPr>
                  <p:nvPr/>
                </p:nvSpPr>
                <p:spPr bwMode="auto">
                  <a:xfrm>
                    <a:off x="10756"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79" name="Freeform 1831"/>
                  <p:cNvSpPr>
                    <a:spLocks/>
                  </p:cNvSpPr>
                  <p:nvPr/>
                </p:nvSpPr>
                <p:spPr bwMode="auto">
                  <a:xfrm>
                    <a:off x="10723" y="3240"/>
                    <a:ext cx="8" cy="0"/>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80" name="Freeform 1832"/>
                  <p:cNvSpPr>
                    <a:spLocks/>
                  </p:cNvSpPr>
                  <p:nvPr/>
                </p:nvSpPr>
                <p:spPr bwMode="auto">
                  <a:xfrm>
                    <a:off x="10781" y="3240"/>
                    <a:ext cx="0" cy="17"/>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2681" name="Freeform 1833"/>
                  <p:cNvSpPr>
                    <a:spLocks/>
                  </p:cNvSpPr>
                  <p:nvPr/>
                </p:nvSpPr>
                <p:spPr bwMode="auto">
                  <a:xfrm>
                    <a:off x="10731" y="3240"/>
                    <a:ext cx="8" cy="9"/>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82" name="Freeform 1834"/>
                  <p:cNvSpPr>
                    <a:spLocks/>
                  </p:cNvSpPr>
                  <p:nvPr/>
                </p:nvSpPr>
                <p:spPr bwMode="auto">
                  <a:xfrm>
                    <a:off x="10739" y="3240"/>
                    <a:ext cx="8" cy="9"/>
                  </a:xfrm>
                  <a:custGeom>
                    <a:avLst/>
                    <a:gdLst>
                      <a:gd name="T0" fmla="*/ 5 w 5"/>
                      <a:gd name="T1" fmla="*/ 0 h 12"/>
                      <a:gd name="T2" fmla="*/ 0 w 5"/>
                      <a:gd name="T3" fmla="*/ 12 h 12"/>
                      <a:gd name="T4" fmla="*/ 2 w 5"/>
                      <a:gd name="T5" fmla="*/ 12 h 12"/>
                      <a:gd name="T6" fmla="*/ 5 w 5"/>
                      <a:gd name="T7" fmla="*/ 2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2"/>
                        </a:lnTo>
                        <a:lnTo>
                          <a:pt x="2" y="12"/>
                        </a:lnTo>
                        <a:lnTo>
                          <a:pt x="5" y="2"/>
                        </a:lnTo>
                        <a:lnTo>
                          <a:pt x="5" y="0"/>
                        </a:lnTo>
                        <a:close/>
                      </a:path>
                    </a:pathLst>
                  </a:custGeom>
                  <a:solidFill>
                    <a:srgbClr val="01AAE5"/>
                  </a:solidFill>
                  <a:ln>
                    <a:noFill/>
                  </a:ln>
                  <a:extLst/>
                </p:spPr>
                <p:txBody>
                  <a:bodyPr/>
                  <a:lstStyle/>
                  <a:p>
                    <a:pPr eaLnBrk="1" hangingPunct="1">
                      <a:defRPr/>
                    </a:pPr>
                    <a:endParaRPr lang="zh-CN" altLang="en-US" sz="1050"/>
                  </a:p>
                </p:txBody>
              </p:sp>
              <p:sp>
                <p:nvSpPr>
                  <p:cNvPr id="2683" name="Rectangle 1835"/>
                  <p:cNvSpPr>
                    <a:spLocks noChangeArrowheads="1"/>
                  </p:cNvSpPr>
                  <p:nvPr/>
                </p:nvSpPr>
                <p:spPr bwMode="auto">
                  <a:xfrm>
                    <a:off x="10839"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2684" name="Freeform 1836"/>
                  <p:cNvSpPr>
                    <a:spLocks/>
                  </p:cNvSpPr>
                  <p:nvPr/>
                </p:nvSpPr>
                <p:spPr bwMode="auto">
                  <a:xfrm>
                    <a:off x="10839" y="3249"/>
                    <a:ext cx="0" cy="17"/>
                  </a:xfrm>
                  <a:custGeom>
                    <a:avLst/>
                    <a:gdLst>
                      <a:gd name="T0" fmla="*/ 3 w 3"/>
                      <a:gd name="T1" fmla="*/ 0 h 12"/>
                      <a:gd name="T2" fmla="*/ 0 w 3"/>
                      <a:gd name="T3" fmla="*/ 12 h 12"/>
                      <a:gd name="T4" fmla="*/ 3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3"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85" name="Freeform 1837"/>
                  <p:cNvSpPr>
                    <a:spLocks/>
                  </p:cNvSpPr>
                  <p:nvPr/>
                </p:nvSpPr>
                <p:spPr bwMode="auto">
                  <a:xfrm>
                    <a:off x="10839" y="3249"/>
                    <a:ext cx="0" cy="17"/>
                  </a:xfrm>
                  <a:custGeom>
                    <a:avLst/>
                    <a:gdLst>
                      <a:gd name="T0" fmla="*/ 3 w 5"/>
                      <a:gd name="T1" fmla="*/ 0 h 12"/>
                      <a:gd name="T2" fmla="*/ 0 w 5"/>
                      <a:gd name="T3" fmla="*/ 12 h 12"/>
                      <a:gd name="T4" fmla="*/ 3 w 5"/>
                      <a:gd name="T5" fmla="*/ 12 h 12"/>
                      <a:gd name="T6" fmla="*/ 5 w 5"/>
                      <a:gd name="T7" fmla="*/ 2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86" name="Freeform 1838"/>
                  <p:cNvSpPr>
                    <a:spLocks/>
                  </p:cNvSpPr>
                  <p:nvPr/>
                </p:nvSpPr>
                <p:spPr bwMode="auto">
                  <a:xfrm>
                    <a:off x="10814" y="3249"/>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87" name="Freeform 1839"/>
                  <p:cNvSpPr>
                    <a:spLocks/>
                  </p:cNvSpPr>
                  <p:nvPr/>
                </p:nvSpPr>
                <p:spPr bwMode="auto">
                  <a:xfrm>
                    <a:off x="10806" y="3249"/>
                    <a:ext cx="0" cy="17"/>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688" name="Freeform 1840"/>
                  <p:cNvSpPr>
                    <a:spLocks/>
                  </p:cNvSpPr>
                  <p:nvPr/>
                </p:nvSpPr>
                <p:spPr bwMode="auto">
                  <a:xfrm>
                    <a:off x="10839" y="3249"/>
                    <a:ext cx="0" cy="17"/>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2689" name="Freeform 1841"/>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90" name="Freeform 1842"/>
                  <p:cNvSpPr>
                    <a:spLocks/>
                  </p:cNvSpPr>
                  <p:nvPr/>
                </p:nvSpPr>
                <p:spPr bwMode="auto">
                  <a:xfrm>
                    <a:off x="10789" y="3240"/>
                    <a:ext cx="0" cy="17"/>
                  </a:xfrm>
                  <a:custGeom>
                    <a:avLst/>
                    <a:gdLst>
                      <a:gd name="T0" fmla="*/ 3 w 5"/>
                      <a:gd name="T1" fmla="*/ 0 h 12"/>
                      <a:gd name="T2" fmla="*/ 0 w 5"/>
                      <a:gd name="T3" fmla="*/ 12 h 12"/>
                      <a:gd name="T4" fmla="*/ 3 w 5"/>
                      <a:gd name="T5" fmla="*/ 12 h 12"/>
                      <a:gd name="T6" fmla="*/ 5 w 5"/>
                      <a:gd name="T7" fmla="*/ 3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3"/>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91" name="Freeform 1843"/>
                  <p:cNvSpPr>
                    <a:spLocks/>
                  </p:cNvSpPr>
                  <p:nvPr/>
                </p:nvSpPr>
                <p:spPr bwMode="auto">
                  <a:xfrm>
                    <a:off x="10781" y="3240"/>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92" name="Freeform 1844"/>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693" name="Freeform 1845"/>
                  <p:cNvSpPr>
                    <a:spLocks/>
                  </p:cNvSpPr>
                  <p:nvPr/>
                </p:nvSpPr>
                <p:spPr bwMode="auto">
                  <a:xfrm>
                    <a:off x="10748" y="3240"/>
                    <a:ext cx="0" cy="9"/>
                  </a:xfrm>
                  <a:custGeom>
                    <a:avLst/>
                    <a:gdLst>
                      <a:gd name="T0" fmla="*/ 2 w 5"/>
                      <a:gd name="T1" fmla="*/ 0 h 12"/>
                      <a:gd name="T2" fmla="*/ 0 w 5"/>
                      <a:gd name="T3" fmla="*/ 12 h 12"/>
                      <a:gd name="T4" fmla="*/ 2 w 5"/>
                      <a:gd name="T5" fmla="*/ 12 h 12"/>
                      <a:gd name="T6" fmla="*/ 5 w 5"/>
                      <a:gd name="T7" fmla="*/ 0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2694" name="Freeform 1846"/>
                  <p:cNvSpPr>
                    <a:spLocks/>
                  </p:cNvSpPr>
                  <p:nvPr/>
                </p:nvSpPr>
                <p:spPr bwMode="auto">
                  <a:xfrm>
                    <a:off x="10631" y="3196"/>
                    <a:ext cx="17" cy="44"/>
                  </a:xfrm>
                  <a:custGeom>
                    <a:avLst/>
                    <a:gdLst>
                      <a:gd name="T0" fmla="*/ 19 w 19"/>
                      <a:gd name="T1" fmla="*/ 0 h 43"/>
                      <a:gd name="T2" fmla="*/ 0 w 19"/>
                      <a:gd name="T3" fmla="*/ 43 h 43"/>
                      <a:gd name="T4" fmla="*/ 2 w 19"/>
                      <a:gd name="T5" fmla="*/ 43 h 43"/>
                      <a:gd name="T6" fmla="*/ 19 w 19"/>
                      <a:gd name="T7" fmla="*/ 0 h 43"/>
                      <a:gd name="T8" fmla="*/ 19 w 19"/>
                      <a:gd name="T9" fmla="*/ 0 h 43"/>
                    </a:gdLst>
                    <a:ahLst/>
                    <a:cxnLst>
                      <a:cxn ang="0">
                        <a:pos x="T0" y="T1"/>
                      </a:cxn>
                      <a:cxn ang="0">
                        <a:pos x="T2" y="T3"/>
                      </a:cxn>
                      <a:cxn ang="0">
                        <a:pos x="T4" y="T5"/>
                      </a:cxn>
                      <a:cxn ang="0">
                        <a:pos x="T6" y="T7"/>
                      </a:cxn>
                      <a:cxn ang="0">
                        <a:pos x="T8" y="T9"/>
                      </a:cxn>
                    </a:cxnLst>
                    <a:rect l="0" t="0" r="r" b="b"/>
                    <a:pathLst>
                      <a:path w="19" h="43">
                        <a:moveTo>
                          <a:pt x="19" y="0"/>
                        </a:moveTo>
                        <a:lnTo>
                          <a:pt x="0" y="43"/>
                        </a:lnTo>
                        <a:lnTo>
                          <a:pt x="2" y="4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695" name="Freeform 1847"/>
                  <p:cNvSpPr>
                    <a:spLocks/>
                  </p:cNvSpPr>
                  <p:nvPr/>
                </p:nvSpPr>
                <p:spPr bwMode="auto">
                  <a:xfrm>
                    <a:off x="10640" y="3205"/>
                    <a:ext cx="17" cy="35"/>
                  </a:xfrm>
                  <a:custGeom>
                    <a:avLst/>
                    <a:gdLst>
                      <a:gd name="T0" fmla="*/ 14 w 17"/>
                      <a:gd name="T1" fmla="*/ 0 h 36"/>
                      <a:gd name="T2" fmla="*/ 0 w 17"/>
                      <a:gd name="T3" fmla="*/ 36 h 36"/>
                      <a:gd name="T4" fmla="*/ 3 w 17"/>
                      <a:gd name="T5" fmla="*/ 36 h 36"/>
                      <a:gd name="T6" fmla="*/ 17 w 17"/>
                      <a:gd name="T7" fmla="*/ 0 h 36"/>
                      <a:gd name="T8" fmla="*/ 14 w 17"/>
                      <a:gd name="T9" fmla="*/ 0 h 36"/>
                    </a:gdLst>
                    <a:ahLst/>
                    <a:cxnLst>
                      <a:cxn ang="0">
                        <a:pos x="T0" y="T1"/>
                      </a:cxn>
                      <a:cxn ang="0">
                        <a:pos x="T2" y="T3"/>
                      </a:cxn>
                      <a:cxn ang="0">
                        <a:pos x="T4" y="T5"/>
                      </a:cxn>
                      <a:cxn ang="0">
                        <a:pos x="T6" y="T7"/>
                      </a:cxn>
                      <a:cxn ang="0">
                        <a:pos x="T8" y="T9"/>
                      </a:cxn>
                    </a:cxnLst>
                    <a:rect l="0" t="0" r="r" b="b"/>
                    <a:pathLst>
                      <a:path w="17" h="36">
                        <a:moveTo>
                          <a:pt x="14" y="0"/>
                        </a:moveTo>
                        <a:lnTo>
                          <a:pt x="0" y="36"/>
                        </a:lnTo>
                        <a:lnTo>
                          <a:pt x="3" y="36"/>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696" name="Freeform 1848"/>
                  <p:cNvSpPr>
                    <a:spLocks/>
                  </p:cNvSpPr>
                  <p:nvPr/>
                </p:nvSpPr>
                <p:spPr bwMode="auto">
                  <a:xfrm>
                    <a:off x="10631" y="3196"/>
                    <a:ext cx="25" cy="44"/>
                  </a:xfrm>
                  <a:custGeom>
                    <a:avLst/>
                    <a:gdLst>
                      <a:gd name="T0" fmla="*/ 17 w 19"/>
                      <a:gd name="T1" fmla="*/ 0 h 40"/>
                      <a:gd name="T2" fmla="*/ 0 w 19"/>
                      <a:gd name="T3" fmla="*/ 40 h 40"/>
                      <a:gd name="T4" fmla="*/ 2 w 19"/>
                      <a:gd name="T5" fmla="*/ 40 h 40"/>
                      <a:gd name="T6" fmla="*/ 19 w 19"/>
                      <a:gd name="T7" fmla="*/ 2 h 40"/>
                      <a:gd name="T8" fmla="*/ 17 w 19"/>
                      <a:gd name="T9" fmla="*/ 0 h 40"/>
                    </a:gdLst>
                    <a:ahLst/>
                    <a:cxnLst>
                      <a:cxn ang="0">
                        <a:pos x="T0" y="T1"/>
                      </a:cxn>
                      <a:cxn ang="0">
                        <a:pos x="T2" y="T3"/>
                      </a:cxn>
                      <a:cxn ang="0">
                        <a:pos x="T4" y="T5"/>
                      </a:cxn>
                      <a:cxn ang="0">
                        <a:pos x="T6" y="T7"/>
                      </a:cxn>
                      <a:cxn ang="0">
                        <a:pos x="T8" y="T9"/>
                      </a:cxn>
                    </a:cxnLst>
                    <a:rect l="0" t="0" r="r" b="b"/>
                    <a:pathLst>
                      <a:path w="19" h="40">
                        <a:moveTo>
                          <a:pt x="17" y="0"/>
                        </a:moveTo>
                        <a:lnTo>
                          <a:pt x="0" y="40"/>
                        </a:lnTo>
                        <a:lnTo>
                          <a:pt x="2" y="40"/>
                        </a:lnTo>
                        <a:lnTo>
                          <a:pt x="19" y="2"/>
                        </a:lnTo>
                        <a:lnTo>
                          <a:pt x="17" y="0"/>
                        </a:lnTo>
                        <a:close/>
                      </a:path>
                    </a:pathLst>
                  </a:custGeom>
                  <a:solidFill>
                    <a:srgbClr val="01AAE5"/>
                  </a:solidFill>
                  <a:ln>
                    <a:noFill/>
                  </a:ln>
                  <a:extLst/>
                </p:spPr>
                <p:txBody>
                  <a:bodyPr/>
                  <a:lstStyle/>
                  <a:p>
                    <a:pPr eaLnBrk="1" hangingPunct="1">
                      <a:defRPr/>
                    </a:pPr>
                    <a:endParaRPr lang="zh-CN" altLang="en-US" sz="1050"/>
                  </a:p>
                </p:txBody>
              </p:sp>
              <p:sp>
                <p:nvSpPr>
                  <p:cNvPr id="2697" name="Freeform 1849"/>
                  <p:cNvSpPr>
                    <a:spLocks/>
                  </p:cNvSpPr>
                  <p:nvPr/>
                </p:nvSpPr>
                <p:spPr bwMode="auto">
                  <a:xfrm>
                    <a:off x="10656" y="3205"/>
                    <a:ext cx="0" cy="35"/>
                  </a:xfrm>
                  <a:custGeom>
                    <a:avLst/>
                    <a:gdLst>
                      <a:gd name="T0" fmla="*/ 11 w 11"/>
                      <a:gd name="T1" fmla="*/ 0 h 33"/>
                      <a:gd name="T2" fmla="*/ 0 w 11"/>
                      <a:gd name="T3" fmla="*/ 33 h 33"/>
                      <a:gd name="T4" fmla="*/ 0 w 11"/>
                      <a:gd name="T5" fmla="*/ 33 h 33"/>
                      <a:gd name="T6" fmla="*/ 11 w 11"/>
                      <a:gd name="T7" fmla="*/ 2 h 33"/>
                      <a:gd name="T8" fmla="*/ 11 w 11"/>
                      <a:gd name="T9" fmla="*/ 0 h 33"/>
                    </a:gdLst>
                    <a:ahLst/>
                    <a:cxnLst>
                      <a:cxn ang="0">
                        <a:pos x="T0" y="T1"/>
                      </a:cxn>
                      <a:cxn ang="0">
                        <a:pos x="T2" y="T3"/>
                      </a:cxn>
                      <a:cxn ang="0">
                        <a:pos x="T4" y="T5"/>
                      </a:cxn>
                      <a:cxn ang="0">
                        <a:pos x="T6" y="T7"/>
                      </a:cxn>
                      <a:cxn ang="0">
                        <a:pos x="T8" y="T9"/>
                      </a:cxn>
                    </a:cxnLst>
                    <a:rect l="0" t="0" r="r" b="b"/>
                    <a:pathLst>
                      <a:path w="11" h="33">
                        <a:moveTo>
                          <a:pt x="11" y="0"/>
                        </a:moveTo>
                        <a:lnTo>
                          <a:pt x="0" y="33"/>
                        </a:lnTo>
                        <a:lnTo>
                          <a:pt x="0" y="33"/>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2698" name="Freeform 1850"/>
                  <p:cNvSpPr>
                    <a:spLocks/>
                  </p:cNvSpPr>
                  <p:nvPr/>
                </p:nvSpPr>
                <p:spPr bwMode="auto">
                  <a:xfrm>
                    <a:off x="10615" y="3179"/>
                    <a:ext cx="17" cy="61"/>
                  </a:xfrm>
                  <a:custGeom>
                    <a:avLst/>
                    <a:gdLst>
                      <a:gd name="T0" fmla="*/ 21 w 21"/>
                      <a:gd name="T1" fmla="*/ 0 h 52"/>
                      <a:gd name="T2" fmla="*/ 0 w 21"/>
                      <a:gd name="T3" fmla="*/ 49 h 52"/>
                      <a:gd name="T4" fmla="*/ 2 w 21"/>
                      <a:gd name="T5" fmla="*/ 52 h 52"/>
                      <a:gd name="T6" fmla="*/ 21 w 21"/>
                      <a:gd name="T7" fmla="*/ 2 h 52"/>
                      <a:gd name="T8" fmla="*/ 21 w 21"/>
                      <a:gd name="T9" fmla="*/ 0 h 52"/>
                    </a:gdLst>
                    <a:ahLst/>
                    <a:cxnLst>
                      <a:cxn ang="0">
                        <a:pos x="T0" y="T1"/>
                      </a:cxn>
                      <a:cxn ang="0">
                        <a:pos x="T2" y="T3"/>
                      </a:cxn>
                      <a:cxn ang="0">
                        <a:pos x="T4" y="T5"/>
                      </a:cxn>
                      <a:cxn ang="0">
                        <a:pos x="T6" y="T7"/>
                      </a:cxn>
                      <a:cxn ang="0">
                        <a:pos x="T8" y="T9"/>
                      </a:cxn>
                    </a:cxnLst>
                    <a:rect l="0" t="0" r="r" b="b"/>
                    <a:pathLst>
                      <a:path w="21" h="52">
                        <a:moveTo>
                          <a:pt x="21" y="0"/>
                        </a:moveTo>
                        <a:lnTo>
                          <a:pt x="0" y="49"/>
                        </a:lnTo>
                        <a:lnTo>
                          <a:pt x="2" y="52"/>
                        </a:lnTo>
                        <a:lnTo>
                          <a:pt x="21"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699" name="Freeform 1851"/>
                  <p:cNvSpPr>
                    <a:spLocks/>
                  </p:cNvSpPr>
                  <p:nvPr/>
                </p:nvSpPr>
                <p:spPr bwMode="auto">
                  <a:xfrm>
                    <a:off x="10606" y="3179"/>
                    <a:ext cx="25" cy="61"/>
                  </a:xfrm>
                  <a:custGeom>
                    <a:avLst/>
                    <a:gdLst>
                      <a:gd name="T0" fmla="*/ 23 w 23"/>
                      <a:gd name="T1" fmla="*/ 0 h 52"/>
                      <a:gd name="T2" fmla="*/ 0 w 23"/>
                      <a:gd name="T3" fmla="*/ 52 h 52"/>
                      <a:gd name="T4" fmla="*/ 2 w 23"/>
                      <a:gd name="T5" fmla="*/ 52 h 52"/>
                      <a:gd name="T6" fmla="*/ 23 w 23"/>
                      <a:gd name="T7" fmla="*/ 0 h 52"/>
                      <a:gd name="T8" fmla="*/ 23 w 23"/>
                      <a:gd name="T9" fmla="*/ 0 h 52"/>
                    </a:gdLst>
                    <a:ahLst/>
                    <a:cxnLst>
                      <a:cxn ang="0">
                        <a:pos x="T0" y="T1"/>
                      </a:cxn>
                      <a:cxn ang="0">
                        <a:pos x="T2" y="T3"/>
                      </a:cxn>
                      <a:cxn ang="0">
                        <a:pos x="T4" y="T5"/>
                      </a:cxn>
                      <a:cxn ang="0">
                        <a:pos x="T6" y="T7"/>
                      </a:cxn>
                      <a:cxn ang="0">
                        <a:pos x="T8" y="T9"/>
                      </a:cxn>
                    </a:cxnLst>
                    <a:rect l="0" t="0" r="r" b="b"/>
                    <a:pathLst>
                      <a:path w="23" h="52">
                        <a:moveTo>
                          <a:pt x="23" y="0"/>
                        </a:moveTo>
                        <a:lnTo>
                          <a:pt x="0" y="52"/>
                        </a:lnTo>
                        <a:lnTo>
                          <a:pt x="2" y="52"/>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2700" name="Freeform 1852"/>
                  <p:cNvSpPr>
                    <a:spLocks/>
                  </p:cNvSpPr>
                  <p:nvPr/>
                </p:nvSpPr>
                <p:spPr bwMode="auto">
                  <a:xfrm>
                    <a:off x="10623" y="3188"/>
                    <a:ext cx="17" cy="52"/>
                  </a:xfrm>
                  <a:custGeom>
                    <a:avLst/>
                    <a:gdLst>
                      <a:gd name="T0" fmla="*/ 19 w 21"/>
                      <a:gd name="T1" fmla="*/ 0 h 47"/>
                      <a:gd name="T2" fmla="*/ 0 w 21"/>
                      <a:gd name="T3" fmla="*/ 47 h 47"/>
                      <a:gd name="T4" fmla="*/ 2 w 21"/>
                      <a:gd name="T5" fmla="*/ 47 h 47"/>
                      <a:gd name="T6" fmla="*/ 21 w 21"/>
                      <a:gd name="T7" fmla="*/ 0 h 47"/>
                      <a:gd name="T8" fmla="*/ 19 w 21"/>
                      <a:gd name="T9" fmla="*/ 0 h 47"/>
                    </a:gdLst>
                    <a:ahLst/>
                    <a:cxnLst>
                      <a:cxn ang="0">
                        <a:pos x="T0" y="T1"/>
                      </a:cxn>
                      <a:cxn ang="0">
                        <a:pos x="T2" y="T3"/>
                      </a:cxn>
                      <a:cxn ang="0">
                        <a:pos x="T4" y="T5"/>
                      </a:cxn>
                      <a:cxn ang="0">
                        <a:pos x="T6" y="T7"/>
                      </a:cxn>
                      <a:cxn ang="0">
                        <a:pos x="T8" y="T9"/>
                      </a:cxn>
                    </a:cxnLst>
                    <a:rect l="0" t="0" r="r" b="b"/>
                    <a:pathLst>
                      <a:path w="21" h="47">
                        <a:moveTo>
                          <a:pt x="19" y="0"/>
                        </a:moveTo>
                        <a:lnTo>
                          <a:pt x="0" y="47"/>
                        </a:lnTo>
                        <a:lnTo>
                          <a:pt x="2" y="47"/>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701" name="Freeform 1853"/>
                  <p:cNvSpPr>
                    <a:spLocks/>
                  </p:cNvSpPr>
                  <p:nvPr/>
                </p:nvSpPr>
                <p:spPr bwMode="auto">
                  <a:xfrm>
                    <a:off x="10656" y="3214"/>
                    <a:ext cx="17" cy="26"/>
                  </a:xfrm>
                  <a:custGeom>
                    <a:avLst/>
                    <a:gdLst>
                      <a:gd name="T0" fmla="*/ 9 w 12"/>
                      <a:gd name="T1" fmla="*/ 0 h 29"/>
                      <a:gd name="T2" fmla="*/ 0 w 12"/>
                      <a:gd name="T3" fmla="*/ 29 h 29"/>
                      <a:gd name="T4" fmla="*/ 0 w 12"/>
                      <a:gd name="T5" fmla="*/ 29 h 29"/>
                      <a:gd name="T6" fmla="*/ 12 w 12"/>
                      <a:gd name="T7" fmla="*/ 0 h 29"/>
                      <a:gd name="T8" fmla="*/ 9 w 12"/>
                      <a:gd name="T9" fmla="*/ 0 h 29"/>
                    </a:gdLst>
                    <a:ahLst/>
                    <a:cxnLst>
                      <a:cxn ang="0">
                        <a:pos x="T0" y="T1"/>
                      </a:cxn>
                      <a:cxn ang="0">
                        <a:pos x="T2" y="T3"/>
                      </a:cxn>
                      <a:cxn ang="0">
                        <a:pos x="T4" y="T5"/>
                      </a:cxn>
                      <a:cxn ang="0">
                        <a:pos x="T6" y="T7"/>
                      </a:cxn>
                      <a:cxn ang="0">
                        <a:pos x="T8" y="T9"/>
                      </a:cxn>
                    </a:cxnLst>
                    <a:rect l="0" t="0" r="r" b="b"/>
                    <a:pathLst>
                      <a:path w="12" h="29">
                        <a:moveTo>
                          <a:pt x="9" y="0"/>
                        </a:moveTo>
                        <a:lnTo>
                          <a:pt x="0" y="29"/>
                        </a:lnTo>
                        <a:lnTo>
                          <a:pt x="0" y="29"/>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702" name="Freeform 1854"/>
                  <p:cNvSpPr>
                    <a:spLocks/>
                  </p:cNvSpPr>
                  <p:nvPr/>
                </p:nvSpPr>
                <p:spPr bwMode="auto">
                  <a:xfrm>
                    <a:off x="10673" y="3214"/>
                    <a:ext cx="8" cy="26"/>
                  </a:xfrm>
                  <a:custGeom>
                    <a:avLst/>
                    <a:gdLst>
                      <a:gd name="T0" fmla="*/ 7 w 9"/>
                      <a:gd name="T1" fmla="*/ 0 h 21"/>
                      <a:gd name="T2" fmla="*/ 0 w 9"/>
                      <a:gd name="T3" fmla="*/ 21 h 21"/>
                      <a:gd name="T4" fmla="*/ 2 w 9"/>
                      <a:gd name="T5" fmla="*/ 21 h 21"/>
                      <a:gd name="T6" fmla="*/ 9 w 9"/>
                      <a:gd name="T7" fmla="*/ 0 h 21"/>
                      <a:gd name="T8" fmla="*/ 7 w 9"/>
                      <a:gd name="T9" fmla="*/ 0 h 21"/>
                    </a:gdLst>
                    <a:ahLst/>
                    <a:cxnLst>
                      <a:cxn ang="0">
                        <a:pos x="T0" y="T1"/>
                      </a:cxn>
                      <a:cxn ang="0">
                        <a:pos x="T2" y="T3"/>
                      </a:cxn>
                      <a:cxn ang="0">
                        <a:pos x="T4" y="T5"/>
                      </a:cxn>
                      <a:cxn ang="0">
                        <a:pos x="T6" y="T7"/>
                      </a:cxn>
                      <a:cxn ang="0">
                        <a:pos x="T8" y="T9"/>
                      </a:cxn>
                    </a:cxnLst>
                    <a:rect l="0" t="0" r="r" b="b"/>
                    <a:pathLst>
                      <a:path w="9" h="21">
                        <a:moveTo>
                          <a:pt x="7" y="0"/>
                        </a:moveTo>
                        <a:lnTo>
                          <a:pt x="0" y="21"/>
                        </a:lnTo>
                        <a:lnTo>
                          <a:pt x="2" y="21"/>
                        </a:lnTo>
                        <a:lnTo>
                          <a:pt x="9"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2703" name="Freeform 1855"/>
                  <p:cNvSpPr>
                    <a:spLocks/>
                  </p:cNvSpPr>
                  <p:nvPr/>
                </p:nvSpPr>
                <p:spPr bwMode="auto">
                  <a:xfrm>
                    <a:off x="10606" y="3179"/>
                    <a:ext cx="25" cy="61"/>
                  </a:xfrm>
                  <a:custGeom>
                    <a:avLst/>
                    <a:gdLst>
                      <a:gd name="T0" fmla="*/ 23 w 26"/>
                      <a:gd name="T1" fmla="*/ 0 h 56"/>
                      <a:gd name="T2" fmla="*/ 0 w 26"/>
                      <a:gd name="T3" fmla="*/ 54 h 56"/>
                      <a:gd name="T4" fmla="*/ 2 w 26"/>
                      <a:gd name="T5" fmla="*/ 56 h 56"/>
                      <a:gd name="T6" fmla="*/ 26 w 26"/>
                      <a:gd name="T7" fmla="*/ 2 h 56"/>
                      <a:gd name="T8" fmla="*/ 23 w 26"/>
                      <a:gd name="T9" fmla="*/ 0 h 56"/>
                    </a:gdLst>
                    <a:ahLst/>
                    <a:cxnLst>
                      <a:cxn ang="0">
                        <a:pos x="T0" y="T1"/>
                      </a:cxn>
                      <a:cxn ang="0">
                        <a:pos x="T2" y="T3"/>
                      </a:cxn>
                      <a:cxn ang="0">
                        <a:pos x="T4" y="T5"/>
                      </a:cxn>
                      <a:cxn ang="0">
                        <a:pos x="T6" y="T7"/>
                      </a:cxn>
                      <a:cxn ang="0">
                        <a:pos x="T8" y="T9"/>
                      </a:cxn>
                    </a:cxnLst>
                    <a:rect l="0" t="0" r="r" b="b"/>
                    <a:pathLst>
                      <a:path w="26" h="56">
                        <a:moveTo>
                          <a:pt x="23" y="0"/>
                        </a:moveTo>
                        <a:lnTo>
                          <a:pt x="0" y="54"/>
                        </a:lnTo>
                        <a:lnTo>
                          <a:pt x="2" y="56"/>
                        </a:lnTo>
                        <a:lnTo>
                          <a:pt x="26" y="2"/>
                        </a:lnTo>
                        <a:lnTo>
                          <a:pt x="23" y="0"/>
                        </a:lnTo>
                        <a:close/>
                      </a:path>
                    </a:pathLst>
                  </a:custGeom>
                  <a:solidFill>
                    <a:srgbClr val="01AAE5"/>
                  </a:solidFill>
                  <a:ln>
                    <a:noFill/>
                  </a:ln>
                  <a:extLst/>
                </p:spPr>
                <p:txBody>
                  <a:bodyPr/>
                  <a:lstStyle/>
                  <a:p>
                    <a:pPr eaLnBrk="1" hangingPunct="1">
                      <a:defRPr/>
                    </a:pPr>
                    <a:endParaRPr lang="zh-CN" altLang="en-US" sz="1050"/>
                  </a:p>
                </p:txBody>
              </p:sp>
              <p:sp>
                <p:nvSpPr>
                  <p:cNvPr id="2704" name="Freeform 1856"/>
                  <p:cNvSpPr>
                    <a:spLocks/>
                  </p:cNvSpPr>
                  <p:nvPr/>
                </p:nvSpPr>
                <p:spPr bwMode="auto">
                  <a:xfrm>
                    <a:off x="10665" y="3214"/>
                    <a:ext cx="8" cy="26"/>
                  </a:xfrm>
                  <a:custGeom>
                    <a:avLst/>
                    <a:gdLst>
                      <a:gd name="T0" fmla="*/ 9 w 9"/>
                      <a:gd name="T1" fmla="*/ 0 h 26"/>
                      <a:gd name="T2" fmla="*/ 0 w 9"/>
                      <a:gd name="T3" fmla="*/ 26 h 26"/>
                      <a:gd name="T4" fmla="*/ 0 w 9"/>
                      <a:gd name="T5" fmla="*/ 26 h 26"/>
                      <a:gd name="T6" fmla="*/ 9 w 9"/>
                      <a:gd name="T7" fmla="*/ 2 h 26"/>
                      <a:gd name="T8" fmla="*/ 9 w 9"/>
                      <a:gd name="T9" fmla="*/ 0 h 26"/>
                    </a:gdLst>
                    <a:ahLst/>
                    <a:cxnLst>
                      <a:cxn ang="0">
                        <a:pos x="T0" y="T1"/>
                      </a:cxn>
                      <a:cxn ang="0">
                        <a:pos x="T2" y="T3"/>
                      </a:cxn>
                      <a:cxn ang="0">
                        <a:pos x="T4" y="T5"/>
                      </a:cxn>
                      <a:cxn ang="0">
                        <a:pos x="T6" y="T7"/>
                      </a:cxn>
                      <a:cxn ang="0">
                        <a:pos x="T8" y="T9"/>
                      </a:cxn>
                    </a:cxnLst>
                    <a:rect l="0" t="0" r="r" b="b"/>
                    <a:pathLst>
                      <a:path w="9" h="26">
                        <a:moveTo>
                          <a:pt x="9" y="0"/>
                        </a:moveTo>
                        <a:lnTo>
                          <a:pt x="0" y="26"/>
                        </a:lnTo>
                        <a:lnTo>
                          <a:pt x="0" y="26"/>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705" name="Freeform 1857"/>
                  <p:cNvSpPr>
                    <a:spLocks/>
                  </p:cNvSpPr>
                  <p:nvPr/>
                </p:nvSpPr>
                <p:spPr bwMode="auto">
                  <a:xfrm>
                    <a:off x="10698"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706" name="Freeform 1858"/>
                  <p:cNvSpPr>
                    <a:spLocks/>
                  </p:cNvSpPr>
                  <p:nvPr/>
                </p:nvSpPr>
                <p:spPr bwMode="auto">
                  <a:xfrm>
                    <a:off x="10714" y="3231"/>
                    <a:ext cx="0" cy="9"/>
                  </a:xfrm>
                  <a:custGeom>
                    <a:avLst/>
                    <a:gdLst>
                      <a:gd name="T0" fmla="*/ 5 w 5"/>
                      <a:gd name="T1" fmla="*/ 0 h 12"/>
                      <a:gd name="T2" fmla="*/ 0 w 5"/>
                      <a:gd name="T3" fmla="*/ 10 h 12"/>
                      <a:gd name="T4" fmla="*/ 2 w 5"/>
                      <a:gd name="T5" fmla="*/ 12 h 12"/>
                      <a:gd name="T6" fmla="*/ 5 w 5"/>
                      <a:gd name="T7" fmla="*/ 0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0"/>
                        </a:lnTo>
                        <a:lnTo>
                          <a:pt x="2" y="12"/>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2707" name="Freeform 1859"/>
                  <p:cNvSpPr>
                    <a:spLocks/>
                  </p:cNvSpPr>
                  <p:nvPr/>
                </p:nvSpPr>
                <p:spPr bwMode="auto">
                  <a:xfrm>
                    <a:off x="10706"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2708" name="Freeform 1860"/>
                  <p:cNvSpPr>
                    <a:spLocks/>
                  </p:cNvSpPr>
                  <p:nvPr/>
                </p:nvSpPr>
                <p:spPr bwMode="auto">
                  <a:xfrm>
                    <a:off x="10690" y="3222"/>
                    <a:ext cx="0" cy="17"/>
                  </a:xfrm>
                  <a:custGeom>
                    <a:avLst/>
                    <a:gdLst>
                      <a:gd name="T0" fmla="*/ 5 w 7"/>
                      <a:gd name="T1" fmla="*/ 0 h 16"/>
                      <a:gd name="T2" fmla="*/ 0 w 7"/>
                      <a:gd name="T3" fmla="*/ 14 h 16"/>
                      <a:gd name="T4" fmla="*/ 2 w 7"/>
                      <a:gd name="T5" fmla="*/ 16 h 16"/>
                      <a:gd name="T6" fmla="*/ 7 w 7"/>
                      <a:gd name="T7" fmla="*/ 0 h 16"/>
                      <a:gd name="T8" fmla="*/ 5 w 7"/>
                      <a:gd name="T9" fmla="*/ 0 h 16"/>
                    </a:gdLst>
                    <a:ahLst/>
                    <a:cxnLst>
                      <a:cxn ang="0">
                        <a:pos x="T0" y="T1"/>
                      </a:cxn>
                      <a:cxn ang="0">
                        <a:pos x="T2" y="T3"/>
                      </a:cxn>
                      <a:cxn ang="0">
                        <a:pos x="T4" y="T5"/>
                      </a:cxn>
                      <a:cxn ang="0">
                        <a:pos x="T6" y="T7"/>
                      </a:cxn>
                      <a:cxn ang="0">
                        <a:pos x="T8" y="T9"/>
                      </a:cxn>
                    </a:cxnLst>
                    <a:rect l="0" t="0" r="r" b="b"/>
                    <a:pathLst>
                      <a:path w="7" h="16">
                        <a:moveTo>
                          <a:pt x="5" y="0"/>
                        </a:moveTo>
                        <a:lnTo>
                          <a:pt x="0" y="14"/>
                        </a:lnTo>
                        <a:lnTo>
                          <a:pt x="2" y="16"/>
                        </a:lnTo>
                        <a:lnTo>
                          <a:pt x="7"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2709" name="Freeform 1861"/>
                  <p:cNvSpPr>
                    <a:spLocks/>
                  </p:cNvSpPr>
                  <p:nvPr/>
                </p:nvSpPr>
                <p:spPr bwMode="auto">
                  <a:xfrm>
                    <a:off x="10714" y="3231"/>
                    <a:ext cx="8" cy="9"/>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2710" name="Freeform 1862"/>
                  <p:cNvSpPr>
                    <a:spLocks/>
                  </p:cNvSpPr>
                  <p:nvPr/>
                </p:nvSpPr>
                <p:spPr bwMode="auto">
                  <a:xfrm>
                    <a:off x="10681" y="3214"/>
                    <a:ext cx="8" cy="26"/>
                  </a:xfrm>
                  <a:custGeom>
                    <a:avLst/>
                    <a:gdLst>
                      <a:gd name="T0" fmla="*/ 7 w 7"/>
                      <a:gd name="T1" fmla="*/ 0 h 19"/>
                      <a:gd name="T2" fmla="*/ 0 w 7"/>
                      <a:gd name="T3" fmla="*/ 19 h 19"/>
                      <a:gd name="T4" fmla="*/ 2 w 7"/>
                      <a:gd name="T5" fmla="*/ 19 h 19"/>
                      <a:gd name="T6" fmla="*/ 7 w 7"/>
                      <a:gd name="T7" fmla="*/ 2 h 19"/>
                      <a:gd name="T8" fmla="*/ 7 w 7"/>
                      <a:gd name="T9" fmla="*/ 0 h 19"/>
                    </a:gdLst>
                    <a:ahLst/>
                    <a:cxnLst>
                      <a:cxn ang="0">
                        <a:pos x="T0" y="T1"/>
                      </a:cxn>
                      <a:cxn ang="0">
                        <a:pos x="T2" y="T3"/>
                      </a:cxn>
                      <a:cxn ang="0">
                        <a:pos x="T4" y="T5"/>
                      </a:cxn>
                      <a:cxn ang="0">
                        <a:pos x="T6" y="T7"/>
                      </a:cxn>
                      <a:cxn ang="0">
                        <a:pos x="T8" y="T9"/>
                      </a:cxn>
                    </a:cxnLst>
                    <a:rect l="0" t="0" r="r" b="b"/>
                    <a:pathLst>
                      <a:path w="7" h="19">
                        <a:moveTo>
                          <a:pt x="7" y="0"/>
                        </a:moveTo>
                        <a:lnTo>
                          <a:pt x="0" y="19"/>
                        </a:lnTo>
                        <a:lnTo>
                          <a:pt x="2" y="19"/>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711" name="Freeform 1863"/>
                  <p:cNvSpPr>
                    <a:spLocks/>
                  </p:cNvSpPr>
                  <p:nvPr/>
                </p:nvSpPr>
                <p:spPr bwMode="auto">
                  <a:xfrm>
                    <a:off x="10690" y="3222"/>
                    <a:ext cx="8" cy="17"/>
                  </a:xfrm>
                  <a:custGeom>
                    <a:avLst/>
                    <a:gdLst>
                      <a:gd name="T0" fmla="*/ 5 w 5"/>
                      <a:gd name="T1" fmla="*/ 0 h 14"/>
                      <a:gd name="T2" fmla="*/ 0 w 5"/>
                      <a:gd name="T3" fmla="*/ 14 h 14"/>
                      <a:gd name="T4" fmla="*/ 2 w 5"/>
                      <a:gd name="T5" fmla="*/ 14 h 14"/>
                      <a:gd name="T6" fmla="*/ 5 w 5"/>
                      <a:gd name="T7" fmla="*/ 0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lnTo>
                          <a:pt x="0" y="14"/>
                        </a:lnTo>
                        <a:lnTo>
                          <a:pt x="2" y="14"/>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2712" name="Freeform 1864"/>
                  <p:cNvSpPr>
                    <a:spLocks/>
                  </p:cNvSpPr>
                  <p:nvPr/>
                </p:nvSpPr>
                <p:spPr bwMode="auto">
                  <a:xfrm>
                    <a:off x="11031" y="3249"/>
                    <a:ext cx="8" cy="17"/>
                  </a:xfrm>
                  <a:custGeom>
                    <a:avLst/>
                    <a:gdLst>
                      <a:gd name="T0" fmla="*/ 0 w 5"/>
                      <a:gd name="T1" fmla="*/ 0 h 19"/>
                      <a:gd name="T2" fmla="*/ 3 w 5"/>
                      <a:gd name="T3" fmla="*/ 19 h 19"/>
                      <a:gd name="T4" fmla="*/ 5 w 5"/>
                      <a:gd name="T5" fmla="*/ 19 h 19"/>
                      <a:gd name="T6" fmla="*/ 3 w 5"/>
                      <a:gd name="T7" fmla="*/ 0 h 19"/>
                      <a:gd name="T8" fmla="*/ 0 w 5"/>
                      <a:gd name="T9" fmla="*/ 0 h 19"/>
                    </a:gdLst>
                    <a:ahLst/>
                    <a:cxnLst>
                      <a:cxn ang="0">
                        <a:pos x="T0" y="T1"/>
                      </a:cxn>
                      <a:cxn ang="0">
                        <a:pos x="T2" y="T3"/>
                      </a:cxn>
                      <a:cxn ang="0">
                        <a:pos x="T4" y="T5"/>
                      </a:cxn>
                      <a:cxn ang="0">
                        <a:pos x="T6" y="T7"/>
                      </a:cxn>
                      <a:cxn ang="0">
                        <a:pos x="T8" y="T9"/>
                      </a:cxn>
                    </a:cxnLst>
                    <a:rect l="0" t="0" r="r" b="b"/>
                    <a:pathLst>
                      <a:path w="5" h="19">
                        <a:moveTo>
                          <a:pt x="0" y="0"/>
                        </a:moveTo>
                        <a:lnTo>
                          <a:pt x="3" y="19"/>
                        </a:lnTo>
                        <a:lnTo>
                          <a:pt x="5" y="19"/>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3" name="Freeform 1865"/>
                  <p:cNvSpPr>
                    <a:spLocks/>
                  </p:cNvSpPr>
                  <p:nvPr/>
                </p:nvSpPr>
                <p:spPr bwMode="auto">
                  <a:xfrm>
                    <a:off x="11039" y="3249"/>
                    <a:ext cx="0" cy="17"/>
                  </a:xfrm>
                  <a:custGeom>
                    <a:avLst/>
                    <a:gdLst>
                      <a:gd name="T0" fmla="*/ 0 w 5"/>
                      <a:gd name="T1" fmla="*/ 0 h 16"/>
                      <a:gd name="T2" fmla="*/ 3 w 5"/>
                      <a:gd name="T3" fmla="*/ 16 h 16"/>
                      <a:gd name="T4" fmla="*/ 5 w 5"/>
                      <a:gd name="T5" fmla="*/ 16 h 16"/>
                      <a:gd name="T6" fmla="*/ 3 w 5"/>
                      <a:gd name="T7" fmla="*/ 0 h 16"/>
                      <a:gd name="T8" fmla="*/ 0 w 5"/>
                      <a:gd name="T9" fmla="*/ 0 h 16"/>
                    </a:gdLst>
                    <a:ahLst/>
                    <a:cxnLst>
                      <a:cxn ang="0">
                        <a:pos x="T0" y="T1"/>
                      </a:cxn>
                      <a:cxn ang="0">
                        <a:pos x="T2" y="T3"/>
                      </a:cxn>
                      <a:cxn ang="0">
                        <a:pos x="T4" y="T5"/>
                      </a:cxn>
                      <a:cxn ang="0">
                        <a:pos x="T6" y="T7"/>
                      </a:cxn>
                      <a:cxn ang="0">
                        <a:pos x="T8" y="T9"/>
                      </a:cxn>
                    </a:cxnLst>
                    <a:rect l="0" t="0" r="r" b="b"/>
                    <a:pathLst>
                      <a:path w="5" h="16">
                        <a:moveTo>
                          <a:pt x="0" y="0"/>
                        </a:moveTo>
                        <a:lnTo>
                          <a:pt x="3" y="16"/>
                        </a:lnTo>
                        <a:lnTo>
                          <a:pt x="5" y="1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4" name="Freeform 1866"/>
                  <p:cNvSpPr>
                    <a:spLocks/>
                  </p:cNvSpPr>
                  <p:nvPr/>
                </p:nvSpPr>
                <p:spPr bwMode="auto">
                  <a:xfrm>
                    <a:off x="11047" y="3249"/>
                    <a:ext cx="0" cy="17"/>
                  </a:xfrm>
                  <a:custGeom>
                    <a:avLst/>
                    <a:gdLst>
                      <a:gd name="T0" fmla="*/ 0 w 3"/>
                      <a:gd name="T1" fmla="*/ 0 h 14"/>
                      <a:gd name="T2" fmla="*/ 3 w 3"/>
                      <a:gd name="T3" fmla="*/ 14 h 14"/>
                      <a:gd name="T4" fmla="*/ 3 w 3"/>
                      <a:gd name="T5" fmla="*/ 14 h 14"/>
                      <a:gd name="T6" fmla="*/ 3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5" name="Freeform 1867"/>
                  <p:cNvSpPr>
                    <a:spLocks/>
                  </p:cNvSpPr>
                  <p:nvPr/>
                </p:nvSpPr>
                <p:spPr bwMode="auto">
                  <a:xfrm>
                    <a:off x="11022" y="3240"/>
                    <a:ext cx="0" cy="26"/>
                  </a:xfrm>
                  <a:custGeom>
                    <a:avLst/>
                    <a:gdLst>
                      <a:gd name="T0" fmla="*/ 0 w 5"/>
                      <a:gd name="T1" fmla="*/ 0 h 26"/>
                      <a:gd name="T2" fmla="*/ 2 w 5"/>
                      <a:gd name="T3" fmla="*/ 26 h 26"/>
                      <a:gd name="T4" fmla="*/ 5 w 5"/>
                      <a:gd name="T5" fmla="*/ 24 h 26"/>
                      <a:gd name="T6" fmla="*/ 2 w 5"/>
                      <a:gd name="T7" fmla="*/ 0 h 26"/>
                      <a:gd name="T8" fmla="*/ 0 w 5"/>
                      <a:gd name="T9" fmla="*/ 0 h 26"/>
                    </a:gdLst>
                    <a:ahLst/>
                    <a:cxnLst>
                      <a:cxn ang="0">
                        <a:pos x="T0" y="T1"/>
                      </a:cxn>
                      <a:cxn ang="0">
                        <a:pos x="T2" y="T3"/>
                      </a:cxn>
                      <a:cxn ang="0">
                        <a:pos x="T4" y="T5"/>
                      </a:cxn>
                      <a:cxn ang="0">
                        <a:pos x="T6" y="T7"/>
                      </a:cxn>
                      <a:cxn ang="0">
                        <a:pos x="T8" y="T9"/>
                      </a:cxn>
                    </a:cxnLst>
                    <a:rect l="0" t="0" r="r" b="b"/>
                    <a:pathLst>
                      <a:path w="5" h="26">
                        <a:moveTo>
                          <a:pt x="0" y="0"/>
                        </a:moveTo>
                        <a:lnTo>
                          <a:pt x="2" y="26"/>
                        </a:lnTo>
                        <a:lnTo>
                          <a:pt x="5"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6" name="Freeform 1868"/>
                  <p:cNvSpPr>
                    <a:spLocks/>
                  </p:cNvSpPr>
                  <p:nvPr/>
                </p:nvSpPr>
                <p:spPr bwMode="auto">
                  <a:xfrm>
                    <a:off x="11014" y="3240"/>
                    <a:ext cx="0" cy="35"/>
                  </a:xfrm>
                  <a:custGeom>
                    <a:avLst/>
                    <a:gdLst>
                      <a:gd name="T0" fmla="*/ 0 w 5"/>
                      <a:gd name="T1" fmla="*/ 0 h 29"/>
                      <a:gd name="T2" fmla="*/ 5 w 5"/>
                      <a:gd name="T3" fmla="*/ 29 h 29"/>
                      <a:gd name="T4" fmla="*/ 5 w 5"/>
                      <a:gd name="T5" fmla="*/ 26 h 29"/>
                      <a:gd name="T6" fmla="*/ 2 w 5"/>
                      <a:gd name="T7" fmla="*/ 0 h 29"/>
                      <a:gd name="T8" fmla="*/ 0 w 5"/>
                      <a:gd name="T9" fmla="*/ 0 h 29"/>
                    </a:gdLst>
                    <a:ahLst/>
                    <a:cxnLst>
                      <a:cxn ang="0">
                        <a:pos x="T0" y="T1"/>
                      </a:cxn>
                      <a:cxn ang="0">
                        <a:pos x="T2" y="T3"/>
                      </a:cxn>
                      <a:cxn ang="0">
                        <a:pos x="T4" y="T5"/>
                      </a:cxn>
                      <a:cxn ang="0">
                        <a:pos x="T6" y="T7"/>
                      </a:cxn>
                      <a:cxn ang="0">
                        <a:pos x="T8" y="T9"/>
                      </a:cxn>
                    </a:cxnLst>
                    <a:rect l="0" t="0" r="r" b="b"/>
                    <a:pathLst>
                      <a:path w="5" h="29">
                        <a:moveTo>
                          <a:pt x="0" y="0"/>
                        </a:moveTo>
                        <a:lnTo>
                          <a:pt x="5" y="29"/>
                        </a:lnTo>
                        <a:lnTo>
                          <a:pt x="5"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7" name="Freeform 1869"/>
                  <p:cNvSpPr>
                    <a:spLocks/>
                  </p:cNvSpPr>
                  <p:nvPr/>
                </p:nvSpPr>
                <p:spPr bwMode="auto">
                  <a:xfrm>
                    <a:off x="11006" y="3240"/>
                    <a:ext cx="8" cy="35"/>
                  </a:xfrm>
                  <a:custGeom>
                    <a:avLst/>
                    <a:gdLst>
                      <a:gd name="T0" fmla="*/ 0 w 5"/>
                      <a:gd name="T1" fmla="*/ 0 h 35"/>
                      <a:gd name="T2" fmla="*/ 3 w 5"/>
                      <a:gd name="T3" fmla="*/ 35 h 35"/>
                      <a:gd name="T4" fmla="*/ 5 w 5"/>
                      <a:gd name="T5" fmla="*/ 33 h 35"/>
                      <a:gd name="T6" fmla="*/ 0 w 5"/>
                      <a:gd name="T7" fmla="*/ 0 h 35"/>
                      <a:gd name="T8" fmla="*/ 0 w 5"/>
                      <a:gd name="T9" fmla="*/ 0 h 35"/>
                    </a:gdLst>
                    <a:ahLst/>
                    <a:cxnLst>
                      <a:cxn ang="0">
                        <a:pos x="T0" y="T1"/>
                      </a:cxn>
                      <a:cxn ang="0">
                        <a:pos x="T2" y="T3"/>
                      </a:cxn>
                      <a:cxn ang="0">
                        <a:pos x="T4" y="T5"/>
                      </a:cxn>
                      <a:cxn ang="0">
                        <a:pos x="T6" y="T7"/>
                      </a:cxn>
                      <a:cxn ang="0">
                        <a:pos x="T8" y="T9"/>
                      </a:cxn>
                    </a:cxnLst>
                    <a:rect l="0" t="0" r="r" b="b"/>
                    <a:pathLst>
                      <a:path w="5" h="35">
                        <a:moveTo>
                          <a:pt x="0" y="0"/>
                        </a:moveTo>
                        <a:lnTo>
                          <a:pt x="3" y="35"/>
                        </a:lnTo>
                        <a:lnTo>
                          <a:pt x="5" y="3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8" name="Freeform 1870"/>
                  <p:cNvSpPr>
                    <a:spLocks/>
                  </p:cNvSpPr>
                  <p:nvPr/>
                </p:nvSpPr>
                <p:spPr bwMode="auto">
                  <a:xfrm>
                    <a:off x="11014" y="3240"/>
                    <a:ext cx="0" cy="35"/>
                  </a:xfrm>
                  <a:custGeom>
                    <a:avLst/>
                    <a:gdLst>
                      <a:gd name="T0" fmla="*/ 0 w 3"/>
                      <a:gd name="T1" fmla="*/ 0 h 31"/>
                      <a:gd name="T2" fmla="*/ 3 w 3"/>
                      <a:gd name="T3" fmla="*/ 31 h 31"/>
                      <a:gd name="T4" fmla="*/ 3 w 3"/>
                      <a:gd name="T5" fmla="*/ 29 h 31"/>
                      <a:gd name="T6" fmla="*/ 0 w 3"/>
                      <a:gd name="T7" fmla="*/ 0 h 31"/>
                      <a:gd name="T8" fmla="*/ 0 w 3"/>
                      <a:gd name="T9" fmla="*/ 0 h 31"/>
                    </a:gdLst>
                    <a:ahLst/>
                    <a:cxnLst>
                      <a:cxn ang="0">
                        <a:pos x="T0" y="T1"/>
                      </a:cxn>
                      <a:cxn ang="0">
                        <a:pos x="T2" y="T3"/>
                      </a:cxn>
                      <a:cxn ang="0">
                        <a:pos x="T4" y="T5"/>
                      </a:cxn>
                      <a:cxn ang="0">
                        <a:pos x="T6" y="T7"/>
                      </a:cxn>
                      <a:cxn ang="0">
                        <a:pos x="T8" y="T9"/>
                      </a:cxn>
                    </a:cxnLst>
                    <a:rect l="0" t="0" r="r" b="b"/>
                    <a:pathLst>
                      <a:path w="3" h="31">
                        <a:moveTo>
                          <a:pt x="0" y="0"/>
                        </a:moveTo>
                        <a:lnTo>
                          <a:pt x="3" y="31"/>
                        </a:lnTo>
                        <a:lnTo>
                          <a:pt x="3" y="2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19" name="Freeform 1871"/>
                  <p:cNvSpPr>
                    <a:spLocks/>
                  </p:cNvSpPr>
                  <p:nvPr/>
                </p:nvSpPr>
                <p:spPr bwMode="auto">
                  <a:xfrm>
                    <a:off x="11047" y="3249"/>
                    <a:ext cx="8" cy="17"/>
                  </a:xfrm>
                  <a:custGeom>
                    <a:avLst/>
                    <a:gdLst>
                      <a:gd name="T0" fmla="*/ 0 w 3"/>
                      <a:gd name="T1" fmla="*/ 0 h 14"/>
                      <a:gd name="T2" fmla="*/ 3 w 3"/>
                      <a:gd name="T3" fmla="*/ 14 h 14"/>
                      <a:gd name="T4" fmla="*/ 3 w 3"/>
                      <a:gd name="T5" fmla="*/ 11 h 14"/>
                      <a:gd name="T6" fmla="*/ 0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0" name="Freeform 1872"/>
                  <p:cNvSpPr>
                    <a:spLocks/>
                  </p:cNvSpPr>
                  <p:nvPr/>
                </p:nvSpPr>
                <p:spPr bwMode="auto">
                  <a:xfrm>
                    <a:off x="11064"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1" name="Freeform 1873"/>
                  <p:cNvSpPr>
                    <a:spLocks/>
                  </p:cNvSpPr>
                  <p:nvPr/>
                </p:nvSpPr>
                <p:spPr bwMode="auto">
                  <a:xfrm>
                    <a:off x="11081" y="3240"/>
                    <a:ext cx="8" cy="17"/>
                  </a:xfrm>
                  <a:custGeom>
                    <a:avLst/>
                    <a:gdLst>
                      <a:gd name="T0" fmla="*/ 0 w 2"/>
                      <a:gd name="T1" fmla="*/ 0 h 12"/>
                      <a:gd name="T2" fmla="*/ 2 w 2"/>
                      <a:gd name="T3" fmla="*/ 12 h 12"/>
                      <a:gd name="T4" fmla="*/ 2 w 2"/>
                      <a:gd name="T5" fmla="*/ 9 h 12"/>
                      <a:gd name="T6" fmla="*/ 0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2" y="12"/>
                        </a:lnTo>
                        <a:lnTo>
                          <a:pt x="2" y="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2" name="Freeform 1874"/>
                  <p:cNvSpPr>
                    <a:spLocks/>
                  </p:cNvSpPr>
                  <p:nvPr/>
                </p:nvSpPr>
                <p:spPr bwMode="auto">
                  <a:xfrm>
                    <a:off x="11097" y="3240"/>
                    <a:ext cx="0" cy="9"/>
                  </a:xfrm>
                  <a:custGeom>
                    <a:avLst/>
                    <a:gdLst>
                      <a:gd name="T0" fmla="*/ 0 w 5"/>
                      <a:gd name="T1" fmla="*/ 3 h 12"/>
                      <a:gd name="T2" fmla="*/ 3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3"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723" name="Freeform 1875"/>
                  <p:cNvSpPr>
                    <a:spLocks/>
                  </p:cNvSpPr>
                  <p:nvPr/>
                </p:nvSpPr>
                <p:spPr bwMode="auto">
                  <a:xfrm>
                    <a:off x="11089" y="3240"/>
                    <a:ext cx="8" cy="9"/>
                  </a:xfrm>
                  <a:custGeom>
                    <a:avLst/>
                    <a:gdLst>
                      <a:gd name="T0" fmla="*/ 0 w 5"/>
                      <a:gd name="T1" fmla="*/ 0 h 11"/>
                      <a:gd name="T2" fmla="*/ 3 w 5"/>
                      <a:gd name="T3" fmla="*/ 11 h 11"/>
                      <a:gd name="T4" fmla="*/ 5 w 5"/>
                      <a:gd name="T5" fmla="*/ 11 h 11"/>
                      <a:gd name="T6" fmla="*/ 3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3" y="11"/>
                        </a:lnTo>
                        <a:lnTo>
                          <a:pt x="5"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4" name="Freeform 1876"/>
                  <p:cNvSpPr>
                    <a:spLocks/>
                  </p:cNvSpPr>
                  <p:nvPr/>
                </p:nvSpPr>
                <p:spPr bwMode="auto">
                  <a:xfrm>
                    <a:off x="11105" y="3240"/>
                    <a:ext cx="0"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5" name="Freeform 1877"/>
                  <p:cNvSpPr>
                    <a:spLocks/>
                  </p:cNvSpPr>
                  <p:nvPr/>
                </p:nvSpPr>
                <p:spPr bwMode="auto">
                  <a:xfrm>
                    <a:off x="11072"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6" name="Freeform 1878"/>
                  <p:cNvSpPr>
                    <a:spLocks/>
                  </p:cNvSpPr>
                  <p:nvPr/>
                </p:nvSpPr>
                <p:spPr bwMode="auto">
                  <a:xfrm>
                    <a:off x="11056" y="3249"/>
                    <a:ext cx="8" cy="9"/>
                  </a:xfrm>
                  <a:custGeom>
                    <a:avLst/>
                    <a:gdLst>
                      <a:gd name="T0" fmla="*/ 0 w 2"/>
                      <a:gd name="T1" fmla="*/ 0 h 11"/>
                      <a:gd name="T2" fmla="*/ 0 w 2"/>
                      <a:gd name="T3" fmla="*/ 11 h 11"/>
                      <a:gd name="T4" fmla="*/ 2 w 2"/>
                      <a:gd name="T5" fmla="*/ 11 h 11"/>
                      <a:gd name="T6" fmla="*/ 0 w 2"/>
                      <a:gd name="T7" fmla="*/ 0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1"/>
                        </a:lnTo>
                        <a:lnTo>
                          <a:pt x="2"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7" name="Freeform 1879"/>
                  <p:cNvSpPr>
                    <a:spLocks/>
                  </p:cNvSpPr>
                  <p:nvPr/>
                </p:nvSpPr>
                <p:spPr bwMode="auto">
                  <a:xfrm>
                    <a:off x="10997" y="3240"/>
                    <a:ext cx="0" cy="44"/>
                  </a:xfrm>
                  <a:custGeom>
                    <a:avLst/>
                    <a:gdLst>
                      <a:gd name="T0" fmla="*/ 0 w 5"/>
                      <a:gd name="T1" fmla="*/ 0 h 38"/>
                      <a:gd name="T2" fmla="*/ 2 w 5"/>
                      <a:gd name="T3" fmla="*/ 38 h 38"/>
                      <a:gd name="T4" fmla="*/ 5 w 5"/>
                      <a:gd name="T5" fmla="*/ 35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8" name="Freeform 1880"/>
                  <p:cNvSpPr>
                    <a:spLocks/>
                  </p:cNvSpPr>
                  <p:nvPr/>
                </p:nvSpPr>
                <p:spPr bwMode="auto">
                  <a:xfrm>
                    <a:off x="11072" y="3240"/>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29" name="Rectangle 1881"/>
                  <p:cNvSpPr>
                    <a:spLocks noChangeArrowheads="1"/>
                  </p:cNvSpPr>
                  <p:nvPr/>
                </p:nvSpPr>
                <p:spPr bwMode="auto">
                  <a:xfrm>
                    <a:off x="10956"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2730" name="Rectangle 1882"/>
                  <p:cNvSpPr>
                    <a:spLocks noChangeArrowheads="1"/>
                  </p:cNvSpPr>
                  <p:nvPr/>
                </p:nvSpPr>
                <p:spPr bwMode="auto">
                  <a:xfrm>
                    <a:off x="10897" y="3257"/>
                    <a:ext cx="0" cy="9"/>
                  </a:xfrm>
                  <a:prstGeom prst="rect">
                    <a:avLst/>
                  </a:prstGeom>
                  <a:solidFill>
                    <a:srgbClr val="01AAE5"/>
                  </a:solidFill>
                  <a:ln>
                    <a:noFill/>
                  </a:ln>
                  <a:extLst/>
                </p:spPr>
                <p:txBody>
                  <a:bodyPr/>
                  <a:lstStyle/>
                  <a:p>
                    <a:pPr eaLnBrk="1" hangingPunct="1">
                      <a:defRPr/>
                    </a:pPr>
                    <a:endParaRPr lang="zh-CN" altLang="en-US" sz="1050"/>
                  </a:p>
                </p:txBody>
              </p:sp>
              <p:sp>
                <p:nvSpPr>
                  <p:cNvPr id="2731" name="Freeform 1883"/>
                  <p:cNvSpPr>
                    <a:spLocks/>
                  </p:cNvSpPr>
                  <p:nvPr/>
                </p:nvSpPr>
                <p:spPr bwMode="auto">
                  <a:xfrm>
                    <a:off x="10897" y="3257"/>
                    <a:ext cx="0" cy="9"/>
                  </a:xfrm>
                  <a:custGeom>
                    <a:avLst/>
                    <a:gdLst>
                      <a:gd name="T0" fmla="*/ 2 w 2"/>
                      <a:gd name="T1" fmla="*/ 0 h 14"/>
                      <a:gd name="T2" fmla="*/ 0 w 2"/>
                      <a:gd name="T3" fmla="*/ 12 h 14"/>
                      <a:gd name="T4" fmla="*/ 2 w 2"/>
                      <a:gd name="T5" fmla="*/ 14 h 14"/>
                      <a:gd name="T6" fmla="*/ 2 w 2"/>
                      <a:gd name="T7" fmla="*/ 0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lnTo>
                          <a:pt x="0" y="12"/>
                        </a:lnTo>
                        <a:lnTo>
                          <a:pt x="2" y="14"/>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2732" name="Freeform 1884"/>
                  <p:cNvSpPr>
                    <a:spLocks/>
                  </p:cNvSpPr>
                  <p:nvPr/>
                </p:nvSpPr>
                <p:spPr bwMode="auto">
                  <a:xfrm>
                    <a:off x="10989" y="3240"/>
                    <a:ext cx="0" cy="44"/>
                  </a:xfrm>
                  <a:custGeom>
                    <a:avLst/>
                    <a:gdLst>
                      <a:gd name="T0" fmla="*/ 0 w 5"/>
                      <a:gd name="T1" fmla="*/ 0 h 38"/>
                      <a:gd name="T2" fmla="*/ 2 w 5"/>
                      <a:gd name="T3" fmla="*/ 38 h 38"/>
                      <a:gd name="T4" fmla="*/ 5 w 5"/>
                      <a:gd name="T5" fmla="*/ 38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33" name="Rectangle 1885"/>
                  <p:cNvSpPr>
                    <a:spLocks noChangeArrowheads="1"/>
                  </p:cNvSpPr>
                  <p:nvPr/>
                </p:nvSpPr>
                <p:spPr bwMode="auto">
                  <a:xfrm>
                    <a:off x="1089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2734" name="Freeform 1886"/>
                  <p:cNvSpPr>
                    <a:spLocks/>
                  </p:cNvSpPr>
                  <p:nvPr/>
                </p:nvSpPr>
                <p:spPr bwMode="auto">
                  <a:xfrm>
                    <a:off x="10889"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35" name="Freeform 1887"/>
                  <p:cNvSpPr>
                    <a:spLocks/>
                  </p:cNvSpPr>
                  <p:nvPr/>
                </p:nvSpPr>
                <p:spPr bwMode="auto">
                  <a:xfrm>
                    <a:off x="10897" y="3257"/>
                    <a:ext cx="0" cy="9"/>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2736" name="Freeform 1888"/>
                  <p:cNvSpPr>
                    <a:spLocks/>
                  </p:cNvSpPr>
                  <p:nvPr/>
                </p:nvSpPr>
                <p:spPr bwMode="auto">
                  <a:xfrm>
                    <a:off x="10939" y="3249"/>
                    <a:ext cx="0" cy="26"/>
                  </a:xfrm>
                  <a:custGeom>
                    <a:avLst/>
                    <a:gdLst>
                      <a:gd name="T0" fmla="*/ 0 w 2"/>
                      <a:gd name="T1" fmla="*/ 0 h 26"/>
                      <a:gd name="T2" fmla="*/ 0 w 2"/>
                      <a:gd name="T3" fmla="*/ 26 h 26"/>
                      <a:gd name="T4" fmla="*/ 0 w 2"/>
                      <a:gd name="T5" fmla="*/ 26 h 26"/>
                      <a:gd name="T6" fmla="*/ 2 w 2"/>
                      <a:gd name="T7" fmla="*/ 0 h 26"/>
                      <a:gd name="T8" fmla="*/ 0 w 2"/>
                      <a:gd name="T9" fmla="*/ 0 h 26"/>
                    </a:gdLst>
                    <a:ahLst/>
                    <a:cxnLst>
                      <a:cxn ang="0">
                        <a:pos x="T0" y="T1"/>
                      </a:cxn>
                      <a:cxn ang="0">
                        <a:pos x="T2" y="T3"/>
                      </a:cxn>
                      <a:cxn ang="0">
                        <a:pos x="T4" y="T5"/>
                      </a:cxn>
                      <a:cxn ang="0">
                        <a:pos x="T6" y="T7"/>
                      </a:cxn>
                      <a:cxn ang="0">
                        <a:pos x="T8" y="T9"/>
                      </a:cxn>
                    </a:cxnLst>
                    <a:rect l="0" t="0" r="r" b="b"/>
                    <a:pathLst>
                      <a:path w="2" h="26">
                        <a:moveTo>
                          <a:pt x="0" y="0"/>
                        </a:moveTo>
                        <a:lnTo>
                          <a:pt x="0" y="26"/>
                        </a:lnTo>
                        <a:lnTo>
                          <a:pt x="0"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37" name="Freeform 1889"/>
                  <p:cNvSpPr>
                    <a:spLocks/>
                  </p:cNvSpPr>
                  <p:nvPr/>
                </p:nvSpPr>
                <p:spPr bwMode="auto">
                  <a:xfrm>
                    <a:off x="10897"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38" name="Rectangle 1890"/>
                  <p:cNvSpPr>
                    <a:spLocks noChangeArrowheads="1"/>
                  </p:cNvSpPr>
                  <p:nvPr/>
                </p:nvSpPr>
                <p:spPr bwMode="auto">
                  <a:xfrm>
                    <a:off x="10897"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2739" name="Freeform 1891"/>
                  <p:cNvSpPr>
                    <a:spLocks/>
                  </p:cNvSpPr>
                  <p:nvPr/>
                </p:nvSpPr>
                <p:spPr bwMode="auto">
                  <a:xfrm>
                    <a:off x="10981" y="3240"/>
                    <a:ext cx="0" cy="44"/>
                  </a:xfrm>
                  <a:custGeom>
                    <a:avLst/>
                    <a:gdLst>
                      <a:gd name="T0" fmla="*/ 0 w 3"/>
                      <a:gd name="T1" fmla="*/ 0 h 40"/>
                      <a:gd name="T2" fmla="*/ 0 w 3"/>
                      <a:gd name="T3" fmla="*/ 40 h 40"/>
                      <a:gd name="T4" fmla="*/ 3 w 3"/>
                      <a:gd name="T5" fmla="*/ 40 h 40"/>
                      <a:gd name="T6" fmla="*/ 0 w 3"/>
                      <a:gd name="T7" fmla="*/ 0 h 40"/>
                      <a:gd name="T8" fmla="*/ 0 w 3"/>
                      <a:gd name="T9" fmla="*/ 0 h 40"/>
                    </a:gdLst>
                    <a:ahLst/>
                    <a:cxnLst>
                      <a:cxn ang="0">
                        <a:pos x="T0" y="T1"/>
                      </a:cxn>
                      <a:cxn ang="0">
                        <a:pos x="T2" y="T3"/>
                      </a:cxn>
                      <a:cxn ang="0">
                        <a:pos x="T4" y="T5"/>
                      </a:cxn>
                      <a:cxn ang="0">
                        <a:pos x="T6" y="T7"/>
                      </a:cxn>
                      <a:cxn ang="0">
                        <a:pos x="T8" y="T9"/>
                      </a:cxn>
                    </a:cxnLst>
                    <a:rect l="0" t="0" r="r" b="b"/>
                    <a:pathLst>
                      <a:path w="3" h="40">
                        <a:moveTo>
                          <a:pt x="0" y="0"/>
                        </a:moveTo>
                        <a:lnTo>
                          <a:pt x="0" y="40"/>
                        </a:lnTo>
                        <a:lnTo>
                          <a:pt x="3"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40" name="Freeform 1892"/>
                  <p:cNvSpPr>
                    <a:spLocks/>
                  </p:cNvSpPr>
                  <p:nvPr/>
                </p:nvSpPr>
                <p:spPr bwMode="auto">
                  <a:xfrm>
                    <a:off x="10972" y="3240"/>
                    <a:ext cx="0" cy="44"/>
                  </a:xfrm>
                  <a:custGeom>
                    <a:avLst/>
                    <a:gdLst>
                      <a:gd name="T0" fmla="*/ 0 w 2"/>
                      <a:gd name="T1" fmla="*/ 0 h 40"/>
                      <a:gd name="T2" fmla="*/ 0 w 2"/>
                      <a:gd name="T3" fmla="*/ 40 h 40"/>
                      <a:gd name="T4" fmla="*/ 2 w 2"/>
                      <a:gd name="T5" fmla="*/ 40 h 40"/>
                      <a:gd name="T6" fmla="*/ 0 w 2"/>
                      <a:gd name="T7" fmla="*/ 0 h 40"/>
                      <a:gd name="T8" fmla="*/ 0 w 2"/>
                      <a:gd name="T9" fmla="*/ 0 h 40"/>
                    </a:gdLst>
                    <a:ahLst/>
                    <a:cxnLst>
                      <a:cxn ang="0">
                        <a:pos x="T0" y="T1"/>
                      </a:cxn>
                      <a:cxn ang="0">
                        <a:pos x="T2" y="T3"/>
                      </a:cxn>
                      <a:cxn ang="0">
                        <a:pos x="T4" y="T5"/>
                      </a:cxn>
                      <a:cxn ang="0">
                        <a:pos x="T6" y="T7"/>
                      </a:cxn>
                      <a:cxn ang="0">
                        <a:pos x="T8" y="T9"/>
                      </a:cxn>
                    </a:cxnLst>
                    <a:rect l="0" t="0" r="r" b="b"/>
                    <a:pathLst>
                      <a:path w="2" h="40">
                        <a:moveTo>
                          <a:pt x="0" y="0"/>
                        </a:moveTo>
                        <a:lnTo>
                          <a:pt x="0" y="40"/>
                        </a:lnTo>
                        <a:lnTo>
                          <a:pt x="2"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41" name="Freeform 1893"/>
                  <p:cNvSpPr>
                    <a:spLocks/>
                  </p:cNvSpPr>
                  <p:nvPr/>
                </p:nvSpPr>
                <p:spPr bwMode="auto">
                  <a:xfrm>
                    <a:off x="11105" y="3240"/>
                    <a:ext cx="8"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42" name="Rectangle 1894"/>
                  <p:cNvSpPr>
                    <a:spLocks noChangeArrowheads="1"/>
                  </p:cNvSpPr>
                  <p:nvPr/>
                </p:nvSpPr>
                <p:spPr bwMode="auto">
                  <a:xfrm>
                    <a:off x="1094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2743" name="Freeform 1895"/>
                  <p:cNvSpPr>
                    <a:spLocks/>
                  </p:cNvSpPr>
                  <p:nvPr/>
                </p:nvSpPr>
                <p:spPr bwMode="auto">
                  <a:xfrm>
                    <a:off x="10947" y="3249"/>
                    <a:ext cx="0" cy="35"/>
                  </a:xfrm>
                  <a:custGeom>
                    <a:avLst/>
                    <a:gdLst>
                      <a:gd name="T0" fmla="*/ 0 w 2"/>
                      <a:gd name="T1" fmla="*/ 0 h 33"/>
                      <a:gd name="T2" fmla="*/ 2 w 2"/>
                      <a:gd name="T3" fmla="*/ 30 h 33"/>
                      <a:gd name="T4" fmla="*/ 2 w 2"/>
                      <a:gd name="T5" fmla="*/ 33 h 33"/>
                      <a:gd name="T6" fmla="*/ 2 w 2"/>
                      <a:gd name="T7" fmla="*/ 0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2" y="30"/>
                        </a:lnTo>
                        <a:lnTo>
                          <a:pt x="2"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44" name="Rectangle 1896"/>
                  <p:cNvSpPr>
                    <a:spLocks noChangeArrowheads="1"/>
                  </p:cNvSpPr>
                  <p:nvPr/>
                </p:nvSpPr>
                <p:spPr bwMode="auto">
                  <a:xfrm>
                    <a:off x="10881" y="3257"/>
                    <a:ext cx="0" cy="9"/>
                  </a:xfrm>
                  <a:prstGeom prst="rect">
                    <a:avLst/>
                  </a:prstGeom>
                  <a:solidFill>
                    <a:srgbClr val="01AAE5"/>
                  </a:solidFill>
                  <a:ln>
                    <a:noFill/>
                  </a:ln>
                  <a:extLst/>
                </p:spPr>
                <p:txBody>
                  <a:bodyPr/>
                  <a:lstStyle/>
                  <a:p>
                    <a:pPr eaLnBrk="1" hangingPunct="1">
                      <a:defRPr/>
                    </a:pPr>
                    <a:endParaRPr lang="zh-CN" altLang="en-US" sz="1050"/>
                  </a:p>
                </p:txBody>
              </p:sp>
              <p:sp>
                <p:nvSpPr>
                  <p:cNvPr id="2745" name="Rectangle 1897"/>
                  <p:cNvSpPr>
                    <a:spLocks noChangeArrowheads="1"/>
                  </p:cNvSpPr>
                  <p:nvPr/>
                </p:nvSpPr>
                <p:spPr bwMode="auto">
                  <a:xfrm>
                    <a:off x="10964"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2746" name="Freeform 1898"/>
                  <p:cNvSpPr>
                    <a:spLocks/>
                  </p:cNvSpPr>
                  <p:nvPr/>
                </p:nvSpPr>
                <p:spPr bwMode="auto">
                  <a:xfrm>
                    <a:off x="10989" y="3240"/>
                    <a:ext cx="0" cy="44"/>
                  </a:xfrm>
                  <a:custGeom>
                    <a:avLst/>
                    <a:gdLst>
                      <a:gd name="T0" fmla="*/ 0 w 5"/>
                      <a:gd name="T1" fmla="*/ 0 h 40"/>
                      <a:gd name="T2" fmla="*/ 2 w 5"/>
                      <a:gd name="T3" fmla="*/ 40 h 40"/>
                      <a:gd name="T4" fmla="*/ 5 w 5"/>
                      <a:gd name="T5" fmla="*/ 40 h 40"/>
                      <a:gd name="T6" fmla="*/ 2 w 5"/>
                      <a:gd name="T7" fmla="*/ 0 h 40"/>
                      <a:gd name="T8" fmla="*/ 0 w 5"/>
                      <a:gd name="T9" fmla="*/ 0 h 40"/>
                    </a:gdLst>
                    <a:ahLst/>
                    <a:cxnLst>
                      <a:cxn ang="0">
                        <a:pos x="T0" y="T1"/>
                      </a:cxn>
                      <a:cxn ang="0">
                        <a:pos x="T2" y="T3"/>
                      </a:cxn>
                      <a:cxn ang="0">
                        <a:pos x="T4" y="T5"/>
                      </a:cxn>
                      <a:cxn ang="0">
                        <a:pos x="T6" y="T7"/>
                      </a:cxn>
                      <a:cxn ang="0">
                        <a:pos x="T8" y="T9"/>
                      </a:cxn>
                    </a:cxnLst>
                    <a:rect l="0" t="0" r="r" b="b"/>
                    <a:pathLst>
                      <a:path w="5" h="40">
                        <a:moveTo>
                          <a:pt x="0" y="0"/>
                        </a:moveTo>
                        <a:lnTo>
                          <a:pt x="2" y="40"/>
                        </a:lnTo>
                        <a:lnTo>
                          <a:pt x="5" y="4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747" name="Freeform 1899"/>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2748" name="Freeform 1900"/>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path>
                    </a:pathLst>
                  </a:custGeom>
                  <a:noFill/>
                  <a:ln>
                    <a:noFill/>
                  </a:ln>
                  <a:extLst/>
                </p:spPr>
                <p:txBody>
                  <a:bodyPr/>
                  <a:lstStyle/>
                  <a:p>
                    <a:pPr eaLnBrk="1" hangingPunct="1">
                      <a:defRPr/>
                    </a:pPr>
                    <a:endParaRPr lang="zh-CN" altLang="en-US" sz="1050"/>
                  </a:p>
                </p:txBody>
              </p:sp>
              <p:sp>
                <p:nvSpPr>
                  <p:cNvPr id="2749" name="Freeform 1901"/>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2750" name="Freeform 1902"/>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path>
                    </a:pathLst>
                  </a:custGeom>
                  <a:noFill/>
                  <a:ln>
                    <a:noFill/>
                  </a:ln>
                  <a:extLst/>
                </p:spPr>
                <p:txBody>
                  <a:bodyPr/>
                  <a:lstStyle/>
                  <a:p>
                    <a:pPr eaLnBrk="1" hangingPunct="1">
                      <a:defRPr/>
                    </a:pPr>
                    <a:endParaRPr lang="zh-CN" altLang="en-US" sz="1050"/>
                  </a:p>
                </p:txBody>
              </p:sp>
              <p:sp>
                <p:nvSpPr>
                  <p:cNvPr id="2751" name="Freeform 1903"/>
                  <p:cNvSpPr>
                    <a:spLocks/>
                  </p:cNvSpPr>
                  <p:nvPr/>
                </p:nvSpPr>
                <p:spPr bwMode="auto">
                  <a:xfrm>
                    <a:off x="10340" y="2996"/>
                    <a:ext cx="33" cy="9"/>
                  </a:xfrm>
                  <a:custGeom>
                    <a:avLst/>
                    <a:gdLst>
                      <a:gd name="T0" fmla="*/ 22 w 24"/>
                      <a:gd name="T1" fmla="*/ 0 h 19"/>
                      <a:gd name="T2" fmla="*/ 0 w 24"/>
                      <a:gd name="T3" fmla="*/ 19 h 19"/>
                      <a:gd name="T4" fmla="*/ 0 w 24"/>
                      <a:gd name="T5" fmla="*/ 19 h 19"/>
                      <a:gd name="T6" fmla="*/ 24 w 24"/>
                      <a:gd name="T7" fmla="*/ 2 h 19"/>
                      <a:gd name="T8" fmla="*/ 22 w 24"/>
                      <a:gd name="T9" fmla="*/ 0 h 19"/>
                    </a:gdLst>
                    <a:ahLst/>
                    <a:cxnLst>
                      <a:cxn ang="0">
                        <a:pos x="T0" y="T1"/>
                      </a:cxn>
                      <a:cxn ang="0">
                        <a:pos x="T2" y="T3"/>
                      </a:cxn>
                      <a:cxn ang="0">
                        <a:pos x="T4" y="T5"/>
                      </a:cxn>
                      <a:cxn ang="0">
                        <a:pos x="T6" y="T7"/>
                      </a:cxn>
                      <a:cxn ang="0">
                        <a:pos x="T8" y="T9"/>
                      </a:cxn>
                    </a:cxnLst>
                    <a:rect l="0" t="0" r="r" b="b"/>
                    <a:pathLst>
                      <a:path w="24" h="19">
                        <a:moveTo>
                          <a:pt x="22" y="0"/>
                        </a:moveTo>
                        <a:lnTo>
                          <a:pt x="0" y="19"/>
                        </a:lnTo>
                        <a:lnTo>
                          <a:pt x="0" y="19"/>
                        </a:lnTo>
                        <a:lnTo>
                          <a:pt x="24" y="2"/>
                        </a:lnTo>
                        <a:lnTo>
                          <a:pt x="22" y="0"/>
                        </a:lnTo>
                        <a:close/>
                      </a:path>
                    </a:pathLst>
                  </a:custGeom>
                  <a:solidFill>
                    <a:srgbClr val="01AAE5"/>
                  </a:solidFill>
                  <a:ln>
                    <a:noFill/>
                  </a:ln>
                  <a:extLst/>
                </p:spPr>
                <p:txBody>
                  <a:bodyPr/>
                  <a:lstStyle/>
                  <a:p>
                    <a:pPr eaLnBrk="1" hangingPunct="1">
                      <a:defRPr/>
                    </a:pPr>
                    <a:endParaRPr lang="zh-CN" altLang="en-US" sz="1050"/>
                  </a:p>
                </p:txBody>
              </p:sp>
              <p:sp>
                <p:nvSpPr>
                  <p:cNvPr id="2752" name="Freeform 1904"/>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753" name="Freeform 1905"/>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path>
                    </a:pathLst>
                  </a:custGeom>
                  <a:noFill/>
                  <a:ln>
                    <a:noFill/>
                  </a:ln>
                  <a:extLst/>
                </p:spPr>
                <p:txBody>
                  <a:bodyPr/>
                  <a:lstStyle/>
                  <a:p>
                    <a:pPr eaLnBrk="1" hangingPunct="1">
                      <a:defRPr/>
                    </a:pPr>
                    <a:endParaRPr lang="zh-CN" altLang="en-US" sz="1050"/>
                  </a:p>
                </p:txBody>
              </p:sp>
              <p:sp>
                <p:nvSpPr>
                  <p:cNvPr id="2754" name="Freeform 1906"/>
                  <p:cNvSpPr>
                    <a:spLocks/>
                  </p:cNvSpPr>
                  <p:nvPr/>
                </p:nvSpPr>
                <p:spPr bwMode="auto">
                  <a:xfrm>
                    <a:off x="10340" y="2987"/>
                    <a:ext cx="25" cy="17"/>
                  </a:xfrm>
                  <a:custGeom>
                    <a:avLst/>
                    <a:gdLst>
                      <a:gd name="T0" fmla="*/ 21 w 21"/>
                      <a:gd name="T1" fmla="*/ 0 h 19"/>
                      <a:gd name="T2" fmla="*/ 0 w 21"/>
                      <a:gd name="T3" fmla="*/ 17 h 19"/>
                      <a:gd name="T4" fmla="*/ 2 w 21"/>
                      <a:gd name="T5" fmla="*/ 19 h 19"/>
                      <a:gd name="T6" fmla="*/ 21 w 21"/>
                      <a:gd name="T7" fmla="*/ 3 h 19"/>
                      <a:gd name="T8" fmla="*/ 21 w 21"/>
                      <a:gd name="T9" fmla="*/ 0 h 19"/>
                    </a:gdLst>
                    <a:ahLst/>
                    <a:cxnLst>
                      <a:cxn ang="0">
                        <a:pos x="T0" y="T1"/>
                      </a:cxn>
                      <a:cxn ang="0">
                        <a:pos x="T2" y="T3"/>
                      </a:cxn>
                      <a:cxn ang="0">
                        <a:pos x="T4" y="T5"/>
                      </a:cxn>
                      <a:cxn ang="0">
                        <a:pos x="T6" y="T7"/>
                      </a:cxn>
                      <a:cxn ang="0">
                        <a:pos x="T8" y="T9"/>
                      </a:cxn>
                    </a:cxnLst>
                    <a:rect l="0" t="0" r="r" b="b"/>
                    <a:pathLst>
                      <a:path w="21" h="19">
                        <a:moveTo>
                          <a:pt x="21" y="0"/>
                        </a:moveTo>
                        <a:lnTo>
                          <a:pt x="0" y="17"/>
                        </a:lnTo>
                        <a:lnTo>
                          <a:pt x="2" y="19"/>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755" name="Freeform 1907"/>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756" name="Freeform 1908"/>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path>
                    </a:pathLst>
                  </a:custGeom>
                  <a:noFill/>
                  <a:ln>
                    <a:noFill/>
                  </a:ln>
                  <a:extLst/>
                </p:spPr>
                <p:txBody>
                  <a:bodyPr/>
                  <a:lstStyle/>
                  <a:p>
                    <a:pPr eaLnBrk="1" hangingPunct="1">
                      <a:defRPr/>
                    </a:pPr>
                    <a:endParaRPr lang="zh-CN" altLang="en-US" sz="1050"/>
                  </a:p>
                </p:txBody>
              </p:sp>
              <p:sp>
                <p:nvSpPr>
                  <p:cNvPr id="2757" name="Freeform 1909"/>
                  <p:cNvSpPr>
                    <a:spLocks/>
                  </p:cNvSpPr>
                  <p:nvPr/>
                </p:nvSpPr>
                <p:spPr bwMode="auto">
                  <a:xfrm>
                    <a:off x="10340" y="2979"/>
                    <a:ext cx="8" cy="17"/>
                  </a:xfrm>
                  <a:custGeom>
                    <a:avLst/>
                    <a:gdLst>
                      <a:gd name="T0" fmla="*/ 17 w 17"/>
                      <a:gd name="T1" fmla="*/ 0 h 12"/>
                      <a:gd name="T2" fmla="*/ 0 w 17"/>
                      <a:gd name="T3" fmla="*/ 12 h 12"/>
                      <a:gd name="T4" fmla="*/ 0 w 17"/>
                      <a:gd name="T5" fmla="*/ 12 h 12"/>
                      <a:gd name="T6" fmla="*/ 17 w 17"/>
                      <a:gd name="T7" fmla="*/ 0 h 12"/>
                      <a:gd name="T8" fmla="*/ 17 w 17"/>
                      <a:gd name="T9" fmla="*/ 0 h 12"/>
                    </a:gdLst>
                    <a:ahLst/>
                    <a:cxnLst>
                      <a:cxn ang="0">
                        <a:pos x="T0" y="T1"/>
                      </a:cxn>
                      <a:cxn ang="0">
                        <a:pos x="T2" y="T3"/>
                      </a:cxn>
                      <a:cxn ang="0">
                        <a:pos x="T4" y="T5"/>
                      </a:cxn>
                      <a:cxn ang="0">
                        <a:pos x="T6" y="T7"/>
                      </a:cxn>
                      <a:cxn ang="0">
                        <a:pos x="T8" y="T9"/>
                      </a:cxn>
                    </a:cxnLst>
                    <a:rect l="0" t="0" r="r" b="b"/>
                    <a:pathLst>
                      <a:path w="17" h="12">
                        <a:moveTo>
                          <a:pt x="17" y="0"/>
                        </a:moveTo>
                        <a:lnTo>
                          <a:pt x="0" y="12"/>
                        </a:lnTo>
                        <a:lnTo>
                          <a:pt x="0" y="12"/>
                        </a:lnTo>
                        <a:lnTo>
                          <a:pt x="17" y="0"/>
                        </a:lnTo>
                        <a:lnTo>
                          <a:pt x="17" y="0"/>
                        </a:lnTo>
                        <a:close/>
                      </a:path>
                    </a:pathLst>
                  </a:custGeom>
                  <a:solidFill>
                    <a:srgbClr val="01AAE5"/>
                  </a:solidFill>
                  <a:ln>
                    <a:noFill/>
                  </a:ln>
                  <a:extLst/>
                </p:spPr>
                <p:txBody>
                  <a:bodyPr/>
                  <a:lstStyle/>
                  <a:p>
                    <a:pPr eaLnBrk="1" hangingPunct="1">
                      <a:defRPr/>
                    </a:pPr>
                    <a:endParaRPr lang="zh-CN" altLang="en-US" sz="1050"/>
                  </a:p>
                </p:txBody>
              </p:sp>
              <p:sp>
                <p:nvSpPr>
                  <p:cNvPr id="2758" name="Freeform 1910"/>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759" name="Freeform 1911"/>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path>
                    </a:pathLst>
                  </a:custGeom>
                  <a:noFill/>
                  <a:ln>
                    <a:noFill/>
                  </a:ln>
                  <a:extLst/>
                </p:spPr>
                <p:txBody>
                  <a:bodyPr/>
                  <a:lstStyle/>
                  <a:p>
                    <a:pPr eaLnBrk="1" hangingPunct="1">
                      <a:defRPr/>
                    </a:pPr>
                    <a:endParaRPr lang="zh-CN" altLang="en-US" sz="1050"/>
                  </a:p>
                </p:txBody>
              </p:sp>
              <p:sp>
                <p:nvSpPr>
                  <p:cNvPr id="2760" name="Freeform 1912"/>
                  <p:cNvSpPr>
                    <a:spLocks/>
                  </p:cNvSpPr>
                  <p:nvPr/>
                </p:nvSpPr>
                <p:spPr bwMode="auto">
                  <a:xfrm>
                    <a:off x="10398" y="3048"/>
                    <a:ext cx="25" cy="26"/>
                  </a:xfrm>
                  <a:custGeom>
                    <a:avLst/>
                    <a:gdLst>
                      <a:gd name="T0" fmla="*/ 26 w 26"/>
                      <a:gd name="T1" fmla="*/ 0 h 26"/>
                      <a:gd name="T2" fmla="*/ 0 w 26"/>
                      <a:gd name="T3" fmla="*/ 23 h 26"/>
                      <a:gd name="T4" fmla="*/ 3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3"/>
                        </a:lnTo>
                        <a:lnTo>
                          <a:pt x="3"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grpSp>
            <p:grpSp>
              <p:nvGrpSpPr>
                <p:cNvPr id="20" name="Group 2114"/>
                <p:cNvGrpSpPr>
                  <a:grpSpLocks/>
                </p:cNvGrpSpPr>
                <p:nvPr/>
              </p:nvGrpSpPr>
              <p:grpSpPr bwMode="auto">
                <a:xfrm>
                  <a:off x="16309976" y="4051300"/>
                  <a:ext cx="2141538" cy="1106488"/>
                  <a:chOff x="10274" y="2552"/>
                  <a:chExt cx="1349" cy="697"/>
                </a:xfrm>
              </p:grpSpPr>
              <p:sp>
                <p:nvSpPr>
                  <p:cNvPr id="2361" name="Freeform 1914"/>
                  <p:cNvSpPr>
                    <a:spLocks/>
                  </p:cNvSpPr>
                  <p:nvPr/>
                </p:nvSpPr>
                <p:spPr bwMode="auto">
                  <a:xfrm>
                    <a:off x="10415" y="3039"/>
                    <a:ext cx="33" cy="35"/>
                  </a:xfrm>
                  <a:custGeom>
                    <a:avLst/>
                    <a:gdLst>
                      <a:gd name="T0" fmla="*/ 26 w 26"/>
                      <a:gd name="T1" fmla="*/ 0 h 26"/>
                      <a:gd name="T2" fmla="*/ 0 w 26"/>
                      <a:gd name="T3" fmla="*/ 26 h 26"/>
                      <a:gd name="T4" fmla="*/ 2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6"/>
                        </a:lnTo>
                        <a:lnTo>
                          <a:pt x="2"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362" name="Freeform 1915"/>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363" name="Freeform 1916"/>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path>
                    </a:pathLst>
                  </a:custGeom>
                  <a:noFill/>
                  <a:ln>
                    <a:noFill/>
                  </a:ln>
                  <a:extLst/>
                </p:spPr>
                <p:txBody>
                  <a:bodyPr/>
                  <a:lstStyle/>
                  <a:p>
                    <a:pPr eaLnBrk="1" hangingPunct="1">
                      <a:defRPr/>
                    </a:pPr>
                    <a:endParaRPr lang="zh-CN" altLang="en-US" sz="1050"/>
                  </a:p>
                </p:txBody>
              </p:sp>
              <p:sp>
                <p:nvSpPr>
                  <p:cNvPr id="2364" name="Freeform 1917"/>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365" name="Freeform 1918"/>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path>
                    </a:pathLst>
                  </a:custGeom>
                  <a:noFill/>
                  <a:ln>
                    <a:noFill/>
                  </a:ln>
                  <a:extLst/>
                </p:spPr>
                <p:txBody>
                  <a:bodyPr/>
                  <a:lstStyle/>
                  <a:p>
                    <a:pPr eaLnBrk="1" hangingPunct="1">
                      <a:defRPr/>
                    </a:pPr>
                    <a:endParaRPr lang="zh-CN" altLang="en-US" sz="1050"/>
                  </a:p>
                </p:txBody>
              </p:sp>
              <p:sp>
                <p:nvSpPr>
                  <p:cNvPr id="2366" name="Freeform 1919"/>
                  <p:cNvSpPr>
                    <a:spLocks/>
                  </p:cNvSpPr>
                  <p:nvPr/>
                </p:nvSpPr>
                <p:spPr bwMode="auto">
                  <a:xfrm>
                    <a:off x="10365" y="2979"/>
                    <a:ext cx="8" cy="9"/>
                  </a:xfrm>
                  <a:custGeom>
                    <a:avLst/>
                    <a:gdLst>
                      <a:gd name="T0" fmla="*/ 14 w 17"/>
                      <a:gd name="T1" fmla="*/ 0 h 11"/>
                      <a:gd name="T2" fmla="*/ 0 w 17"/>
                      <a:gd name="T3" fmla="*/ 9 h 11"/>
                      <a:gd name="T4" fmla="*/ 3 w 17"/>
                      <a:gd name="T5" fmla="*/ 11 h 11"/>
                      <a:gd name="T6" fmla="*/ 17 w 17"/>
                      <a:gd name="T7" fmla="*/ 0 h 11"/>
                      <a:gd name="T8" fmla="*/ 14 w 17"/>
                      <a:gd name="T9" fmla="*/ 0 h 11"/>
                    </a:gdLst>
                    <a:ahLst/>
                    <a:cxnLst>
                      <a:cxn ang="0">
                        <a:pos x="T0" y="T1"/>
                      </a:cxn>
                      <a:cxn ang="0">
                        <a:pos x="T2" y="T3"/>
                      </a:cxn>
                      <a:cxn ang="0">
                        <a:pos x="T4" y="T5"/>
                      </a:cxn>
                      <a:cxn ang="0">
                        <a:pos x="T6" y="T7"/>
                      </a:cxn>
                      <a:cxn ang="0">
                        <a:pos x="T8" y="T9"/>
                      </a:cxn>
                    </a:cxnLst>
                    <a:rect l="0" t="0" r="r" b="b"/>
                    <a:pathLst>
                      <a:path w="17" h="11">
                        <a:moveTo>
                          <a:pt x="14" y="0"/>
                        </a:moveTo>
                        <a:lnTo>
                          <a:pt x="0" y="9"/>
                        </a:lnTo>
                        <a:lnTo>
                          <a:pt x="3" y="11"/>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367" name="Freeform 1920"/>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close/>
                      </a:path>
                    </a:pathLst>
                  </a:custGeom>
                  <a:solidFill>
                    <a:srgbClr val="01AAE5"/>
                  </a:solidFill>
                  <a:ln>
                    <a:noFill/>
                  </a:ln>
                  <a:extLst/>
                </p:spPr>
                <p:txBody>
                  <a:bodyPr/>
                  <a:lstStyle/>
                  <a:p>
                    <a:pPr eaLnBrk="1" hangingPunct="1">
                      <a:defRPr/>
                    </a:pPr>
                    <a:endParaRPr lang="zh-CN" altLang="en-US" sz="1050"/>
                  </a:p>
                </p:txBody>
              </p:sp>
              <p:sp>
                <p:nvSpPr>
                  <p:cNvPr id="2368" name="Freeform 1921"/>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path>
                    </a:pathLst>
                  </a:custGeom>
                  <a:noFill/>
                  <a:ln>
                    <a:noFill/>
                  </a:ln>
                  <a:extLst/>
                </p:spPr>
                <p:txBody>
                  <a:bodyPr/>
                  <a:lstStyle/>
                  <a:p>
                    <a:pPr eaLnBrk="1" hangingPunct="1">
                      <a:defRPr/>
                    </a:pPr>
                    <a:endParaRPr lang="zh-CN" altLang="en-US" sz="1050"/>
                  </a:p>
                </p:txBody>
              </p:sp>
              <p:sp>
                <p:nvSpPr>
                  <p:cNvPr id="2369" name="Freeform 1922"/>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370" name="Freeform 1923"/>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2371" name="Freeform 1924"/>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372" name="Freeform 1925"/>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2373" name="Freeform 1926"/>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374" name="Freeform 1927"/>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2375" name="Freeform 1928"/>
                  <p:cNvSpPr>
                    <a:spLocks/>
                  </p:cNvSpPr>
                  <p:nvPr/>
                </p:nvSpPr>
                <p:spPr bwMode="auto">
                  <a:xfrm>
                    <a:off x="10332" y="2926"/>
                    <a:ext cx="0" cy="0"/>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76" name="Freeform 1929"/>
                  <p:cNvSpPr>
                    <a:spLocks/>
                  </p:cNvSpPr>
                  <p:nvPr/>
                </p:nvSpPr>
                <p:spPr bwMode="auto">
                  <a:xfrm>
                    <a:off x="10365" y="2970"/>
                    <a:ext cx="8" cy="9"/>
                  </a:xfrm>
                  <a:custGeom>
                    <a:avLst/>
                    <a:gdLst>
                      <a:gd name="T0" fmla="*/ 12 w 14"/>
                      <a:gd name="T1" fmla="*/ 0 h 9"/>
                      <a:gd name="T2" fmla="*/ 0 w 14"/>
                      <a:gd name="T3" fmla="*/ 9 h 9"/>
                      <a:gd name="T4" fmla="*/ 0 w 14"/>
                      <a:gd name="T5" fmla="*/ 9 h 9"/>
                      <a:gd name="T6" fmla="*/ 14 w 14"/>
                      <a:gd name="T7" fmla="*/ 0 h 9"/>
                      <a:gd name="T8" fmla="*/ 12 w 14"/>
                      <a:gd name="T9" fmla="*/ 0 h 9"/>
                    </a:gdLst>
                    <a:ahLst/>
                    <a:cxnLst>
                      <a:cxn ang="0">
                        <a:pos x="T0" y="T1"/>
                      </a:cxn>
                      <a:cxn ang="0">
                        <a:pos x="T2" y="T3"/>
                      </a:cxn>
                      <a:cxn ang="0">
                        <a:pos x="T4" y="T5"/>
                      </a:cxn>
                      <a:cxn ang="0">
                        <a:pos x="T6" y="T7"/>
                      </a:cxn>
                      <a:cxn ang="0">
                        <a:pos x="T8" y="T9"/>
                      </a:cxn>
                    </a:cxnLst>
                    <a:rect l="0" t="0" r="r" b="b"/>
                    <a:pathLst>
                      <a:path w="14" h="9">
                        <a:moveTo>
                          <a:pt x="12" y="0"/>
                        </a:moveTo>
                        <a:lnTo>
                          <a:pt x="0" y="9"/>
                        </a:lnTo>
                        <a:lnTo>
                          <a:pt x="0" y="9"/>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377" name="Freeform 1930"/>
                  <p:cNvSpPr>
                    <a:spLocks/>
                  </p:cNvSpPr>
                  <p:nvPr/>
                </p:nvSpPr>
                <p:spPr bwMode="auto">
                  <a:xfrm>
                    <a:off x="10323" y="2909"/>
                    <a:ext cx="0" cy="9"/>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78" name="Freeform 1931"/>
                  <p:cNvSpPr>
                    <a:spLocks/>
                  </p:cNvSpPr>
                  <p:nvPr/>
                </p:nvSpPr>
                <p:spPr bwMode="auto">
                  <a:xfrm>
                    <a:off x="10415" y="3048"/>
                    <a:ext cx="17" cy="26"/>
                  </a:xfrm>
                  <a:custGeom>
                    <a:avLst/>
                    <a:gdLst>
                      <a:gd name="T0" fmla="*/ 23 w 23"/>
                      <a:gd name="T1" fmla="*/ 0 h 25"/>
                      <a:gd name="T2" fmla="*/ 0 w 23"/>
                      <a:gd name="T3" fmla="*/ 23 h 25"/>
                      <a:gd name="T4" fmla="*/ 0 w 23"/>
                      <a:gd name="T5" fmla="*/ 25 h 25"/>
                      <a:gd name="T6" fmla="*/ 23 w 23"/>
                      <a:gd name="T7" fmla="*/ 0 h 25"/>
                      <a:gd name="T8" fmla="*/ 23 w 23"/>
                      <a:gd name="T9" fmla="*/ 0 h 25"/>
                    </a:gdLst>
                    <a:ahLst/>
                    <a:cxnLst>
                      <a:cxn ang="0">
                        <a:pos x="T0" y="T1"/>
                      </a:cxn>
                      <a:cxn ang="0">
                        <a:pos x="T2" y="T3"/>
                      </a:cxn>
                      <a:cxn ang="0">
                        <a:pos x="T4" y="T5"/>
                      </a:cxn>
                      <a:cxn ang="0">
                        <a:pos x="T6" y="T7"/>
                      </a:cxn>
                      <a:cxn ang="0">
                        <a:pos x="T8" y="T9"/>
                      </a:cxn>
                    </a:cxnLst>
                    <a:rect l="0" t="0" r="r" b="b"/>
                    <a:pathLst>
                      <a:path w="23" h="25">
                        <a:moveTo>
                          <a:pt x="23" y="0"/>
                        </a:moveTo>
                        <a:lnTo>
                          <a:pt x="0" y="23"/>
                        </a:lnTo>
                        <a:lnTo>
                          <a:pt x="0" y="25"/>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2379" name="Freeform 1932"/>
                  <p:cNvSpPr>
                    <a:spLocks/>
                  </p:cNvSpPr>
                  <p:nvPr/>
                </p:nvSpPr>
                <p:spPr bwMode="auto">
                  <a:xfrm>
                    <a:off x="10315" y="2900"/>
                    <a:ext cx="17" cy="9"/>
                  </a:xfrm>
                  <a:custGeom>
                    <a:avLst/>
                    <a:gdLst>
                      <a:gd name="T0" fmla="*/ 10 w 10"/>
                      <a:gd name="T1" fmla="*/ 0 h 7"/>
                      <a:gd name="T2" fmla="*/ 0 w 10"/>
                      <a:gd name="T3" fmla="*/ 4 h 7"/>
                      <a:gd name="T4" fmla="*/ 0 w 10"/>
                      <a:gd name="T5" fmla="*/ 7 h 7"/>
                      <a:gd name="T6" fmla="*/ 10 w 10"/>
                      <a:gd name="T7" fmla="*/ 0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4"/>
                        </a:lnTo>
                        <a:lnTo>
                          <a:pt x="0" y="7"/>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380" name="Freeform 1933"/>
                  <p:cNvSpPr>
                    <a:spLocks/>
                  </p:cNvSpPr>
                  <p:nvPr/>
                </p:nvSpPr>
                <p:spPr bwMode="auto">
                  <a:xfrm>
                    <a:off x="10332" y="2926"/>
                    <a:ext cx="8" cy="9"/>
                  </a:xfrm>
                  <a:custGeom>
                    <a:avLst/>
                    <a:gdLst>
                      <a:gd name="T0" fmla="*/ 9 w 9"/>
                      <a:gd name="T1" fmla="*/ 0 h 7"/>
                      <a:gd name="T2" fmla="*/ 0 w 9"/>
                      <a:gd name="T3" fmla="*/ 5 h 7"/>
                      <a:gd name="T4" fmla="*/ 0 w 9"/>
                      <a:gd name="T5" fmla="*/ 7 h 7"/>
                      <a:gd name="T6" fmla="*/ 9 w 9"/>
                      <a:gd name="T7" fmla="*/ 0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5"/>
                        </a:lnTo>
                        <a:lnTo>
                          <a:pt x="0" y="7"/>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81" name="Freeform 1934"/>
                  <p:cNvSpPr>
                    <a:spLocks/>
                  </p:cNvSpPr>
                  <p:nvPr/>
                </p:nvSpPr>
                <p:spPr bwMode="auto">
                  <a:xfrm>
                    <a:off x="11289" y="3100"/>
                    <a:ext cx="58" cy="87"/>
                  </a:xfrm>
                  <a:custGeom>
                    <a:avLst/>
                    <a:gdLst>
                      <a:gd name="T0" fmla="*/ 0 w 57"/>
                      <a:gd name="T1" fmla="*/ 0 h 81"/>
                      <a:gd name="T2" fmla="*/ 0 w 57"/>
                      <a:gd name="T3" fmla="*/ 0 h 81"/>
                      <a:gd name="T4" fmla="*/ 57 w 57"/>
                      <a:gd name="T5" fmla="*/ 81 h 81"/>
                      <a:gd name="T6" fmla="*/ 57 w 57"/>
                      <a:gd name="T7" fmla="*/ 81 h 81"/>
                      <a:gd name="T8" fmla="*/ 2 w 57"/>
                      <a:gd name="T9" fmla="*/ 0 h 81"/>
                      <a:gd name="T10" fmla="*/ 0 w 57"/>
                      <a:gd name="T11" fmla="*/ 0 h 81"/>
                    </a:gdLst>
                    <a:ahLst/>
                    <a:cxnLst>
                      <a:cxn ang="0">
                        <a:pos x="T0" y="T1"/>
                      </a:cxn>
                      <a:cxn ang="0">
                        <a:pos x="T2" y="T3"/>
                      </a:cxn>
                      <a:cxn ang="0">
                        <a:pos x="T4" y="T5"/>
                      </a:cxn>
                      <a:cxn ang="0">
                        <a:pos x="T6" y="T7"/>
                      </a:cxn>
                      <a:cxn ang="0">
                        <a:pos x="T8" y="T9"/>
                      </a:cxn>
                      <a:cxn ang="0">
                        <a:pos x="T10" y="T11"/>
                      </a:cxn>
                    </a:cxnLst>
                    <a:rect l="0" t="0" r="r" b="b"/>
                    <a:pathLst>
                      <a:path w="57" h="81">
                        <a:moveTo>
                          <a:pt x="0" y="0"/>
                        </a:moveTo>
                        <a:lnTo>
                          <a:pt x="0" y="0"/>
                        </a:lnTo>
                        <a:lnTo>
                          <a:pt x="57" y="81"/>
                        </a:lnTo>
                        <a:lnTo>
                          <a:pt x="57" y="8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382" name="Freeform 1935"/>
                  <p:cNvSpPr>
                    <a:spLocks/>
                  </p:cNvSpPr>
                  <p:nvPr/>
                </p:nvSpPr>
                <p:spPr bwMode="auto">
                  <a:xfrm>
                    <a:off x="10307" y="2891"/>
                    <a:ext cx="17" cy="9"/>
                  </a:xfrm>
                  <a:custGeom>
                    <a:avLst/>
                    <a:gdLst>
                      <a:gd name="T0" fmla="*/ 9 w 11"/>
                      <a:gd name="T1" fmla="*/ 0 h 7"/>
                      <a:gd name="T2" fmla="*/ 0 w 11"/>
                      <a:gd name="T3" fmla="*/ 7 h 7"/>
                      <a:gd name="T4" fmla="*/ 2 w 11"/>
                      <a:gd name="T5" fmla="*/ 7 h 7"/>
                      <a:gd name="T6" fmla="*/ 11 w 11"/>
                      <a:gd name="T7" fmla="*/ 2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lnTo>
                          <a:pt x="0" y="7"/>
                        </a:lnTo>
                        <a:lnTo>
                          <a:pt x="2" y="7"/>
                        </a:lnTo>
                        <a:lnTo>
                          <a:pt x="11"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83" name="Freeform 1936"/>
                  <p:cNvSpPr>
                    <a:spLocks/>
                  </p:cNvSpPr>
                  <p:nvPr/>
                </p:nvSpPr>
                <p:spPr bwMode="auto">
                  <a:xfrm>
                    <a:off x="10307" y="2891"/>
                    <a:ext cx="17" cy="9"/>
                  </a:xfrm>
                  <a:custGeom>
                    <a:avLst/>
                    <a:gdLst>
                      <a:gd name="T0" fmla="*/ 10 w 10"/>
                      <a:gd name="T1" fmla="*/ 0 h 7"/>
                      <a:gd name="T2" fmla="*/ 0 w 10"/>
                      <a:gd name="T3" fmla="*/ 5 h 7"/>
                      <a:gd name="T4" fmla="*/ 0 w 10"/>
                      <a:gd name="T5" fmla="*/ 7 h 7"/>
                      <a:gd name="T6" fmla="*/ 10 w 10"/>
                      <a:gd name="T7" fmla="*/ 2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5"/>
                        </a:lnTo>
                        <a:lnTo>
                          <a:pt x="0" y="7"/>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384" name="Freeform 1937"/>
                  <p:cNvSpPr>
                    <a:spLocks/>
                  </p:cNvSpPr>
                  <p:nvPr/>
                </p:nvSpPr>
                <p:spPr bwMode="auto">
                  <a:xfrm>
                    <a:off x="10323" y="2918"/>
                    <a:ext cx="8" cy="9"/>
                  </a:xfrm>
                  <a:custGeom>
                    <a:avLst/>
                    <a:gdLst>
                      <a:gd name="T0" fmla="*/ 10 w 10"/>
                      <a:gd name="T1" fmla="*/ 0 h 8"/>
                      <a:gd name="T2" fmla="*/ 0 w 10"/>
                      <a:gd name="T3" fmla="*/ 5 h 8"/>
                      <a:gd name="T4" fmla="*/ 0 w 10"/>
                      <a:gd name="T5" fmla="*/ 8 h 8"/>
                      <a:gd name="T6" fmla="*/ 10 w 10"/>
                      <a:gd name="T7" fmla="*/ 0 h 8"/>
                      <a:gd name="T8" fmla="*/ 10 w 10"/>
                      <a:gd name="T9" fmla="*/ 0 h 8"/>
                    </a:gdLst>
                    <a:ahLst/>
                    <a:cxnLst>
                      <a:cxn ang="0">
                        <a:pos x="T0" y="T1"/>
                      </a:cxn>
                      <a:cxn ang="0">
                        <a:pos x="T2" y="T3"/>
                      </a:cxn>
                      <a:cxn ang="0">
                        <a:pos x="T4" y="T5"/>
                      </a:cxn>
                      <a:cxn ang="0">
                        <a:pos x="T6" y="T7"/>
                      </a:cxn>
                      <a:cxn ang="0">
                        <a:pos x="T8" y="T9"/>
                      </a:cxn>
                    </a:cxnLst>
                    <a:rect l="0" t="0" r="r" b="b"/>
                    <a:pathLst>
                      <a:path w="10" h="8">
                        <a:moveTo>
                          <a:pt x="10" y="0"/>
                        </a:moveTo>
                        <a:lnTo>
                          <a:pt x="0" y="5"/>
                        </a:lnTo>
                        <a:lnTo>
                          <a:pt x="0" y="8"/>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385" name="Freeform 1938"/>
                  <p:cNvSpPr>
                    <a:spLocks/>
                  </p:cNvSpPr>
                  <p:nvPr/>
                </p:nvSpPr>
                <p:spPr bwMode="auto">
                  <a:xfrm>
                    <a:off x="10357" y="2952"/>
                    <a:ext cx="8" cy="17"/>
                  </a:xfrm>
                  <a:custGeom>
                    <a:avLst/>
                    <a:gdLst>
                      <a:gd name="T0" fmla="*/ 9 w 12"/>
                      <a:gd name="T1" fmla="*/ 0 h 9"/>
                      <a:gd name="T2" fmla="*/ 0 w 12"/>
                      <a:gd name="T3" fmla="*/ 9 h 9"/>
                      <a:gd name="T4" fmla="*/ 0 w 12"/>
                      <a:gd name="T5" fmla="*/ 9 h 9"/>
                      <a:gd name="T6" fmla="*/ 12 w 12"/>
                      <a:gd name="T7" fmla="*/ 2 h 9"/>
                      <a:gd name="T8" fmla="*/ 9 w 12"/>
                      <a:gd name="T9" fmla="*/ 0 h 9"/>
                    </a:gdLst>
                    <a:ahLst/>
                    <a:cxnLst>
                      <a:cxn ang="0">
                        <a:pos x="T0" y="T1"/>
                      </a:cxn>
                      <a:cxn ang="0">
                        <a:pos x="T2" y="T3"/>
                      </a:cxn>
                      <a:cxn ang="0">
                        <a:pos x="T4" y="T5"/>
                      </a:cxn>
                      <a:cxn ang="0">
                        <a:pos x="T6" y="T7"/>
                      </a:cxn>
                      <a:cxn ang="0">
                        <a:pos x="T8" y="T9"/>
                      </a:cxn>
                    </a:cxnLst>
                    <a:rect l="0" t="0" r="r" b="b"/>
                    <a:pathLst>
                      <a:path w="12" h="9">
                        <a:moveTo>
                          <a:pt x="9" y="0"/>
                        </a:moveTo>
                        <a:lnTo>
                          <a:pt x="0" y="9"/>
                        </a:lnTo>
                        <a:lnTo>
                          <a:pt x="0" y="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86" name="Freeform 1939"/>
                  <p:cNvSpPr>
                    <a:spLocks/>
                  </p:cNvSpPr>
                  <p:nvPr/>
                </p:nvSpPr>
                <p:spPr bwMode="auto">
                  <a:xfrm>
                    <a:off x="10332" y="2935"/>
                    <a:ext cx="17" cy="9"/>
                  </a:xfrm>
                  <a:custGeom>
                    <a:avLst/>
                    <a:gdLst>
                      <a:gd name="T0" fmla="*/ 9 w 12"/>
                      <a:gd name="T1" fmla="*/ 0 h 7"/>
                      <a:gd name="T2" fmla="*/ 0 w 12"/>
                      <a:gd name="T3" fmla="*/ 7 h 7"/>
                      <a:gd name="T4" fmla="*/ 2 w 12"/>
                      <a:gd name="T5" fmla="*/ 7 h 7"/>
                      <a:gd name="T6" fmla="*/ 12 w 12"/>
                      <a:gd name="T7" fmla="*/ 2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2" y="7"/>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87" name="Freeform 1940"/>
                  <p:cNvSpPr>
                    <a:spLocks/>
                  </p:cNvSpPr>
                  <p:nvPr/>
                </p:nvSpPr>
                <p:spPr bwMode="auto">
                  <a:xfrm>
                    <a:off x="10357" y="2961"/>
                    <a:ext cx="8" cy="17"/>
                  </a:xfrm>
                  <a:custGeom>
                    <a:avLst/>
                    <a:gdLst>
                      <a:gd name="T0" fmla="*/ 12 w 14"/>
                      <a:gd name="T1" fmla="*/ 0 h 10"/>
                      <a:gd name="T2" fmla="*/ 0 w 14"/>
                      <a:gd name="T3" fmla="*/ 7 h 10"/>
                      <a:gd name="T4" fmla="*/ 3 w 14"/>
                      <a:gd name="T5" fmla="*/ 10 h 10"/>
                      <a:gd name="T6" fmla="*/ 14 w 14"/>
                      <a:gd name="T7" fmla="*/ 0 h 10"/>
                      <a:gd name="T8" fmla="*/ 12 w 14"/>
                      <a:gd name="T9" fmla="*/ 0 h 10"/>
                    </a:gdLst>
                    <a:ahLst/>
                    <a:cxnLst>
                      <a:cxn ang="0">
                        <a:pos x="T0" y="T1"/>
                      </a:cxn>
                      <a:cxn ang="0">
                        <a:pos x="T2" y="T3"/>
                      </a:cxn>
                      <a:cxn ang="0">
                        <a:pos x="T4" y="T5"/>
                      </a:cxn>
                      <a:cxn ang="0">
                        <a:pos x="T6" y="T7"/>
                      </a:cxn>
                      <a:cxn ang="0">
                        <a:pos x="T8" y="T9"/>
                      </a:cxn>
                    </a:cxnLst>
                    <a:rect l="0" t="0" r="r" b="b"/>
                    <a:pathLst>
                      <a:path w="14" h="10">
                        <a:moveTo>
                          <a:pt x="12" y="0"/>
                        </a:moveTo>
                        <a:lnTo>
                          <a:pt x="0" y="7"/>
                        </a:lnTo>
                        <a:lnTo>
                          <a:pt x="3" y="10"/>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388" name="Freeform 1941"/>
                  <p:cNvSpPr>
                    <a:spLocks/>
                  </p:cNvSpPr>
                  <p:nvPr/>
                </p:nvSpPr>
                <p:spPr bwMode="auto">
                  <a:xfrm>
                    <a:off x="10348" y="2952"/>
                    <a:ext cx="17" cy="9"/>
                  </a:xfrm>
                  <a:custGeom>
                    <a:avLst/>
                    <a:gdLst>
                      <a:gd name="T0" fmla="*/ 12 w 12"/>
                      <a:gd name="T1" fmla="*/ 0 h 10"/>
                      <a:gd name="T2" fmla="*/ 0 w 12"/>
                      <a:gd name="T3" fmla="*/ 7 h 10"/>
                      <a:gd name="T4" fmla="*/ 2 w 12"/>
                      <a:gd name="T5" fmla="*/ 10 h 10"/>
                      <a:gd name="T6" fmla="*/ 12 w 12"/>
                      <a:gd name="T7" fmla="*/ 3 h 10"/>
                      <a:gd name="T8" fmla="*/ 12 w 12"/>
                      <a:gd name="T9" fmla="*/ 0 h 10"/>
                    </a:gdLst>
                    <a:ahLst/>
                    <a:cxnLst>
                      <a:cxn ang="0">
                        <a:pos x="T0" y="T1"/>
                      </a:cxn>
                      <a:cxn ang="0">
                        <a:pos x="T2" y="T3"/>
                      </a:cxn>
                      <a:cxn ang="0">
                        <a:pos x="T4" y="T5"/>
                      </a:cxn>
                      <a:cxn ang="0">
                        <a:pos x="T6" y="T7"/>
                      </a:cxn>
                      <a:cxn ang="0">
                        <a:pos x="T8" y="T9"/>
                      </a:cxn>
                    </a:cxnLst>
                    <a:rect l="0" t="0" r="r" b="b"/>
                    <a:pathLst>
                      <a:path w="12" h="10">
                        <a:moveTo>
                          <a:pt x="12" y="0"/>
                        </a:moveTo>
                        <a:lnTo>
                          <a:pt x="0" y="7"/>
                        </a:lnTo>
                        <a:lnTo>
                          <a:pt x="2" y="10"/>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389" name="Freeform 1942"/>
                  <p:cNvSpPr>
                    <a:spLocks/>
                  </p:cNvSpPr>
                  <p:nvPr/>
                </p:nvSpPr>
                <p:spPr bwMode="auto">
                  <a:xfrm>
                    <a:off x="10332" y="2935"/>
                    <a:ext cx="17" cy="17"/>
                  </a:xfrm>
                  <a:custGeom>
                    <a:avLst/>
                    <a:gdLst>
                      <a:gd name="T0" fmla="*/ 9 w 9"/>
                      <a:gd name="T1" fmla="*/ 0 h 9"/>
                      <a:gd name="T2" fmla="*/ 0 w 9"/>
                      <a:gd name="T3" fmla="*/ 7 h 9"/>
                      <a:gd name="T4" fmla="*/ 0 w 9"/>
                      <a:gd name="T5" fmla="*/ 9 h 9"/>
                      <a:gd name="T6" fmla="*/ 9 w 9"/>
                      <a:gd name="T7" fmla="*/ 2 h 9"/>
                      <a:gd name="T8" fmla="*/ 9 w 9"/>
                      <a:gd name="T9" fmla="*/ 0 h 9"/>
                    </a:gdLst>
                    <a:ahLst/>
                    <a:cxnLst>
                      <a:cxn ang="0">
                        <a:pos x="T0" y="T1"/>
                      </a:cxn>
                      <a:cxn ang="0">
                        <a:pos x="T2" y="T3"/>
                      </a:cxn>
                      <a:cxn ang="0">
                        <a:pos x="T4" y="T5"/>
                      </a:cxn>
                      <a:cxn ang="0">
                        <a:pos x="T6" y="T7"/>
                      </a:cxn>
                      <a:cxn ang="0">
                        <a:pos x="T8" y="T9"/>
                      </a:cxn>
                    </a:cxnLst>
                    <a:rect l="0" t="0" r="r" b="b"/>
                    <a:pathLst>
                      <a:path w="9" h="9">
                        <a:moveTo>
                          <a:pt x="9" y="0"/>
                        </a:moveTo>
                        <a:lnTo>
                          <a:pt x="0" y="7"/>
                        </a:lnTo>
                        <a:lnTo>
                          <a:pt x="0" y="9"/>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90" name="Freeform 1943"/>
                  <p:cNvSpPr>
                    <a:spLocks/>
                  </p:cNvSpPr>
                  <p:nvPr/>
                </p:nvSpPr>
                <p:spPr bwMode="auto">
                  <a:xfrm>
                    <a:off x="10348" y="2952"/>
                    <a:ext cx="0" cy="0"/>
                  </a:xfrm>
                  <a:custGeom>
                    <a:avLst/>
                    <a:gdLst>
                      <a:gd name="T0" fmla="*/ 9 w 9"/>
                      <a:gd name="T1" fmla="*/ 0 h 7"/>
                      <a:gd name="T2" fmla="*/ 0 w 9"/>
                      <a:gd name="T3" fmla="*/ 7 h 7"/>
                      <a:gd name="T4" fmla="*/ 0 w 9"/>
                      <a:gd name="T5" fmla="*/ 7 h 7"/>
                      <a:gd name="T6" fmla="*/ 9 w 9"/>
                      <a:gd name="T7" fmla="*/ 2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7"/>
                        </a:lnTo>
                        <a:lnTo>
                          <a:pt x="0" y="7"/>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91" name="Freeform 1944"/>
                  <p:cNvSpPr>
                    <a:spLocks/>
                  </p:cNvSpPr>
                  <p:nvPr/>
                </p:nvSpPr>
                <p:spPr bwMode="auto">
                  <a:xfrm>
                    <a:off x="10340" y="2944"/>
                    <a:ext cx="17" cy="9"/>
                  </a:xfrm>
                  <a:custGeom>
                    <a:avLst/>
                    <a:gdLst>
                      <a:gd name="T0" fmla="*/ 9 w 12"/>
                      <a:gd name="T1" fmla="*/ 0 h 7"/>
                      <a:gd name="T2" fmla="*/ 0 w 12"/>
                      <a:gd name="T3" fmla="*/ 5 h 7"/>
                      <a:gd name="T4" fmla="*/ 2 w 12"/>
                      <a:gd name="T5" fmla="*/ 7 h 7"/>
                      <a:gd name="T6" fmla="*/ 12 w 12"/>
                      <a:gd name="T7" fmla="*/ 0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5"/>
                        </a:lnTo>
                        <a:lnTo>
                          <a:pt x="2" y="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392" name="Freeform 1945"/>
                  <p:cNvSpPr>
                    <a:spLocks/>
                  </p:cNvSpPr>
                  <p:nvPr/>
                </p:nvSpPr>
                <p:spPr bwMode="auto">
                  <a:xfrm>
                    <a:off x="10448" y="3092"/>
                    <a:ext cx="17" cy="17"/>
                  </a:xfrm>
                  <a:custGeom>
                    <a:avLst/>
                    <a:gdLst>
                      <a:gd name="T0" fmla="*/ 12 w 15"/>
                      <a:gd name="T1" fmla="*/ 0 h 16"/>
                      <a:gd name="T2" fmla="*/ 0 w 15"/>
                      <a:gd name="T3" fmla="*/ 14 h 16"/>
                      <a:gd name="T4" fmla="*/ 3 w 15"/>
                      <a:gd name="T5" fmla="*/ 16 h 16"/>
                      <a:gd name="T6" fmla="*/ 15 w 15"/>
                      <a:gd name="T7" fmla="*/ 2 h 16"/>
                      <a:gd name="T8" fmla="*/ 12 w 15"/>
                      <a:gd name="T9" fmla="*/ 0 h 16"/>
                    </a:gdLst>
                    <a:ahLst/>
                    <a:cxnLst>
                      <a:cxn ang="0">
                        <a:pos x="T0" y="T1"/>
                      </a:cxn>
                      <a:cxn ang="0">
                        <a:pos x="T2" y="T3"/>
                      </a:cxn>
                      <a:cxn ang="0">
                        <a:pos x="T4" y="T5"/>
                      </a:cxn>
                      <a:cxn ang="0">
                        <a:pos x="T6" y="T7"/>
                      </a:cxn>
                      <a:cxn ang="0">
                        <a:pos x="T8" y="T9"/>
                      </a:cxn>
                    </a:cxnLst>
                    <a:rect l="0" t="0" r="r" b="b"/>
                    <a:pathLst>
                      <a:path w="15" h="16">
                        <a:moveTo>
                          <a:pt x="12" y="0"/>
                        </a:moveTo>
                        <a:lnTo>
                          <a:pt x="0" y="14"/>
                        </a:lnTo>
                        <a:lnTo>
                          <a:pt x="3" y="16"/>
                        </a:lnTo>
                        <a:lnTo>
                          <a:pt x="15"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393" name="Freeform 1946"/>
                  <p:cNvSpPr>
                    <a:spLocks/>
                  </p:cNvSpPr>
                  <p:nvPr/>
                </p:nvSpPr>
                <p:spPr bwMode="auto">
                  <a:xfrm>
                    <a:off x="10548" y="3153"/>
                    <a:ext cx="8" cy="35"/>
                  </a:xfrm>
                  <a:custGeom>
                    <a:avLst/>
                    <a:gdLst>
                      <a:gd name="T0" fmla="*/ 21 w 23"/>
                      <a:gd name="T1" fmla="*/ 0 h 40"/>
                      <a:gd name="T2" fmla="*/ 0 w 23"/>
                      <a:gd name="T3" fmla="*/ 38 h 40"/>
                      <a:gd name="T4" fmla="*/ 2 w 23"/>
                      <a:gd name="T5" fmla="*/ 40 h 40"/>
                      <a:gd name="T6" fmla="*/ 23 w 23"/>
                      <a:gd name="T7" fmla="*/ 0 h 40"/>
                      <a:gd name="T8" fmla="*/ 21 w 23"/>
                      <a:gd name="T9" fmla="*/ 0 h 40"/>
                    </a:gdLst>
                    <a:ahLst/>
                    <a:cxnLst>
                      <a:cxn ang="0">
                        <a:pos x="T0" y="T1"/>
                      </a:cxn>
                      <a:cxn ang="0">
                        <a:pos x="T2" y="T3"/>
                      </a:cxn>
                      <a:cxn ang="0">
                        <a:pos x="T4" y="T5"/>
                      </a:cxn>
                      <a:cxn ang="0">
                        <a:pos x="T6" y="T7"/>
                      </a:cxn>
                      <a:cxn ang="0">
                        <a:pos x="T8" y="T9"/>
                      </a:cxn>
                    </a:cxnLst>
                    <a:rect l="0" t="0" r="r" b="b"/>
                    <a:pathLst>
                      <a:path w="23" h="40">
                        <a:moveTo>
                          <a:pt x="21" y="0"/>
                        </a:moveTo>
                        <a:lnTo>
                          <a:pt x="0" y="38"/>
                        </a:lnTo>
                        <a:lnTo>
                          <a:pt x="2" y="40"/>
                        </a:lnTo>
                        <a:lnTo>
                          <a:pt x="23"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394" name="Freeform 1947"/>
                  <p:cNvSpPr>
                    <a:spLocks/>
                  </p:cNvSpPr>
                  <p:nvPr/>
                </p:nvSpPr>
                <p:spPr bwMode="auto">
                  <a:xfrm>
                    <a:off x="10523" y="3144"/>
                    <a:ext cx="17" cy="35"/>
                  </a:xfrm>
                  <a:custGeom>
                    <a:avLst/>
                    <a:gdLst>
                      <a:gd name="T0" fmla="*/ 19 w 19"/>
                      <a:gd name="T1" fmla="*/ 0 h 31"/>
                      <a:gd name="T2" fmla="*/ 0 w 19"/>
                      <a:gd name="T3" fmla="*/ 31 h 31"/>
                      <a:gd name="T4" fmla="*/ 0 w 19"/>
                      <a:gd name="T5" fmla="*/ 31 h 31"/>
                      <a:gd name="T6" fmla="*/ 19 w 19"/>
                      <a:gd name="T7" fmla="*/ 0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lnTo>
                          <a:pt x="0" y="31"/>
                        </a:lnTo>
                        <a:lnTo>
                          <a:pt x="0" y="3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395" name="Freeform 1948"/>
                  <p:cNvSpPr>
                    <a:spLocks/>
                  </p:cNvSpPr>
                  <p:nvPr/>
                </p:nvSpPr>
                <p:spPr bwMode="auto">
                  <a:xfrm>
                    <a:off x="10531" y="3153"/>
                    <a:ext cx="17" cy="35"/>
                  </a:xfrm>
                  <a:custGeom>
                    <a:avLst/>
                    <a:gdLst>
                      <a:gd name="T0" fmla="*/ 19 w 21"/>
                      <a:gd name="T1" fmla="*/ 0 h 33"/>
                      <a:gd name="T2" fmla="*/ 0 w 21"/>
                      <a:gd name="T3" fmla="*/ 33 h 33"/>
                      <a:gd name="T4" fmla="*/ 0 w 21"/>
                      <a:gd name="T5" fmla="*/ 33 h 33"/>
                      <a:gd name="T6" fmla="*/ 21 w 21"/>
                      <a:gd name="T7" fmla="*/ 0 h 33"/>
                      <a:gd name="T8" fmla="*/ 19 w 21"/>
                      <a:gd name="T9" fmla="*/ 0 h 33"/>
                    </a:gdLst>
                    <a:ahLst/>
                    <a:cxnLst>
                      <a:cxn ang="0">
                        <a:pos x="T0" y="T1"/>
                      </a:cxn>
                      <a:cxn ang="0">
                        <a:pos x="T2" y="T3"/>
                      </a:cxn>
                      <a:cxn ang="0">
                        <a:pos x="T4" y="T5"/>
                      </a:cxn>
                      <a:cxn ang="0">
                        <a:pos x="T6" y="T7"/>
                      </a:cxn>
                      <a:cxn ang="0">
                        <a:pos x="T8" y="T9"/>
                      </a:cxn>
                    </a:cxnLst>
                    <a:rect l="0" t="0" r="r" b="b"/>
                    <a:pathLst>
                      <a:path w="21" h="33">
                        <a:moveTo>
                          <a:pt x="19" y="0"/>
                        </a:moveTo>
                        <a:lnTo>
                          <a:pt x="0" y="33"/>
                        </a:lnTo>
                        <a:lnTo>
                          <a:pt x="0" y="33"/>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396" name="Freeform 1949"/>
                  <p:cNvSpPr>
                    <a:spLocks/>
                  </p:cNvSpPr>
                  <p:nvPr/>
                </p:nvSpPr>
                <p:spPr bwMode="auto">
                  <a:xfrm>
                    <a:off x="10531" y="3153"/>
                    <a:ext cx="25" cy="35"/>
                  </a:xfrm>
                  <a:custGeom>
                    <a:avLst/>
                    <a:gdLst>
                      <a:gd name="T0" fmla="*/ 21 w 21"/>
                      <a:gd name="T1" fmla="*/ 0 h 38"/>
                      <a:gd name="T2" fmla="*/ 0 w 21"/>
                      <a:gd name="T3" fmla="*/ 35 h 38"/>
                      <a:gd name="T4" fmla="*/ 2 w 21"/>
                      <a:gd name="T5" fmla="*/ 38 h 38"/>
                      <a:gd name="T6" fmla="*/ 21 w 21"/>
                      <a:gd name="T7" fmla="*/ 0 h 38"/>
                      <a:gd name="T8" fmla="*/ 21 w 21"/>
                      <a:gd name="T9" fmla="*/ 0 h 38"/>
                    </a:gdLst>
                    <a:ahLst/>
                    <a:cxnLst>
                      <a:cxn ang="0">
                        <a:pos x="T0" y="T1"/>
                      </a:cxn>
                      <a:cxn ang="0">
                        <a:pos x="T2" y="T3"/>
                      </a:cxn>
                      <a:cxn ang="0">
                        <a:pos x="T4" y="T5"/>
                      </a:cxn>
                      <a:cxn ang="0">
                        <a:pos x="T6" y="T7"/>
                      </a:cxn>
                      <a:cxn ang="0">
                        <a:pos x="T8" y="T9"/>
                      </a:cxn>
                    </a:cxnLst>
                    <a:rect l="0" t="0" r="r" b="b"/>
                    <a:pathLst>
                      <a:path w="21" h="38">
                        <a:moveTo>
                          <a:pt x="21" y="0"/>
                        </a:moveTo>
                        <a:lnTo>
                          <a:pt x="0" y="35"/>
                        </a:lnTo>
                        <a:lnTo>
                          <a:pt x="2" y="38"/>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397" name="Freeform 1950"/>
                  <p:cNvSpPr>
                    <a:spLocks/>
                  </p:cNvSpPr>
                  <p:nvPr/>
                </p:nvSpPr>
                <p:spPr bwMode="auto">
                  <a:xfrm>
                    <a:off x="10523" y="3144"/>
                    <a:ext cx="17" cy="26"/>
                  </a:xfrm>
                  <a:custGeom>
                    <a:avLst/>
                    <a:gdLst>
                      <a:gd name="T0" fmla="*/ 16 w 19"/>
                      <a:gd name="T1" fmla="*/ 0 h 28"/>
                      <a:gd name="T2" fmla="*/ 0 w 19"/>
                      <a:gd name="T3" fmla="*/ 26 h 28"/>
                      <a:gd name="T4" fmla="*/ 0 w 19"/>
                      <a:gd name="T5" fmla="*/ 28 h 28"/>
                      <a:gd name="T6" fmla="*/ 19 w 19"/>
                      <a:gd name="T7" fmla="*/ 0 h 28"/>
                      <a:gd name="T8" fmla="*/ 16 w 19"/>
                      <a:gd name="T9" fmla="*/ 0 h 28"/>
                    </a:gdLst>
                    <a:ahLst/>
                    <a:cxnLst>
                      <a:cxn ang="0">
                        <a:pos x="T0" y="T1"/>
                      </a:cxn>
                      <a:cxn ang="0">
                        <a:pos x="T2" y="T3"/>
                      </a:cxn>
                      <a:cxn ang="0">
                        <a:pos x="T4" y="T5"/>
                      </a:cxn>
                      <a:cxn ang="0">
                        <a:pos x="T6" y="T7"/>
                      </a:cxn>
                      <a:cxn ang="0">
                        <a:pos x="T8" y="T9"/>
                      </a:cxn>
                    </a:cxnLst>
                    <a:rect l="0" t="0" r="r" b="b"/>
                    <a:pathLst>
                      <a:path w="19" h="28">
                        <a:moveTo>
                          <a:pt x="16" y="0"/>
                        </a:moveTo>
                        <a:lnTo>
                          <a:pt x="0" y="26"/>
                        </a:lnTo>
                        <a:lnTo>
                          <a:pt x="0" y="28"/>
                        </a:lnTo>
                        <a:lnTo>
                          <a:pt x="19"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2398" name="Freeform 1951"/>
                  <p:cNvSpPr>
                    <a:spLocks/>
                  </p:cNvSpPr>
                  <p:nvPr/>
                </p:nvSpPr>
                <p:spPr bwMode="auto">
                  <a:xfrm>
                    <a:off x="10506" y="3135"/>
                    <a:ext cx="17" cy="26"/>
                  </a:xfrm>
                  <a:custGeom>
                    <a:avLst/>
                    <a:gdLst>
                      <a:gd name="T0" fmla="*/ 12 w 15"/>
                      <a:gd name="T1" fmla="*/ 0 h 18"/>
                      <a:gd name="T2" fmla="*/ 0 w 15"/>
                      <a:gd name="T3" fmla="*/ 18 h 18"/>
                      <a:gd name="T4" fmla="*/ 0 w 15"/>
                      <a:gd name="T5" fmla="*/ 18 h 18"/>
                      <a:gd name="T6" fmla="*/ 15 w 15"/>
                      <a:gd name="T7" fmla="*/ 0 h 18"/>
                      <a:gd name="T8" fmla="*/ 12 w 15"/>
                      <a:gd name="T9" fmla="*/ 0 h 18"/>
                    </a:gdLst>
                    <a:ahLst/>
                    <a:cxnLst>
                      <a:cxn ang="0">
                        <a:pos x="T0" y="T1"/>
                      </a:cxn>
                      <a:cxn ang="0">
                        <a:pos x="T2" y="T3"/>
                      </a:cxn>
                      <a:cxn ang="0">
                        <a:pos x="T4" y="T5"/>
                      </a:cxn>
                      <a:cxn ang="0">
                        <a:pos x="T6" y="T7"/>
                      </a:cxn>
                      <a:cxn ang="0">
                        <a:pos x="T8" y="T9"/>
                      </a:cxn>
                    </a:cxnLst>
                    <a:rect l="0" t="0" r="r" b="b"/>
                    <a:pathLst>
                      <a:path w="15" h="18">
                        <a:moveTo>
                          <a:pt x="12" y="0"/>
                        </a:moveTo>
                        <a:lnTo>
                          <a:pt x="0" y="18"/>
                        </a:lnTo>
                        <a:lnTo>
                          <a:pt x="0" y="18"/>
                        </a:lnTo>
                        <a:lnTo>
                          <a:pt x="15"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399" name="Freeform 1952"/>
                  <p:cNvSpPr>
                    <a:spLocks/>
                  </p:cNvSpPr>
                  <p:nvPr/>
                </p:nvSpPr>
                <p:spPr bwMode="auto">
                  <a:xfrm>
                    <a:off x="10515" y="3144"/>
                    <a:ext cx="17" cy="17"/>
                  </a:xfrm>
                  <a:custGeom>
                    <a:avLst/>
                    <a:gdLst>
                      <a:gd name="T0" fmla="*/ 14 w 16"/>
                      <a:gd name="T1" fmla="*/ 0 h 26"/>
                      <a:gd name="T2" fmla="*/ 0 w 16"/>
                      <a:gd name="T3" fmla="*/ 24 h 26"/>
                      <a:gd name="T4" fmla="*/ 0 w 16"/>
                      <a:gd name="T5" fmla="*/ 26 h 26"/>
                      <a:gd name="T6" fmla="*/ 16 w 16"/>
                      <a:gd name="T7" fmla="*/ 0 h 26"/>
                      <a:gd name="T8" fmla="*/ 14 w 16"/>
                      <a:gd name="T9" fmla="*/ 0 h 26"/>
                    </a:gdLst>
                    <a:ahLst/>
                    <a:cxnLst>
                      <a:cxn ang="0">
                        <a:pos x="T0" y="T1"/>
                      </a:cxn>
                      <a:cxn ang="0">
                        <a:pos x="T2" y="T3"/>
                      </a:cxn>
                      <a:cxn ang="0">
                        <a:pos x="T4" y="T5"/>
                      </a:cxn>
                      <a:cxn ang="0">
                        <a:pos x="T6" y="T7"/>
                      </a:cxn>
                      <a:cxn ang="0">
                        <a:pos x="T8" y="T9"/>
                      </a:cxn>
                    </a:cxnLst>
                    <a:rect l="0" t="0" r="r" b="b"/>
                    <a:pathLst>
                      <a:path w="16" h="26">
                        <a:moveTo>
                          <a:pt x="14" y="0"/>
                        </a:moveTo>
                        <a:lnTo>
                          <a:pt x="0" y="24"/>
                        </a:lnTo>
                        <a:lnTo>
                          <a:pt x="0" y="26"/>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400" name="Freeform 1953"/>
                  <p:cNvSpPr>
                    <a:spLocks/>
                  </p:cNvSpPr>
                  <p:nvPr/>
                </p:nvSpPr>
                <p:spPr bwMode="auto">
                  <a:xfrm>
                    <a:off x="10515" y="3135"/>
                    <a:ext cx="17" cy="26"/>
                  </a:xfrm>
                  <a:custGeom>
                    <a:avLst/>
                    <a:gdLst>
                      <a:gd name="T0" fmla="*/ 14 w 14"/>
                      <a:gd name="T1" fmla="*/ 0 h 21"/>
                      <a:gd name="T2" fmla="*/ 0 w 14"/>
                      <a:gd name="T3" fmla="*/ 21 h 21"/>
                      <a:gd name="T4" fmla="*/ 0 w 14"/>
                      <a:gd name="T5" fmla="*/ 21 h 21"/>
                      <a:gd name="T6" fmla="*/ 14 w 14"/>
                      <a:gd name="T7" fmla="*/ 0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0" y="21"/>
                        </a:lnTo>
                        <a:lnTo>
                          <a:pt x="0" y="21"/>
                        </a:lnTo>
                        <a:lnTo>
                          <a:pt x="14"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401" name="Freeform 1954"/>
                  <p:cNvSpPr>
                    <a:spLocks/>
                  </p:cNvSpPr>
                  <p:nvPr/>
                </p:nvSpPr>
                <p:spPr bwMode="auto">
                  <a:xfrm>
                    <a:off x="10548" y="3161"/>
                    <a:ext cx="25" cy="35"/>
                  </a:xfrm>
                  <a:custGeom>
                    <a:avLst/>
                    <a:gdLst>
                      <a:gd name="T0" fmla="*/ 24 w 26"/>
                      <a:gd name="T1" fmla="*/ 0 h 43"/>
                      <a:gd name="T2" fmla="*/ 0 w 26"/>
                      <a:gd name="T3" fmla="*/ 41 h 43"/>
                      <a:gd name="T4" fmla="*/ 3 w 26"/>
                      <a:gd name="T5" fmla="*/ 43 h 43"/>
                      <a:gd name="T6" fmla="*/ 26 w 26"/>
                      <a:gd name="T7" fmla="*/ 0 h 43"/>
                      <a:gd name="T8" fmla="*/ 24 w 26"/>
                      <a:gd name="T9" fmla="*/ 0 h 43"/>
                    </a:gdLst>
                    <a:ahLst/>
                    <a:cxnLst>
                      <a:cxn ang="0">
                        <a:pos x="T0" y="T1"/>
                      </a:cxn>
                      <a:cxn ang="0">
                        <a:pos x="T2" y="T3"/>
                      </a:cxn>
                      <a:cxn ang="0">
                        <a:pos x="T4" y="T5"/>
                      </a:cxn>
                      <a:cxn ang="0">
                        <a:pos x="T6" y="T7"/>
                      </a:cxn>
                      <a:cxn ang="0">
                        <a:pos x="T8" y="T9"/>
                      </a:cxn>
                    </a:cxnLst>
                    <a:rect l="0" t="0" r="r" b="b"/>
                    <a:pathLst>
                      <a:path w="26" h="43">
                        <a:moveTo>
                          <a:pt x="24" y="0"/>
                        </a:moveTo>
                        <a:lnTo>
                          <a:pt x="0" y="41"/>
                        </a:lnTo>
                        <a:lnTo>
                          <a:pt x="3" y="43"/>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2402" name="Freeform 1955"/>
                  <p:cNvSpPr>
                    <a:spLocks/>
                  </p:cNvSpPr>
                  <p:nvPr/>
                </p:nvSpPr>
                <p:spPr bwMode="auto">
                  <a:xfrm>
                    <a:off x="10573" y="3170"/>
                    <a:ext cx="33" cy="52"/>
                  </a:xfrm>
                  <a:custGeom>
                    <a:avLst/>
                    <a:gdLst>
                      <a:gd name="T0" fmla="*/ 29 w 29"/>
                      <a:gd name="T1" fmla="*/ 0 h 54"/>
                      <a:gd name="T2" fmla="*/ 0 w 29"/>
                      <a:gd name="T3" fmla="*/ 54 h 54"/>
                      <a:gd name="T4" fmla="*/ 3 w 29"/>
                      <a:gd name="T5" fmla="*/ 54 h 54"/>
                      <a:gd name="T6" fmla="*/ 29 w 29"/>
                      <a:gd name="T7" fmla="*/ 0 h 54"/>
                      <a:gd name="T8" fmla="*/ 29 w 29"/>
                      <a:gd name="T9" fmla="*/ 0 h 54"/>
                    </a:gdLst>
                    <a:ahLst/>
                    <a:cxnLst>
                      <a:cxn ang="0">
                        <a:pos x="T0" y="T1"/>
                      </a:cxn>
                      <a:cxn ang="0">
                        <a:pos x="T2" y="T3"/>
                      </a:cxn>
                      <a:cxn ang="0">
                        <a:pos x="T4" y="T5"/>
                      </a:cxn>
                      <a:cxn ang="0">
                        <a:pos x="T6" y="T7"/>
                      </a:cxn>
                      <a:cxn ang="0">
                        <a:pos x="T8" y="T9"/>
                      </a:cxn>
                    </a:cxnLst>
                    <a:rect l="0" t="0" r="r" b="b"/>
                    <a:pathLst>
                      <a:path w="29" h="54">
                        <a:moveTo>
                          <a:pt x="29" y="0"/>
                        </a:moveTo>
                        <a:lnTo>
                          <a:pt x="0" y="54"/>
                        </a:lnTo>
                        <a:lnTo>
                          <a:pt x="3" y="54"/>
                        </a:lnTo>
                        <a:lnTo>
                          <a:pt x="29" y="0"/>
                        </a:lnTo>
                        <a:lnTo>
                          <a:pt x="29" y="0"/>
                        </a:lnTo>
                        <a:close/>
                      </a:path>
                    </a:pathLst>
                  </a:custGeom>
                  <a:solidFill>
                    <a:srgbClr val="01AAE5"/>
                  </a:solidFill>
                  <a:ln>
                    <a:noFill/>
                  </a:ln>
                  <a:extLst/>
                </p:spPr>
                <p:txBody>
                  <a:bodyPr/>
                  <a:lstStyle/>
                  <a:p>
                    <a:pPr eaLnBrk="1" hangingPunct="1">
                      <a:defRPr/>
                    </a:pPr>
                    <a:endParaRPr lang="zh-CN" altLang="en-US" sz="1050"/>
                  </a:p>
                </p:txBody>
              </p:sp>
              <p:sp>
                <p:nvSpPr>
                  <p:cNvPr id="2403" name="Freeform 1956"/>
                  <p:cNvSpPr>
                    <a:spLocks/>
                  </p:cNvSpPr>
                  <p:nvPr/>
                </p:nvSpPr>
                <p:spPr bwMode="auto">
                  <a:xfrm>
                    <a:off x="10573" y="3161"/>
                    <a:ext cx="33" cy="61"/>
                  </a:xfrm>
                  <a:custGeom>
                    <a:avLst/>
                    <a:gdLst>
                      <a:gd name="T0" fmla="*/ 26 w 28"/>
                      <a:gd name="T1" fmla="*/ 0 h 55"/>
                      <a:gd name="T2" fmla="*/ 0 w 28"/>
                      <a:gd name="T3" fmla="*/ 52 h 55"/>
                      <a:gd name="T4" fmla="*/ 2 w 28"/>
                      <a:gd name="T5" fmla="*/ 55 h 55"/>
                      <a:gd name="T6" fmla="*/ 28 w 28"/>
                      <a:gd name="T7" fmla="*/ 0 h 55"/>
                      <a:gd name="T8" fmla="*/ 26 w 28"/>
                      <a:gd name="T9" fmla="*/ 0 h 55"/>
                    </a:gdLst>
                    <a:ahLst/>
                    <a:cxnLst>
                      <a:cxn ang="0">
                        <a:pos x="T0" y="T1"/>
                      </a:cxn>
                      <a:cxn ang="0">
                        <a:pos x="T2" y="T3"/>
                      </a:cxn>
                      <a:cxn ang="0">
                        <a:pos x="T4" y="T5"/>
                      </a:cxn>
                      <a:cxn ang="0">
                        <a:pos x="T6" y="T7"/>
                      </a:cxn>
                      <a:cxn ang="0">
                        <a:pos x="T8" y="T9"/>
                      </a:cxn>
                    </a:cxnLst>
                    <a:rect l="0" t="0" r="r" b="b"/>
                    <a:pathLst>
                      <a:path w="28" h="55">
                        <a:moveTo>
                          <a:pt x="26" y="0"/>
                        </a:moveTo>
                        <a:lnTo>
                          <a:pt x="0" y="52"/>
                        </a:lnTo>
                        <a:lnTo>
                          <a:pt x="2" y="55"/>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404" name="Freeform 1957"/>
                  <p:cNvSpPr>
                    <a:spLocks/>
                  </p:cNvSpPr>
                  <p:nvPr/>
                </p:nvSpPr>
                <p:spPr bwMode="auto">
                  <a:xfrm>
                    <a:off x="10565" y="3161"/>
                    <a:ext cx="25" cy="61"/>
                  </a:xfrm>
                  <a:custGeom>
                    <a:avLst/>
                    <a:gdLst>
                      <a:gd name="T0" fmla="*/ 28 w 28"/>
                      <a:gd name="T1" fmla="*/ 0 h 52"/>
                      <a:gd name="T2" fmla="*/ 0 w 28"/>
                      <a:gd name="T3" fmla="*/ 52 h 52"/>
                      <a:gd name="T4" fmla="*/ 2 w 28"/>
                      <a:gd name="T5" fmla="*/ 52 h 52"/>
                      <a:gd name="T6" fmla="*/ 28 w 28"/>
                      <a:gd name="T7" fmla="*/ 0 h 52"/>
                      <a:gd name="T8" fmla="*/ 28 w 28"/>
                      <a:gd name="T9" fmla="*/ 0 h 52"/>
                    </a:gdLst>
                    <a:ahLst/>
                    <a:cxnLst>
                      <a:cxn ang="0">
                        <a:pos x="T0" y="T1"/>
                      </a:cxn>
                      <a:cxn ang="0">
                        <a:pos x="T2" y="T3"/>
                      </a:cxn>
                      <a:cxn ang="0">
                        <a:pos x="T4" y="T5"/>
                      </a:cxn>
                      <a:cxn ang="0">
                        <a:pos x="T6" y="T7"/>
                      </a:cxn>
                      <a:cxn ang="0">
                        <a:pos x="T8" y="T9"/>
                      </a:cxn>
                    </a:cxnLst>
                    <a:rect l="0" t="0" r="r" b="b"/>
                    <a:pathLst>
                      <a:path w="28" h="52">
                        <a:moveTo>
                          <a:pt x="28" y="0"/>
                        </a:moveTo>
                        <a:lnTo>
                          <a:pt x="0" y="52"/>
                        </a:lnTo>
                        <a:lnTo>
                          <a:pt x="2" y="52"/>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2405" name="Freeform 1958"/>
                  <p:cNvSpPr>
                    <a:spLocks/>
                  </p:cNvSpPr>
                  <p:nvPr/>
                </p:nvSpPr>
                <p:spPr bwMode="auto">
                  <a:xfrm>
                    <a:off x="10590" y="3170"/>
                    <a:ext cx="25" cy="61"/>
                  </a:xfrm>
                  <a:custGeom>
                    <a:avLst/>
                    <a:gdLst>
                      <a:gd name="T0" fmla="*/ 26 w 29"/>
                      <a:gd name="T1" fmla="*/ 0 h 57"/>
                      <a:gd name="T2" fmla="*/ 0 w 29"/>
                      <a:gd name="T3" fmla="*/ 57 h 57"/>
                      <a:gd name="T4" fmla="*/ 3 w 29"/>
                      <a:gd name="T5" fmla="*/ 57 h 57"/>
                      <a:gd name="T6" fmla="*/ 29 w 29"/>
                      <a:gd name="T7" fmla="*/ 0 h 57"/>
                      <a:gd name="T8" fmla="*/ 26 w 29"/>
                      <a:gd name="T9" fmla="*/ 0 h 57"/>
                    </a:gdLst>
                    <a:ahLst/>
                    <a:cxnLst>
                      <a:cxn ang="0">
                        <a:pos x="T0" y="T1"/>
                      </a:cxn>
                      <a:cxn ang="0">
                        <a:pos x="T2" y="T3"/>
                      </a:cxn>
                      <a:cxn ang="0">
                        <a:pos x="T4" y="T5"/>
                      </a:cxn>
                      <a:cxn ang="0">
                        <a:pos x="T6" y="T7"/>
                      </a:cxn>
                      <a:cxn ang="0">
                        <a:pos x="T8" y="T9"/>
                      </a:cxn>
                    </a:cxnLst>
                    <a:rect l="0" t="0" r="r" b="b"/>
                    <a:pathLst>
                      <a:path w="29" h="57">
                        <a:moveTo>
                          <a:pt x="26" y="0"/>
                        </a:moveTo>
                        <a:lnTo>
                          <a:pt x="0" y="57"/>
                        </a:lnTo>
                        <a:lnTo>
                          <a:pt x="3" y="57"/>
                        </a:lnTo>
                        <a:lnTo>
                          <a:pt x="29"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406" name="Freeform 1959"/>
                  <p:cNvSpPr>
                    <a:spLocks/>
                  </p:cNvSpPr>
                  <p:nvPr/>
                </p:nvSpPr>
                <p:spPr bwMode="auto">
                  <a:xfrm>
                    <a:off x="10556" y="3161"/>
                    <a:ext cx="33" cy="52"/>
                  </a:xfrm>
                  <a:custGeom>
                    <a:avLst/>
                    <a:gdLst>
                      <a:gd name="T0" fmla="*/ 26 w 28"/>
                      <a:gd name="T1" fmla="*/ 0 h 49"/>
                      <a:gd name="T2" fmla="*/ 0 w 28"/>
                      <a:gd name="T3" fmla="*/ 49 h 49"/>
                      <a:gd name="T4" fmla="*/ 2 w 28"/>
                      <a:gd name="T5" fmla="*/ 49 h 49"/>
                      <a:gd name="T6" fmla="*/ 28 w 28"/>
                      <a:gd name="T7" fmla="*/ 0 h 49"/>
                      <a:gd name="T8" fmla="*/ 26 w 28"/>
                      <a:gd name="T9" fmla="*/ 0 h 49"/>
                    </a:gdLst>
                    <a:ahLst/>
                    <a:cxnLst>
                      <a:cxn ang="0">
                        <a:pos x="T0" y="T1"/>
                      </a:cxn>
                      <a:cxn ang="0">
                        <a:pos x="T2" y="T3"/>
                      </a:cxn>
                      <a:cxn ang="0">
                        <a:pos x="T4" y="T5"/>
                      </a:cxn>
                      <a:cxn ang="0">
                        <a:pos x="T6" y="T7"/>
                      </a:cxn>
                      <a:cxn ang="0">
                        <a:pos x="T8" y="T9"/>
                      </a:cxn>
                    </a:cxnLst>
                    <a:rect l="0" t="0" r="r" b="b"/>
                    <a:pathLst>
                      <a:path w="28" h="49">
                        <a:moveTo>
                          <a:pt x="26" y="0"/>
                        </a:moveTo>
                        <a:lnTo>
                          <a:pt x="0" y="49"/>
                        </a:lnTo>
                        <a:lnTo>
                          <a:pt x="2" y="49"/>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407" name="Freeform 1960"/>
                  <p:cNvSpPr>
                    <a:spLocks/>
                  </p:cNvSpPr>
                  <p:nvPr/>
                </p:nvSpPr>
                <p:spPr bwMode="auto">
                  <a:xfrm>
                    <a:off x="10548" y="3161"/>
                    <a:ext cx="25" cy="44"/>
                  </a:xfrm>
                  <a:custGeom>
                    <a:avLst/>
                    <a:gdLst>
                      <a:gd name="T0" fmla="*/ 24 w 24"/>
                      <a:gd name="T1" fmla="*/ 0 h 45"/>
                      <a:gd name="T2" fmla="*/ 0 w 24"/>
                      <a:gd name="T3" fmla="*/ 45 h 45"/>
                      <a:gd name="T4" fmla="*/ 0 w 24"/>
                      <a:gd name="T5" fmla="*/ 45 h 45"/>
                      <a:gd name="T6" fmla="*/ 24 w 24"/>
                      <a:gd name="T7" fmla="*/ 0 h 45"/>
                      <a:gd name="T8" fmla="*/ 24 w 24"/>
                      <a:gd name="T9" fmla="*/ 0 h 45"/>
                    </a:gdLst>
                    <a:ahLst/>
                    <a:cxnLst>
                      <a:cxn ang="0">
                        <a:pos x="T0" y="T1"/>
                      </a:cxn>
                      <a:cxn ang="0">
                        <a:pos x="T2" y="T3"/>
                      </a:cxn>
                      <a:cxn ang="0">
                        <a:pos x="T4" y="T5"/>
                      </a:cxn>
                      <a:cxn ang="0">
                        <a:pos x="T6" y="T7"/>
                      </a:cxn>
                      <a:cxn ang="0">
                        <a:pos x="T8" y="T9"/>
                      </a:cxn>
                    </a:cxnLst>
                    <a:rect l="0" t="0" r="r" b="b"/>
                    <a:pathLst>
                      <a:path w="24" h="45">
                        <a:moveTo>
                          <a:pt x="24" y="0"/>
                        </a:moveTo>
                        <a:lnTo>
                          <a:pt x="0" y="45"/>
                        </a:lnTo>
                        <a:lnTo>
                          <a:pt x="0" y="45"/>
                        </a:lnTo>
                        <a:lnTo>
                          <a:pt x="24"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2408" name="Freeform 1961"/>
                  <p:cNvSpPr>
                    <a:spLocks/>
                  </p:cNvSpPr>
                  <p:nvPr/>
                </p:nvSpPr>
                <p:spPr bwMode="auto">
                  <a:xfrm>
                    <a:off x="10556" y="3161"/>
                    <a:ext cx="33" cy="44"/>
                  </a:xfrm>
                  <a:custGeom>
                    <a:avLst/>
                    <a:gdLst>
                      <a:gd name="T0" fmla="*/ 24 w 26"/>
                      <a:gd name="T1" fmla="*/ 0 h 47"/>
                      <a:gd name="T2" fmla="*/ 0 w 26"/>
                      <a:gd name="T3" fmla="*/ 47 h 47"/>
                      <a:gd name="T4" fmla="*/ 0 w 26"/>
                      <a:gd name="T5" fmla="*/ 47 h 47"/>
                      <a:gd name="T6" fmla="*/ 26 w 26"/>
                      <a:gd name="T7" fmla="*/ 0 h 47"/>
                      <a:gd name="T8" fmla="*/ 24 w 26"/>
                      <a:gd name="T9" fmla="*/ 0 h 47"/>
                    </a:gdLst>
                    <a:ahLst/>
                    <a:cxnLst>
                      <a:cxn ang="0">
                        <a:pos x="T0" y="T1"/>
                      </a:cxn>
                      <a:cxn ang="0">
                        <a:pos x="T2" y="T3"/>
                      </a:cxn>
                      <a:cxn ang="0">
                        <a:pos x="T4" y="T5"/>
                      </a:cxn>
                      <a:cxn ang="0">
                        <a:pos x="T6" y="T7"/>
                      </a:cxn>
                      <a:cxn ang="0">
                        <a:pos x="T8" y="T9"/>
                      </a:cxn>
                    </a:cxnLst>
                    <a:rect l="0" t="0" r="r" b="b"/>
                    <a:pathLst>
                      <a:path w="26" h="47">
                        <a:moveTo>
                          <a:pt x="24" y="0"/>
                        </a:moveTo>
                        <a:lnTo>
                          <a:pt x="0" y="47"/>
                        </a:lnTo>
                        <a:lnTo>
                          <a:pt x="0" y="47"/>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2409" name="Freeform 1962"/>
                  <p:cNvSpPr>
                    <a:spLocks/>
                  </p:cNvSpPr>
                  <p:nvPr/>
                </p:nvSpPr>
                <p:spPr bwMode="auto">
                  <a:xfrm>
                    <a:off x="10506" y="3135"/>
                    <a:ext cx="8" cy="17"/>
                  </a:xfrm>
                  <a:custGeom>
                    <a:avLst/>
                    <a:gdLst>
                      <a:gd name="T0" fmla="*/ 9 w 12"/>
                      <a:gd name="T1" fmla="*/ 0 h 19"/>
                      <a:gd name="T2" fmla="*/ 0 w 12"/>
                      <a:gd name="T3" fmla="*/ 16 h 19"/>
                      <a:gd name="T4" fmla="*/ 0 w 12"/>
                      <a:gd name="T5" fmla="*/ 19 h 19"/>
                      <a:gd name="T6" fmla="*/ 12 w 12"/>
                      <a:gd name="T7" fmla="*/ 2 h 19"/>
                      <a:gd name="T8" fmla="*/ 9 w 12"/>
                      <a:gd name="T9" fmla="*/ 0 h 19"/>
                    </a:gdLst>
                    <a:ahLst/>
                    <a:cxnLst>
                      <a:cxn ang="0">
                        <a:pos x="T0" y="T1"/>
                      </a:cxn>
                      <a:cxn ang="0">
                        <a:pos x="T2" y="T3"/>
                      </a:cxn>
                      <a:cxn ang="0">
                        <a:pos x="T4" y="T5"/>
                      </a:cxn>
                      <a:cxn ang="0">
                        <a:pos x="T6" y="T7"/>
                      </a:cxn>
                      <a:cxn ang="0">
                        <a:pos x="T8" y="T9"/>
                      </a:cxn>
                    </a:cxnLst>
                    <a:rect l="0" t="0" r="r" b="b"/>
                    <a:pathLst>
                      <a:path w="12" h="19">
                        <a:moveTo>
                          <a:pt x="9" y="0"/>
                        </a:moveTo>
                        <a:lnTo>
                          <a:pt x="0" y="16"/>
                        </a:lnTo>
                        <a:lnTo>
                          <a:pt x="0" y="1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410" name="Freeform 1963"/>
                  <p:cNvSpPr>
                    <a:spLocks/>
                  </p:cNvSpPr>
                  <p:nvPr/>
                </p:nvSpPr>
                <p:spPr bwMode="auto">
                  <a:xfrm>
                    <a:off x="10490" y="3127"/>
                    <a:ext cx="8" cy="9"/>
                  </a:xfrm>
                  <a:custGeom>
                    <a:avLst/>
                    <a:gdLst>
                      <a:gd name="T0" fmla="*/ 7 w 9"/>
                      <a:gd name="T1" fmla="*/ 0 h 12"/>
                      <a:gd name="T2" fmla="*/ 0 w 9"/>
                      <a:gd name="T3" fmla="*/ 12 h 12"/>
                      <a:gd name="T4" fmla="*/ 0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2"/>
                        </a:lnTo>
                        <a:lnTo>
                          <a:pt x="0"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411" name="Freeform 1964"/>
                  <p:cNvSpPr>
                    <a:spLocks/>
                  </p:cNvSpPr>
                  <p:nvPr/>
                </p:nvSpPr>
                <p:spPr bwMode="auto">
                  <a:xfrm>
                    <a:off x="10448" y="3083"/>
                    <a:ext cx="17" cy="17"/>
                  </a:xfrm>
                  <a:custGeom>
                    <a:avLst/>
                    <a:gdLst>
                      <a:gd name="T0" fmla="*/ 14 w 16"/>
                      <a:gd name="T1" fmla="*/ 0 h 19"/>
                      <a:gd name="T2" fmla="*/ 0 w 16"/>
                      <a:gd name="T3" fmla="*/ 17 h 19"/>
                      <a:gd name="T4" fmla="*/ 2 w 16"/>
                      <a:gd name="T5" fmla="*/ 19 h 19"/>
                      <a:gd name="T6" fmla="*/ 16 w 16"/>
                      <a:gd name="T7" fmla="*/ 0 h 19"/>
                      <a:gd name="T8" fmla="*/ 14 w 16"/>
                      <a:gd name="T9" fmla="*/ 0 h 19"/>
                    </a:gdLst>
                    <a:ahLst/>
                    <a:cxnLst>
                      <a:cxn ang="0">
                        <a:pos x="T0" y="T1"/>
                      </a:cxn>
                      <a:cxn ang="0">
                        <a:pos x="T2" y="T3"/>
                      </a:cxn>
                      <a:cxn ang="0">
                        <a:pos x="T4" y="T5"/>
                      </a:cxn>
                      <a:cxn ang="0">
                        <a:pos x="T6" y="T7"/>
                      </a:cxn>
                      <a:cxn ang="0">
                        <a:pos x="T8" y="T9"/>
                      </a:cxn>
                    </a:cxnLst>
                    <a:rect l="0" t="0" r="r" b="b"/>
                    <a:pathLst>
                      <a:path w="16" h="19">
                        <a:moveTo>
                          <a:pt x="14" y="0"/>
                        </a:moveTo>
                        <a:lnTo>
                          <a:pt x="0" y="17"/>
                        </a:lnTo>
                        <a:lnTo>
                          <a:pt x="2" y="19"/>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2412" name="Freeform 1965"/>
                  <p:cNvSpPr>
                    <a:spLocks/>
                  </p:cNvSpPr>
                  <p:nvPr/>
                </p:nvSpPr>
                <p:spPr bwMode="auto">
                  <a:xfrm>
                    <a:off x="10448" y="3092"/>
                    <a:ext cx="17" cy="9"/>
                  </a:xfrm>
                  <a:custGeom>
                    <a:avLst/>
                    <a:gdLst>
                      <a:gd name="T0" fmla="*/ 11 w 14"/>
                      <a:gd name="T1" fmla="*/ 0 h 16"/>
                      <a:gd name="T2" fmla="*/ 0 w 14"/>
                      <a:gd name="T3" fmla="*/ 16 h 16"/>
                      <a:gd name="T4" fmla="*/ 0 w 14"/>
                      <a:gd name="T5" fmla="*/ 16 h 16"/>
                      <a:gd name="T6" fmla="*/ 14 w 14"/>
                      <a:gd name="T7" fmla="*/ 2 h 16"/>
                      <a:gd name="T8" fmla="*/ 11 w 14"/>
                      <a:gd name="T9" fmla="*/ 0 h 16"/>
                    </a:gdLst>
                    <a:ahLst/>
                    <a:cxnLst>
                      <a:cxn ang="0">
                        <a:pos x="T0" y="T1"/>
                      </a:cxn>
                      <a:cxn ang="0">
                        <a:pos x="T2" y="T3"/>
                      </a:cxn>
                      <a:cxn ang="0">
                        <a:pos x="T4" y="T5"/>
                      </a:cxn>
                      <a:cxn ang="0">
                        <a:pos x="T6" y="T7"/>
                      </a:cxn>
                      <a:cxn ang="0">
                        <a:pos x="T8" y="T9"/>
                      </a:cxn>
                    </a:cxnLst>
                    <a:rect l="0" t="0" r="r" b="b"/>
                    <a:pathLst>
                      <a:path w="14" h="16">
                        <a:moveTo>
                          <a:pt x="11" y="0"/>
                        </a:moveTo>
                        <a:lnTo>
                          <a:pt x="0" y="16"/>
                        </a:lnTo>
                        <a:lnTo>
                          <a:pt x="0" y="16"/>
                        </a:lnTo>
                        <a:lnTo>
                          <a:pt x="14"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2413" name="Freeform 1966"/>
                  <p:cNvSpPr>
                    <a:spLocks/>
                  </p:cNvSpPr>
                  <p:nvPr/>
                </p:nvSpPr>
                <p:spPr bwMode="auto">
                  <a:xfrm>
                    <a:off x="10590" y="3179"/>
                    <a:ext cx="25" cy="52"/>
                  </a:xfrm>
                  <a:custGeom>
                    <a:avLst/>
                    <a:gdLst>
                      <a:gd name="T0" fmla="*/ 26 w 26"/>
                      <a:gd name="T1" fmla="*/ 0 h 57"/>
                      <a:gd name="T2" fmla="*/ 0 w 26"/>
                      <a:gd name="T3" fmla="*/ 57 h 57"/>
                      <a:gd name="T4" fmla="*/ 2 w 26"/>
                      <a:gd name="T5" fmla="*/ 57 h 57"/>
                      <a:gd name="T6" fmla="*/ 26 w 26"/>
                      <a:gd name="T7" fmla="*/ 0 h 57"/>
                      <a:gd name="T8" fmla="*/ 26 w 26"/>
                      <a:gd name="T9" fmla="*/ 0 h 57"/>
                    </a:gdLst>
                    <a:ahLst/>
                    <a:cxnLst>
                      <a:cxn ang="0">
                        <a:pos x="T0" y="T1"/>
                      </a:cxn>
                      <a:cxn ang="0">
                        <a:pos x="T2" y="T3"/>
                      </a:cxn>
                      <a:cxn ang="0">
                        <a:pos x="T4" y="T5"/>
                      </a:cxn>
                      <a:cxn ang="0">
                        <a:pos x="T6" y="T7"/>
                      </a:cxn>
                      <a:cxn ang="0">
                        <a:pos x="T8" y="T9"/>
                      </a:cxn>
                    </a:cxnLst>
                    <a:rect l="0" t="0" r="r" b="b"/>
                    <a:pathLst>
                      <a:path w="26" h="57">
                        <a:moveTo>
                          <a:pt x="26" y="0"/>
                        </a:moveTo>
                        <a:lnTo>
                          <a:pt x="0" y="57"/>
                        </a:lnTo>
                        <a:lnTo>
                          <a:pt x="2" y="57"/>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2414" name="Freeform 1967"/>
                  <p:cNvSpPr>
                    <a:spLocks/>
                  </p:cNvSpPr>
                  <p:nvPr/>
                </p:nvSpPr>
                <p:spPr bwMode="auto">
                  <a:xfrm>
                    <a:off x="10432" y="3074"/>
                    <a:ext cx="17" cy="26"/>
                  </a:xfrm>
                  <a:custGeom>
                    <a:avLst/>
                    <a:gdLst>
                      <a:gd name="T0" fmla="*/ 16 w 16"/>
                      <a:gd name="T1" fmla="*/ 0 h 19"/>
                      <a:gd name="T2" fmla="*/ 0 w 16"/>
                      <a:gd name="T3" fmla="*/ 19 h 19"/>
                      <a:gd name="T4" fmla="*/ 0 w 16"/>
                      <a:gd name="T5" fmla="*/ 19 h 19"/>
                      <a:gd name="T6" fmla="*/ 16 w 16"/>
                      <a:gd name="T7" fmla="*/ 0 h 19"/>
                      <a:gd name="T8" fmla="*/ 16 w 16"/>
                      <a:gd name="T9" fmla="*/ 0 h 19"/>
                    </a:gdLst>
                    <a:ahLst/>
                    <a:cxnLst>
                      <a:cxn ang="0">
                        <a:pos x="T0" y="T1"/>
                      </a:cxn>
                      <a:cxn ang="0">
                        <a:pos x="T2" y="T3"/>
                      </a:cxn>
                      <a:cxn ang="0">
                        <a:pos x="T4" y="T5"/>
                      </a:cxn>
                      <a:cxn ang="0">
                        <a:pos x="T6" y="T7"/>
                      </a:cxn>
                      <a:cxn ang="0">
                        <a:pos x="T8" y="T9"/>
                      </a:cxn>
                    </a:cxnLst>
                    <a:rect l="0" t="0" r="r" b="b"/>
                    <a:pathLst>
                      <a:path w="16" h="19">
                        <a:moveTo>
                          <a:pt x="16" y="0"/>
                        </a:moveTo>
                        <a:lnTo>
                          <a:pt x="0" y="19"/>
                        </a:lnTo>
                        <a:lnTo>
                          <a:pt x="0" y="19"/>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2415" name="Freeform 1968"/>
                  <p:cNvSpPr>
                    <a:spLocks/>
                  </p:cNvSpPr>
                  <p:nvPr/>
                </p:nvSpPr>
                <p:spPr bwMode="auto">
                  <a:xfrm>
                    <a:off x="10465" y="3100"/>
                    <a:ext cx="8" cy="9"/>
                  </a:xfrm>
                  <a:custGeom>
                    <a:avLst/>
                    <a:gdLst>
                      <a:gd name="T0" fmla="*/ 12 w 12"/>
                      <a:gd name="T1" fmla="*/ 0 h 15"/>
                      <a:gd name="T2" fmla="*/ 0 w 12"/>
                      <a:gd name="T3" fmla="*/ 15 h 15"/>
                      <a:gd name="T4" fmla="*/ 2 w 12"/>
                      <a:gd name="T5" fmla="*/ 15 h 15"/>
                      <a:gd name="T6" fmla="*/ 12 w 12"/>
                      <a:gd name="T7" fmla="*/ 3 h 15"/>
                      <a:gd name="T8" fmla="*/ 12 w 12"/>
                      <a:gd name="T9" fmla="*/ 0 h 15"/>
                    </a:gdLst>
                    <a:ahLst/>
                    <a:cxnLst>
                      <a:cxn ang="0">
                        <a:pos x="T0" y="T1"/>
                      </a:cxn>
                      <a:cxn ang="0">
                        <a:pos x="T2" y="T3"/>
                      </a:cxn>
                      <a:cxn ang="0">
                        <a:pos x="T4" y="T5"/>
                      </a:cxn>
                      <a:cxn ang="0">
                        <a:pos x="T6" y="T7"/>
                      </a:cxn>
                      <a:cxn ang="0">
                        <a:pos x="T8" y="T9"/>
                      </a:cxn>
                    </a:cxnLst>
                    <a:rect l="0" t="0" r="r" b="b"/>
                    <a:pathLst>
                      <a:path w="12" h="15">
                        <a:moveTo>
                          <a:pt x="12" y="0"/>
                        </a:moveTo>
                        <a:lnTo>
                          <a:pt x="0" y="15"/>
                        </a:lnTo>
                        <a:lnTo>
                          <a:pt x="2" y="15"/>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2416" name="Freeform 1969"/>
                  <p:cNvSpPr>
                    <a:spLocks/>
                  </p:cNvSpPr>
                  <p:nvPr/>
                </p:nvSpPr>
                <p:spPr bwMode="auto">
                  <a:xfrm>
                    <a:off x="10415" y="3066"/>
                    <a:ext cx="33" cy="17"/>
                  </a:xfrm>
                  <a:custGeom>
                    <a:avLst/>
                    <a:gdLst>
                      <a:gd name="T0" fmla="*/ 21 w 24"/>
                      <a:gd name="T1" fmla="*/ 0 h 24"/>
                      <a:gd name="T2" fmla="*/ 0 w 24"/>
                      <a:gd name="T3" fmla="*/ 24 h 24"/>
                      <a:gd name="T4" fmla="*/ 2 w 24"/>
                      <a:gd name="T5" fmla="*/ 24 h 24"/>
                      <a:gd name="T6" fmla="*/ 24 w 24"/>
                      <a:gd name="T7" fmla="*/ 2 h 24"/>
                      <a:gd name="T8" fmla="*/ 21 w 24"/>
                      <a:gd name="T9" fmla="*/ 0 h 24"/>
                    </a:gdLst>
                    <a:ahLst/>
                    <a:cxnLst>
                      <a:cxn ang="0">
                        <a:pos x="T0" y="T1"/>
                      </a:cxn>
                      <a:cxn ang="0">
                        <a:pos x="T2" y="T3"/>
                      </a:cxn>
                      <a:cxn ang="0">
                        <a:pos x="T4" y="T5"/>
                      </a:cxn>
                      <a:cxn ang="0">
                        <a:pos x="T6" y="T7"/>
                      </a:cxn>
                      <a:cxn ang="0">
                        <a:pos x="T8" y="T9"/>
                      </a:cxn>
                    </a:cxnLst>
                    <a:rect l="0" t="0" r="r" b="b"/>
                    <a:pathLst>
                      <a:path w="24" h="24">
                        <a:moveTo>
                          <a:pt x="21" y="0"/>
                        </a:moveTo>
                        <a:lnTo>
                          <a:pt x="0" y="24"/>
                        </a:lnTo>
                        <a:lnTo>
                          <a:pt x="2" y="24"/>
                        </a:lnTo>
                        <a:lnTo>
                          <a:pt x="24"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2417" name="Freeform 1970"/>
                  <p:cNvSpPr>
                    <a:spLocks/>
                  </p:cNvSpPr>
                  <p:nvPr/>
                </p:nvSpPr>
                <p:spPr bwMode="auto">
                  <a:xfrm>
                    <a:off x="10415" y="3074"/>
                    <a:ext cx="25" cy="17"/>
                  </a:xfrm>
                  <a:custGeom>
                    <a:avLst/>
                    <a:gdLst>
                      <a:gd name="T0" fmla="*/ 19 w 19"/>
                      <a:gd name="T1" fmla="*/ 0 h 23"/>
                      <a:gd name="T2" fmla="*/ 0 w 19"/>
                      <a:gd name="T3" fmla="*/ 21 h 23"/>
                      <a:gd name="T4" fmla="*/ 0 w 19"/>
                      <a:gd name="T5" fmla="*/ 23 h 23"/>
                      <a:gd name="T6" fmla="*/ 19 w 19"/>
                      <a:gd name="T7" fmla="*/ 2 h 23"/>
                      <a:gd name="T8" fmla="*/ 19 w 19"/>
                      <a:gd name="T9" fmla="*/ 0 h 23"/>
                    </a:gdLst>
                    <a:ahLst/>
                    <a:cxnLst>
                      <a:cxn ang="0">
                        <a:pos x="T0" y="T1"/>
                      </a:cxn>
                      <a:cxn ang="0">
                        <a:pos x="T2" y="T3"/>
                      </a:cxn>
                      <a:cxn ang="0">
                        <a:pos x="T4" y="T5"/>
                      </a:cxn>
                      <a:cxn ang="0">
                        <a:pos x="T6" y="T7"/>
                      </a:cxn>
                      <a:cxn ang="0">
                        <a:pos x="T8" y="T9"/>
                      </a:cxn>
                    </a:cxnLst>
                    <a:rect l="0" t="0" r="r" b="b"/>
                    <a:pathLst>
                      <a:path w="19" h="23">
                        <a:moveTo>
                          <a:pt x="19" y="0"/>
                        </a:moveTo>
                        <a:lnTo>
                          <a:pt x="0" y="21"/>
                        </a:lnTo>
                        <a:lnTo>
                          <a:pt x="0" y="23"/>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418" name="Freeform 1971"/>
                  <p:cNvSpPr>
                    <a:spLocks/>
                  </p:cNvSpPr>
                  <p:nvPr/>
                </p:nvSpPr>
                <p:spPr bwMode="auto">
                  <a:xfrm>
                    <a:off x="10432" y="3074"/>
                    <a:ext cx="17" cy="26"/>
                  </a:xfrm>
                  <a:custGeom>
                    <a:avLst/>
                    <a:gdLst>
                      <a:gd name="T0" fmla="*/ 19 w 19"/>
                      <a:gd name="T1" fmla="*/ 0 h 21"/>
                      <a:gd name="T2" fmla="*/ 0 w 19"/>
                      <a:gd name="T3" fmla="*/ 19 h 21"/>
                      <a:gd name="T4" fmla="*/ 2 w 19"/>
                      <a:gd name="T5" fmla="*/ 21 h 21"/>
                      <a:gd name="T6" fmla="*/ 19 w 19"/>
                      <a:gd name="T7" fmla="*/ 0 h 21"/>
                      <a:gd name="T8" fmla="*/ 19 w 19"/>
                      <a:gd name="T9" fmla="*/ 0 h 21"/>
                    </a:gdLst>
                    <a:ahLst/>
                    <a:cxnLst>
                      <a:cxn ang="0">
                        <a:pos x="T0" y="T1"/>
                      </a:cxn>
                      <a:cxn ang="0">
                        <a:pos x="T2" y="T3"/>
                      </a:cxn>
                      <a:cxn ang="0">
                        <a:pos x="T4" y="T5"/>
                      </a:cxn>
                      <a:cxn ang="0">
                        <a:pos x="T6" y="T7"/>
                      </a:cxn>
                      <a:cxn ang="0">
                        <a:pos x="T8" y="T9"/>
                      </a:cxn>
                    </a:cxnLst>
                    <a:rect l="0" t="0" r="r" b="b"/>
                    <a:pathLst>
                      <a:path w="19" h="21">
                        <a:moveTo>
                          <a:pt x="19" y="0"/>
                        </a:moveTo>
                        <a:lnTo>
                          <a:pt x="0" y="19"/>
                        </a:lnTo>
                        <a:lnTo>
                          <a:pt x="2" y="2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2419" name="Freeform 1972"/>
                  <p:cNvSpPr>
                    <a:spLocks/>
                  </p:cNvSpPr>
                  <p:nvPr/>
                </p:nvSpPr>
                <p:spPr bwMode="auto">
                  <a:xfrm>
                    <a:off x="10465" y="3100"/>
                    <a:ext cx="8" cy="17"/>
                  </a:xfrm>
                  <a:custGeom>
                    <a:avLst/>
                    <a:gdLst>
                      <a:gd name="T0" fmla="*/ 10 w 10"/>
                      <a:gd name="T1" fmla="*/ 0 h 14"/>
                      <a:gd name="T2" fmla="*/ 0 w 10"/>
                      <a:gd name="T3" fmla="*/ 12 h 14"/>
                      <a:gd name="T4" fmla="*/ 3 w 10"/>
                      <a:gd name="T5" fmla="*/ 14 h 14"/>
                      <a:gd name="T6" fmla="*/ 10 w 10"/>
                      <a:gd name="T7" fmla="*/ 2 h 14"/>
                      <a:gd name="T8" fmla="*/ 10 w 10"/>
                      <a:gd name="T9" fmla="*/ 0 h 14"/>
                    </a:gdLst>
                    <a:ahLst/>
                    <a:cxnLst>
                      <a:cxn ang="0">
                        <a:pos x="T0" y="T1"/>
                      </a:cxn>
                      <a:cxn ang="0">
                        <a:pos x="T2" y="T3"/>
                      </a:cxn>
                      <a:cxn ang="0">
                        <a:pos x="T4" y="T5"/>
                      </a:cxn>
                      <a:cxn ang="0">
                        <a:pos x="T6" y="T7"/>
                      </a:cxn>
                      <a:cxn ang="0">
                        <a:pos x="T8" y="T9"/>
                      </a:cxn>
                    </a:cxnLst>
                    <a:rect l="0" t="0" r="r" b="b"/>
                    <a:pathLst>
                      <a:path w="10" h="14">
                        <a:moveTo>
                          <a:pt x="10" y="0"/>
                        </a:moveTo>
                        <a:lnTo>
                          <a:pt x="0" y="12"/>
                        </a:lnTo>
                        <a:lnTo>
                          <a:pt x="3" y="1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2420" name="Freeform 1973"/>
                  <p:cNvSpPr>
                    <a:spLocks/>
                  </p:cNvSpPr>
                  <p:nvPr/>
                </p:nvSpPr>
                <p:spPr bwMode="auto">
                  <a:xfrm>
                    <a:off x="10415" y="3057"/>
                    <a:ext cx="33" cy="26"/>
                  </a:xfrm>
                  <a:custGeom>
                    <a:avLst/>
                    <a:gdLst>
                      <a:gd name="T0" fmla="*/ 22 w 24"/>
                      <a:gd name="T1" fmla="*/ 0 h 24"/>
                      <a:gd name="T2" fmla="*/ 0 w 24"/>
                      <a:gd name="T3" fmla="*/ 24 h 24"/>
                      <a:gd name="T4" fmla="*/ 3 w 24"/>
                      <a:gd name="T5" fmla="*/ 24 h 24"/>
                      <a:gd name="T6" fmla="*/ 24 w 24"/>
                      <a:gd name="T7" fmla="*/ 3 h 24"/>
                      <a:gd name="T8" fmla="*/ 22 w 24"/>
                      <a:gd name="T9" fmla="*/ 0 h 24"/>
                    </a:gdLst>
                    <a:ahLst/>
                    <a:cxnLst>
                      <a:cxn ang="0">
                        <a:pos x="T0" y="T1"/>
                      </a:cxn>
                      <a:cxn ang="0">
                        <a:pos x="T2" y="T3"/>
                      </a:cxn>
                      <a:cxn ang="0">
                        <a:pos x="T4" y="T5"/>
                      </a:cxn>
                      <a:cxn ang="0">
                        <a:pos x="T6" y="T7"/>
                      </a:cxn>
                      <a:cxn ang="0">
                        <a:pos x="T8" y="T9"/>
                      </a:cxn>
                    </a:cxnLst>
                    <a:rect l="0" t="0" r="r" b="b"/>
                    <a:pathLst>
                      <a:path w="24" h="24">
                        <a:moveTo>
                          <a:pt x="22" y="0"/>
                        </a:moveTo>
                        <a:lnTo>
                          <a:pt x="0" y="24"/>
                        </a:lnTo>
                        <a:lnTo>
                          <a:pt x="3" y="24"/>
                        </a:lnTo>
                        <a:lnTo>
                          <a:pt x="24" y="3"/>
                        </a:lnTo>
                        <a:lnTo>
                          <a:pt x="22" y="0"/>
                        </a:lnTo>
                        <a:close/>
                      </a:path>
                    </a:pathLst>
                  </a:custGeom>
                  <a:solidFill>
                    <a:srgbClr val="01AAE5"/>
                  </a:solidFill>
                  <a:ln>
                    <a:noFill/>
                  </a:ln>
                  <a:extLst/>
                </p:spPr>
                <p:txBody>
                  <a:bodyPr/>
                  <a:lstStyle/>
                  <a:p>
                    <a:pPr eaLnBrk="1" hangingPunct="1">
                      <a:defRPr/>
                    </a:pPr>
                    <a:endParaRPr lang="zh-CN" altLang="en-US" sz="1050"/>
                  </a:p>
                </p:txBody>
              </p:sp>
              <p:sp>
                <p:nvSpPr>
                  <p:cNvPr id="2421" name="Freeform 1974"/>
                  <p:cNvSpPr>
                    <a:spLocks/>
                  </p:cNvSpPr>
                  <p:nvPr/>
                </p:nvSpPr>
                <p:spPr bwMode="auto">
                  <a:xfrm>
                    <a:off x="10490" y="3127"/>
                    <a:ext cx="0" cy="9"/>
                  </a:xfrm>
                  <a:custGeom>
                    <a:avLst/>
                    <a:gdLst>
                      <a:gd name="T0" fmla="*/ 7 w 7"/>
                      <a:gd name="T1" fmla="*/ 0 h 9"/>
                      <a:gd name="T2" fmla="*/ 0 w 7"/>
                      <a:gd name="T3" fmla="*/ 9 h 9"/>
                      <a:gd name="T4" fmla="*/ 0 w 7"/>
                      <a:gd name="T5" fmla="*/ 9 h 9"/>
                      <a:gd name="T6" fmla="*/ 7 w 7"/>
                      <a:gd name="T7" fmla="*/ 0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0" y="9"/>
                        </a:lnTo>
                        <a:lnTo>
                          <a:pt x="0" y="9"/>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2422" name="Freeform 1975"/>
                  <p:cNvSpPr>
                    <a:spLocks/>
                  </p:cNvSpPr>
                  <p:nvPr/>
                </p:nvSpPr>
                <p:spPr bwMode="auto">
                  <a:xfrm>
                    <a:off x="10490" y="3135"/>
                    <a:ext cx="17" cy="0"/>
                  </a:xfrm>
                  <a:custGeom>
                    <a:avLst/>
                    <a:gdLst>
                      <a:gd name="T0" fmla="*/ 7 w 10"/>
                      <a:gd name="T1" fmla="*/ 0 h 12"/>
                      <a:gd name="T2" fmla="*/ 0 w 10"/>
                      <a:gd name="T3" fmla="*/ 12 h 12"/>
                      <a:gd name="T4" fmla="*/ 0 w 10"/>
                      <a:gd name="T5" fmla="*/ 12 h 12"/>
                      <a:gd name="T6" fmla="*/ 10 w 10"/>
                      <a:gd name="T7" fmla="*/ 0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lnTo>
                          <a:pt x="0" y="12"/>
                        </a:lnTo>
                        <a:lnTo>
                          <a:pt x="0" y="12"/>
                        </a:lnTo>
                        <a:lnTo>
                          <a:pt x="10"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2423" name="Freeform 1976"/>
                  <p:cNvSpPr>
                    <a:spLocks/>
                  </p:cNvSpPr>
                  <p:nvPr/>
                </p:nvSpPr>
                <p:spPr bwMode="auto">
                  <a:xfrm>
                    <a:off x="10506" y="3135"/>
                    <a:ext cx="8" cy="9"/>
                  </a:xfrm>
                  <a:custGeom>
                    <a:avLst/>
                    <a:gdLst>
                      <a:gd name="T0" fmla="*/ 9 w 12"/>
                      <a:gd name="T1" fmla="*/ 0 h 17"/>
                      <a:gd name="T2" fmla="*/ 0 w 12"/>
                      <a:gd name="T3" fmla="*/ 15 h 17"/>
                      <a:gd name="T4" fmla="*/ 0 w 12"/>
                      <a:gd name="T5" fmla="*/ 17 h 17"/>
                      <a:gd name="T6" fmla="*/ 12 w 12"/>
                      <a:gd name="T7" fmla="*/ 0 h 17"/>
                      <a:gd name="T8" fmla="*/ 9 w 12"/>
                      <a:gd name="T9" fmla="*/ 0 h 17"/>
                    </a:gdLst>
                    <a:ahLst/>
                    <a:cxnLst>
                      <a:cxn ang="0">
                        <a:pos x="T0" y="T1"/>
                      </a:cxn>
                      <a:cxn ang="0">
                        <a:pos x="T2" y="T3"/>
                      </a:cxn>
                      <a:cxn ang="0">
                        <a:pos x="T4" y="T5"/>
                      </a:cxn>
                      <a:cxn ang="0">
                        <a:pos x="T6" y="T7"/>
                      </a:cxn>
                      <a:cxn ang="0">
                        <a:pos x="T8" y="T9"/>
                      </a:cxn>
                    </a:cxnLst>
                    <a:rect l="0" t="0" r="r" b="b"/>
                    <a:pathLst>
                      <a:path w="12" h="17">
                        <a:moveTo>
                          <a:pt x="9" y="0"/>
                        </a:moveTo>
                        <a:lnTo>
                          <a:pt x="0" y="15"/>
                        </a:lnTo>
                        <a:lnTo>
                          <a:pt x="0" y="1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2424" name="Freeform 1977"/>
                  <p:cNvSpPr>
                    <a:spLocks/>
                  </p:cNvSpPr>
                  <p:nvPr/>
                </p:nvSpPr>
                <p:spPr bwMode="auto">
                  <a:xfrm>
                    <a:off x="10465" y="3100"/>
                    <a:ext cx="8" cy="17"/>
                  </a:xfrm>
                  <a:custGeom>
                    <a:avLst/>
                    <a:gdLst>
                      <a:gd name="T0" fmla="*/ 9 w 9"/>
                      <a:gd name="T1" fmla="*/ 0 h 12"/>
                      <a:gd name="T2" fmla="*/ 0 w 9"/>
                      <a:gd name="T3" fmla="*/ 12 h 12"/>
                      <a:gd name="T4" fmla="*/ 2 w 9"/>
                      <a:gd name="T5" fmla="*/ 12 h 12"/>
                      <a:gd name="T6" fmla="*/ 9 w 9"/>
                      <a:gd name="T7" fmla="*/ 2 h 12"/>
                      <a:gd name="T8" fmla="*/ 9 w 9"/>
                      <a:gd name="T9" fmla="*/ 0 h 12"/>
                    </a:gdLst>
                    <a:ahLst/>
                    <a:cxnLst>
                      <a:cxn ang="0">
                        <a:pos x="T0" y="T1"/>
                      </a:cxn>
                      <a:cxn ang="0">
                        <a:pos x="T2" y="T3"/>
                      </a:cxn>
                      <a:cxn ang="0">
                        <a:pos x="T4" y="T5"/>
                      </a:cxn>
                      <a:cxn ang="0">
                        <a:pos x="T6" y="T7"/>
                      </a:cxn>
                      <a:cxn ang="0">
                        <a:pos x="T8" y="T9"/>
                      </a:cxn>
                    </a:cxnLst>
                    <a:rect l="0" t="0" r="r" b="b"/>
                    <a:pathLst>
                      <a:path w="9" h="12">
                        <a:moveTo>
                          <a:pt x="9" y="0"/>
                        </a:moveTo>
                        <a:lnTo>
                          <a:pt x="0" y="12"/>
                        </a:lnTo>
                        <a:lnTo>
                          <a:pt x="2" y="12"/>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2425" name="Freeform 1978"/>
                  <p:cNvSpPr>
                    <a:spLocks/>
                  </p:cNvSpPr>
                  <p:nvPr/>
                </p:nvSpPr>
                <p:spPr bwMode="auto">
                  <a:xfrm>
                    <a:off x="10473" y="3118"/>
                    <a:ext cx="8" cy="17"/>
                  </a:xfrm>
                  <a:custGeom>
                    <a:avLst/>
                    <a:gdLst>
                      <a:gd name="T0" fmla="*/ 7 w 9"/>
                      <a:gd name="T1" fmla="*/ 0 h 12"/>
                      <a:gd name="T2" fmla="*/ 0 w 9"/>
                      <a:gd name="T3" fmla="*/ 10 h 12"/>
                      <a:gd name="T4" fmla="*/ 2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0"/>
                        </a:lnTo>
                        <a:lnTo>
                          <a:pt x="2"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2426" name="Freeform 1979"/>
                  <p:cNvSpPr>
                    <a:spLocks/>
                  </p:cNvSpPr>
                  <p:nvPr/>
                </p:nvSpPr>
                <p:spPr bwMode="auto">
                  <a:xfrm>
                    <a:off x="10473" y="3109"/>
                    <a:ext cx="0" cy="17"/>
                  </a:xfrm>
                  <a:custGeom>
                    <a:avLst/>
                    <a:gdLst>
                      <a:gd name="T0" fmla="*/ 7 w 9"/>
                      <a:gd name="T1" fmla="*/ 0 h 11"/>
                      <a:gd name="T2" fmla="*/ 0 w 9"/>
                      <a:gd name="T3" fmla="*/ 11 h 11"/>
                      <a:gd name="T4" fmla="*/ 0 w 9"/>
                      <a:gd name="T5" fmla="*/ 11 h 11"/>
                      <a:gd name="T6" fmla="*/ 9 w 9"/>
                      <a:gd name="T7" fmla="*/ 2 h 11"/>
                      <a:gd name="T8" fmla="*/ 7 w 9"/>
                      <a:gd name="T9" fmla="*/ 0 h 11"/>
                    </a:gdLst>
                    <a:ahLst/>
                    <a:cxnLst>
                      <a:cxn ang="0">
                        <a:pos x="T0" y="T1"/>
                      </a:cxn>
                      <a:cxn ang="0">
                        <a:pos x="T2" y="T3"/>
                      </a:cxn>
                      <a:cxn ang="0">
                        <a:pos x="T4" y="T5"/>
                      </a:cxn>
                      <a:cxn ang="0">
                        <a:pos x="T6" y="T7"/>
                      </a:cxn>
                      <a:cxn ang="0">
                        <a:pos x="T8" y="T9"/>
                      </a:cxn>
                    </a:cxnLst>
                    <a:rect l="0" t="0" r="r" b="b"/>
                    <a:pathLst>
                      <a:path w="9" h="11">
                        <a:moveTo>
                          <a:pt x="7" y="0"/>
                        </a:moveTo>
                        <a:lnTo>
                          <a:pt x="0" y="11"/>
                        </a:lnTo>
                        <a:lnTo>
                          <a:pt x="0" y="11"/>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2427" name="Freeform 1980"/>
                  <p:cNvSpPr>
                    <a:spLocks/>
                  </p:cNvSpPr>
                  <p:nvPr/>
                </p:nvSpPr>
                <p:spPr bwMode="auto">
                  <a:xfrm>
                    <a:off x="11588" y="2708"/>
                    <a:ext cx="17" cy="9"/>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28" name="Freeform 1981"/>
                  <p:cNvSpPr>
                    <a:spLocks/>
                  </p:cNvSpPr>
                  <p:nvPr/>
                </p:nvSpPr>
                <p:spPr bwMode="auto">
                  <a:xfrm>
                    <a:off x="11538" y="2848"/>
                    <a:ext cx="25" cy="9"/>
                  </a:xfrm>
                  <a:custGeom>
                    <a:avLst/>
                    <a:gdLst>
                      <a:gd name="T0" fmla="*/ 0 w 26"/>
                      <a:gd name="T1" fmla="*/ 0 h 11"/>
                      <a:gd name="T2" fmla="*/ 24 w 26"/>
                      <a:gd name="T3" fmla="*/ 11 h 11"/>
                      <a:gd name="T4" fmla="*/ 26 w 26"/>
                      <a:gd name="T5" fmla="*/ 11 h 11"/>
                      <a:gd name="T6" fmla="*/ 0 w 26"/>
                      <a:gd name="T7" fmla="*/ 0 h 11"/>
                      <a:gd name="T8" fmla="*/ 0 w 26"/>
                      <a:gd name="T9" fmla="*/ 0 h 11"/>
                    </a:gdLst>
                    <a:ahLst/>
                    <a:cxnLst>
                      <a:cxn ang="0">
                        <a:pos x="T0" y="T1"/>
                      </a:cxn>
                      <a:cxn ang="0">
                        <a:pos x="T2" y="T3"/>
                      </a:cxn>
                      <a:cxn ang="0">
                        <a:pos x="T4" y="T5"/>
                      </a:cxn>
                      <a:cxn ang="0">
                        <a:pos x="T6" y="T7"/>
                      </a:cxn>
                      <a:cxn ang="0">
                        <a:pos x="T8" y="T9"/>
                      </a:cxn>
                    </a:cxnLst>
                    <a:rect l="0" t="0" r="r" b="b"/>
                    <a:pathLst>
                      <a:path w="26" h="11">
                        <a:moveTo>
                          <a:pt x="0" y="0"/>
                        </a:moveTo>
                        <a:lnTo>
                          <a:pt x="24" y="11"/>
                        </a:lnTo>
                        <a:lnTo>
                          <a:pt x="26"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29" name="Freeform 1982"/>
                  <p:cNvSpPr>
                    <a:spLocks/>
                  </p:cNvSpPr>
                  <p:nvPr/>
                </p:nvSpPr>
                <p:spPr bwMode="auto">
                  <a:xfrm>
                    <a:off x="11463" y="2987"/>
                    <a:ext cx="8" cy="0"/>
                  </a:xfrm>
                  <a:custGeom>
                    <a:avLst/>
                    <a:gdLst>
                      <a:gd name="T0" fmla="*/ 0 w 10"/>
                      <a:gd name="T1" fmla="*/ 0 h 7"/>
                      <a:gd name="T2" fmla="*/ 10 w 10"/>
                      <a:gd name="T3" fmla="*/ 7 h 7"/>
                      <a:gd name="T4" fmla="*/ 10 w 10"/>
                      <a:gd name="T5" fmla="*/ 7 h 7"/>
                      <a:gd name="T6" fmla="*/ 2 w 10"/>
                      <a:gd name="T7" fmla="*/ 0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lnTo>
                          <a:pt x="10" y="7"/>
                        </a:lnTo>
                        <a:lnTo>
                          <a:pt x="10"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30" name="Freeform 1983"/>
                  <p:cNvSpPr>
                    <a:spLocks/>
                  </p:cNvSpPr>
                  <p:nvPr/>
                </p:nvSpPr>
                <p:spPr bwMode="auto">
                  <a:xfrm>
                    <a:off x="11538" y="2848"/>
                    <a:ext cx="17" cy="17"/>
                  </a:xfrm>
                  <a:custGeom>
                    <a:avLst/>
                    <a:gdLst>
                      <a:gd name="T0" fmla="*/ 0 w 24"/>
                      <a:gd name="T1" fmla="*/ 3 h 14"/>
                      <a:gd name="T2" fmla="*/ 24 w 24"/>
                      <a:gd name="T3" fmla="*/ 14 h 14"/>
                      <a:gd name="T4" fmla="*/ 24 w 24"/>
                      <a:gd name="T5" fmla="*/ 12 h 14"/>
                      <a:gd name="T6" fmla="*/ 2 w 24"/>
                      <a:gd name="T7" fmla="*/ 0 h 14"/>
                      <a:gd name="T8" fmla="*/ 0 w 24"/>
                      <a:gd name="T9" fmla="*/ 3 h 14"/>
                    </a:gdLst>
                    <a:ahLst/>
                    <a:cxnLst>
                      <a:cxn ang="0">
                        <a:pos x="T0" y="T1"/>
                      </a:cxn>
                      <a:cxn ang="0">
                        <a:pos x="T2" y="T3"/>
                      </a:cxn>
                      <a:cxn ang="0">
                        <a:pos x="T4" y="T5"/>
                      </a:cxn>
                      <a:cxn ang="0">
                        <a:pos x="T6" y="T7"/>
                      </a:cxn>
                      <a:cxn ang="0">
                        <a:pos x="T8" y="T9"/>
                      </a:cxn>
                    </a:cxnLst>
                    <a:rect l="0" t="0" r="r" b="b"/>
                    <a:pathLst>
                      <a:path w="24" h="14">
                        <a:moveTo>
                          <a:pt x="0" y="3"/>
                        </a:moveTo>
                        <a:lnTo>
                          <a:pt x="24" y="14"/>
                        </a:lnTo>
                        <a:lnTo>
                          <a:pt x="24" y="12"/>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31" name="Freeform 1984"/>
                  <p:cNvSpPr>
                    <a:spLocks/>
                  </p:cNvSpPr>
                  <p:nvPr/>
                </p:nvSpPr>
                <p:spPr bwMode="auto">
                  <a:xfrm>
                    <a:off x="11538" y="2839"/>
                    <a:ext cx="25" cy="17"/>
                  </a:xfrm>
                  <a:custGeom>
                    <a:avLst/>
                    <a:gdLst>
                      <a:gd name="T0" fmla="*/ 0 w 26"/>
                      <a:gd name="T1" fmla="*/ 3 h 15"/>
                      <a:gd name="T2" fmla="*/ 26 w 26"/>
                      <a:gd name="T3" fmla="*/ 15 h 15"/>
                      <a:gd name="T4" fmla="*/ 26 w 26"/>
                      <a:gd name="T5" fmla="*/ 12 h 15"/>
                      <a:gd name="T6" fmla="*/ 0 w 26"/>
                      <a:gd name="T7" fmla="*/ 0 h 15"/>
                      <a:gd name="T8" fmla="*/ 0 w 26"/>
                      <a:gd name="T9" fmla="*/ 3 h 15"/>
                    </a:gdLst>
                    <a:ahLst/>
                    <a:cxnLst>
                      <a:cxn ang="0">
                        <a:pos x="T0" y="T1"/>
                      </a:cxn>
                      <a:cxn ang="0">
                        <a:pos x="T2" y="T3"/>
                      </a:cxn>
                      <a:cxn ang="0">
                        <a:pos x="T4" y="T5"/>
                      </a:cxn>
                      <a:cxn ang="0">
                        <a:pos x="T6" y="T7"/>
                      </a:cxn>
                      <a:cxn ang="0">
                        <a:pos x="T8" y="T9"/>
                      </a:cxn>
                    </a:cxnLst>
                    <a:rect l="0" t="0" r="r" b="b"/>
                    <a:pathLst>
                      <a:path w="26" h="15">
                        <a:moveTo>
                          <a:pt x="0" y="3"/>
                        </a:moveTo>
                        <a:lnTo>
                          <a:pt x="26" y="15"/>
                        </a:lnTo>
                        <a:lnTo>
                          <a:pt x="26" y="12"/>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32" name="Freeform 1985"/>
                  <p:cNvSpPr>
                    <a:spLocks/>
                  </p:cNvSpPr>
                  <p:nvPr/>
                </p:nvSpPr>
                <p:spPr bwMode="auto">
                  <a:xfrm>
                    <a:off x="11072" y="3231"/>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33" name="Freeform 1986"/>
                  <p:cNvSpPr>
                    <a:spLocks/>
                  </p:cNvSpPr>
                  <p:nvPr/>
                </p:nvSpPr>
                <p:spPr bwMode="auto">
                  <a:xfrm>
                    <a:off x="11521" y="2874"/>
                    <a:ext cx="25" cy="17"/>
                  </a:xfrm>
                  <a:custGeom>
                    <a:avLst/>
                    <a:gdLst>
                      <a:gd name="T0" fmla="*/ 0 w 14"/>
                      <a:gd name="T1" fmla="*/ 3 h 10"/>
                      <a:gd name="T2" fmla="*/ 14 w 14"/>
                      <a:gd name="T3" fmla="*/ 10 h 10"/>
                      <a:gd name="T4" fmla="*/ 14 w 14"/>
                      <a:gd name="T5" fmla="*/ 7 h 10"/>
                      <a:gd name="T6" fmla="*/ 0 w 14"/>
                      <a:gd name="T7" fmla="*/ 0 h 10"/>
                      <a:gd name="T8" fmla="*/ 0 w 14"/>
                      <a:gd name="T9" fmla="*/ 3 h 10"/>
                    </a:gdLst>
                    <a:ahLst/>
                    <a:cxnLst>
                      <a:cxn ang="0">
                        <a:pos x="T0" y="T1"/>
                      </a:cxn>
                      <a:cxn ang="0">
                        <a:pos x="T2" y="T3"/>
                      </a:cxn>
                      <a:cxn ang="0">
                        <a:pos x="T4" y="T5"/>
                      </a:cxn>
                      <a:cxn ang="0">
                        <a:pos x="T6" y="T7"/>
                      </a:cxn>
                      <a:cxn ang="0">
                        <a:pos x="T8" y="T9"/>
                      </a:cxn>
                    </a:cxnLst>
                    <a:rect l="0" t="0" r="r" b="b"/>
                    <a:pathLst>
                      <a:path w="14" h="10">
                        <a:moveTo>
                          <a:pt x="0" y="3"/>
                        </a:moveTo>
                        <a:lnTo>
                          <a:pt x="14" y="10"/>
                        </a:lnTo>
                        <a:lnTo>
                          <a:pt x="14"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34" name="Freeform 1987"/>
                  <p:cNvSpPr>
                    <a:spLocks/>
                  </p:cNvSpPr>
                  <p:nvPr/>
                </p:nvSpPr>
                <p:spPr bwMode="auto">
                  <a:xfrm>
                    <a:off x="11530" y="2874"/>
                    <a:ext cx="17" cy="9"/>
                  </a:xfrm>
                  <a:custGeom>
                    <a:avLst/>
                    <a:gdLst>
                      <a:gd name="T0" fmla="*/ 0 w 17"/>
                      <a:gd name="T1" fmla="*/ 0 h 9"/>
                      <a:gd name="T2" fmla="*/ 14 w 17"/>
                      <a:gd name="T3" fmla="*/ 9 h 9"/>
                      <a:gd name="T4" fmla="*/ 17 w 17"/>
                      <a:gd name="T5" fmla="*/ 7 h 9"/>
                      <a:gd name="T6" fmla="*/ 0 w 17"/>
                      <a:gd name="T7" fmla="*/ 0 h 9"/>
                      <a:gd name="T8" fmla="*/ 0 w 17"/>
                      <a:gd name="T9" fmla="*/ 0 h 9"/>
                    </a:gdLst>
                    <a:ahLst/>
                    <a:cxnLst>
                      <a:cxn ang="0">
                        <a:pos x="T0" y="T1"/>
                      </a:cxn>
                      <a:cxn ang="0">
                        <a:pos x="T2" y="T3"/>
                      </a:cxn>
                      <a:cxn ang="0">
                        <a:pos x="T4" y="T5"/>
                      </a:cxn>
                      <a:cxn ang="0">
                        <a:pos x="T6" y="T7"/>
                      </a:cxn>
                      <a:cxn ang="0">
                        <a:pos x="T8" y="T9"/>
                      </a:cxn>
                    </a:cxnLst>
                    <a:rect l="0" t="0" r="r" b="b"/>
                    <a:pathLst>
                      <a:path w="17" h="9">
                        <a:moveTo>
                          <a:pt x="0" y="0"/>
                        </a:moveTo>
                        <a:lnTo>
                          <a:pt x="14" y="9"/>
                        </a:lnTo>
                        <a:lnTo>
                          <a:pt x="17"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35" name="Freeform 1988"/>
                  <p:cNvSpPr>
                    <a:spLocks/>
                  </p:cNvSpPr>
                  <p:nvPr/>
                </p:nvSpPr>
                <p:spPr bwMode="auto">
                  <a:xfrm>
                    <a:off x="11530" y="2865"/>
                    <a:ext cx="17" cy="9"/>
                  </a:xfrm>
                  <a:custGeom>
                    <a:avLst/>
                    <a:gdLst>
                      <a:gd name="T0" fmla="*/ 0 w 19"/>
                      <a:gd name="T1" fmla="*/ 3 h 10"/>
                      <a:gd name="T2" fmla="*/ 16 w 19"/>
                      <a:gd name="T3" fmla="*/ 10 h 10"/>
                      <a:gd name="T4" fmla="*/ 19 w 19"/>
                      <a:gd name="T5" fmla="*/ 10 h 10"/>
                      <a:gd name="T6" fmla="*/ 0 w 19"/>
                      <a:gd name="T7" fmla="*/ 0 h 10"/>
                      <a:gd name="T8" fmla="*/ 0 w 19"/>
                      <a:gd name="T9" fmla="*/ 3 h 10"/>
                    </a:gdLst>
                    <a:ahLst/>
                    <a:cxnLst>
                      <a:cxn ang="0">
                        <a:pos x="T0" y="T1"/>
                      </a:cxn>
                      <a:cxn ang="0">
                        <a:pos x="T2" y="T3"/>
                      </a:cxn>
                      <a:cxn ang="0">
                        <a:pos x="T4" y="T5"/>
                      </a:cxn>
                      <a:cxn ang="0">
                        <a:pos x="T6" y="T7"/>
                      </a:cxn>
                      <a:cxn ang="0">
                        <a:pos x="T8" y="T9"/>
                      </a:cxn>
                    </a:cxnLst>
                    <a:rect l="0" t="0" r="r" b="b"/>
                    <a:pathLst>
                      <a:path w="19" h="10">
                        <a:moveTo>
                          <a:pt x="0" y="3"/>
                        </a:moveTo>
                        <a:lnTo>
                          <a:pt x="16" y="10"/>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36" name="Freeform 1989"/>
                  <p:cNvSpPr>
                    <a:spLocks/>
                  </p:cNvSpPr>
                  <p:nvPr/>
                </p:nvSpPr>
                <p:spPr bwMode="auto">
                  <a:xfrm>
                    <a:off x="11555" y="2778"/>
                    <a:ext cx="42" cy="26"/>
                  </a:xfrm>
                  <a:custGeom>
                    <a:avLst/>
                    <a:gdLst>
                      <a:gd name="T0" fmla="*/ 0 w 40"/>
                      <a:gd name="T1" fmla="*/ 0 h 16"/>
                      <a:gd name="T2" fmla="*/ 0 w 40"/>
                      <a:gd name="T3" fmla="*/ 0 h 16"/>
                      <a:gd name="T4" fmla="*/ 40 w 40"/>
                      <a:gd name="T5" fmla="*/ 16 h 16"/>
                      <a:gd name="T6" fmla="*/ 40 w 40"/>
                      <a:gd name="T7" fmla="*/ 14 h 16"/>
                      <a:gd name="T8" fmla="*/ 0 w 40"/>
                      <a:gd name="T9" fmla="*/ 0 h 16"/>
                      <a:gd name="T10" fmla="*/ 0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0" y="0"/>
                        </a:moveTo>
                        <a:lnTo>
                          <a:pt x="0" y="0"/>
                        </a:lnTo>
                        <a:lnTo>
                          <a:pt x="40" y="16"/>
                        </a:lnTo>
                        <a:lnTo>
                          <a:pt x="40"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37" name="Freeform 1990"/>
                  <p:cNvSpPr>
                    <a:spLocks/>
                  </p:cNvSpPr>
                  <p:nvPr/>
                </p:nvSpPr>
                <p:spPr bwMode="auto">
                  <a:xfrm>
                    <a:off x="11546" y="2787"/>
                    <a:ext cx="50" cy="17"/>
                  </a:xfrm>
                  <a:custGeom>
                    <a:avLst/>
                    <a:gdLst>
                      <a:gd name="T0" fmla="*/ 0 w 40"/>
                      <a:gd name="T1" fmla="*/ 2 h 16"/>
                      <a:gd name="T2" fmla="*/ 40 w 40"/>
                      <a:gd name="T3" fmla="*/ 16 h 16"/>
                      <a:gd name="T4" fmla="*/ 40 w 40"/>
                      <a:gd name="T5" fmla="*/ 16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38" name="Freeform 1991"/>
                  <p:cNvSpPr>
                    <a:spLocks/>
                  </p:cNvSpPr>
                  <p:nvPr/>
                </p:nvSpPr>
                <p:spPr bwMode="auto">
                  <a:xfrm>
                    <a:off x="11546" y="2796"/>
                    <a:ext cx="42" cy="9"/>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39" name="Freeform 1992"/>
                  <p:cNvSpPr>
                    <a:spLocks/>
                  </p:cNvSpPr>
                  <p:nvPr/>
                </p:nvSpPr>
                <p:spPr bwMode="auto">
                  <a:xfrm>
                    <a:off x="11546" y="2804"/>
                    <a:ext cx="42" cy="9"/>
                  </a:xfrm>
                  <a:custGeom>
                    <a:avLst/>
                    <a:gdLst>
                      <a:gd name="T0" fmla="*/ 0 w 40"/>
                      <a:gd name="T1" fmla="*/ 0 h 16"/>
                      <a:gd name="T2" fmla="*/ 38 w 40"/>
                      <a:gd name="T3" fmla="*/ 16 h 16"/>
                      <a:gd name="T4" fmla="*/ 40 w 40"/>
                      <a:gd name="T5" fmla="*/ 14 h 16"/>
                      <a:gd name="T6" fmla="*/ 3 w 40"/>
                      <a:gd name="T7" fmla="*/ 0 h 16"/>
                      <a:gd name="T8" fmla="*/ 0 w 40"/>
                      <a:gd name="T9" fmla="*/ 0 h 16"/>
                    </a:gdLst>
                    <a:ahLst/>
                    <a:cxnLst>
                      <a:cxn ang="0">
                        <a:pos x="T0" y="T1"/>
                      </a:cxn>
                      <a:cxn ang="0">
                        <a:pos x="T2" y="T3"/>
                      </a:cxn>
                      <a:cxn ang="0">
                        <a:pos x="T4" y="T5"/>
                      </a:cxn>
                      <a:cxn ang="0">
                        <a:pos x="T6" y="T7"/>
                      </a:cxn>
                      <a:cxn ang="0">
                        <a:pos x="T8" y="T9"/>
                      </a:cxn>
                    </a:cxnLst>
                    <a:rect l="0" t="0" r="r" b="b"/>
                    <a:pathLst>
                      <a:path w="40" h="16">
                        <a:moveTo>
                          <a:pt x="0" y="0"/>
                        </a:moveTo>
                        <a:lnTo>
                          <a:pt x="38" y="16"/>
                        </a:lnTo>
                        <a:lnTo>
                          <a:pt x="40"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40" name="Freeform 1993"/>
                  <p:cNvSpPr>
                    <a:spLocks/>
                  </p:cNvSpPr>
                  <p:nvPr/>
                </p:nvSpPr>
                <p:spPr bwMode="auto">
                  <a:xfrm>
                    <a:off x="11546" y="2830"/>
                    <a:ext cx="25" cy="9"/>
                  </a:xfrm>
                  <a:custGeom>
                    <a:avLst/>
                    <a:gdLst>
                      <a:gd name="T0" fmla="*/ 0 w 33"/>
                      <a:gd name="T1" fmla="*/ 0 h 14"/>
                      <a:gd name="T2" fmla="*/ 31 w 33"/>
                      <a:gd name="T3" fmla="*/ 14 h 14"/>
                      <a:gd name="T4" fmla="*/ 33 w 33"/>
                      <a:gd name="T5" fmla="*/ 11 h 14"/>
                      <a:gd name="T6" fmla="*/ 2 w 33"/>
                      <a:gd name="T7" fmla="*/ 0 h 14"/>
                      <a:gd name="T8" fmla="*/ 0 w 33"/>
                      <a:gd name="T9" fmla="*/ 0 h 14"/>
                    </a:gdLst>
                    <a:ahLst/>
                    <a:cxnLst>
                      <a:cxn ang="0">
                        <a:pos x="T0" y="T1"/>
                      </a:cxn>
                      <a:cxn ang="0">
                        <a:pos x="T2" y="T3"/>
                      </a:cxn>
                      <a:cxn ang="0">
                        <a:pos x="T4" y="T5"/>
                      </a:cxn>
                      <a:cxn ang="0">
                        <a:pos x="T6" y="T7"/>
                      </a:cxn>
                      <a:cxn ang="0">
                        <a:pos x="T8" y="T9"/>
                      </a:cxn>
                    </a:cxnLst>
                    <a:rect l="0" t="0" r="r" b="b"/>
                    <a:pathLst>
                      <a:path w="33" h="14">
                        <a:moveTo>
                          <a:pt x="0" y="0"/>
                        </a:moveTo>
                        <a:lnTo>
                          <a:pt x="31" y="14"/>
                        </a:lnTo>
                        <a:lnTo>
                          <a:pt x="33" y="1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41" name="Freeform 1994"/>
                  <p:cNvSpPr>
                    <a:spLocks/>
                  </p:cNvSpPr>
                  <p:nvPr/>
                </p:nvSpPr>
                <p:spPr bwMode="auto">
                  <a:xfrm>
                    <a:off x="11521" y="2883"/>
                    <a:ext cx="17" cy="9"/>
                  </a:xfrm>
                  <a:custGeom>
                    <a:avLst/>
                    <a:gdLst>
                      <a:gd name="T0" fmla="*/ 0 w 11"/>
                      <a:gd name="T1" fmla="*/ 3 h 7"/>
                      <a:gd name="T2" fmla="*/ 11 w 11"/>
                      <a:gd name="T3" fmla="*/ 7 h 7"/>
                      <a:gd name="T4" fmla="*/ 11 w 11"/>
                      <a:gd name="T5" fmla="*/ 7 h 7"/>
                      <a:gd name="T6" fmla="*/ 0 w 11"/>
                      <a:gd name="T7" fmla="*/ 0 h 7"/>
                      <a:gd name="T8" fmla="*/ 0 w 11"/>
                      <a:gd name="T9" fmla="*/ 3 h 7"/>
                    </a:gdLst>
                    <a:ahLst/>
                    <a:cxnLst>
                      <a:cxn ang="0">
                        <a:pos x="T0" y="T1"/>
                      </a:cxn>
                      <a:cxn ang="0">
                        <a:pos x="T2" y="T3"/>
                      </a:cxn>
                      <a:cxn ang="0">
                        <a:pos x="T4" y="T5"/>
                      </a:cxn>
                      <a:cxn ang="0">
                        <a:pos x="T6" y="T7"/>
                      </a:cxn>
                      <a:cxn ang="0">
                        <a:pos x="T8" y="T9"/>
                      </a:cxn>
                    </a:cxnLst>
                    <a:rect l="0" t="0" r="r" b="b"/>
                    <a:pathLst>
                      <a:path w="11" h="7">
                        <a:moveTo>
                          <a:pt x="0" y="3"/>
                        </a:moveTo>
                        <a:lnTo>
                          <a:pt x="11" y="7"/>
                        </a:lnTo>
                        <a:lnTo>
                          <a:pt x="1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42" name="Freeform 1995"/>
                  <p:cNvSpPr>
                    <a:spLocks/>
                  </p:cNvSpPr>
                  <p:nvPr/>
                </p:nvSpPr>
                <p:spPr bwMode="auto">
                  <a:xfrm>
                    <a:off x="11546" y="2822"/>
                    <a:ext cx="25" cy="9"/>
                  </a:xfrm>
                  <a:custGeom>
                    <a:avLst/>
                    <a:gdLst>
                      <a:gd name="T0" fmla="*/ 0 w 34"/>
                      <a:gd name="T1" fmla="*/ 0 h 14"/>
                      <a:gd name="T2" fmla="*/ 34 w 34"/>
                      <a:gd name="T3" fmla="*/ 14 h 14"/>
                      <a:gd name="T4" fmla="*/ 34 w 34"/>
                      <a:gd name="T5" fmla="*/ 14 h 14"/>
                      <a:gd name="T6" fmla="*/ 0 w 34"/>
                      <a:gd name="T7" fmla="*/ 0 h 14"/>
                      <a:gd name="T8" fmla="*/ 0 w 34"/>
                      <a:gd name="T9" fmla="*/ 0 h 14"/>
                    </a:gdLst>
                    <a:ahLst/>
                    <a:cxnLst>
                      <a:cxn ang="0">
                        <a:pos x="T0" y="T1"/>
                      </a:cxn>
                      <a:cxn ang="0">
                        <a:pos x="T2" y="T3"/>
                      </a:cxn>
                      <a:cxn ang="0">
                        <a:pos x="T4" y="T5"/>
                      </a:cxn>
                      <a:cxn ang="0">
                        <a:pos x="T6" y="T7"/>
                      </a:cxn>
                      <a:cxn ang="0">
                        <a:pos x="T8" y="T9"/>
                      </a:cxn>
                    </a:cxnLst>
                    <a:rect l="0" t="0" r="r" b="b"/>
                    <a:pathLst>
                      <a:path w="34" h="14">
                        <a:moveTo>
                          <a:pt x="0" y="0"/>
                        </a:moveTo>
                        <a:lnTo>
                          <a:pt x="34" y="14"/>
                        </a:lnTo>
                        <a:lnTo>
                          <a:pt x="34"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43" name="Freeform 1996"/>
                  <p:cNvSpPr>
                    <a:spLocks/>
                  </p:cNvSpPr>
                  <p:nvPr/>
                </p:nvSpPr>
                <p:spPr bwMode="auto">
                  <a:xfrm>
                    <a:off x="11546" y="2813"/>
                    <a:ext cx="33" cy="17"/>
                  </a:xfrm>
                  <a:custGeom>
                    <a:avLst/>
                    <a:gdLst>
                      <a:gd name="T0" fmla="*/ 0 w 35"/>
                      <a:gd name="T1" fmla="*/ 2 h 16"/>
                      <a:gd name="T2" fmla="*/ 35 w 35"/>
                      <a:gd name="T3" fmla="*/ 16 h 16"/>
                      <a:gd name="T4" fmla="*/ 35 w 35"/>
                      <a:gd name="T5" fmla="*/ 14 h 16"/>
                      <a:gd name="T6" fmla="*/ 0 w 35"/>
                      <a:gd name="T7" fmla="*/ 0 h 16"/>
                      <a:gd name="T8" fmla="*/ 0 w 35"/>
                      <a:gd name="T9" fmla="*/ 2 h 16"/>
                    </a:gdLst>
                    <a:ahLst/>
                    <a:cxnLst>
                      <a:cxn ang="0">
                        <a:pos x="T0" y="T1"/>
                      </a:cxn>
                      <a:cxn ang="0">
                        <a:pos x="T2" y="T3"/>
                      </a:cxn>
                      <a:cxn ang="0">
                        <a:pos x="T4" y="T5"/>
                      </a:cxn>
                      <a:cxn ang="0">
                        <a:pos x="T6" y="T7"/>
                      </a:cxn>
                      <a:cxn ang="0">
                        <a:pos x="T8" y="T9"/>
                      </a:cxn>
                    </a:cxnLst>
                    <a:rect l="0" t="0" r="r" b="b"/>
                    <a:pathLst>
                      <a:path w="35" h="16">
                        <a:moveTo>
                          <a:pt x="0" y="2"/>
                        </a:moveTo>
                        <a:lnTo>
                          <a:pt x="35" y="16"/>
                        </a:lnTo>
                        <a:lnTo>
                          <a:pt x="35"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44" name="Freeform 1997"/>
                  <p:cNvSpPr>
                    <a:spLocks/>
                  </p:cNvSpPr>
                  <p:nvPr/>
                </p:nvSpPr>
                <p:spPr bwMode="auto">
                  <a:xfrm>
                    <a:off x="11546" y="2804"/>
                    <a:ext cx="33" cy="17"/>
                  </a:xfrm>
                  <a:custGeom>
                    <a:avLst/>
                    <a:gdLst>
                      <a:gd name="T0" fmla="*/ 0 w 36"/>
                      <a:gd name="T1" fmla="*/ 3 h 17"/>
                      <a:gd name="T2" fmla="*/ 36 w 36"/>
                      <a:gd name="T3" fmla="*/ 17 h 17"/>
                      <a:gd name="T4" fmla="*/ 36 w 36"/>
                      <a:gd name="T5" fmla="*/ 17 h 17"/>
                      <a:gd name="T6" fmla="*/ 0 w 36"/>
                      <a:gd name="T7" fmla="*/ 0 h 17"/>
                      <a:gd name="T8" fmla="*/ 0 w 36"/>
                      <a:gd name="T9" fmla="*/ 3 h 17"/>
                    </a:gdLst>
                    <a:ahLst/>
                    <a:cxnLst>
                      <a:cxn ang="0">
                        <a:pos x="T0" y="T1"/>
                      </a:cxn>
                      <a:cxn ang="0">
                        <a:pos x="T2" y="T3"/>
                      </a:cxn>
                      <a:cxn ang="0">
                        <a:pos x="T4" y="T5"/>
                      </a:cxn>
                      <a:cxn ang="0">
                        <a:pos x="T6" y="T7"/>
                      </a:cxn>
                      <a:cxn ang="0">
                        <a:pos x="T8" y="T9"/>
                      </a:cxn>
                    </a:cxnLst>
                    <a:rect l="0" t="0" r="r" b="b"/>
                    <a:pathLst>
                      <a:path w="36" h="17">
                        <a:moveTo>
                          <a:pt x="0" y="3"/>
                        </a:moveTo>
                        <a:lnTo>
                          <a:pt x="36" y="17"/>
                        </a:lnTo>
                        <a:lnTo>
                          <a:pt x="3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45" name="Freeform 1998"/>
                  <p:cNvSpPr>
                    <a:spLocks/>
                  </p:cNvSpPr>
                  <p:nvPr/>
                </p:nvSpPr>
                <p:spPr bwMode="auto">
                  <a:xfrm>
                    <a:off x="11505" y="2909"/>
                    <a:ext cx="17" cy="17"/>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46" name="Freeform 1999"/>
                  <p:cNvSpPr>
                    <a:spLocks/>
                  </p:cNvSpPr>
                  <p:nvPr/>
                </p:nvSpPr>
                <p:spPr bwMode="auto">
                  <a:xfrm>
                    <a:off x="11480" y="2952"/>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47" name="Freeform 2000"/>
                  <p:cNvSpPr>
                    <a:spLocks/>
                  </p:cNvSpPr>
                  <p:nvPr/>
                </p:nvSpPr>
                <p:spPr bwMode="auto">
                  <a:xfrm>
                    <a:off x="11488" y="2952"/>
                    <a:ext cx="8" cy="0"/>
                  </a:xfrm>
                  <a:custGeom>
                    <a:avLst/>
                    <a:gdLst>
                      <a:gd name="T0" fmla="*/ 0 w 12"/>
                      <a:gd name="T1" fmla="*/ 0 h 7"/>
                      <a:gd name="T2" fmla="*/ 9 w 12"/>
                      <a:gd name="T3" fmla="*/ 7 h 7"/>
                      <a:gd name="T4" fmla="*/ 12 w 12"/>
                      <a:gd name="T5" fmla="*/ 7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48" name="Freeform 2001"/>
                  <p:cNvSpPr>
                    <a:spLocks/>
                  </p:cNvSpPr>
                  <p:nvPr/>
                </p:nvSpPr>
                <p:spPr bwMode="auto">
                  <a:xfrm>
                    <a:off x="11521" y="2891"/>
                    <a:ext cx="17" cy="9"/>
                  </a:xfrm>
                  <a:custGeom>
                    <a:avLst/>
                    <a:gdLst>
                      <a:gd name="T0" fmla="*/ 0 w 12"/>
                      <a:gd name="T1" fmla="*/ 0 h 8"/>
                      <a:gd name="T2" fmla="*/ 10 w 12"/>
                      <a:gd name="T3" fmla="*/ 8 h 8"/>
                      <a:gd name="T4" fmla="*/ 12 w 12"/>
                      <a:gd name="T5" fmla="*/ 5 h 8"/>
                      <a:gd name="T6" fmla="*/ 0 w 12"/>
                      <a:gd name="T7" fmla="*/ 0 h 8"/>
                      <a:gd name="T8" fmla="*/ 0 w 12"/>
                      <a:gd name="T9" fmla="*/ 0 h 8"/>
                    </a:gdLst>
                    <a:ahLst/>
                    <a:cxnLst>
                      <a:cxn ang="0">
                        <a:pos x="T0" y="T1"/>
                      </a:cxn>
                      <a:cxn ang="0">
                        <a:pos x="T2" y="T3"/>
                      </a:cxn>
                      <a:cxn ang="0">
                        <a:pos x="T4" y="T5"/>
                      </a:cxn>
                      <a:cxn ang="0">
                        <a:pos x="T6" y="T7"/>
                      </a:cxn>
                      <a:cxn ang="0">
                        <a:pos x="T8" y="T9"/>
                      </a:cxn>
                    </a:cxnLst>
                    <a:rect l="0" t="0" r="r" b="b"/>
                    <a:pathLst>
                      <a:path w="12" h="8">
                        <a:moveTo>
                          <a:pt x="0" y="0"/>
                        </a:moveTo>
                        <a:lnTo>
                          <a:pt x="10" y="8"/>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49" name="Freeform 2002"/>
                  <p:cNvSpPr>
                    <a:spLocks/>
                  </p:cNvSpPr>
                  <p:nvPr/>
                </p:nvSpPr>
                <p:spPr bwMode="auto">
                  <a:xfrm>
                    <a:off x="11488" y="2944"/>
                    <a:ext cx="8" cy="9"/>
                  </a:xfrm>
                  <a:custGeom>
                    <a:avLst/>
                    <a:gdLst>
                      <a:gd name="T0" fmla="*/ 0 w 10"/>
                      <a:gd name="T1" fmla="*/ 2 h 10"/>
                      <a:gd name="T2" fmla="*/ 10 w 10"/>
                      <a:gd name="T3" fmla="*/ 10 h 10"/>
                      <a:gd name="T4" fmla="*/ 10 w 10"/>
                      <a:gd name="T5" fmla="*/ 7 h 10"/>
                      <a:gd name="T6" fmla="*/ 0 w 10"/>
                      <a:gd name="T7" fmla="*/ 0 h 10"/>
                      <a:gd name="T8" fmla="*/ 0 w 10"/>
                      <a:gd name="T9" fmla="*/ 2 h 10"/>
                    </a:gdLst>
                    <a:ahLst/>
                    <a:cxnLst>
                      <a:cxn ang="0">
                        <a:pos x="T0" y="T1"/>
                      </a:cxn>
                      <a:cxn ang="0">
                        <a:pos x="T2" y="T3"/>
                      </a:cxn>
                      <a:cxn ang="0">
                        <a:pos x="T4" y="T5"/>
                      </a:cxn>
                      <a:cxn ang="0">
                        <a:pos x="T6" y="T7"/>
                      </a:cxn>
                      <a:cxn ang="0">
                        <a:pos x="T8" y="T9"/>
                      </a:cxn>
                    </a:cxnLst>
                    <a:rect l="0" t="0" r="r" b="b"/>
                    <a:pathLst>
                      <a:path w="10" h="10">
                        <a:moveTo>
                          <a:pt x="0" y="2"/>
                        </a:moveTo>
                        <a:lnTo>
                          <a:pt x="10" y="10"/>
                        </a:lnTo>
                        <a:lnTo>
                          <a:pt x="10"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50" name="Freeform 2003"/>
                  <p:cNvSpPr>
                    <a:spLocks/>
                  </p:cNvSpPr>
                  <p:nvPr/>
                </p:nvSpPr>
                <p:spPr bwMode="auto">
                  <a:xfrm>
                    <a:off x="11488" y="2935"/>
                    <a:ext cx="17" cy="9"/>
                  </a:xfrm>
                  <a:custGeom>
                    <a:avLst/>
                    <a:gdLst>
                      <a:gd name="T0" fmla="*/ 0 w 12"/>
                      <a:gd name="T1" fmla="*/ 3 h 7"/>
                      <a:gd name="T2" fmla="*/ 9 w 12"/>
                      <a:gd name="T3" fmla="*/ 7 h 7"/>
                      <a:gd name="T4" fmla="*/ 12 w 12"/>
                      <a:gd name="T5" fmla="*/ 7 h 7"/>
                      <a:gd name="T6" fmla="*/ 2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9" y="7"/>
                        </a:lnTo>
                        <a:lnTo>
                          <a:pt x="12" y="7"/>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51" name="Freeform 2004"/>
                  <p:cNvSpPr>
                    <a:spLocks/>
                  </p:cNvSpPr>
                  <p:nvPr/>
                </p:nvSpPr>
                <p:spPr bwMode="auto">
                  <a:xfrm>
                    <a:off x="11472" y="2961"/>
                    <a:ext cx="17" cy="9"/>
                  </a:xfrm>
                  <a:custGeom>
                    <a:avLst/>
                    <a:gdLst>
                      <a:gd name="T0" fmla="*/ 0 w 12"/>
                      <a:gd name="T1" fmla="*/ 0 h 7"/>
                      <a:gd name="T2" fmla="*/ 9 w 12"/>
                      <a:gd name="T3" fmla="*/ 7 h 7"/>
                      <a:gd name="T4" fmla="*/ 12 w 12"/>
                      <a:gd name="T5" fmla="*/ 7 h 7"/>
                      <a:gd name="T6" fmla="*/ 2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52" name="Freeform 2005"/>
                  <p:cNvSpPr>
                    <a:spLocks/>
                  </p:cNvSpPr>
                  <p:nvPr/>
                </p:nvSpPr>
                <p:spPr bwMode="auto">
                  <a:xfrm>
                    <a:off x="11463" y="2979"/>
                    <a:ext cx="17" cy="9"/>
                  </a:xfrm>
                  <a:custGeom>
                    <a:avLst/>
                    <a:gdLst>
                      <a:gd name="T0" fmla="*/ 0 w 9"/>
                      <a:gd name="T1" fmla="*/ 3 h 10"/>
                      <a:gd name="T2" fmla="*/ 9 w 9"/>
                      <a:gd name="T3" fmla="*/ 10 h 10"/>
                      <a:gd name="T4" fmla="*/ 9 w 9"/>
                      <a:gd name="T5" fmla="*/ 7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53" name="Freeform 2006"/>
                  <p:cNvSpPr>
                    <a:spLocks/>
                  </p:cNvSpPr>
                  <p:nvPr/>
                </p:nvSpPr>
                <p:spPr bwMode="auto">
                  <a:xfrm>
                    <a:off x="11472" y="2970"/>
                    <a:ext cx="8" cy="9"/>
                  </a:xfrm>
                  <a:custGeom>
                    <a:avLst/>
                    <a:gdLst>
                      <a:gd name="T0" fmla="*/ 0 w 12"/>
                      <a:gd name="T1" fmla="*/ 3 h 10"/>
                      <a:gd name="T2" fmla="*/ 10 w 12"/>
                      <a:gd name="T3" fmla="*/ 10 h 10"/>
                      <a:gd name="T4" fmla="*/ 12 w 12"/>
                      <a:gd name="T5" fmla="*/ 8 h 10"/>
                      <a:gd name="T6" fmla="*/ 3 w 12"/>
                      <a:gd name="T7" fmla="*/ 0 h 10"/>
                      <a:gd name="T8" fmla="*/ 0 w 12"/>
                      <a:gd name="T9" fmla="*/ 3 h 10"/>
                    </a:gdLst>
                    <a:ahLst/>
                    <a:cxnLst>
                      <a:cxn ang="0">
                        <a:pos x="T0" y="T1"/>
                      </a:cxn>
                      <a:cxn ang="0">
                        <a:pos x="T2" y="T3"/>
                      </a:cxn>
                      <a:cxn ang="0">
                        <a:pos x="T4" y="T5"/>
                      </a:cxn>
                      <a:cxn ang="0">
                        <a:pos x="T6" y="T7"/>
                      </a:cxn>
                      <a:cxn ang="0">
                        <a:pos x="T8" y="T9"/>
                      </a:cxn>
                    </a:cxnLst>
                    <a:rect l="0" t="0" r="r" b="b"/>
                    <a:pathLst>
                      <a:path w="12" h="10">
                        <a:moveTo>
                          <a:pt x="0" y="3"/>
                        </a:moveTo>
                        <a:lnTo>
                          <a:pt x="10" y="10"/>
                        </a:lnTo>
                        <a:lnTo>
                          <a:pt x="12" y="8"/>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54" name="Freeform 2007"/>
                  <p:cNvSpPr>
                    <a:spLocks/>
                  </p:cNvSpPr>
                  <p:nvPr/>
                </p:nvSpPr>
                <p:spPr bwMode="auto">
                  <a:xfrm>
                    <a:off x="11480" y="2952"/>
                    <a:ext cx="17" cy="9"/>
                  </a:xfrm>
                  <a:custGeom>
                    <a:avLst/>
                    <a:gdLst>
                      <a:gd name="T0" fmla="*/ 0 w 9"/>
                      <a:gd name="T1" fmla="*/ 2 h 9"/>
                      <a:gd name="T2" fmla="*/ 9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9"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55" name="Freeform 2008"/>
                  <p:cNvSpPr>
                    <a:spLocks/>
                  </p:cNvSpPr>
                  <p:nvPr/>
                </p:nvSpPr>
                <p:spPr bwMode="auto">
                  <a:xfrm>
                    <a:off x="11496" y="2926"/>
                    <a:ext cx="8" cy="9"/>
                  </a:xfrm>
                  <a:custGeom>
                    <a:avLst/>
                    <a:gdLst>
                      <a:gd name="T0" fmla="*/ 0 w 9"/>
                      <a:gd name="T1" fmla="*/ 0 h 7"/>
                      <a:gd name="T2" fmla="*/ 9 w 9"/>
                      <a:gd name="T3" fmla="*/ 7 h 7"/>
                      <a:gd name="T4" fmla="*/ 9 w 9"/>
                      <a:gd name="T5" fmla="*/ 4 h 7"/>
                      <a:gd name="T6" fmla="*/ 0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56" name="Freeform 2009"/>
                  <p:cNvSpPr>
                    <a:spLocks/>
                  </p:cNvSpPr>
                  <p:nvPr/>
                </p:nvSpPr>
                <p:spPr bwMode="auto">
                  <a:xfrm>
                    <a:off x="11521" y="2900"/>
                    <a:ext cx="0" cy="9"/>
                  </a:xfrm>
                  <a:custGeom>
                    <a:avLst/>
                    <a:gdLst>
                      <a:gd name="T0" fmla="*/ 0 w 12"/>
                      <a:gd name="T1" fmla="*/ 0 h 7"/>
                      <a:gd name="T2" fmla="*/ 10 w 12"/>
                      <a:gd name="T3" fmla="*/ 7 h 7"/>
                      <a:gd name="T4" fmla="*/ 12 w 12"/>
                      <a:gd name="T5" fmla="*/ 5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57" name="Freeform 2010"/>
                  <p:cNvSpPr>
                    <a:spLocks/>
                  </p:cNvSpPr>
                  <p:nvPr/>
                </p:nvSpPr>
                <p:spPr bwMode="auto">
                  <a:xfrm>
                    <a:off x="11521" y="2891"/>
                    <a:ext cx="8" cy="9"/>
                  </a:xfrm>
                  <a:custGeom>
                    <a:avLst/>
                    <a:gdLst>
                      <a:gd name="T0" fmla="*/ 0 w 12"/>
                      <a:gd name="T1" fmla="*/ 3 h 7"/>
                      <a:gd name="T2" fmla="*/ 12 w 12"/>
                      <a:gd name="T3" fmla="*/ 7 h 7"/>
                      <a:gd name="T4" fmla="*/ 12 w 12"/>
                      <a:gd name="T5" fmla="*/ 7 h 7"/>
                      <a:gd name="T6" fmla="*/ 3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12" y="7"/>
                        </a:lnTo>
                        <a:lnTo>
                          <a:pt x="12" y="7"/>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58" name="Freeform 2011"/>
                  <p:cNvSpPr>
                    <a:spLocks/>
                  </p:cNvSpPr>
                  <p:nvPr/>
                </p:nvSpPr>
                <p:spPr bwMode="auto">
                  <a:xfrm>
                    <a:off x="11513" y="2909"/>
                    <a:ext cx="8" cy="9"/>
                  </a:xfrm>
                  <a:custGeom>
                    <a:avLst/>
                    <a:gdLst>
                      <a:gd name="T0" fmla="*/ 0 w 9"/>
                      <a:gd name="T1" fmla="*/ 2 h 7"/>
                      <a:gd name="T2" fmla="*/ 9 w 9"/>
                      <a:gd name="T3" fmla="*/ 7 h 7"/>
                      <a:gd name="T4" fmla="*/ 9 w 9"/>
                      <a:gd name="T5" fmla="*/ 7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59" name="Freeform 2012"/>
                  <p:cNvSpPr>
                    <a:spLocks/>
                  </p:cNvSpPr>
                  <p:nvPr/>
                </p:nvSpPr>
                <p:spPr bwMode="auto">
                  <a:xfrm>
                    <a:off x="11496" y="2926"/>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60" name="Freeform 2013"/>
                  <p:cNvSpPr>
                    <a:spLocks/>
                  </p:cNvSpPr>
                  <p:nvPr/>
                </p:nvSpPr>
                <p:spPr bwMode="auto">
                  <a:xfrm>
                    <a:off x="11555" y="2778"/>
                    <a:ext cx="42" cy="17"/>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61" name="Freeform 2014"/>
                  <p:cNvSpPr>
                    <a:spLocks/>
                  </p:cNvSpPr>
                  <p:nvPr/>
                </p:nvSpPr>
                <p:spPr bwMode="auto">
                  <a:xfrm>
                    <a:off x="11505" y="2926"/>
                    <a:ext cx="17" cy="0"/>
                  </a:xfrm>
                  <a:custGeom>
                    <a:avLst/>
                    <a:gdLst>
                      <a:gd name="T0" fmla="*/ 0 w 9"/>
                      <a:gd name="T1" fmla="*/ 2 h 7"/>
                      <a:gd name="T2" fmla="*/ 9 w 9"/>
                      <a:gd name="T3" fmla="*/ 7 h 7"/>
                      <a:gd name="T4" fmla="*/ 9 w 9"/>
                      <a:gd name="T5" fmla="*/ 5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5"/>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62" name="Freeform 2015"/>
                  <p:cNvSpPr>
                    <a:spLocks/>
                  </p:cNvSpPr>
                  <p:nvPr/>
                </p:nvSpPr>
                <p:spPr bwMode="auto">
                  <a:xfrm>
                    <a:off x="11546" y="2839"/>
                    <a:ext cx="25" cy="9"/>
                  </a:xfrm>
                  <a:custGeom>
                    <a:avLst/>
                    <a:gdLst>
                      <a:gd name="T0" fmla="*/ 0 w 28"/>
                      <a:gd name="T1" fmla="*/ 3 h 15"/>
                      <a:gd name="T2" fmla="*/ 28 w 28"/>
                      <a:gd name="T3" fmla="*/ 15 h 15"/>
                      <a:gd name="T4" fmla="*/ 28 w 28"/>
                      <a:gd name="T5" fmla="*/ 15 h 15"/>
                      <a:gd name="T6" fmla="*/ 0 w 28"/>
                      <a:gd name="T7" fmla="*/ 0 h 15"/>
                      <a:gd name="T8" fmla="*/ 0 w 28"/>
                      <a:gd name="T9" fmla="*/ 3 h 15"/>
                    </a:gdLst>
                    <a:ahLst/>
                    <a:cxnLst>
                      <a:cxn ang="0">
                        <a:pos x="T0" y="T1"/>
                      </a:cxn>
                      <a:cxn ang="0">
                        <a:pos x="T2" y="T3"/>
                      </a:cxn>
                      <a:cxn ang="0">
                        <a:pos x="T4" y="T5"/>
                      </a:cxn>
                      <a:cxn ang="0">
                        <a:pos x="T6" y="T7"/>
                      </a:cxn>
                      <a:cxn ang="0">
                        <a:pos x="T8" y="T9"/>
                      </a:cxn>
                    </a:cxnLst>
                    <a:rect l="0" t="0" r="r" b="b"/>
                    <a:pathLst>
                      <a:path w="28" h="15">
                        <a:moveTo>
                          <a:pt x="0" y="3"/>
                        </a:moveTo>
                        <a:lnTo>
                          <a:pt x="28" y="15"/>
                        </a:lnTo>
                        <a:lnTo>
                          <a:pt x="28" y="15"/>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63" name="Rectangle 2016"/>
                  <p:cNvSpPr>
                    <a:spLocks noChangeArrowheads="1"/>
                  </p:cNvSpPr>
                  <p:nvPr/>
                </p:nvSpPr>
                <p:spPr bwMode="auto">
                  <a:xfrm>
                    <a:off x="11605" y="2630"/>
                    <a:ext cx="8" cy="0"/>
                  </a:xfrm>
                  <a:prstGeom prst="rect">
                    <a:avLst/>
                  </a:prstGeom>
                  <a:solidFill>
                    <a:srgbClr val="01AAE5"/>
                  </a:solidFill>
                  <a:ln>
                    <a:noFill/>
                  </a:ln>
                  <a:extLst/>
                </p:spPr>
                <p:txBody>
                  <a:bodyPr/>
                  <a:lstStyle/>
                  <a:p>
                    <a:pPr eaLnBrk="1" hangingPunct="1">
                      <a:defRPr/>
                    </a:pPr>
                    <a:endParaRPr lang="zh-CN" altLang="en-US" sz="1050"/>
                  </a:p>
                </p:txBody>
              </p:sp>
              <p:sp>
                <p:nvSpPr>
                  <p:cNvPr id="2464" name="Freeform 2017"/>
                  <p:cNvSpPr>
                    <a:spLocks/>
                  </p:cNvSpPr>
                  <p:nvPr/>
                </p:nvSpPr>
                <p:spPr bwMode="auto">
                  <a:xfrm>
                    <a:off x="11605" y="2621"/>
                    <a:ext cx="8" cy="0"/>
                  </a:xfrm>
                  <a:custGeom>
                    <a:avLst/>
                    <a:gdLst>
                      <a:gd name="T0" fmla="*/ 0 w 12"/>
                      <a:gd name="T1" fmla="*/ 3 h 3"/>
                      <a:gd name="T2" fmla="*/ 12 w 12"/>
                      <a:gd name="T3" fmla="*/ 3 h 3"/>
                      <a:gd name="T4" fmla="*/ 12 w 12"/>
                      <a:gd name="T5" fmla="*/ 3 h 3"/>
                      <a:gd name="T6" fmla="*/ 2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65" name="Freeform 2018"/>
                  <p:cNvSpPr>
                    <a:spLocks/>
                  </p:cNvSpPr>
                  <p:nvPr/>
                </p:nvSpPr>
                <p:spPr bwMode="auto">
                  <a:xfrm>
                    <a:off x="11605" y="2604"/>
                    <a:ext cx="17" cy="0"/>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66" name="Freeform 2019"/>
                  <p:cNvSpPr>
                    <a:spLocks/>
                  </p:cNvSpPr>
                  <p:nvPr/>
                </p:nvSpPr>
                <p:spPr bwMode="auto">
                  <a:xfrm>
                    <a:off x="11605" y="2613"/>
                    <a:ext cx="17" cy="0"/>
                  </a:xfrm>
                  <a:custGeom>
                    <a:avLst/>
                    <a:gdLst>
                      <a:gd name="T0" fmla="*/ 0 w 12"/>
                      <a:gd name="T1" fmla="*/ 3 h 3"/>
                      <a:gd name="T2" fmla="*/ 12 w 12"/>
                      <a:gd name="T3" fmla="*/ 3 h 3"/>
                      <a:gd name="T4" fmla="*/ 12 w 12"/>
                      <a:gd name="T5" fmla="*/ 3 h 3"/>
                      <a:gd name="T6" fmla="*/ 0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67" name="Freeform 2020"/>
                  <p:cNvSpPr>
                    <a:spLocks/>
                  </p:cNvSpPr>
                  <p:nvPr/>
                </p:nvSpPr>
                <p:spPr bwMode="auto">
                  <a:xfrm>
                    <a:off x="11605" y="2630"/>
                    <a:ext cx="8" cy="0"/>
                  </a:xfrm>
                  <a:custGeom>
                    <a:avLst/>
                    <a:gdLst>
                      <a:gd name="T0" fmla="*/ 0 w 12"/>
                      <a:gd name="T1" fmla="*/ 0 h 2"/>
                      <a:gd name="T2" fmla="*/ 12 w 12"/>
                      <a:gd name="T3" fmla="*/ 2 h 2"/>
                      <a:gd name="T4" fmla="*/ 12 w 12"/>
                      <a:gd name="T5" fmla="*/ 0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68" name="Freeform 2021"/>
                  <p:cNvSpPr>
                    <a:spLocks/>
                  </p:cNvSpPr>
                  <p:nvPr/>
                </p:nvSpPr>
                <p:spPr bwMode="auto">
                  <a:xfrm>
                    <a:off x="11605" y="2665"/>
                    <a:ext cx="8" cy="0"/>
                  </a:xfrm>
                  <a:custGeom>
                    <a:avLst/>
                    <a:gdLst>
                      <a:gd name="T0" fmla="*/ 0 w 12"/>
                      <a:gd name="T1" fmla="*/ 2 h 2"/>
                      <a:gd name="T2" fmla="*/ 12 w 12"/>
                      <a:gd name="T3" fmla="*/ 2 h 2"/>
                      <a:gd name="T4" fmla="*/ 12 w 12"/>
                      <a:gd name="T5" fmla="*/ 2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2"/>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69" name="Freeform 2022"/>
                  <p:cNvSpPr>
                    <a:spLocks/>
                  </p:cNvSpPr>
                  <p:nvPr/>
                </p:nvSpPr>
                <p:spPr bwMode="auto">
                  <a:xfrm>
                    <a:off x="11605" y="2647"/>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70" name="Freeform 2023"/>
                  <p:cNvSpPr>
                    <a:spLocks/>
                  </p:cNvSpPr>
                  <p:nvPr/>
                </p:nvSpPr>
                <p:spPr bwMode="auto">
                  <a:xfrm>
                    <a:off x="11605" y="2639"/>
                    <a:ext cx="8" cy="0"/>
                  </a:xfrm>
                  <a:custGeom>
                    <a:avLst/>
                    <a:gdLst>
                      <a:gd name="T0" fmla="*/ 0 w 11"/>
                      <a:gd name="T1" fmla="*/ 0 h 2"/>
                      <a:gd name="T2" fmla="*/ 11 w 11"/>
                      <a:gd name="T3" fmla="*/ 2 h 2"/>
                      <a:gd name="T4" fmla="*/ 11 w 11"/>
                      <a:gd name="T5" fmla="*/ 0 h 2"/>
                      <a:gd name="T6" fmla="*/ 2 w 11"/>
                      <a:gd name="T7" fmla="*/ 0 h 2"/>
                      <a:gd name="T8" fmla="*/ 0 w 11"/>
                      <a:gd name="T9" fmla="*/ 0 h 2"/>
                    </a:gdLst>
                    <a:ahLst/>
                    <a:cxnLst>
                      <a:cxn ang="0">
                        <a:pos x="T0" y="T1"/>
                      </a:cxn>
                      <a:cxn ang="0">
                        <a:pos x="T2" y="T3"/>
                      </a:cxn>
                      <a:cxn ang="0">
                        <a:pos x="T4" y="T5"/>
                      </a:cxn>
                      <a:cxn ang="0">
                        <a:pos x="T6" y="T7"/>
                      </a:cxn>
                      <a:cxn ang="0">
                        <a:pos x="T8" y="T9"/>
                      </a:cxn>
                    </a:cxnLst>
                    <a:rect l="0" t="0" r="r" b="b"/>
                    <a:pathLst>
                      <a:path w="11" h="2">
                        <a:moveTo>
                          <a:pt x="0" y="0"/>
                        </a:moveTo>
                        <a:lnTo>
                          <a:pt x="11" y="2"/>
                        </a:lnTo>
                        <a:lnTo>
                          <a:pt x="11" y="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71" name="Freeform 2024"/>
                  <p:cNvSpPr>
                    <a:spLocks/>
                  </p:cNvSpPr>
                  <p:nvPr/>
                </p:nvSpPr>
                <p:spPr bwMode="auto">
                  <a:xfrm>
                    <a:off x="11605" y="2656"/>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72" name="Rectangle 2025"/>
                  <p:cNvSpPr>
                    <a:spLocks noChangeArrowheads="1"/>
                  </p:cNvSpPr>
                  <p:nvPr/>
                </p:nvSpPr>
                <p:spPr bwMode="auto">
                  <a:xfrm>
                    <a:off x="11605"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2473" name="Rectangle 2026"/>
                  <p:cNvSpPr>
                    <a:spLocks noChangeArrowheads="1"/>
                  </p:cNvSpPr>
                  <p:nvPr/>
                </p:nvSpPr>
                <p:spPr bwMode="auto">
                  <a:xfrm>
                    <a:off x="11605"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2474" name="Freeform 2027"/>
                  <p:cNvSpPr>
                    <a:spLocks/>
                  </p:cNvSpPr>
                  <p:nvPr/>
                </p:nvSpPr>
                <p:spPr bwMode="auto">
                  <a:xfrm>
                    <a:off x="11605" y="2569"/>
                    <a:ext cx="17" cy="0"/>
                  </a:xfrm>
                  <a:custGeom>
                    <a:avLst/>
                    <a:gdLst>
                      <a:gd name="T0" fmla="*/ 0 w 11"/>
                      <a:gd name="T1" fmla="*/ 2 h 2"/>
                      <a:gd name="T2" fmla="*/ 11 w 11"/>
                      <a:gd name="T3" fmla="*/ 2 h 2"/>
                      <a:gd name="T4" fmla="*/ 11 w 11"/>
                      <a:gd name="T5" fmla="*/ 2 h 2"/>
                      <a:gd name="T6" fmla="*/ 0 w 11"/>
                      <a:gd name="T7" fmla="*/ 0 h 2"/>
                      <a:gd name="T8" fmla="*/ 0 w 11"/>
                      <a:gd name="T9" fmla="*/ 2 h 2"/>
                    </a:gdLst>
                    <a:ahLst/>
                    <a:cxnLst>
                      <a:cxn ang="0">
                        <a:pos x="T0" y="T1"/>
                      </a:cxn>
                      <a:cxn ang="0">
                        <a:pos x="T2" y="T3"/>
                      </a:cxn>
                      <a:cxn ang="0">
                        <a:pos x="T4" y="T5"/>
                      </a:cxn>
                      <a:cxn ang="0">
                        <a:pos x="T6" y="T7"/>
                      </a:cxn>
                      <a:cxn ang="0">
                        <a:pos x="T8" y="T9"/>
                      </a:cxn>
                    </a:cxnLst>
                    <a:rect l="0" t="0" r="r" b="b"/>
                    <a:pathLst>
                      <a:path w="11" h="2">
                        <a:moveTo>
                          <a:pt x="0" y="2"/>
                        </a:moveTo>
                        <a:lnTo>
                          <a:pt x="11" y="2"/>
                        </a:lnTo>
                        <a:lnTo>
                          <a:pt x="11"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75" name="Rectangle 2028"/>
                  <p:cNvSpPr>
                    <a:spLocks noChangeArrowheads="1"/>
                  </p:cNvSpPr>
                  <p:nvPr/>
                </p:nvSpPr>
                <p:spPr bwMode="auto">
                  <a:xfrm>
                    <a:off x="11605"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2476" name="Rectangle 2029"/>
                  <p:cNvSpPr>
                    <a:spLocks noChangeArrowheads="1"/>
                  </p:cNvSpPr>
                  <p:nvPr/>
                </p:nvSpPr>
                <p:spPr bwMode="auto">
                  <a:xfrm>
                    <a:off x="11605"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2477" name="Rectangle 2030"/>
                  <p:cNvSpPr>
                    <a:spLocks noChangeArrowheads="1"/>
                  </p:cNvSpPr>
                  <p:nvPr/>
                </p:nvSpPr>
                <p:spPr bwMode="auto">
                  <a:xfrm>
                    <a:off x="11605" y="2578"/>
                    <a:ext cx="17" cy="0"/>
                  </a:xfrm>
                  <a:prstGeom prst="rect">
                    <a:avLst/>
                  </a:prstGeom>
                  <a:solidFill>
                    <a:srgbClr val="01AAE5"/>
                  </a:solidFill>
                  <a:ln>
                    <a:noFill/>
                  </a:ln>
                  <a:extLst/>
                </p:spPr>
                <p:txBody>
                  <a:bodyPr/>
                  <a:lstStyle/>
                  <a:p>
                    <a:pPr eaLnBrk="1" hangingPunct="1">
                      <a:defRPr/>
                    </a:pPr>
                    <a:endParaRPr lang="zh-CN" altLang="en-US" sz="1050"/>
                  </a:p>
                </p:txBody>
              </p:sp>
              <p:sp>
                <p:nvSpPr>
                  <p:cNvPr id="2478" name="Freeform 2031"/>
                  <p:cNvSpPr>
                    <a:spLocks/>
                  </p:cNvSpPr>
                  <p:nvPr/>
                </p:nvSpPr>
                <p:spPr bwMode="auto">
                  <a:xfrm>
                    <a:off x="11605" y="2595"/>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79" name="Freeform 2032"/>
                  <p:cNvSpPr>
                    <a:spLocks/>
                  </p:cNvSpPr>
                  <p:nvPr/>
                </p:nvSpPr>
                <p:spPr bwMode="auto">
                  <a:xfrm>
                    <a:off x="11605" y="2604"/>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80" name="Freeform 2033"/>
                  <p:cNvSpPr>
                    <a:spLocks/>
                  </p:cNvSpPr>
                  <p:nvPr/>
                </p:nvSpPr>
                <p:spPr bwMode="auto">
                  <a:xfrm>
                    <a:off x="11596" y="2700"/>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81" name="Freeform 2034"/>
                  <p:cNvSpPr>
                    <a:spLocks/>
                  </p:cNvSpPr>
                  <p:nvPr/>
                </p:nvSpPr>
                <p:spPr bwMode="auto">
                  <a:xfrm>
                    <a:off x="11580" y="2735"/>
                    <a:ext cx="17" cy="9"/>
                  </a:xfrm>
                  <a:custGeom>
                    <a:avLst/>
                    <a:gdLst>
                      <a:gd name="T0" fmla="*/ 0 w 19"/>
                      <a:gd name="T1" fmla="*/ 2 h 7"/>
                      <a:gd name="T2" fmla="*/ 19 w 19"/>
                      <a:gd name="T3" fmla="*/ 7 h 7"/>
                      <a:gd name="T4" fmla="*/ 19 w 19"/>
                      <a:gd name="T5" fmla="*/ 4 h 7"/>
                      <a:gd name="T6" fmla="*/ 0 w 19"/>
                      <a:gd name="T7" fmla="*/ 0 h 7"/>
                      <a:gd name="T8" fmla="*/ 0 w 19"/>
                      <a:gd name="T9" fmla="*/ 2 h 7"/>
                    </a:gdLst>
                    <a:ahLst/>
                    <a:cxnLst>
                      <a:cxn ang="0">
                        <a:pos x="T0" y="T1"/>
                      </a:cxn>
                      <a:cxn ang="0">
                        <a:pos x="T2" y="T3"/>
                      </a:cxn>
                      <a:cxn ang="0">
                        <a:pos x="T4" y="T5"/>
                      </a:cxn>
                      <a:cxn ang="0">
                        <a:pos x="T6" y="T7"/>
                      </a:cxn>
                      <a:cxn ang="0">
                        <a:pos x="T8" y="T9"/>
                      </a:cxn>
                    </a:cxnLst>
                    <a:rect l="0" t="0" r="r" b="b"/>
                    <a:pathLst>
                      <a:path w="19" h="7">
                        <a:moveTo>
                          <a:pt x="0" y="2"/>
                        </a:moveTo>
                        <a:lnTo>
                          <a:pt x="19" y="7"/>
                        </a:lnTo>
                        <a:lnTo>
                          <a:pt x="19" y="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82" name="Freeform 2035"/>
                  <p:cNvSpPr>
                    <a:spLocks/>
                  </p:cNvSpPr>
                  <p:nvPr/>
                </p:nvSpPr>
                <p:spPr bwMode="auto">
                  <a:xfrm>
                    <a:off x="11571" y="2743"/>
                    <a:ext cx="33" cy="0"/>
                  </a:xfrm>
                  <a:custGeom>
                    <a:avLst/>
                    <a:gdLst>
                      <a:gd name="T0" fmla="*/ 0 w 21"/>
                      <a:gd name="T1" fmla="*/ 3 h 10"/>
                      <a:gd name="T2" fmla="*/ 21 w 21"/>
                      <a:gd name="T3" fmla="*/ 10 h 10"/>
                      <a:gd name="T4" fmla="*/ 21 w 21"/>
                      <a:gd name="T5" fmla="*/ 7 h 10"/>
                      <a:gd name="T6" fmla="*/ 0 w 21"/>
                      <a:gd name="T7" fmla="*/ 0 h 10"/>
                      <a:gd name="T8" fmla="*/ 0 w 21"/>
                      <a:gd name="T9" fmla="*/ 3 h 10"/>
                    </a:gdLst>
                    <a:ahLst/>
                    <a:cxnLst>
                      <a:cxn ang="0">
                        <a:pos x="T0" y="T1"/>
                      </a:cxn>
                      <a:cxn ang="0">
                        <a:pos x="T2" y="T3"/>
                      </a:cxn>
                      <a:cxn ang="0">
                        <a:pos x="T4" y="T5"/>
                      </a:cxn>
                      <a:cxn ang="0">
                        <a:pos x="T6" y="T7"/>
                      </a:cxn>
                      <a:cxn ang="0">
                        <a:pos x="T8" y="T9"/>
                      </a:cxn>
                    </a:cxnLst>
                    <a:rect l="0" t="0" r="r" b="b"/>
                    <a:pathLst>
                      <a:path w="21" h="10">
                        <a:moveTo>
                          <a:pt x="0" y="3"/>
                        </a:moveTo>
                        <a:lnTo>
                          <a:pt x="21" y="10"/>
                        </a:lnTo>
                        <a:lnTo>
                          <a:pt x="2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83" name="Freeform 2036"/>
                  <p:cNvSpPr>
                    <a:spLocks/>
                  </p:cNvSpPr>
                  <p:nvPr/>
                </p:nvSpPr>
                <p:spPr bwMode="auto">
                  <a:xfrm>
                    <a:off x="11571" y="2743"/>
                    <a:ext cx="33" cy="9"/>
                  </a:xfrm>
                  <a:custGeom>
                    <a:avLst/>
                    <a:gdLst>
                      <a:gd name="T0" fmla="*/ 0 w 26"/>
                      <a:gd name="T1" fmla="*/ 0 h 10"/>
                      <a:gd name="T2" fmla="*/ 26 w 26"/>
                      <a:gd name="T3" fmla="*/ 10 h 10"/>
                      <a:gd name="T4" fmla="*/ 26 w 26"/>
                      <a:gd name="T5" fmla="*/ 7 h 10"/>
                      <a:gd name="T6" fmla="*/ 0 w 26"/>
                      <a:gd name="T7" fmla="*/ 0 h 10"/>
                      <a:gd name="T8" fmla="*/ 0 w 26"/>
                      <a:gd name="T9" fmla="*/ 0 h 10"/>
                    </a:gdLst>
                    <a:ahLst/>
                    <a:cxnLst>
                      <a:cxn ang="0">
                        <a:pos x="T0" y="T1"/>
                      </a:cxn>
                      <a:cxn ang="0">
                        <a:pos x="T2" y="T3"/>
                      </a:cxn>
                      <a:cxn ang="0">
                        <a:pos x="T4" y="T5"/>
                      </a:cxn>
                      <a:cxn ang="0">
                        <a:pos x="T6" y="T7"/>
                      </a:cxn>
                      <a:cxn ang="0">
                        <a:pos x="T8" y="T9"/>
                      </a:cxn>
                    </a:cxnLst>
                    <a:rect l="0" t="0" r="r" b="b"/>
                    <a:pathLst>
                      <a:path w="26" h="10">
                        <a:moveTo>
                          <a:pt x="0" y="0"/>
                        </a:moveTo>
                        <a:lnTo>
                          <a:pt x="26" y="10"/>
                        </a:lnTo>
                        <a:lnTo>
                          <a:pt x="26"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84" name="Freeform 2037"/>
                  <p:cNvSpPr>
                    <a:spLocks/>
                  </p:cNvSpPr>
                  <p:nvPr/>
                </p:nvSpPr>
                <p:spPr bwMode="auto">
                  <a:xfrm>
                    <a:off x="11580" y="2726"/>
                    <a:ext cx="17" cy="9"/>
                  </a:xfrm>
                  <a:custGeom>
                    <a:avLst/>
                    <a:gdLst>
                      <a:gd name="T0" fmla="*/ 0 w 16"/>
                      <a:gd name="T1" fmla="*/ 3 h 8"/>
                      <a:gd name="T2" fmla="*/ 16 w 16"/>
                      <a:gd name="T3" fmla="*/ 8 h 8"/>
                      <a:gd name="T4" fmla="*/ 16 w 16"/>
                      <a:gd name="T5" fmla="*/ 5 h 8"/>
                      <a:gd name="T6" fmla="*/ 2 w 16"/>
                      <a:gd name="T7" fmla="*/ 0 h 8"/>
                      <a:gd name="T8" fmla="*/ 0 w 16"/>
                      <a:gd name="T9" fmla="*/ 3 h 8"/>
                    </a:gdLst>
                    <a:ahLst/>
                    <a:cxnLst>
                      <a:cxn ang="0">
                        <a:pos x="T0" y="T1"/>
                      </a:cxn>
                      <a:cxn ang="0">
                        <a:pos x="T2" y="T3"/>
                      </a:cxn>
                      <a:cxn ang="0">
                        <a:pos x="T4" y="T5"/>
                      </a:cxn>
                      <a:cxn ang="0">
                        <a:pos x="T6" y="T7"/>
                      </a:cxn>
                      <a:cxn ang="0">
                        <a:pos x="T8" y="T9"/>
                      </a:cxn>
                    </a:cxnLst>
                    <a:rect l="0" t="0" r="r" b="b"/>
                    <a:pathLst>
                      <a:path w="16" h="8">
                        <a:moveTo>
                          <a:pt x="0" y="3"/>
                        </a:moveTo>
                        <a:lnTo>
                          <a:pt x="16" y="8"/>
                        </a:lnTo>
                        <a:lnTo>
                          <a:pt x="16" y="5"/>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85" name="Freeform 2038"/>
                  <p:cNvSpPr>
                    <a:spLocks/>
                  </p:cNvSpPr>
                  <p:nvPr/>
                </p:nvSpPr>
                <p:spPr bwMode="auto">
                  <a:xfrm>
                    <a:off x="11588" y="2726"/>
                    <a:ext cx="17" cy="0"/>
                  </a:xfrm>
                  <a:custGeom>
                    <a:avLst/>
                    <a:gdLst>
                      <a:gd name="T0" fmla="*/ 0 w 12"/>
                      <a:gd name="T1" fmla="*/ 0 h 4"/>
                      <a:gd name="T2" fmla="*/ 12 w 12"/>
                      <a:gd name="T3" fmla="*/ 4 h 4"/>
                      <a:gd name="T4" fmla="*/ 12 w 12"/>
                      <a:gd name="T5" fmla="*/ 2 h 4"/>
                      <a:gd name="T6" fmla="*/ 0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12" y="4"/>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86" name="Freeform 2039"/>
                  <p:cNvSpPr>
                    <a:spLocks/>
                  </p:cNvSpPr>
                  <p:nvPr/>
                </p:nvSpPr>
                <p:spPr bwMode="auto">
                  <a:xfrm>
                    <a:off x="11563" y="2761"/>
                    <a:ext cx="42" cy="17"/>
                  </a:xfrm>
                  <a:custGeom>
                    <a:avLst/>
                    <a:gdLst>
                      <a:gd name="T0" fmla="*/ 0 w 38"/>
                      <a:gd name="T1" fmla="*/ 2 h 14"/>
                      <a:gd name="T2" fmla="*/ 38 w 38"/>
                      <a:gd name="T3" fmla="*/ 14 h 14"/>
                      <a:gd name="T4" fmla="*/ 38 w 38"/>
                      <a:gd name="T5" fmla="*/ 12 h 14"/>
                      <a:gd name="T6" fmla="*/ 3 w 38"/>
                      <a:gd name="T7" fmla="*/ 0 h 14"/>
                      <a:gd name="T8" fmla="*/ 0 w 38"/>
                      <a:gd name="T9" fmla="*/ 2 h 14"/>
                    </a:gdLst>
                    <a:ahLst/>
                    <a:cxnLst>
                      <a:cxn ang="0">
                        <a:pos x="T0" y="T1"/>
                      </a:cxn>
                      <a:cxn ang="0">
                        <a:pos x="T2" y="T3"/>
                      </a:cxn>
                      <a:cxn ang="0">
                        <a:pos x="T4" y="T5"/>
                      </a:cxn>
                      <a:cxn ang="0">
                        <a:pos x="T6" y="T7"/>
                      </a:cxn>
                      <a:cxn ang="0">
                        <a:pos x="T8" y="T9"/>
                      </a:cxn>
                    </a:cxnLst>
                    <a:rect l="0" t="0" r="r" b="b"/>
                    <a:pathLst>
                      <a:path w="38" h="14">
                        <a:moveTo>
                          <a:pt x="0" y="2"/>
                        </a:moveTo>
                        <a:lnTo>
                          <a:pt x="38" y="14"/>
                        </a:lnTo>
                        <a:lnTo>
                          <a:pt x="38" y="1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87" name="Freeform 2040"/>
                  <p:cNvSpPr>
                    <a:spLocks/>
                  </p:cNvSpPr>
                  <p:nvPr/>
                </p:nvSpPr>
                <p:spPr bwMode="auto">
                  <a:xfrm>
                    <a:off x="11571" y="2752"/>
                    <a:ext cx="33" cy="9"/>
                  </a:xfrm>
                  <a:custGeom>
                    <a:avLst/>
                    <a:gdLst>
                      <a:gd name="T0" fmla="*/ 0 w 31"/>
                      <a:gd name="T1" fmla="*/ 2 h 12"/>
                      <a:gd name="T2" fmla="*/ 31 w 31"/>
                      <a:gd name="T3" fmla="*/ 12 h 12"/>
                      <a:gd name="T4" fmla="*/ 31 w 31"/>
                      <a:gd name="T5" fmla="*/ 10 h 12"/>
                      <a:gd name="T6" fmla="*/ 3 w 31"/>
                      <a:gd name="T7" fmla="*/ 0 h 12"/>
                      <a:gd name="T8" fmla="*/ 0 w 31"/>
                      <a:gd name="T9" fmla="*/ 2 h 12"/>
                    </a:gdLst>
                    <a:ahLst/>
                    <a:cxnLst>
                      <a:cxn ang="0">
                        <a:pos x="T0" y="T1"/>
                      </a:cxn>
                      <a:cxn ang="0">
                        <a:pos x="T2" y="T3"/>
                      </a:cxn>
                      <a:cxn ang="0">
                        <a:pos x="T4" y="T5"/>
                      </a:cxn>
                      <a:cxn ang="0">
                        <a:pos x="T6" y="T7"/>
                      </a:cxn>
                      <a:cxn ang="0">
                        <a:pos x="T8" y="T9"/>
                      </a:cxn>
                    </a:cxnLst>
                    <a:rect l="0" t="0" r="r" b="b"/>
                    <a:pathLst>
                      <a:path w="31" h="12">
                        <a:moveTo>
                          <a:pt x="0" y="2"/>
                        </a:moveTo>
                        <a:lnTo>
                          <a:pt x="31" y="12"/>
                        </a:lnTo>
                        <a:lnTo>
                          <a:pt x="31" y="1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88" name="Freeform 2041"/>
                  <p:cNvSpPr>
                    <a:spLocks/>
                  </p:cNvSpPr>
                  <p:nvPr/>
                </p:nvSpPr>
                <p:spPr bwMode="auto">
                  <a:xfrm>
                    <a:off x="11571" y="2761"/>
                    <a:ext cx="33" cy="17"/>
                  </a:xfrm>
                  <a:custGeom>
                    <a:avLst/>
                    <a:gdLst>
                      <a:gd name="T0" fmla="*/ 0 w 33"/>
                      <a:gd name="T1" fmla="*/ 0 h 12"/>
                      <a:gd name="T2" fmla="*/ 33 w 33"/>
                      <a:gd name="T3" fmla="*/ 12 h 12"/>
                      <a:gd name="T4" fmla="*/ 33 w 33"/>
                      <a:gd name="T5" fmla="*/ 10 h 12"/>
                      <a:gd name="T6" fmla="*/ 0 w 33"/>
                      <a:gd name="T7" fmla="*/ 0 h 12"/>
                      <a:gd name="T8" fmla="*/ 0 w 33"/>
                      <a:gd name="T9" fmla="*/ 0 h 12"/>
                    </a:gdLst>
                    <a:ahLst/>
                    <a:cxnLst>
                      <a:cxn ang="0">
                        <a:pos x="T0" y="T1"/>
                      </a:cxn>
                      <a:cxn ang="0">
                        <a:pos x="T2" y="T3"/>
                      </a:cxn>
                      <a:cxn ang="0">
                        <a:pos x="T4" y="T5"/>
                      </a:cxn>
                      <a:cxn ang="0">
                        <a:pos x="T6" y="T7"/>
                      </a:cxn>
                      <a:cxn ang="0">
                        <a:pos x="T8" y="T9"/>
                      </a:cxn>
                    </a:cxnLst>
                    <a:rect l="0" t="0" r="r" b="b"/>
                    <a:pathLst>
                      <a:path w="33" h="12">
                        <a:moveTo>
                          <a:pt x="0" y="0"/>
                        </a:moveTo>
                        <a:lnTo>
                          <a:pt x="33" y="12"/>
                        </a:lnTo>
                        <a:lnTo>
                          <a:pt x="33" y="1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89" name="Freeform 2042"/>
                  <p:cNvSpPr>
                    <a:spLocks/>
                  </p:cNvSpPr>
                  <p:nvPr/>
                </p:nvSpPr>
                <p:spPr bwMode="auto">
                  <a:xfrm>
                    <a:off x="11596" y="2700"/>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90" name="Freeform 2043"/>
                  <p:cNvSpPr>
                    <a:spLocks/>
                  </p:cNvSpPr>
                  <p:nvPr/>
                </p:nvSpPr>
                <p:spPr bwMode="auto">
                  <a:xfrm>
                    <a:off x="11596" y="2674"/>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91" name="Freeform 2044"/>
                  <p:cNvSpPr>
                    <a:spLocks/>
                  </p:cNvSpPr>
                  <p:nvPr/>
                </p:nvSpPr>
                <p:spPr bwMode="auto">
                  <a:xfrm>
                    <a:off x="11596" y="2682"/>
                    <a:ext cx="8" cy="0"/>
                  </a:xfrm>
                  <a:custGeom>
                    <a:avLst/>
                    <a:gdLst>
                      <a:gd name="T0" fmla="*/ 0 w 12"/>
                      <a:gd name="T1" fmla="*/ 2 h 4"/>
                      <a:gd name="T2" fmla="*/ 12 w 12"/>
                      <a:gd name="T3" fmla="*/ 4 h 4"/>
                      <a:gd name="T4" fmla="*/ 12 w 12"/>
                      <a:gd name="T5" fmla="*/ 2 h 4"/>
                      <a:gd name="T6" fmla="*/ 3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92" name="Freeform 2045"/>
                  <p:cNvSpPr>
                    <a:spLocks/>
                  </p:cNvSpPr>
                  <p:nvPr/>
                </p:nvSpPr>
                <p:spPr bwMode="auto">
                  <a:xfrm>
                    <a:off x="11596" y="2665"/>
                    <a:ext cx="8" cy="9"/>
                  </a:xfrm>
                  <a:custGeom>
                    <a:avLst/>
                    <a:gdLst>
                      <a:gd name="T0" fmla="*/ 0 w 12"/>
                      <a:gd name="T1" fmla="*/ 3 h 5"/>
                      <a:gd name="T2" fmla="*/ 12 w 12"/>
                      <a:gd name="T3" fmla="*/ 5 h 5"/>
                      <a:gd name="T4" fmla="*/ 12 w 12"/>
                      <a:gd name="T5" fmla="*/ 3 h 5"/>
                      <a:gd name="T6" fmla="*/ 2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93" name="Freeform 2046"/>
                  <p:cNvSpPr>
                    <a:spLocks/>
                  </p:cNvSpPr>
                  <p:nvPr/>
                </p:nvSpPr>
                <p:spPr bwMode="auto">
                  <a:xfrm>
                    <a:off x="11588" y="2717"/>
                    <a:ext cx="17" cy="0"/>
                  </a:xfrm>
                  <a:custGeom>
                    <a:avLst/>
                    <a:gdLst>
                      <a:gd name="T0" fmla="*/ 3 w 12"/>
                      <a:gd name="T1" fmla="*/ 0 h 4"/>
                      <a:gd name="T2" fmla="*/ 0 w 12"/>
                      <a:gd name="T3" fmla="*/ 2 h 4"/>
                      <a:gd name="T4" fmla="*/ 12 w 12"/>
                      <a:gd name="T5" fmla="*/ 4 h 4"/>
                      <a:gd name="T6" fmla="*/ 12 w 12"/>
                      <a:gd name="T7" fmla="*/ 2 h 4"/>
                      <a:gd name="T8" fmla="*/ 3 w 12"/>
                      <a:gd name="T9" fmla="*/ 0 h 4"/>
                    </a:gdLst>
                    <a:ahLst/>
                    <a:cxnLst>
                      <a:cxn ang="0">
                        <a:pos x="T0" y="T1"/>
                      </a:cxn>
                      <a:cxn ang="0">
                        <a:pos x="T2" y="T3"/>
                      </a:cxn>
                      <a:cxn ang="0">
                        <a:pos x="T4" y="T5"/>
                      </a:cxn>
                      <a:cxn ang="0">
                        <a:pos x="T6" y="T7"/>
                      </a:cxn>
                      <a:cxn ang="0">
                        <a:pos x="T8" y="T9"/>
                      </a:cxn>
                    </a:cxnLst>
                    <a:rect l="0" t="0" r="r" b="b"/>
                    <a:pathLst>
                      <a:path w="12" h="4">
                        <a:moveTo>
                          <a:pt x="3" y="0"/>
                        </a:moveTo>
                        <a:lnTo>
                          <a:pt x="0" y="2"/>
                        </a:lnTo>
                        <a:lnTo>
                          <a:pt x="12" y="4"/>
                        </a:lnTo>
                        <a:lnTo>
                          <a:pt x="12"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2494" name="Freeform 2047"/>
                  <p:cNvSpPr>
                    <a:spLocks/>
                  </p:cNvSpPr>
                  <p:nvPr/>
                </p:nvSpPr>
                <p:spPr bwMode="auto">
                  <a:xfrm>
                    <a:off x="11605" y="2665"/>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95" name="Freeform 2048"/>
                  <p:cNvSpPr>
                    <a:spLocks/>
                  </p:cNvSpPr>
                  <p:nvPr/>
                </p:nvSpPr>
                <p:spPr bwMode="auto">
                  <a:xfrm>
                    <a:off x="11563" y="2778"/>
                    <a:ext cx="33" cy="9"/>
                  </a:xfrm>
                  <a:custGeom>
                    <a:avLst/>
                    <a:gdLst>
                      <a:gd name="T0" fmla="*/ 0 w 38"/>
                      <a:gd name="T1" fmla="*/ 0 h 14"/>
                      <a:gd name="T2" fmla="*/ 38 w 38"/>
                      <a:gd name="T3" fmla="*/ 14 h 14"/>
                      <a:gd name="T4" fmla="*/ 38 w 38"/>
                      <a:gd name="T5" fmla="*/ 12 h 14"/>
                      <a:gd name="T6" fmla="*/ 0 w 38"/>
                      <a:gd name="T7" fmla="*/ 0 h 14"/>
                      <a:gd name="T8" fmla="*/ 0 w 38"/>
                      <a:gd name="T9" fmla="*/ 0 h 14"/>
                    </a:gdLst>
                    <a:ahLst/>
                    <a:cxnLst>
                      <a:cxn ang="0">
                        <a:pos x="T0" y="T1"/>
                      </a:cxn>
                      <a:cxn ang="0">
                        <a:pos x="T2" y="T3"/>
                      </a:cxn>
                      <a:cxn ang="0">
                        <a:pos x="T4" y="T5"/>
                      </a:cxn>
                      <a:cxn ang="0">
                        <a:pos x="T6" y="T7"/>
                      </a:cxn>
                      <a:cxn ang="0">
                        <a:pos x="T8" y="T9"/>
                      </a:cxn>
                    </a:cxnLst>
                    <a:rect l="0" t="0" r="r" b="b"/>
                    <a:pathLst>
                      <a:path w="38" h="14">
                        <a:moveTo>
                          <a:pt x="0" y="0"/>
                        </a:moveTo>
                        <a:lnTo>
                          <a:pt x="38" y="14"/>
                        </a:lnTo>
                        <a:lnTo>
                          <a:pt x="38"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96" name="Freeform 2049"/>
                  <p:cNvSpPr>
                    <a:spLocks/>
                  </p:cNvSpPr>
                  <p:nvPr/>
                </p:nvSpPr>
                <p:spPr bwMode="auto">
                  <a:xfrm>
                    <a:off x="11596" y="2691"/>
                    <a:ext cx="8" cy="0"/>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497" name="Freeform 2050"/>
                  <p:cNvSpPr>
                    <a:spLocks/>
                  </p:cNvSpPr>
                  <p:nvPr/>
                </p:nvSpPr>
                <p:spPr bwMode="auto">
                  <a:xfrm>
                    <a:off x="11538" y="2857"/>
                    <a:ext cx="8" cy="9"/>
                  </a:xfrm>
                  <a:custGeom>
                    <a:avLst/>
                    <a:gdLst>
                      <a:gd name="T0" fmla="*/ 0 w 19"/>
                      <a:gd name="T1" fmla="*/ 3 h 12"/>
                      <a:gd name="T2" fmla="*/ 19 w 19"/>
                      <a:gd name="T3" fmla="*/ 12 h 12"/>
                      <a:gd name="T4" fmla="*/ 19 w 19"/>
                      <a:gd name="T5" fmla="*/ 10 h 12"/>
                      <a:gd name="T6" fmla="*/ 0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9" y="12"/>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498" name="Freeform 2051"/>
                  <p:cNvSpPr>
                    <a:spLocks/>
                  </p:cNvSpPr>
                  <p:nvPr/>
                </p:nvSpPr>
                <p:spPr bwMode="auto">
                  <a:xfrm>
                    <a:off x="11264" y="3127"/>
                    <a:ext cx="50" cy="70"/>
                  </a:xfrm>
                  <a:custGeom>
                    <a:avLst/>
                    <a:gdLst>
                      <a:gd name="T0" fmla="*/ 0 w 50"/>
                      <a:gd name="T1" fmla="*/ 0 h 78"/>
                      <a:gd name="T2" fmla="*/ 50 w 50"/>
                      <a:gd name="T3" fmla="*/ 78 h 78"/>
                      <a:gd name="T4" fmla="*/ 50 w 50"/>
                      <a:gd name="T5" fmla="*/ 78 h 78"/>
                      <a:gd name="T6" fmla="*/ 0 w 50"/>
                      <a:gd name="T7" fmla="*/ 0 h 78"/>
                      <a:gd name="T8" fmla="*/ 0 w 50"/>
                      <a:gd name="T9" fmla="*/ 0 h 78"/>
                    </a:gdLst>
                    <a:ahLst/>
                    <a:cxnLst>
                      <a:cxn ang="0">
                        <a:pos x="T0" y="T1"/>
                      </a:cxn>
                      <a:cxn ang="0">
                        <a:pos x="T2" y="T3"/>
                      </a:cxn>
                      <a:cxn ang="0">
                        <a:pos x="T4" y="T5"/>
                      </a:cxn>
                      <a:cxn ang="0">
                        <a:pos x="T6" y="T7"/>
                      </a:cxn>
                      <a:cxn ang="0">
                        <a:pos x="T8" y="T9"/>
                      </a:cxn>
                    </a:cxnLst>
                    <a:rect l="0" t="0" r="r" b="b"/>
                    <a:pathLst>
                      <a:path w="50" h="78">
                        <a:moveTo>
                          <a:pt x="0" y="0"/>
                        </a:moveTo>
                        <a:lnTo>
                          <a:pt x="50" y="78"/>
                        </a:lnTo>
                        <a:lnTo>
                          <a:pt x="50"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499" name="Freeform 2052"/>
                  <p:cNvSpPr>
                    <a:spLocks/>
                  </p:cNvSpPr>
                  <p:nvPr/>
                </p:nvSpPr>
                <p:spPr bwMode="auto">
                  <a:xfrm>
                    <a:off x="11180" y="3196"/>
                    <a:ext cx="8" cy="26"/>
                  </a:xfrm>
                  <a:custGeom>
                    <a:avLst/>
                    <a:gdLst>
                      <a:gd name="T0" fmla="*/ 0 w 11"/>
                      <a:gd name="T1" fmla="*/ 0 h 24"/>
                      <a:gd name="T2" fmla="*/ 9 w 11"/>
                      <a:gd name="T3" fmla="*/ 24 h 24"/>
                      <a:gd name="T4" fmla="*/ 11 w 11"/>
                      <a:gd name="T5" fmla="*/ 24 h 24"/>
                      <a:gd name="T6" fmla="*/ 2 w 11"/>
                      <a:gd name="T7" fmla="*/ 0 h 24"/>
                      <a:gd name="T8" fmla="*/ 0 w 11"/>
                      <a:gd name="T9" fmla="*/ 0 h 24"/>
                    </a:gdLst>
                    <a:ahLst/>
                    <a:cxnLst>
                      <a:cxn ang="0">
                        <a:pos x="T0" y="T1"/>
                      </a:cxn>
                      <a:cxn ang="0">
                        <a:pos x="T2" y="T3"/>
                      </a:cxn>
                      <a:cxn ang="0">
                        <a:pos x="T4" y="T5"/>
                      </a:cxn>
                      <a:cxn ang="0">
                        <a:pos x="T6" y="T7"/>
                      </a:cxn>
                      <a:cxn ang="0">
                        <a:pos x="T8" y="T9"/>
                      </a:cxn>
                    </a:cxnLst>
                    <a:rect l="0" t="0" r="r" b="b"/>
                    <a:pathLst>
                      <a:path w="11" h="24">
                        <a:moveTo>
                          <a:pt x="0" y="0"/>
                        </a:moveTo>
                        <a:lnTo>
                          <a:pt x="9" y="24"/>
                        </a:lnTo>
                        <a:lnTo>
                          <a:pt x="11"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00" name="Freeform 2053"/>
                  <p:cNvSpPr>
                    <a:spLocks/>
                  </p:cNvSpPr>
                  <p:nvPr/>
                </p:nvSpPr>
                <p:spPr bwMode="auto">
                  <a:xfrm>
                    <a:off x="11214" y="3161"/>
                    <a:ext cx="25" cy="61"/>
                  </a:xfrm>
                  <a:custGeom>
                    <a:avLst/>
                    <a:gdLst>
                      <a:gd name="T0" fmla="*/ 0 w 23"/>
                      <a:gd name="T1" fmla="*/ 3 h 48"/>
                      <a:gd name="T2" fmla="*/ 21 w 23"/>
                      <a:gd name="T3" fmla="*/ 48 h 48"/>
                      <a:gd name="T4" fmla="*/ 23 w 23"/>
                      <a:gd name="T5" fmla="*/ 48 h 48"/>
                      <a:gd name="T6" fmla="*/ 0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21" y="48"/>
                        </a:lnTo>
                        <a:lnTo>
                          <a:pt x="23" y="4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01" name="Freeform 2054"/>
                  <p:cNvSpPr>
                    <a:spLocks/>
                  </p:cNvSpPr>
                  <p:nvPr/>
                </p:nvSpPr>
                <p:spPr bwMode="auto">
                  <a:xfrm>
                    <a:off x="11214" y="3161"/>
                    <a:ext cx="25" cy="61"/>
                  </a:xfrm>
                  <a:custGeom>
                    <a:avLst/>
                    <a:gdLst>
                      <a:gd name="T0" fmla="*/ 0 w 26"/>
                      <a:gd name="T1" fmla="*/ 2 h 52"/>
                      <a:gd name="T2" fmla="*/ 24 w 26"/>
                      <a:gd name="T3" fmla="*/ 52 h 52"/>
                      <a:gd name="T4" fmla="*/ 26 w 26"/>
                      <a:gd name="T5" fmla="*/ 49 h 52"/>
                      <a:gd name="T6" fmla="*/ 0 w 26"/>
                      <a:gd name="T7" fmla="*/ 0 h 52"/>
                      <a:gd name="T8" fmla="*/ 0 w 26"/>
                      <a:gd name="T9" fmla="*/ 2 h 52"/>
                    </a:gdLst>
                    <a:ahLst/>
                    <a:cxnLst>
                      <a:cxn ang="0">
                        <a:pos x="T0" y="T1"/>
                      </a:cxn>
                      <a:cxn ang="0">
                        <a:pos x="T2" y="T3"/>
                      </a:cxn>
                      <a:cxn ang="0">
                        <a:pos x="T4" y="T5"/>
                      </a:cxn>
                      <a:cxn ang="0">
                        <a:pos x="T6" y="T7"/>
                      </a:cxn>
                      <a:cxn ang="0">
                        <a:pos x="T8" y="T9"/>
                      </a:cxn>
                    </a:cxnLst>
                    <a:rect l="0" t="0" r="r" b="b"/>
                    <a:pathLst>
                      <a:path w="26" h="52">
                        <a:moveTo>
                          <a:pt x="0" y="2"/>
                        </a:moveTo>
                        <a:lnTo>
                          <a:pt x="24" y="52"/>
                        </a:lnTo>
                        <a:lnTo>
                          <a:pt x="26" y="49"/>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02" name="Freeform 2055"/>
                  <p:cNvSpPr>
                    <a:spLocks/>
                  </p:cNvSpPr>
                  <p:nvPr/>
                </p:nvSpPr>
                <p:spPr bwMode="auto">
                  <a:xfrm>
                    <a:off x="11189" y="3188"/>
                    <a:ext cx="17" cy="35"/>
                  </a:xfrm>
                  <a:custGeom>
                    <a:avLst/>
                    <a:gdLst>
                      <a:gd name="T0" fmla="*/ 0 w 15"/>
                      <a:gd name="T1" fmla="*/ 0 h 31"/>
                      <a:gd name="T2" fmla="*/ 15 w 15"/>
                      <a:gd name="T3" fmla="*/ 31 h 31"/>
                      <a:gd name="T4" fmla="*/ 15 w 15"/>
                      <a:gd name="T5" fmla="*/ 31 h 31"/>
                      <a:gd name="T6" fmla="*/ 0 w 15"/>
                      <a:gd name="T7" fmla="*/ 0 h 31"/>
                      <a:gd name="T8" fmla="*/ 0 w 15"/>
                      <a:gd name="T9" fmla="*/ 0 h 31"/>
                    </a:gdLst>
                    <a:ahLst/>
                    <a:cxnLst>
                      <a:cxn ang="0">
                        <a:pos x="T0" y="T1"/>
                      </a:cxn>
                      <a:cxn ang="0">
                        <a:pos x="T2" y="T3"/>
                      </a:cxn>
                      <a:cxn ang="0">
                        <a:pos x="T4" y="T5"/>
                      </a:cxn>
                      <a:cxn ang="0">
                        <a:pos x="T6" y="T7"/>
                      </a:cxn>
                      <a:cxn ang="0">
                        <a:pos x="T8" y="T9"/>
                      </a:cxn>
                    </a:cxnLst>
                    <a:rect l="0" t="0" r="r" b="b"/>
                    <a:pathLst>
                      <a:path w="15" h="31">
                        <a:moveTo>
                          <a:pt x="0" y="0"/>
                        </a:moveTo>
                        <a:lnTo>
                          <a:pt x="15" y="31"/>
                        </a:lnTo>
                        <a:lnTo>
                          <a:pt x="15" y="3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03" name="Freeform 2056"/>
                  <p:cNvSpPr>
                    <a:spLocks/>
                  </p:cNvSpPr>
                  <p:nvPr/>
                </p:nvSpPr>
                <p:spPr bwMode="auto">
                  <a:xfrm>
                    <a:off x="11197" y="3188"/>
                    <a:ext cx="17" cy="35"/>
                  </a:xfrm>
                  <a:custGeom>
                    <a:avLst/>
                    <a:gdLst>
                      <a:gd name="T0" fmla="*/ 0 w 17"/>
                      <a:gd name="T1" fmla="*/ 0 h 34"/>
                      <a:gd name="T2" fmla="*/ 17 w 17"/>
                      <a:gd name="T3" fmla="*/ 34 h 34"/>
                      <a:gd name="T4" fmla="*/ 17 w 17"/>
                      <a:gd name="T5" fmla="*/ 34 h 34"/>
                      <a:gd name="T6" fmla="*/ 2 w 17"/>
                      <a:gd name="T7" fmla="*/ 0 h 34"/>
                      <a:gd name="T8" fmla="*/ 0 w 17"/>
                      <a:gd name="T9" fmla="*/ 0 h 34"/>
                    </a:gdLst>
                    <a:ahLst/>
                    <a:cxnLst>
                      <a:cxn ang="0">
                        <a:pos x="T0" y="T1"/>
                      </a:cxn>
                      <a:cxn ang="0">
                        <a:pos x="T2" y="T3"/>
                      </a:cxn>
                      <a:cxn ang="0">
                        <a:pos x="T4" y="T5"/>
                      </a:cxn>
                      <a:cxn ang="0">
                        <a:pos x="T6" y="T7"/>
                      </a:cxn>
                      <a:cxn ang="0">
                        <a:pos x="T8" y="T9"/>
                      </a:cxn>
                    </a:cxnLst>
                    <a:rect l="0" t="0" r="r" b="b"/>
                    <a:pathLst>
                      <a:path w="17" h="34">
                        <a:moveTo>
                          <a:pt x="0" y="0"/>
                        </a:moveTo>
                        <a:lnTo>
                          <a:pt x="17" y="34"/>
                        </a:lnTo>
                        <a:lnTo>
                          <a:pt x="17" y="3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04" name="Freeform 2057"/>
                  <p:cNvSpPr>
                    <a:spLocks/>
                  </p:cNvSpPr>
                  <p:nvPr/>
                </p:nvSpPr>
                <p:spPr bwMode="auto">
                  <a:xfrm>
                    <a:off x="11180" y="3196"/>
                    <a:ext cx="17" cy="26"/>
                  </a:xfrm>
                  <a:custGeom>
                    <a:avLst/>
                    <a:gdLst>
                      <a:gd name="T0" fmla="*/ 0 w 14"/>
                      <a:gd name="T1" fmla="*/ 2 h 28"/>
                      <a:gd name="T2" fmla="*/ 12 w 14"/>
                      <a:gd name="T3" fmla="*/ 28 h 28"/>
                      <a:gd name="T4" fmla="*/ 14 w 14"/>
                      <a:gd name="T5" fmla="*/ 28 h 28"/>
                      <a:gd name="T6" fmla="*/ 3 w 14"/>
                      <a:gd name="T7" fmla="*/ 0 h 28"/>
                      <a:gd name="T8" fmla="*/ 0 w 14"/>
                      <a:gd name="T9" fmla="*/ 2 h 28"/>
                    </a:gdLst>
                    <a:ahLst/>
                    <a:cxnLst>
                      <a:cxn ang="0">
                        <a:pos x="T0" y="T1"/>
                      </a:cxn>
                      <a:cxn ang="0">
                        <a:pos x="T2" y="T3"/>
                      </a:cxn>
                      <a:cxn ang="0">
                        <a:pos x="T4" y="T5"/>
                      </a:cxn>
                      <a:cxn ang="0">
                        <a:pos x="T6" y="T7"/>
                      </a:cxn>
                      <a:cxn ang="0">
                        <a:pos x="T8" y="T9"/>
                      </a:cxn>
                    </a:cxnLst>
                    <a:rect l="0" t="0" r="r" b="b"/>
                    <a:pathLst>
                      <a:path w="14" h="28">
                        <a:moveTo>
                          <a:pt x="0" y="2"/>
                        </a:moveTo>
                        <a:lnTo>
                          <a:pt x="12" y="28"/>
                        </a:lnTo>
                        <a:lnTo>
                          <a:pt x="14" y="28"/>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05" name="Freeform 2058"/>
                  <p:cNvSpPr>
                    <a:spLocks/>
                  </p:cNvSpPr>
                  <p:nvPr/>
                </p:nvSpPr>
                <p:spPr bwMode="auto">
                  <a:xfrm>
                    <a:off x="11222" y="3161"/>
                    <a:ext cx="33" cy="52"/>
                  </a:xfrm>
                  <a:custGeom>
                    <a:avLst/>
                    <a:gdLst>
                      <a:gd name="T0" fmla="*/ 0 w 28"/>
                      <a:gd name="T1" fmla="*/ 2 h 54"/>
                      <a:gd name="T2" fmla="*/ 28 w 28"/>
                      <a:gd name="T3" fmla="*/ 54 h 54"/>
                      <a:gd name="T4" fmla="*/ 28 w 28"/>
                      <a:gd name="T5" fmla="*/ 54 h 54"/>
                      <a:gd name="T6" fmla="*/ 0 w 28"/>
                      <a:gd name="T7" fmla="*/ 0 h 54"/>
                      <a:gd name="T8" fmla="*/ 0 w 28"/>
                      <a:gd name="T9" fmla="*/ 2 h 54"/>
                    </a:gdLst>
                    <a:ahLst/>
                    <a:cxnLst>
                      <a:cxn ang="0">
                        <a:pos x="T0" y="T1"/>
                      </a:cxn>
                      <a:cxn ang="0">
                        <a:pos x="T2" y="T3"/>
                      </a:cxn>
                      <a:cxn ang="0">
                        <a:pos x="T4" y="T5"/>
                      </a:cxn>
                      <a:cxn ang="0">
                        <a:pos x="T6" y="T7"/>
                      </a:cxn>
                      <a:cxn ang="0">
                        <a:pos x="T8" y="T9"/>
                      </a:cxn>
                    </a:cxnLst>
                    <a:rect l="0" t="0" r="r" b="b"/>
                    <a:pathLst>
                      <a:path w="28" h="54">
                        <a:moveTo>
                          <a:pt x="0" y="2"/>
                        </a:moveTo>
                        <a:lnTo>
                          <a:pt x="28" y="54"/>
                        </a:lnTo>
                        <a:lnTo>
                          <a:pt x="28" y="5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06" name="Freeform 2059"/>
                  <p:cNvSpPr>
                    <a:spLocks/>
                  </p:cNvSpPr>
                  <p:nvPr/>
                </p:nvSpPr>
                <p:spPr bwMode="auto">
                  <a:xfrm>
                    <a:off x="11205" y="3170"/>
                    <a:ext cx="25" cy="52"/>
                  </a:xfrm>
                  <a:custGeom>
                    <a:avLst/>
                    <a:gdLst>
                      <a:gd name="T0" fmla="*/ 0 w 23"/>
                      <a:gd name="T1" fmla="*/ 2 h 43"/>
                      <a:gd name="T2" fmla="*/ 21 w 23"/>
                      <a:gd name="T3" fmla="*/ 43 h 43"/>
                      <a:gd name="T4" fmla="*/ 23 w 23"/>
                      <a:gd name="T5" fmla="*/ 43 h 43"/>
                      <a:gd name="T6" fmla="*/ 2 w 23"/>
                      <a:gd name="T7" fmla="*/ 0 h 43"/>
                      <a:gd name="T8" fmla="*/ 0 w 23"/>
                      <a:gd name="T9" fmla="*/ 2 h 43"/>
                    </a:gdLst>
                    <a:ahLst/>
                    <a:cxnLst>
                      <a:cxn ang="0">
                        <a:pos x="T0" y="T1"/>
                      </a:cxn>
                      <a:cxn ang="0">
                        <a:pos x="T2" y="T3"/>
                      </a:cxn>
                      <a:cxn ang="0">
                        <a:pos x="T4" y="T5"/>
                      </a:cxn>
                      <a:cxn ang="0">
                        <a:pos x="T6" y="T7"/>
                      </a:cxn>
                      <a:cxn ang="0">
                        <a:pos x="T8" y="T9"/>
                      </a:cxn>
                    </a:cxnLst>
                    <a:rect l="0" t="0" r="r" b="b"/>
                    <a:pathLst>
                      <a:path w="23" h="43">
                        <a:moveTo>
                          <a:pt x="0" y="2"/>
                        </a:moveTo>
                        <a:lnTo>
                          <a:pt x="21" y="43"/>
                        </a:lnTo>
                        <a:lnTo>
                          <a:pt x="23" y="43"/>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07" name="Freeform 2060"/>
                  <p:cNvSpPr>
                    <a:spLocks/>
                  </p:cNvSpPr>
                  <p:nvPr/>
                </p:nvSpPr>
                <p:spPr bwMode="auto">
                  <a:xfrm>
                    <a:off x="11247" y="3135"/>
                    <a:ext cx="42" cy="70"/>
                  </a:xfrm>
                  <a:custGeom>
                    <a:avLst/>
                    <a:gdLst>
                      <a:gd name="T0" fmla="*/ 0 w 42"/>
                      <a:gd name="T1" fmla="*/ 0 h 70"/>
                      <a:gd name="T2" fmla="*/ 42 w 42"/>
                      <a:gd name="T3" fmla="*/ 70 h 70"/>
                      <a:gd name="T4" fmla="*/ 42 w 42"/>
                      <a:gd name="T5" fmla="*/ 70 h 70"/>
                      <a:gd name="T6" fmla="*/ 2 w 42"/>
                      <a:gd name="T7" fmla="*/ 0 h 70"/>
                      <a:gd name="T8" fmla="*/ 0 w 42"/>
                      <a:gd name="T9" fmla="*/ 0 h 70"/>
                    </a:gdLst>
                    <a:ahLst/>
                    <a:cxnLst>
                      <a:cxn ang="0">
                        <a:pos x="T0" y="T1"/>
                      </a:cxn>
                      <a:cxn ang="0">
                        <a:pos x="T2" y="T3"/>
                      </a:cxn>
                      <a:cxn ang="0">
                        <a:pos x="T4" y="T5"/>
                      </a:cxn>
                      <a:cxn ang="0">
                        <a:pos x="T6" y="T7"/>
                      </a:cxn>
                      <a:cxn ang="0">
                        <a:pos x="T8" y="T9"/>
                      </a:cxn>
                    </a:cxnLst>
                    <a:rect l="0" t="0" r="r" b="b"/>
                    <a:pathLst>
                      <a:path w="42" h="70">
                        <a:moveTo>
                          <a:pt x="0" y="0"/>
                        </a:moveTo>
                        <a:lnTo>
                          <a:pt x="42" y="70"/>
                        </a:lnTo>
                        <a:lnTo>
                          <a:pt x="42" y="7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08" name="Freeform 2061"/>
                  <p:cNvSpPr>
                    <a:spLocks/>
                  </p:cNvSpPr>
                  <p:nvPr/>
                </p:nvSpPr>
                <p:spPr bwMode="auto">
                  <a:xfrm>
                    <a:off x="11230" y="3153"/>
                    <a:ext cx="33" cy="61"/>
                  </a:xfrm>
                  <a:custGeom>
                    <a:avLst/>
                    <a:gdLst>
                      <a:gd name="T0" fmla="*/ 0 w 33"/>
                      <a:gd name="T1" fmla="*/ 2 h 59"/>
                      <a:gd name="T2" fmla="*/ 31 w 33"/>
                      <a:gd name="T3" fmla="*/ 59 h 59"/>
                      <a:gd name="T4" fmla="*/ 33 w 33"/>
                      <a:gd name="T5" fmla="*/ 59 h 59"/>
                      <a:gd name="T6" fmla="*/ 2 w 33"/>
                      <a:gd name="T7" fmla="*/ 0 h 59"/>
                      <a:gd name="T8" fmla="*/ 0 w 33"/>
                      <a:gd name="T9" fmla="*/ 2 h 59"/>
                    </a:gdLst>
                    <a:ahLst/>
                    <a:cxnLst>
                      <a:cxn ang="0">
                        <a:pos x="T0" y="T1"/>
                      </a:cxn>
                      <a:cxn ang="0">
                        <a:pos x="T2" y="T3"/>
                      </a:cxn>
                      <a:cxn ang="0">
                        <a:pos x="T4" y="T5"/>
                      </a:cxn>
                      <a:cxn ang="0">
                        <a:pos x="T6" y="T7"/>
                      </a:cxn>
                      <a:cxn ang="0">
                        <a:pos x="T8" y="T9"/>
                      </a:cxn>
                    </a:cxnLst>
                    <a:rect l="0" t="0" r="r" b="b"/>
                    <a:pathLst>
                      <a:path w="33" h="59">
                        <a:moveTo>
                          <a:pt x="0" y="2"/>
                        </a:moveTo>
                        <a:lnTo>
                          <a:pt x="31" y="59"/>
                        </a:lnTo>
                        <a:lnTo>
                          <a:pt x="33" y="59"/>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09" name="Freeform 2062"/>
                  <p:cNvSpPr>
                    <a:spLocks/>
                  </p:cNvSpPr>
                  <p:nvPr/>
                </p:nvSpPr>
                <p:spPr bwMode="auto">
                  <a:xfrm>
                    <a:off x="11255" y="3135"/>
                    <a:ext cx="42" cy="70"/>
                  </a:xfrm>
                  <a:custGeom>
                    <a:avLst/>
                    <a:gdLst>
                      <a:gd name="T0" fmla="*/ 0 w 45"/>
                      <a:gd name="T1" fmla="*/ 0 h 73"/>
                      <a:gd name="T2" fmla="*/ 45 w 45"/>
                      <a:gd name="T3" fmla="*/ 73 h 73"/>
                      <a:gd name="T4" fmla="*/ 45 w 45"/>
                      <a:gd name="T5" fmla="*/ 73 h 73"/>
                      <a:gd name="T6" fmla="*/ 3 w 45"/>
                      <a:gd name="T7" fmla="*/ 0 h 73"/>
                      <a:gd name="T8" fmla="*/ 0 w 45"/>
                      <a:gd name="T9" fmla="*/ 0 h 73"/>
                    </a:gdLst>
                    <a:ahLst/>
                    <a:cxnLst>
                      <a:cxn ang="0">
                        <a:pos x="T0" y="T1"/>
                      </a:cxn>
                      <a:cxn ang="0">
                        <a:pos x="T2" y="T3"/>
                      </a:cxn>
                      <a:cxn ang="0">
                        <a:pos x="T4" y="T5"/>
                      </a:cxn>
                      <a:cxn ang="0">
                        <a:pos x="T6" y="T7"/>
                      </a:cxn>
                      <a:cxn ang="0">
                        <a:pos x="T8" y="T9"/>
                      </a:cxn>
                    </a:cxnLst>
                    <a:rect l="0" t="0" r="r" b="b"/>
                    <a:pathLst>
                      <a:path w="45" h="73">
                        <a:moveTo>
                          <a:pt x="0" y="0"/>
                        </a:moveTo>
                        <a:lnTo>
                          <a:pt x="45" y="73"/>
                        </a:lnTo>
                        <a:lnTo>
                          <a:pt x="45" y="73"/>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0" name="Freeform 2063"/>
                  <p:cNvSpPr>
                    <a:spLocks/>
                  </p:cNvSpPr>
                  <p:nvPr/>
                </p:nvSpPr>
                <p:spPr bwMode="auto">
                  <a:xfrm>
                    <a:off x="11264" y="3127"/>
                    <a:ext cx="50" cy="70"/>
                  </a:xfrm>
                  <a:custGeom>
                    <a:avLst/>
                    <a:gdLst>
                      <a:gd name="T0" fmla="*/ 0 w 52"/>
                      <a:gd name="T1" fmla="*/ 3 h 78"/>
                      <a:gd name="T2" fmla="*/ 50 w 52"/>
                      <a:gd name="T3" fmla="*/ 78 h 78"/>
                      <a:gd name="T4" fmla="*/ 52 w 52"/>
                      <a:gd name="T5" fmla="*/ 78 h 78"/>
                      <a:gd name="T6" fmla="*/ 2 w 52"/>
                      <a:gd name="T7" fmla="*/ 0 h 78"/>
                      <a:gd name="T8" fmla="*/ 0 w 52"/>
                      <a:gd name="T9" fmla="*/ 3 h 78"/>
                    </a:gdLst>
                    <a:ahLst/>
                    <a:cxnLst>
                      <a:cxn ang="0">
                        <a:pos x="T0" y="T1"/>
                      </a:cxn>
                      <a:cxn ang="0">
                        <a:pos x="T2" y="T3"/>
                      </a:cxn>
                      <a:cxn ang="0">
                        <a:pos x="T4" y="T5"/>
                      </a:cxn>
                      <a:cxn ang="0">
                        <a:pos x="T6" y="T7"/>
                      </a:cxn>
                      <a:cxn ang="0">
                        <a:pos x="T8" y="T9"/>
                      </a:cxn>
                    </a:cxnLst>
                    <a:rect l="0" t="0" r="r" b="b"/>
                    <a:pathLst>
                      <a:path w="52" h="78">
                        <a:moveTo>
                          <a:pt x="0" y="3"/>
                        </a:moveTo>
                        <a:lnTo>
                          <a:pt x="50" y="78"/>
                        </a:lnTo>
                        <a:lnTo>
                          <a:pt x="52" y="78"/>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11" name="Freeform 2064"/>
                  <p:cNvSpPr>
                    <a:spLocks/>
                  </p:cNvSpPr>
                  <p:nvPr/>
                </p:nvSpPr>
                <p:spPr bwMode="auto">
                  <a:xfrm>
                    <a:off x="11255" y="3135"/>
                    <a:ext cx="50" cy="70"/>
                  </a:xfrm>
                  <a:custGeom>
                    <a:avLst/>
                    <a:gdLst>
                      <a:gd name="T0" fmla="*/ 0 w 50"/>
                      <a:gd name="T1" fmla="*/ 2 h 76"/>
                      <a:gd name="T2" fmla="*/ 47 w 50"/>
                      <a:gd name="T3" fmla="*/ 76 h 76"/>
                      <a:gd name="T4" fmla="*/ 50 w 50"/>
                      <a:gd name="T5" fmla="*/ 76 h 76"/>
                      <a:gd name="T6" fmla="*/ 3 w 50"/>
                      <a:gd name="T7" fmla="*/ 0 h 76"/>
                      <a:gd name="T8" fmla="*/ 0 w 50"/>
                      <a:gd name="T9" fmla="*/ 2 h 76"/>
                    </a:gdLst>
                    <a:ahLst/>
                    <a:cxnLst>
                      <a:cxn ang="0">
                        <a:pos x="T0" y="T1"/>
                      </a:cxn>
                      <a:cxn ang="0">
                        <a:pos x="T2" y="T3"/>
                      </a:cxn>
                      <a:cxn ang="0">
                        <a:pos x="T4" y="T5"/>
                      </a:cxn>
                      <a:cxn ang="0">
                        <a:pos x="T6" y="T7"/>
                      </a:cxn>
                      <a:cxn ang="0">
                        <a:pos x="T8" y="T9"/>
                      </a:cxn>
                    </a:cxnLst>
                    <a:rect l="0" t="0" r="r" b="b"/>
                    <a:pathLst>
                      <a:path w="50" h="76">
                        <a:moveTo>
                          <a:pt x="0" y="2"/>
                        </a:moveTo>
                        <a:lnTo>
                          <a:pt x="47" y="76"/>
                        </a:lnTo>
                        <a:lnTo>
                          <a:pt x="50" y="76"/>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12" name="Freeform 2065"/>
                  <p:cNvSpPr>
                    <a:spLocks/>
                  </p:cNvSpPr>
                  <p:nvPr/>
                </p:nvSpPr>
                <p:spPr bwMode="auto">
                  <a:xfrm>
                    <a:off x="11239" y="3144"/>
                    <a:ext cx="42" cy="70"/>
                  </a:xfrm>
                  <a:custGeom>
                    <a:avLst/>
                    <a:gdLst>
                      <a:gd name="T0" fmla="*/ 0 w 40"/>
                      <a:gd name="T1" fmla="*/ 0 h 69"/>
                      <a:gd name="T2" fmla="*/ 38 w 40"/>
                      <a:gd name="T3" fmla="*/ 69 h 69"/>
                      <a:gd name="T4" fmla="*/ 40 w 40"/>
                      <a:gd name="T5" fmla="*/ 66 h 69"/>
                      <a:gd name="T6" fmla="*/ 2 w 40"/>
                      <a:gd name="T7" fmla="*/ 0 h 69"/>
                      <a:gd name="T8" fmla="*/ 0 w 40"/>
                      <a:gd name="T9" fmla="*/ 0 h 69"/>
                    </a:gdLst>
                    <a:ahLst/>
                    <a:cxnLst>
                      <a:cxn ang="0">
                        <a:pos x="T0" y="T1"/>
                      </a:cxn>
                      <a:cxn ang="0">
                        <a:pos x="T2" y="T3"/>
                      </a:cxn>
                      <a:cxn ang="0">
                        <a:pos x="T4" y="T5"/>
                      </a:cxn>
                      <a:cxn ang="0">
                        <a:pos x="T6" y="T7"/>
                      </a:cxn>
                      <a:cxn ang="0">
                        <a:pos x="T8" y="T9"/>
                      </a:cxn>
                    </a:cxnLst>
                    <a:rect l="0" t="0" r="r" b="b"/>
                    <a:pathLst>
                      <a:path w="40" h="69">
                        <a:moveTo>
                          <a:pt x="0" y="0"/>
                        </a:moveTo>
                        <a:lnTo>
                          <a:pt x="38" y="69"/>
                        </a:lnTo>
                        <a:lnTo>
                          <a:pt x="40" y="6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3" name="Freeform 2066"/>
                  <p:cNvSpPr>
                    <a:spLocks/>
                  </p:cNvSpPr>
                  <p:nvPr/>
                </p:nvSpPr>
                <p:spPr bwMode="auto">
                  <a:xfrm>
                    <a:off x="11239" y="3153"/>
                    <a:ext cx="25" cy="61"/>
                  </a:xfrm>
                  <a:custGeom>
                    <a:avLst/>
                    <a:gdLst>
                      <a:gd name="T0" fmla="*/ 0 w 35"/>
                      <a:gd name="T1" fmla="*/ 0 h 61"/>
                      <a:gd name="T2" fmla="*/ 33 w 35"/>
                      <a:gd name="T3" fmla="*/ 61 h 61"/>
                      <a:gd name="T4" fmla="*/ 35 w 35"/>
                      <a:gd name="T5" fmla="*/ 59 h 61"/>
                      <a:gd name="T6" fmla="*/ 2 w 35"/>
                      <a:gd name="T7" fmla="*/ 0 h 61"/>
                      <a:gd name="T8" fmla="*/ 0 w 35"/>
                      <a:gd name="T9" fmla="*/ 0 h 61"/>
                    </a:gdLst>
                    <a:ahLst/>
                    <a:cxnLst>
                      <a:cxn ang="0">
                        <a:pos x="T0" y="T1"/>
                      </a:cxn>
                      <a:cxn ang="0">
                        <a:pos x="T2" y="T3"/>
                      </a:cxn>
                      <a:cxn ang="0">
                        <a:pos x="T4" y="T5"/>
                      </a:cxn>
                      <a:cxn ang="0">
                        <a:pos x="T6" y="T7"/>
                      </a:cxn>
                      <a:cxn ang="0">
                        <a:pos x="T8" y="T9"/>
                      </a:cxn>
                    </a:cxnLst>
                    <a:rect l="0" t="0" r="r" b="b"/>
                    <a:pathLst>
                      <a:path w="35" h="61">
                        <a:moveTo>
                          <a:pt x="0" y="0"/>
                        </a:moveTo>
                        <a:lnTo>
                          <a:pt x="33" y="61"/>
                        </a:lnTo>
                        <a:lnTo>
                          <a:pt x="35" y="5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4" name="Freeform 2067"/>
                  <p:cNvSpPr>
                    <a:spLocks/>
                  </p:cNvSpPr>
                  <p:nvPr/>
                </p:nvSpPr>
                <p:spPr bwMode="auto">
                  <a:xfrm>
                    <a:off x="11239" y="3144"/>
                    <a:ext cx="33" cy="70"/>
                  </a:xfrm>
                  <a:custGeom>
                    <a:avLst/>
                    <a:gdLst>
                      <a:gd name="T0" fmla="*/ 0 w 38"/>
                      <a:gd name="T1" fmla="*/ 0 h 64"/>
                      <a:gd name="T2" fmla="*/ 36 w 38"/>
                      <a:gd name="T3" fmla="*/ 64 h 64"/>
                      <a:gd name="T4" fmla="*/ 38 w 38"/>
                      <a:gd name="T5" fmla="*/ 64 h 64"/>
                      <a:gd name="T6" fmla="*/ 3 w 38"/>
                      <a:gd name="T7" fmla="*/ 0 h 64"/>
                      <a:gd name="T8" fmla="*/ 0 w 38"/>
                      <a:gd name="T9" fmla="*/ 0 h 64"/>
                    </a:gdLst>
                    <a:ahLst/>
                    <a:cxnLst>
                      <a:cxn ang="0">
                        <a:pos x="T0" y="T1"/>
                      </a:cxn>
                      <a:cxn ang="0">
                        <a:pos x="T2" y="T3"/>
                      </a:cxn>
                      <a:cxn ang="0">
                        <a:pos x="T4" y="T5"/>
                      </a:cxn>
                      <a:cxn ang="0">
                        <a:pos x="T6" y="T7"/>
                      </a:cxn>
                      <a:cxn ang="0">
                        <a:pos x="T8" y="T9"/>
                      </a:cxn>
                    </a:cxnLst>
                    <a:rect l="0" t="0" r="r" b="b"/>
                    <a:pathLst>
                      <a:path w="38" h="64">
                        <a:moveTo>
                          <a:pt x="0" y="0"/>
                        </a:moveTo>
                        <a:lnTo>
                          <a:pt x="36" y="64"/>
                        </a:lnTo>
                        <a:lnTo>
                          <a:pt x="38" y="6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5" name="Freeform 2068"/>
                  <p:cNvSpPr>
                    <a:spLocks/>
                  </p:cNvSpPr>
                  <p:nvPr/>
                </p:nvSpPr>
                <p:spPr bwMode="auto">
                  <a:xfrm>
                    <a:off x="11205" y="3179"/>
                    <a:ext cx="17" cy="44"/>
                  </a:xfrm>
                  <a:custGeom>
                    <a:avLst/>
                    <a:gdLst>
                      <a:gd name="T0" fmla="*/ 0 w 21"/>
                      <a:gd name="T1" fmla="*/ 0 h 38"/>
                      <a:gd name="T2" fmla="*/ 19 w 21"/>
                      <a:gd name="T3" fmla="*/ 38 h 38"/>
                      <a:gd name="T4" fmla="*/ 21 w 21"/>
                      <a:gd name="T5" fmla="*/ 38 h 38"/>
                      <a:gd name="T6" fmla="*/ 2 w 21"/>
                      <a:gd name="T7" fmla="*/ 0 h 38"/>
                      <a:gd name="T8" fmla="*/ 0 w 21"/>
                      <a:gd name="T9" fmla="*/ 0 h 38"/>
                    </a:gdLst>
                    <a:ahLst/>
                    <a:cxnLst>
                      <a:cxn ang="0">
                        <a:pos x="T0" y="T1"/>
                      </a:cxn>
                      <a:cxn ang="0">
                        <a:pos x="T2" y="T3"/>
                      </a:cxn>
                      <a:cxn ang="0">
                        <a:pos x="T4" y="T5"/>
                      </a:cxn>
                      <a:cxn ang="0">
                        <a:pos x="T6" y="T7"/>
                      </a:cxn>
                      <a:cxn ang="0">
                        <a:pos x="T8" y="T9"/>
                      </a:cxn>
                    </a:cxnLst>
                    <a:rect l="0" t="0" r="r" b="b"/>
                    <a:pathLst>
                      <a:path w="21" h="38">
                        <a:moveTo>
                          <a:pt x="0" y="0"/>
                        </a:moveTo>
                        <a:lnTo>
                          <a:pt x="19" y="38"/>
                        </a:lnTo>
                        <a:lnTo>
                          <a:pt x="21"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6" name="Freeform 2069"/>
                  <p:cNvSpPr>
                    <a:spLocks/>
                  </p:cNvSpPr>
                  <p:nvPr/>
                </p:nvSpPr>
                <p:spPr bwMode="auto">
                  <a:xfrm>
                    <a:off x="11105" y="3222"/>
                    <a:ext cx="8" cy="17"/>
                  </a:xfrm>
                  <a:custGeom>
                    <a:avLst/>
                    <a:gdLst>
                      <a:gd name="T0" fmla="*/ 0 w 5"/>
                      <a:gd name="T1" fmla="*/ 0 h 12"/>
                      <a:gd name="T2" fmla="*/ 5 w 5"/>
                      <a:gd name="T3" fmla="*/ 12 h 12"/>
                      <a:gd name="T4" fmla="*/ 5 w 5"/>
                      <a:gd name="T5" fmla="*/ 10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0"/>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7" name="Freeform 2070"/>
                  <p:cNvSpPr>
                    <a:spLocks/>
                  </p:cNvSpPr>
                  <p:nvPr/>
                </p:nvSpPr>
                <p:spPr bwMode="auto">
                  <a:xfrm>
                    <a:off x="11114" y="3222"/>
                    <a:ext cx="8" cy="17"/>
                  </a:xfrm>
                  <a:custGeom>
                    <a:avLst/>
                    <a:gdLst>
                      <a:gd name="T0" fmla="*/ 0 w 5"/>
                      <a:gd name="T1" fmla="*/ 0 h 12"/>
                      <a:gd name="T2" fmla="*/ 3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18" name="Freeform 2071"/>
                  <p:cNvSpPr>
                    <a:spLocks/>
                  </p:cNvSpPr>
                  <p:nvPr/>
                </p:nvSpPr>
                <p:spPr bwMode="auto">
                  <a:xfrm>
                    <a:off x="11097" y="3222"/>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19" name="Freeform 2072"/>
                  <p:cNvSpPr>
                    <a:spLocks/>
                  </p:cNvSpPr>
                  <p:nvPr/>
                </p:nvSpPr>
                <p:spPr bwMode="auto">
                  <a:xfrm>
                    <a:off x="11122" y="3222"/>
                    <a:ext cx="8" cy="9"/>
                  </a:xfrm>
                  <a:custGeom>
                    <a:avLst/>
                    <a:gdLst>
                      <a:gd name="T0" fmla="*/ 0 w 5"/>
                      <a:gd name="T1" fmla="*/ 0 h 12"/>
                      <a:gd name="T2" fmla="*/ 5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0" name="Freeform 2073"/>
                  <p:cNvSpPr>
                    <a:spLocks/>
                  </p:cNvSpPr>
                  <p:nvPr/>
                </p:nvSpPr>
                <p:spPr bwMode="auto">
                  <a:xfrm>
                    <a:off x="11122" y="3222"/>
                    <a:ext cx="0" cy="9"/>
                  </a:xfrm>
                  <a:custGeom>
                    <a:avLst/>
                    <a:gdLst>
                      <a:gd name="T0" fmla="*/ 0 w 7"/>
                      <a:gd name="T1" fmla="*/ 0 h 11"/>
                      <a:gd name="T2" fmla="*/ 5 w 7"/>
                      <a:gd name="T3" fmla="*/ 11 h 11"/>
                      <a:gd name="T4" fmla="*/ 7 w 7"/>
                      <a:gd name="T5" fmla="*/ 11 h 11"/>
                      <a:gd name="T6" fmla="*/ 3 w 7"/>
                      <a:gd name="T7" fmla="*/ 0 h 11"/>
                      <a:gd name="T8" fmla="*/ 0 w 7"/>
                      <a:gd name="T9" fmla="*/ 0 h 11"/>
                    </a:gdLst>
                    <a:ahLst/>
                    <a:cxnLst>
                      <a:cxn ang="0">
                        <a:pos x="T0" y="T1"/>
                      </a:cxn>
                      <a:cxn ang="0">
                        <a:pos x="T2" y="T3"/>
                      </a:cxn>
                      <a:cxn ang="0">
                        <a:pos x="T4" y="T5"/>
                      </a:cxn>
                      <a:cxn ang="0">
                        <a:pos x="T6" y="T7"/>
                      </a:cxn>
                      <a:cxn ang="0">
                        <a:pos x="T8" y="T9"/>
                      </a:cxn>
                    </a:cxnLst>
                    <a:rect l="0" t="0" r="r" b="b"/>
                    <a:pathLst>
                      <a:path w="7" h="11">
                        <a:moveTo>
                          <a:pt x="0" y="0"/>
                        </a:moveTo>
                        <a:lnTo>
                          <a:pt x="5" y="11"/>
                        </a:lnTo>
                        <a:lnTo>
                          <a:pt x="7"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1" name="Freeform 2074"/>
                  <p:cNvSpPr>
                    <a:spLocks/>
                  </p:cNvSpPr>
                  <p:nvPr/>
                </p:nvSpPr>
                <p:spPr bwMode="auto">
                  <a:xfrm>
                    <a:off x="11180" y="3196"/>
                    <a:ext cx="0" cy="26"/>
                  </a:xfrm>
                  <a:custGeom>
                    <a:avLst/>
                    <a:gdLst>
                      <a:gd name="T0" fmla="*/ 0 w 9"/>
                      <a:gd name="T1" fmla="*/ 0 h 19"/>
                      <a:gd name="T2" fmla="*/ 7 w 9"/>
                      <a:gd name="T3" fmla="*/ 19 h 19"/>
                      <a:gd name="T4" fmla="*/ 9 w 9"/>
                      <a:gd name="T5" fmla="*/ 19 h 19"/>
                      <a:gd name="T6" fmla="*/ 0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2" name="Freeform 2075"/>
                  <p:cNvSpPr>
                    <a:spLocks/>
                  </p:cNvSpPr>
                  <p:nvPr/>
                </p:nvSpPr>
                <p:spPr bwMode="auto">
                  <a:xfrm>
                    <a:off x="11097" y="3231"/>
                    <a:ext cx="0"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3" name="Freeform 2076"/>
                  <p:cNvSpPr>
                    <a:spLocks/>
                  </p:cNvSpPr>
                  <p:nvPr/>
                </p:nvSpPr>
                <p:spPr bwMode="auto">
                  <a:xfrm>
                    <a:off x="11089" y="3231"/>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4" name="Freeform 2077"/>
                  <p:cNvSpPr>
                    <a:spLocks/>
                  </p:cNvSpPr>
                  <p:nvPr/>
                </p:nvSpPr>
                <p:spPr bwMode="auto">
                  <a:xfrm>
                    <a:off x="11081" y="3231"/>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5" name="Freeform 2078"/>
                  <p:cNvSpPr>
                    <a:spLocks/>
                  </p:cNvSpPr>
                  <p:nvPr/>
                </p:nvSpPr>
                <p:spPr bwMode="auto">
                  <a:xfrm>
                    <a:off x="11164" y="3205"/>
                    <a:ext cx="8" cy="17"/>
                  </a:xfrm>
                  <a:custGeom>
                    <a:avLst/>
                    <a:gdLst>
                      <a:gd name="T0" fmla="*/ 0 w 7"/>
                      <a:gd name="T1" fmla="*/ 2 h 16"/>
                      <a:gd name="T2" fmla="*/ 5 w 7"/>
                      <a:gd name="T3" fmla="*/ 16 h 16"/>
                      <a:gd name="T4" fmla="*/ 7 w 7"/>
                      <a:gd name="T5" fmla="*/ 16 h 16"/>
                      <a:gd name="T6" fmla="*/ 0 w 7"/>
                      <a:gd name="T7" fmla="*/ 0 h 16"/>
                      <a:gd name="T8" fmla="*/ 0 w 7"/>
                      <a:gd name="T9" fmla="*/ 2 h 16"/>
                    </a:gdLst>
                    <a:ahLst/>
                    <a:cxnLst>
                      <a:cxn ang="0">
                        <a:pos x="T0" y="T1"/>
                      </a:cxn>
                      <a:cxn ang="0">
                        <a:pos x="T2" y="T3"/>
                      </a:cxn>
                      <a:cxn ang="0">
                        <a:pos x="T4" y="T5"/>
                      </a:cxn>
                      <a:cxn ang="0">
                        <a:pos x="T6" y="T7"/>
                      </a:cxn>
                      <a:cxn ang="0">
                        <a:pos x="T8" y="T9"/>
                      </a:cxn>
                    </a:cxnLst>
                    <a:rect l="0" t="0" r="r" b="b"/>
                    <a:pathLst>
                      <a:path w="7" h="16">
                        <a:moveTo>
                          <a:pt x="0" y="2"/>
                        </a:moveTo>
                        <a:lnTo>
                          <a:pt x="5" y="16"/>
                        </a:lnTo>
                        <a:lnTo>
                          <a:pt x="7"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26" name="Freeform 2079"/>
                  <p:cNvSpPr>
                    <a:spLocks/>
                  </p:cNvSpPr>
                  <p:nvPr/>
                </p:nvSpPr>
                <p:spPr bwMode="auto">
                  <a:xfrm>
                    <a:off x="11155" y="3205"/>
                    <a:ext cx="8" cy="17"/>
                  </a:xfrm>
                  <a:custGeom>
                    <a:avLst/>
                    <a:gdLst>
                      <a:gd name="T0" fmla="*/ 0 w 7"/>
                      <a:gd name="T1" fmla="*/ 0 h 15"/>
                      <a:gd name="T2" fmla="*/ 7 w 7"/>
                      <a:gd name="T3" fmla="*/ 15 h 15"/>
                      <a:gd name="T4" fmla="*/ 7 w 7"/>
                      <a:gd name="T5" fmla="*/ 15 h 15"/>
                      <a:gd name="T6" fmla="*/ 2 w 7"/>
                      <a:gd name="T7" fmla="*/ 0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7" y="15"/>
                        </a:lnTo>
                        <a:lnTo>
                          <a:pt x="7" y="1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7" name="Freeform 2080"/>
                  <p:cNvSpPr>
                    <a:spLocks/>
                  </p:cNvSpPr>
                  <p:nvPr/>
                </p:nvSpPr>
                <p:spPr bwMode="auto">
                  <a:xfrm>
                    <a:off x="11130" y="3222"/>
                    <a:ext cx="8"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8" name="Freeform 2081"/>
                  <p:cNvSpPr>
                    <a:spLocks/>
                  </p:cNvSpPr>
                  <p:nvPr/>
                </p:nvSpPr>
                <p:spPr bwMode="auto">
                  <a:xfrm>
                    <a:off x="11172" y="3196"/>
                    <a:ext cx="8" cy="26"/>
                  </a:xfrm>
                  <a:custGeom>
                    <a:avLst/>
                    <a:gdLst>
                      <a:gd name="T0" fmla="*/ 0 w 9"/>
                      <a:gd name="T1" fmla="*/ 0 h 19"/>
                      <a:gd name="T2" fmla="*/ 7 w 9"/>
                      <a:gd name="T3" fmla="*/ 19 h 19"/>
                      <a:gd name="T4" fmla="*/ 9 w 9"/>
                      <a:gd name="T5" fmla="*/ 19 h 19"/>
                      <a:gd name="T6" fmla="*/ 2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29" name="Freeform 2082"/>
                  <p:cNvSpPr>
                    <a:spLocks/>
                  </p:cNvSpPr>
                  <p:nvPr/>
                </p:nvSpPr>
                <p:spPr bwMode="auto">
                  <a:xfrm>
                    <a:off x="11155" y="3214"/>
                    <a:ext cx="0" cy="9"/>
                  </a:xfrm>
                  <a:custGeom>
                    <a:avLst/>
                    <a:gdLst>
                      <a:gd name="T0" fmla="*/ 0 w 5"/>
                      <a:gd name="T1" fmla="*/ 0 h 12"/>
                      <a:gd name="T2" fmla="*/ 5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0" name="Freeform 2083"/>
                  <p:cNvSpPr>
                    <a:spLocks/>
                  </p:cNvSpPr>
                  <p:nvPr/>
                </p:nvSpPr>
                <p:spPr bwMode="auto">
                  <a:xfrm>
                    <a:off x="11139" y="3222"/>
                    <a:ext cx="8" cy="0"/>
                  </a:xfrm>
                  <a:custGeom>
                    <a:avLst/>
                    <a:gdLst>
                      <a:gd name="T0" fmla="*/ 0 w 5"/>
                      <a:gd name="T1" fmla="*/ 0 h 11"/>
                      <a:gd name="T2" fmla="*/ 0 w 5"/>
                      <a:gd name="T3" fmla="*/ 0 h 11"/>
                      <a:gd name="T4" fmla="*/ 3 w 5"/>
                      <a:gd name="T5" fmla="*/ 11 h 11"/>
                      <a:gd name="T6" fmla="*/ 5 w 5"/>
                      <a:gd name="T7" fmla="*/ 11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0" y="0"/>
                        </a:lnTo>
                        <a:lnTo>
                          <a:pt x="3" y="11"/>
                        </a:lnTo>
                        <a:lnTo>
                          <a:pt x="5" y="11"/>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1" name="Freeform 2084"/>
                  <p:cNvSpPr>
                    <a:spLocks/>
                  </p:cNvSpPr>
                  <p:nvPr/>
                </p:nvSpPr>
                <p:spPr bwMode="auto">
                  <a:xfrm>
                    <a:off x="11147" y="3214"/>
                    <a:ext cx="0" cy="9"/>
                  </a:xfrm>
                  <a:custGeom>
                    <a:avLst/>
                    <a:gdLst>
                      <a:gd name="T0" fmla="*/ 0 w 7"/>
                      <a:gd name="T1" fmla="*/ 0 h 12"/>
                      <a:gd name="T2" fmla="*/ 5 w 7"/>
                      <a:gd name="T3" fmla="*/ 12 h 12"/>
                      <a:gd name="T4" fmla="*/ 7 w 7"/>
                      <a:gd name="T5" fmla="*/ 12 h 12"/>
                      <a:gd name="T6" fmla="*/ 3 w 7"/>
                      <a:gd name="T7" fmla="*/ 0 h 12"/>
                      <a:gd name="T8" fmla="*/ 0 w 7"/>
                      <a:gd name="T9" fmla="*/ 0 h 12"/>
                    </a:gdLst>
                    <a:ahLst/>
                    <a:cxnLst>
                      <a:cxn ang="0">
                        <a:pos x="T0" y="T1"/>
                      </a:cxn>
                      <a:cxn ang="0">
                        <a:pos x="T2" y="T3"/>
                      </a:cxn>
                      <a:cxn ang="0">
                        <a:pos x="T4" y="T5"/>
                      </a:cxn>
                      <a:cxn ang="0">
                        <a:pos x="T6" y="T7"/>
                      </a:cxn>
                      <a:cxn ang="0">
                        <a:pos x="T8" y="T9"/>
                      </a:cxn>
                    </a:cxnLst>
                    <a:rect l="0" t="0" r="r" b="b"/>
                    <a:pathLst>
                      <a:path w="7" h="12">
                        <a:moveTo>
                          <a:pt x="0" y="0"/>
                        </a:moveTo>
                        <a:lnTo>
                          <a:pt x="5" y="12"/>
                        </a:lnTo>
                        <a:lnTo>
                          <a:pt x="7"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2" name="Freeform 2085"/>
                  <p:cNvSpPr>
                    <a:spLocks/>
                  </p:cNvSpPr>
                  <p:nvPr/>
                </p:nvSpPr>
                <p:spPr bwMode="auto">
                  <a:xfrm>
                    <a:off x="11397" y="3039"/>
                    <a:ext cx="25" cy="35"/>
                  </a:xfrm>
                  <a:custGeom>
                    <a:avLst/>
                    <a:gdLst>
                      <a:gd name="T0" fmla="*/ 0 w 24"/>
                      <a:gd name="T1" fmla="*/ 2 h 26"/>
                      <a:gd name="T2" fmla="*/ 24 w 24"/>
                      <a:gd name="T3" fmla="*/ 26 h 26"/>
                      <a:gd name="T4" fmla="*/ 24 w 24"/>
                      <a:gd name="T5" fmla="*/ 24 h 26"/>
                      <a:gd name="T6" fmla="*/ 0 w 24"/>
                      <a:gd name="T7" fmla="*/ 0 h 26"/>
                      <a:gd name="T8" fmla="*/ 0 w 24"/>
                      <a:gd name="T9" fmla="*/ 2 h 26"/>
                    </a:gdLst>
                    <a:ahLst/>
                    <a:cxnLst>
                      <a:cxn ang="0">
                        <a:pos x="T0" y="T1"/>
                      </a:cxn>
                      <a:cxn ang="0">
                        <a:pos x="T2" y="T3"/>
                      </a:cxn>
                      <a:cxn ang="0">
                        <a:pos x="T4" y="T5"/>
                      </a:cxn>
                      <a:cxn ang="0">
                        <a:pos x="T6" y="T7"/>
                      </a:cxn>
                      <a:cxn ang="0">
                        <a:pos x="T8" y="T9"/>
                      </a:cxn>
                    </a:cxnLst>
                    <a:rect l="0" t="0" r="r" b="b"/>
                    <a:pathLst>
                      <a:path w="24" h="26">
                        <a:moveTo>
                          <a:pt x="0" y="2"/>
                        </a:moveTo>
                        <a:lnTo>
                          <a:pt x="24" y="26"/>
                        </a:lnTo>
                        <a:lnTo>
                          <a:pt x="24" y="2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33" name="Freeform 2086"/>
                  <p:cNvSpPr>
                    <a:spLocks/>
                  </p:cNvSpPr>
                  <p:nvPr/>
                </p:nvSpPr>
                <p:spPr bwMode="auto">
                  <a:xfrm>
                    <a:off x="11405" y="3039"/>
                    <a:ext cx="17" cy="26"/>
                  </a:xfrm>
                  <a:custGeom>
                    <a:avLst/>
                    <a:gdLst>
                      <a:gd name="T0" fmla="*/ 0 w 21"/>
                      <a:gd name="T1" fmla="*/ 0 h 21"/>
                      <a:gd name="T2" fmla="*/ 21 w 21"/>
                      <a:gd name="T3" fmla="*/ 21 h 21"/>
                      <a:gd name="T4" fmla="*/ 21 w 21"/>
                      <a:gd name="T5" fmla="*/ 19 h 21"/>
                      <a:gd name="T6" fmla="*/ 2 w 21"/>
                      <a:gd name="T7" fmla="*/ 0 h 21"/>
                      <a:gd name="T8" fmla="*/ 0 w 21"/>
                      <a:gd name="T9" fmla="*/ 0 h 21"/>
                    </a:gdLst>
                    <a:ahLst/>
                    <a:cxnLst>
                      <a:cxn ang="0">
                        <a:pos x="T0" y="T1"/>
                      </a:cxn>
                      <a:cxn ang="0">
                        <a:pos x="T2" y="T3"/>
                      </a:cxn>
                      <a:cxn ang="0">
                        <a:pos x="T4" y="T5"/>
                      </a:cxn>
                      <a:cxn ang="0">
                        <a:pos x="T6" y="T7"/>
                      </a:cxn>
                      <a:cxn ang="0">
                        <a:pos x="T8" y="T9"/>
                      </a:cxn>
                    </a:cxnLst>
                    <a:rect l="0" t="0" r="r" b="b"/>
                    <a:pathLst>
                      <a:path w="21" h="21">
                        <a:moveTo>
                          <a:pt x="0" y="0"/>
                        </a:moveTo>
                        <a:lnTo>
                          <a:pt x="21" y="21"/>
                        </a:lnTo>
                        <a:lnTo>
                          <a:pt x="21"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4" name="Freeform 2087"/>
                  <p:cNvSpPr>
                    <a:spLocks/>
                  </p:cNvSpPr>
                  <p:nvPr/>
                </p:nvSpPr>
                <p:spPr bwMode="auto">
                  <a:xfrm>
                    <a:off x="11463" y="2987"/>
                    <a:ext cx="8" cy="0"/>
                  </a:xfrm>
                  <a:custGeom>
                    <a:avLst/>
                    <a:gdLst>
                      <a:gd name="T0" fmla="*/ 0 w 12"/>
                      <a:gd name="T1" fmla="*/ 0 h 7"/>
                      <a:gd name="T2" fmla="*/ 10 w 12"/>
                      <a:gd name="T3" fmla="*/ 7 h 7"/>
                      <a:gd name="T4" fmla="*/ 12 w 12"/>
                      <a:gd name="T5" fmla="*/ 7 h 7"/>
                      <a:gd name="T6" fmla="*/ 3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5" name="Freeform 2088"/>
                  <p:cNvSpPr>
                    <a:spLocks/>
                  </p:cNvSpPr>
                  <p:nvPr/>
                </p:nvSpPr>
                <p:spPr bwMode="auto">
                  <a:xfrm>
                    <a:off x="11405" y="3039"/>
                    <a:ext cx="25" cy="17"/>
                  </a:xfrm>
                  <a:custGeom>
                    <a:avLst/>
                    <a:gdLst>
                      <a:gd name="T0" fmla="*/ 0 w 22"/>
                      <a:gd name="T1" fmla="*/ 0 h 19"/>
                      <a:gd name="T2" fmla="*/ 19 w 22"/>
                      <a:gd name="T3" fmla="*/ 19 h 19"/>
                      <a:gd name="T4" fmla="*/ 22 w 22"/>
                      <a:gd name="T5" fmla="*/ 17 h 19"/>
                      <a:gd name="T6" fmla="*/ 3 w 22"/>
                      <a:gd name="T7" fmla="*/ 0 h 19"/>
                      <a:gd name="T8" fmla="*/ 0 w 22"/>
                      <a:gd name="T9" fmla="*/ 0 h 19"/>
                    </a:gdLst>
                    <a:ahLst/>
                    <a:cxnLst>
                      <a:cxn ang="0">
                        <a:pos x="T0" y="T1"/>
                      </a:cxn>
                      <a:cxn ang="0">
                        <a:pos x="T2" y="T3"/>
                      </a:cxn>
                      <a:cxn ang="0">
                        <a:pos x="T4" y="T5"/>
                      </a:cxn>
                      <a:cxn ang="0">
                        <a:pos x="T6" y="T7"/>
                      </a:cxn>
                      <a:cxn ang="0">
                        <a:pos x="T8" y="T9"/>
                      </a:cxn>
                    </a:cxnLst>
                    <a:rect l="0" t="0" r="r" b="b"/>
                    <a:pathLst>
                      <a:path w="22" h="19">
                        <a:moveTo>
                          <a:pt x="0" y="0"/>
                        </a:moveTo>
                        <a:lnTo>
                          <a:pt x="19" y="19"/>
                        </a:lnTo>
                        <a:lnTo>
                          <a:pt x="22" y="1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6" name="Freeform 2089"/>
                  <p:cNvSpPr>
                    <a:spLocks/>
                  </p:cNvSpPr>
                  <p:nvPr/>
                </p:nvSpPr>
                <p:spPr bwMode="auto">
                  <a:xfrm>
                    <a:off x="11413" y="3031"/>
                    <a:ext cx="17" cy="17"/>
                  </a:xfrm>
                  <a:custGeom>
                    <a:avLst/>
                    <a:gdLst>
                      <a:gd name="T0" fmla="*/ 0 w 16"/>
                      <a:gd name="T1" fmla="*/ 3 h 17"/>
                      <a:gd name="T2" fmla="*/ 16 w 16"/>
                      <a:gd name="T3" fmla="*/ 17 h 17"/>
                      <a:gd name="T4" fmla="*/ 16 w 16"/>
                      <a:gd name="T5" fmla="*/ 17 h 17"/>
                      <a:gd name="T6" fmla="*/ 0 w 16"/>
                      <a:gd name="T7" fmla="*/ 0 h 17"/>
                      <a:gd name="T8" fmla="*/ 0 w 16"/>
                      <a:gd name="T9" fmla="*/ 3 h 17"/>
                    </a:gdLst>
                    <a:ahLst/>
                    <a:cxnLst>
                      <a:cxn ang="0">
                        <a:pos x="T0" y="T1"/>
                      </a:cxn>
                      <a:cxn ang="0">
                        <a:pos x="T2" y="T3"/>
                      </a:cxn>
                      <a:cxn ang="0">
                        <a:pos x="T4" y="T5"/>
                      </a:cxn>
                      <a:cxn ang="0">
                        <a:pos x="T6" y="T7"/>
                      </a:cxn>
                      <a:cxn ang="0">
                        <a:pos x="T8" y="T9"/>
                      </a:cxn>
                    </a:cxnLst>
                    <a:rect l="0" t="0" r="r" b="b"/>
                    <a:pathLst>
                      <a:path w="16" h="17">
                        <a:moveTo>
                          <a:pt x="0" y="3"/>
                        </a:moveTo>
                        <a:lnTo>
                          <a:pt x="16" y="17"/>
                        </a:lnTo>
                        <a:lnTo>
                          <a:pt x="1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37" name="Freeform 2090"/>
                  <p:cNvSpPr>
                    <a:spLocks/>
                  </p:cNvSpPr>
                  <p:nvPr/>
                </p:nvSpPr>
                <p:spPr bwMode="auto">
                  <a:xfrm>
                    <a:off x="11380" y="3057"/>
                    <a:ext cx="25" cy="35"/>
                  </a:xfrm>
                  <a:custGeom>
                    <a:avLst/>
                    <a:gdLst>
                      <a:gd name="T0" fmla="*/ 0 w 33"/>
                      <a:gd name="T1" fmla="*/ 0 h 33"/>
                      <a:gd name="T2" fmla="*/ 33 w 33"/>
                      <a:gd name="T3" fmla="*/ 33 h 33"/>
                      <a:gd name="T4" fmla="*/ 33 w 33"/>
                      <a:gd name="T5" fmla="*/ 33 h 33"/>
                      <a:gd name="T6" fmla="*/ 2 w 33"/>
                      <a:gd name="T7" fmla="*/ 0 h 33"/>
                      <a:gd name="T8" fmla="*/ 0 w 33"/>
                      <a:gd name="T9" fmla="*/ 0 h 33"/>
                    </a:gdLst>
                    <a:ahLst/>
                    <a:cxnLst>
                      <a:cxn ang="0">
                        <a:pos x="T0" y="T1"/>
                      </a:cxn>
                      <a:cxn ang="0">
                        <a:pos x="T2" y="T3"/>
                      </a:cxn>
                      <a:cxn ang="0">
                        <a:pos x="T4" y="T5"/>
                      </a:cxn>
                      <a:cxn ang="0">
                        <a:pos x="T6" y="T7"/>
                      </a:cxn>
                      <a:cxn ang="0">
                        <a:pos x="T8" y="T9"/>
                      </a:cxn>
                    </a:cxnLst>
                    <a:rect l="0" t="0" r="r" b="b"/>
                    <a:pathLst>
                      <a:path w="33" h="33">
                        <a:moveTo>
                          <a:pt x="0" y="0"/>
                        </a:moveTo>
                        <a:lnTo>
                          <a:pt x="33" y="33"/>
                        </a:lnTo>
                        <a:lnTo>
                          <a:pt x="33"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8" name="Freeform 2091"/>
                  <p:cNvSpPr>
                    <a:spLocks/>
                  </p:cNvSpPr>
                  <p:nvPr/>
                </p:nvSpPr>
                <p:spPr bwMode="auto">
                  <a:xfrm>
                    <a:off x="11422" y="3031"/>
                    <a:ext cx="17" cy="9"/>
                  </a:xfrm>
                  <a:custGeom>
                    <a:avLst/>
                    <a:gdLst>
                      <a:gd name="T0" fmla="*/ 0 w 14"/>
                      <a:gd name="T1" fmla="*/ 0 h 14"/>
                      <a:gd name="T2" fmla="*/ 14 w 14"/>
                      <a:gd name="T3" fmla="*/ 14 h 14"/>
                      <a:gd name="T4" fmla="*/ 14 w 14"/>
                      <a:gd name="T5" fmla="*/ 12 h 14"/>
                      <a:gd name="T6" fmla="*/ 3 w 14"/>
                      <a:gd name="T7" fmla="*/ 0 h 14"/>
                      <a:gd name="T8" fmla="*/ 0 w 14"/>
                      <a:gd name="T9" fmla="*/ 0 h 14"/>
                    </a:gdLst>
                    <a:ahLst/>
                    <a:cxnLst>
                      <a:cxn ang="0">
                        <a:pos x="T0" y="T1"/>
                      </a:cxn>
                      <a:cxn ang="0">
                        <a:pos x="T2" y="T3"/>
                      </a:cxn>
                      <a:cxn ang="0">
                        <a:pos x="T4" y="T5"/>
                      </a:cxn>
                      <a:cxn ang="0">
                        <a:pos x="T6" y="T7"/>
                      </a:cxn>
                      <a:cxn ang="0">
                        <a:pos x="T8" y="T9"/>
                      </a:cxn>
                    </a:cxnLst>
                    <a:rect l="0" t="0" r="r" b="b"/>
                    <a:pathLst>
                      <a:path w="14" h="14">
                        <a:moveTo>
                          <a:pt x="0" y="0"/>
                        </a:moveTo>
                        <a:lnTo>
                          <a:pt x="14" y="14"/>
                        </a:lnTo>
                        <a:lnTo>
                          <a:pt x="14"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39" name="Freeform 2092"/>
                  <p:cNvSpPr>
                    <a:spLocks/>
                  </p:cNvSpPr>
                  <p:nvPr/>
                </p:nvSpPr>
                <p:spPr bwMode="auto">
                  <a:xfrm>
                    <a:off x="11388" y="3048"/>
                    <a:ext cx="33" cy="26"/>
                  </a:xfrm>
                  <a:custGeom>
                    <a:avLst/>
                    <a:gdLst>
                      <a:gd name="T0" fmla="*/ 0 w 28"/>
                      <a:gd name="T1" fmla="*/ 0 h 26"/>
                      <a:gd name="T2" fmla="*/ 26 w 28"/>
                      <a:gd name="T3" fmla="*/ 26 h 26"/>
                      <a:gd name="T4" fmla="*/ 28 w 28"/>
                      <a:gd name="T5" fmla="*/ 26 h 26"/>
                      <a:gd name="T6" fmla="*/ 2 w 28"/>
                      <a:gd name="T7" fmla="*/ 0 h 26"/>
                      <a:gd name="T8" fmla="*/ 0 w 28"/>
                      <a:gd name="T9" fmla="*/ 0 h 26"/>
                    </a:gdLst>
                    <a:ahLst/>
                    <a:cxnLst>
                      <a:cxn ang="0">
                        <a:pos x="T0" y="T1"/>
                      </a:cxn>
                      <a:cxn ang="0">
                        <a:pos x="T2" y="T3"/>
                      </a:cxn>
                      <a:cxn ang="0">
                        <a:pos x="T4" y="T5"/>
                      </a:cxn>
                      <a:cxn ang="0">
                        <a:pos x="T6" y="T7"/>
                      </a:cxn>
                      <a:cxn ang="0">
                        <a:pos x="T8" y="T9"/>
                      </a:cxn>
                    </a:cxnLst>
                    <a:rect l="0" t="0" r="r" b="b"/>
                    <a:pathLst>
                      <a:path w="28" h="26">
                        <a:moveTo>
                          <a:pt x="0" y="0"/>
                        </a:moveTo>
                        <a:lnTo>
                          <a:pt x="26" y="26"/>
                        </a:lnTo>
                        <a:lnTo>
                          <a:pt x="28"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0" name="Freeform 2093"/>
                  <p:cNvSpPr>
                    <a:spLocks/>
                  </p:cNvSpPr>
                  <p:nvPr/>
                </p:nvSpPr>
                <p:spPr bwMode="auto">
                  <a:xfrm>
                    <a:off x="11380" y="3048"/>
                    <a:ext cx="33" cy="35"/>
                  </a:xfrm>
                  <a:custGeom>
                    <a:avLst/>
                    <a:gdLst>
                      <a:gd name="T0" fmla="*/ 0 w 29"/>
                      <a:gd name="T1" fmla="*/ 3 h 31"/>
                      <a:gd name="T2" fmla="*/ 29 w 29"/>
                      <a:gd name="T3" fmla="*/ 31 h 31"/>
                      <a:gd name="T4" fmla="*/ 29 w 29"/>
                      <a:gd name="T5" fmla="*/ 31 h 31"/>
                      <a:gd name="T6" fmla="*/ 0 w 29"/>
                      <a:gd name="T7" fmla="*/ 0 h 31"/>
                      <a:gd name="T8" fmla="*/ 0 w 29"/>
                      <a:gd name="T9" fmla="*/ 3 h 31"/>
                    </a:gdLst>
                    <a:ahLst/>
                    <a:cxnLst>
                      <a:cxn ang="0">
                        <a:pos x="T0" y="T1"/>
                      </a:cxn>
                      <a:cxn ang="0">
                        <a:pos x="T2" y="T3"/>
                      </a:cxn>
                      <a:cxn ang="0">
                        <a:pos x="T4" y="T5"/>
                      </a:cxn>
                      <a:cxn ang="0">
                        <a:pos x="T6" y="T7"/>
                      </a:cxn>
                      <a:cxn ang="0">
                        <a:pos x="T8" y="T9"/>
                      </a:cxn>
                    </a:cxnLst>
                    <a:rect l="0" t="0" r="r" b="b"/>
                    <a:pathLst>
                      <a:path w="29" h="31">
                        <a:moveTo>
                          <a:pt x="0" y="3"/>
                        </a:moveTo>
                        <a:lnTo>
                          <a:pt x="29" y="31"/>
                        </a:lnTo>
                        <a:lnTo>
                          <a:pt x="29" y="31"/>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41" name="Freeform 2094"/>
                  <p:cNvSpPr>
                    <a:spLocks/>
                  </p:cNvSpPr>
                  <p:nvPr/>
                </p:nvSpPr>
                <p:spPr bwMode="auto">
                  <a:xfrm>
                    <a:off x="11438" y="3005"/>
                    <a:ext cx="17" cy="9"/>
                  </a:xfrm>
                  <a:custGeom>
                    <a:avLst/>
                    <a:gdLst>
                      <a:gd name="T0" fmla="*/ 0 w 9"/>
                      <a:gd name="T1" fmla="*/ 0 h 7"/>
                      <a:gd name="T2" fmla="*/ 9 w 9"/>
                      <a:gd name="T3" fmla="*/ 7 h 7"/>
                      <a:gd name="T4" fmla="*/ 9 w 9"/>
                      <a:gd name="T5" fmla="*/ 7 h 7"/>
                      <a:gd name="T6" fmla="*/ 2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2" name="Freeform 2095"/>
                  <p:cNvSpPr>
                    <a:spLocks/>
                  </p:cNvSpPr>
                  <p:nvPr/>
                </p:nvSpPr>
                <p:spPr bwMode="auto">
                  <a:xfrm>
                    <a:off x="11380" y="3057"/>
                    <a:ext cx="25" cy="44"/>
                  </a:xfrm>
                  <a:custGeom>
                    <a:avLst/>
                    <a:gdLst>
                      <a:gd name="T0" fmla="*/ 0 w 36"/>
                      <a:gd name="T1" fmla="*/ 0 h 38"/>
                      <a:gd name="T2" fmla="*/ 33 w 36"/>
                      <a:gd name="T3" fmla="*/ 38 h 38"/>
                      <a:gd name="T4" fmla="*/ 36 w 36"/>
                      <a:gd name="T5" fmla="*/ 36 h 38"/>
                      <a:gd name="T6" fmla="*/ 0 w 36"/>
                      <a:gd name="T7" fmla="*/ 0 h 38"/>
                      <a:gd name="T8" fmla="*/ 0 w 36"/>
                      <a:gd name="T9" fmla="*/ 0 h 38"/>
                    </a:gdLst>
                    <a:ahLst/>
                    <a:cxnLst>
                      <a:cxn ang="0">
                        <a:pos x="T0" y="T1"/>
                      </a:cxn>
                      <a:cxn ang="0">
                        <a:pos x="T2" y="T3"/>
                      </a:cxn>
                      <a:cxn ang="0">
                        <a:pos x="T4" y="T5"/>
                      </a:cxn>
                      <a:cxn ang="0">
                        <a:pos x="T6" y="T7"/>
                      </a:cxn>
                      <a:cxn ang="0">
                        <a:pos x="T8" y="T9"/>
                      </a:cxn>
                    </a:cxnLst>
                    <a:rect l="0" t="0" r="r" b="b"/>
                    <a:pathLst>
                      <a:path w="36" h="38">
                        <a:moveTo>
                          <a:pt x="0" y="0"/>
                        </a:moveTo>
                        <a:lnTo>
                          <a:pt x="33" y="38"/>
                        </a:lnTo>
                        <a:lnTo>
                          <a:pt x="36" y="36"/>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3" name="Freeform 2096"/>
                  <p:cNvSpPr>
                    <a:spLocks/>
                  </p:cNvSpPr>
                  <p:nvPr/>
                </p:nvSpPr>
                <p:spPr bwMode="auto">
                  <a:xfrm>
                    <a:off x="11455" y="2996"/>
                    <a:ext cx="8" cy="9"/>
                  </a:xfrm>
                  <a:custGeom>
                    <a:avLst/>
                    <a:gdLst>
                      <a:gd name="T0" fmla="*/ 0 w 10"/>
                      <a:gd name="T1" fmla="*/ 3 h 10"/>
                      <a:gd name="T2" fmla="*/ 10 w 10"/>
                      <a:gd name="T3" fmla="*/ 10 h 10"/>
                      <a:gd name="T4" fmla="*/ 10 w 10"/>
                      <a:gd name="T5" fmla="*/ 8 h 10"/>
                      <a:gd name="T6" fmla="*/ 0 w 10"/>
                      <a:gd name="T7" fmla="*/ 0 h 10"/>
                      <a:gd name="T8" fmla="*/ 0 w 10"/>
                      <a:gd name="T9" fmla="*/ 3 h 10"/>
                    </a:gdLst>
                    <a:ahLst/>
                    <a:cxnLst>
                      <a:cxn ang="0">
                        <a:pos x="T0" y="T1"/>
                      </a:cxn>
                      <a:cxn ang="0">
                        <a:pos x="T2" y="T3"/>
                      </a:cxn>
                      <a:cxn ang="0">
                        <a:pos x="T4" y="T5"/>
                      </a:cxn>
                      <a:cxn ang="0">
                        <a:pos x="T6" y="T7"/>
                      </a:cxn>
                      <a:cxn ang="0">
                        <a:pos x="T8" y="T9"/>
                      </a:cxn>
                    </a:cxnLst>
                    <a:rect l="0" t="0" r="r" b="b"/>
                    <a:pathLst>
                      <a:path w="10" h="10">
                        <a:moveTo>
                          <a:pt x="0" y="3"/>
                        </a:moveTo>
                        <a:lnTo>
                          <a:pt x="10" y="10"/>
                        </a:lnTo>
                        <a:lnTo>
                          <a:pt x="10" y="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44" name="Freeform 2097"/>
                  <p:cNvSpPr>
                    <a:spLocks/>
                  </p:cNvSpPr>
                  <p:nvPr/>
                </p:nvSpPr>
                <p:spPr bwMode="auto">
                  <a:xfrm>
                    <a:off x="11272" y="3118"/>
                    <a:ext cx="50" cy="78"/>
                  </a:xfrm>
                  <a:custGeom>
                    <a:avLst/>
                    <a:gdLst>
                      <a:gd name="T0" fmla="*/ 0 w 52"/>
                      <a:gd name="T1" fmla="*/ 0 h 81"/>
                      <a:gd name="T2" fmla="*/ 52 w 52"/>
                      <a:gd name="T3" fmla="*/ 81 h 81"/>
                      <a:gd name="T4" fmla="*/ 52 w 52"/>
                      <a:gd name="T5" fmla="*/ 81 h 81"/>
                      <a:gd name="T6" fmla="*/ 0 w 52"/>
                      <a:gd name="T7" fmla="*/ 0 h 81"/>
                      <a:gd name="T8" fmla="*/ 0 w 52"/>
                      <a:gd name="T9" fmla="*/ 0 h 81"/>
                    </a:gdLst>
                    <a:ahLst/>
                    <a:cxnLst>
                      <a:cxn ang="0">
                        <a:pos x="T0" y="T1"/>
                      </a:cxn>
                      <a:cxn ang="0">
                        <a:pos x="T2" y="T3"/>
                      </a:cxn>
                      <a:cxn ang="0">
                        <a:pos x="T4" y="T5"/>
                      </a:cxn>
                      <a:cxn ang="0">
                        <a:pos x="T6" y="T7"/>
                      </a:cxn>
                      <a:cxn ang="0">
                        <a:pos x="T8" y="T9"/>
                      </a:cxn>
                    </a:cxnLst>
                    <a:rect l="0" t="0" r="r" b="b"/>
                    <a:pathLst>
                      <a:path w="52" h="81">
                        <a:moveTo>
                          <a:pt x="0" y="0"/>
                        </a:moveTo>
                        <a:lnTo>
                          <a:pt x="52" y="81"/>
                        </a:lnTo>
                        <a:lnTo>
                          <a:pt x="52"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5" name="Freeform 2098"/>
                  <p:cNvSpPr>
                    <a:spLocks/>
                  </p:cNvSpPr>
                  <p:nvPr/>
                </p:nvSpPr>
                <p:spPr bwMode="auto">
                  <a:xfrm>
                    <a:off x="11455" y="2987"/>
                    <a:ext cx="8" cy="9"/>
                  </a:xfrm>
                  <a:custGeom>
                    <a:avLst/>
                    <a:gdLst>
                      <a:gd name="T0" fmla="*/ 0 w 9"/>
                      <a:gd name="T1" fmla="*/ 2 h 9"/>
                      <a:gd name="T2" fmla="*/ 7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7"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46" name="Freeform 2099"/>
                  <p:cNvSpPr>
                    <a:spLocks/>
                  </p:cNvSpPr>
                  <p:nvPr/>
                </p:nvSpPr>
                <p:spPr bwMode="auto">
                  <a:xfrm>
                    <a:off x="11438" y="3013"/>
                    <a:ext cx="8" cy="9"/>
                  </a:xfrm>
                  <a:custGeom>
                    <a:avLst/>
                    <a:gdLst>
                      <a:gd name="T0" fmla="*/ 0 w 12"/>
                      <a:gd name="T1" fmla="*/ 0 h 9"/>
                      <a:gd name="T2" fmla="*/ 12 w 12"/>
                      <a:gd name="T3" fmla="*/ 9 h 9"/>
                      <a:gd name="T4" fmla="*/ 12 w 12"/>
                      <a:gd name="T5" fmla="*/ 7 h 9"/>
                      <a:gd name="T6" fmla="*/ 3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2" y="9"/>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7" name="Freeform 2100"/>
                  <p:cNvSpPr>
                    <a:spLocks/>
                  </p:cNvSpPr>
                  <p:nvPr/>
                </p:nvSpPr>
                <p:spPr bwMode="auto">
                  <a:xfrm>
                    <a:off x="11430" y="3013"/>
                    <a:ext cx="8" cy="17"/>
                  </a:xfrm>
                  <a:custGeom>
                    <a:avLst/>
                    <a:gdLst>
                      <a:gd name="T0" fmla="*/ 0 w 11"/>
                      <a:gd name="T1" fmla="*/ 0 h 10"/>
                      <a:gd name="T2" fmla="*/ 11 w 11"/>
                      <a:gd name="T3" fmla="*/ 10 h 10"/>
                      <a:gd name="T4" fmla="*/ 11 w 11"/>
                      <a:gd name="T5" fmla="*/ 10 h 10"/>
                      <a:gd name="T6" fmla="*/ 2 w 11"/>
                      <a:gd name="T7" fmla="*/ 0 h 10"/>
                      <a:gd name="T8" fmla="*/ 0 w 11"/>
                      <a:gd name="T9" fmla="*/ 0 h 10"/>
                    </a:gdLst>
                    <a:ahLst/>
                    <a:cxnLst>
                      <a:cxn ang="0">
                        <a:pos x="T0" y="T1"/>
                      </a:cxn>
                      <a:cxn ang="0">
                        <a:pos x="T2" y="T3"/>
                      </a:cxn>
                      <a:cxn ang="0">
                        <a:pos x="T4" y="T5"/>
                      </a:cxn>
                      <a:cxn ang="0">
                        <a:pos x="T6" y="T7"/>
                      </a:cxn>
                      <a:cxn ang="0">
                        <a:pos x="T8" y="T9"/>
                      </a:cxn>
                    </a:cxnLst>
                    <a:rect l="0" t="0" r="r" b="b"/>
                    <a:pathLst>
                      <a:path w="11" h="10">
                        <a:moveTo>
                          <a:pt x="0" y="0"/>
                        </a:moveTo>
                        <a:lnTo>
                          <a:pt x="11" y="10"/>
                        </a:lnTo>
                        <a:lnTo>
                          <a:pt x="11"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8" name="Freeform 2101"/>
                  <p:cNvSpPr>
                    <a:spLocks/>
                  </p:cNvSpPr>
                  <p:nvPr/>
                </p:nvSpPr>
                <p:spPr bwMode="auto">
                  <a:xfrm>
                    <a:off x="11438" y="3013"/>
                    <a:ext cx="8" cy="0"/>
                  </a:xfrm>
                  <a:custGeom>
                    <a:avLst/>
                    <a:gdLst>
                      <a:gd name="T0" fmla="*/ 0 w 12"/>
                      <a:gd name="T1" fmla="*/ 0 h 9"/>
                      <a:gd name="T2" fmla="*/ 10 w 12"/>
                      <a:gd name="T3" fmla="*/ 9 h 9"/>
                      <a:gd name="T4" fmla="*/ 12 w 12"/>
                      <a:gd name="T5" fmla="*/ 7 h 9"/>
                      <a:gd name="T6" fmla="*/ 2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0" y="9"/>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49" name="Freeform 2102"/>
                  <p:cNvSpPr>
                    <a:spLocks/>
                  </p:cNvSpPr>
                  <p:nvPr/>
                </p:nvSpPr>
                <p:spPr bwMode="auto">
                  <a:xfrm>
                    <a:off x="11422" y="3022"/>
                    <a:ext cx="17" cy="17"/>
                  </a:xfrm>
                  <a:custGeom>
                    <a:avLst/>
                    <a:gdLst>
                      <a:gd name="T0" fmla="*/ 0 w 14"/>
                      <a:gd name="T1" fmla="*/ 0 h 12"/>
                      <a:gd name="T2" fmla="*/ 12 w 14"/>
                      <a:gd name="T3" fmla="*/ 12 h 12"/>
                      <a:gd name="T4" fmla="*/ 14 w 14"/>
                      <a:gd name="T5" fmla="*/ 10 h 12"/>
                      <a:gd name="T6" fmla="*/ 2 w 14"/>
                      <a:gd name="T7" fmla="*/ 0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12" y="12"/>
                        </a:lnTo>
                        <a:lnTo>
                          <a:pt x="14"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0" name="Freeform 2103"/>
                  <p:cNvSpPr>
                    <a:spLocks/>
                  </p:cNvSpPr>
                  <p:nvPr/>
                </p:nvSpPr>
                <p:spPr bwMode="auto">
                  <a:xfrm>
                    <a:off x="11447" y="2996"/>
                    <a:ext cx="8" cy="17"/>
                  </a:xfrm>
                  <a:custGeom>
                    <a:avLst/>
                    <a:gdLst>
                      <a:gd name="T0" fmla="*/ 0 w 9"/>
                      <a:gd name="T1" fmla="*/ 3 h 10"/>
                      <a:gd name="T2" fmla="*/ 9 w 9"/>
                      <a:gd name="T3" fmla="*/ 10 h 10"/>
                      <a:gd name="T4" fmla="*/ 9 w 9"/>
                      <a:gd name="T5" fmla="*/ 10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51" name="Freeform 2104"/>
                  <p:cNvSpPr>
                    <a:spLocks/>
                  </p:cNvSpPr>
                  <p:nvPr/>
                </p:nvSpPr>
                <p:spPr bwMode="auto">
                  <a:xfrm>
                    <a:off x="11305" y="3092"/>
                    <a:ext cx="58" cy="70"/>
                  </a:xfrm>
                  <a:custGeom>
                    <a:avLst/>
                    <a:gdLst>
                      <a:gd name="T0" fmla="*/ 0 w 59"/>
                      <a:gd name="T1" fmla="*/ 3 h 76"/>
                      <a:gd name="T2" fmla="*/ 57 w 59"/>
                      <a:gd name="T3" fmla="*/ 76 h 76"/>
                      <a:gd name="T4" fmla="*/ 59 w 59"/>
                      <a:gd name="T5" fmla="*/ 76 h 76"/>
                      <a:gd name="T6" fmla="*/ 3 w 59"/>
                      <a:gd name="T7" fmla="*/ 0 h 76"/>
                      <a:gd name="T8" fmla="*/ 0 w 59"/>
                      <a:gd name="T9" fmla="*/ 3 h 76"/>
                    </a:gdLst>
                    <a:ahLst/>
                    <a:cxnLst>
                      <a:cxn ang="0">
                        <a:pos x="T0" y="T1"/>
                      </a:cxn>
                      <a:cxn ang="0">
                        <a:pos x="T2" y="T3"/>
                      </a:cxn>
                      <a:cxn ang="0">
                        <a:pos x="T4" y="T5"/>
                      </a:cxn>
                      <a:cxn ang="0">
                        <a:pos x="T6" y="T7"/>
                      </a:cxn>
                      <a:cxn ang="0">
                        <a:pos x="T8" y="T9"/>
                      </a:cxn>
                    </a:cxnLst>
                    <a:rect l="0" t="0" r="r" b="b"/>
                    <a:pathLst>
                      <a:path w="59" h="76">
                        <a:moveTo>
                          <a:pt x="0" y="3"/>
                        </a:moveTo>
                        <a:lnTo>
                          <a:pt x="57" y="76"/>
                        </a:lnTo>
                        <a:lnTo>
                          <a:pt x="59" y="76"/>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2552" name="Freeform 2105"/>
                  <p:cNvSpPr>
                    <a:spLocks/>
                  </p:cNvSpPr>
                  <p:nvPr/>
                </p:nvSpPr>
                <p:spPr bwMode="auto">
                  <a:xfrm>
                    <a:off x="11305" y="3100"/>
                    <a:ext cx="50" cy="70"/>
                  </a:xfrm>
                  <a:custGeom>
                    <a:avLst/>
                    <a:gdLst>
                      <a:gd name="T0" fmla="*/ 0 w 57"/>
                      <a:gd name="T1" fmla="*/ 0 h 76"/>
                      <a:gd name="T2" fmla="*/ 57 w 57"/>
                      <a:gd name="T3" fmla="*/ 76 h 76"/>
                      <a:gd name="T4" fmla="*/ 57 w 57"/>
                      <a:gd name="T5" fmla="*/ 76 h 76"/>
                      <a:gd name="T6" fmla="*/ 3 w 57"/>
                      <a:gd name="T7" fmla="*/ 0 h 76"/>
                      <a:gd name="T8" fmla="*/ 0 w 57"/>
                      <a:gd name="T9" fmla="*/ 0 h 76"/>
                    </a:gdLst>
                    <a:ahLst/>
                    <a:cxnLst>
                      <a:cxn ang="0">
                        <a:pos x="T0" y="T1"/>
                      </a:cxn>
                      <a:cxn ang="0">
                        <a:pos x="T2" y="T3"/>
                      </a:cxn>
                      <a:cxn ang="0">
                        <a:pos x="T4" y="T5"/>
                      </a:cxn>
                      <a:cxn ang="0">
                        <a:pos x="T6" y="T7"/>
                      </a:cxn>
                      <a:cxn ang="0">
                        <a:pos x="T8" y="T9"/>
                      </a:cxn>
                    </a:cxnLst>
                    <a:rect l="0" t="0" r="r" b="b"/>
                    <a:pathLst>
                      <a:path w="57" h="76">
                        <a:moveTo>
                          <a:pt x="0" y="0"/>
                        </a:moveTo>
                        <a:lnTo>
                          <a:pt x="57" y="76"/>
                        </a:lnTo>
                        <a:lnTo>
                          <a:pt x="57" y="7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3" name="Freeform 2106"/>
                  <p:cNvSpPr>
                    <a:spLocks/>
                  </p:cNvSpPr>
                  <p:nvPr/>
                </p:nvSpPr>
                <p:spPr bwMode="auto">
                  <a:xfrm>
                    <a:off x="11313" y="3092"/>
                    <a:ext cx="58" cy="70"/>
                  </a:xfrm>
                  <a:custGeom>
                    <a:avLst/>
                    <a:gdLst>
                      <a:gd name="T0" fmla="*/ 0 w 57"/>
                      <a:gd name="T1" fmla="*/ 0 h 73"/>
                      <a:gd name="T2" fmla="*/ 55 w 57"/>
                      <a:gd name="T3" fmla="*/ 73 h 73"/>
                      <a:gd name="T4" fmla="*/ 57 w 57"/>
                      <a:gd name="T5" fmla="*/ 71 h 73"/>
                      <a:gd name="T6" fmla="*/ 0 w 57"/>
                      <a:gd name="T7" fmla="*/ 0 h 73"/>
                      <a:gd name="T8" fmla="*/ 0 w 57"/>
                      <a:gd name="T9" fmla="*/ 0 h 73"/>
                    </a:gdLst>
                    <a:ahLst/>
                    <a:cxnLst>
                      <a:cxn ang="0">
                        <a:pos x="T0" y="T1"/>
                      </a:cxn>
                      <a:cxn ang="0">
                        <a:pos x="T2" y="T3"/>
                      </a:cxn>
                      <a:cxn ang="0">
                        <a:pos x="T4" y="T5"/>
                      </a:cxn>
                      <a:cxn ang="0">
                        <a:pos x="T6" y="T7"/>
                      </a:cxn>
                      <a:cxn ang="0">
                        <a:pos x="T8" y="T9"/>
                      </a:cxn>
                    </a:cxnLst>
                    <a:rect l="0" t="0" r="r" b="b"/>
                    <a:pathLst>
                      <a:path w="57" h="73">
                        <a:moveTo>
                          <a:pt x="0" y="0"/>
                        </a:moveTo>
                        <a:lnTo>
                          <a:pt x="55" y="73"/>
                        </a:lnTo>
                        <a:lnTo>
                          <a:pt x="57" y="7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4" name="Freeform 2107"/>
                  <p:cNvSpPr>
                    <a:spLocks/>
                  </p:cNvSpPr>
                  <p:nvPr/>
                </p:nvSpPr>
                <p:spPr bwMode="auto">
                  <a:xfrm>
                    <a:off x="11297" y="3100"/>
                    <a:ext cx="58" cy="78"/>
                  </a:xfrm>
                  <a:custGeom>
                    <a:avLst/>
                    <a:gdLst>
                      <a:gd name="T0" fmla="*/ 0 w 56"/>
                      <a:gd name="T1" fmla="*/ 0 h 81"/>
                      <a:gd name="T2" fmla="*/ 56 w 56"/>
                      <a:gd name="T3" fmla="*/ 81 h 81"/>
                      <a:gd name="T4" fmla="*/ 56 w 56"/>
                      <a:gd name="T5" fmla="*/ 78 h 81"/>
                      <a:gd name="T6" fmla="*/ 0 w 56"/>
                      <a:gd name="T7" fmla="*/ 0 h 81"/>
                      <a:gd name="T8" fmla="*/ 0 w 56"/>
                      <a:gd name="T9" fmla="*/ 0 h 81"/>
                    </a:gdLst>
                    <a:ahLst/>
                    <a:cxnLst>
                      <a:cxn ang="0">
                        <a:pos x="T0" y="T1"/>
                      </a:cxn>
                      <a:cxn ang="0">
                        <a:pos x="T2" y="T3"/>
                      </a:cxn>
                      <a:cxn ang="0">
                        <a:pos x="T4" y="T5"/>
                      </a:cxn>
                      <a:cxn ang="0">
                        <a:pos x="T6" y="T7"/>
                      </a:cxn>
                      <a:cxn ang="0">
                        <a:pos x="T8" y="T9"/>
                      </a:cxn>
                    </a:cxnLst>
                    <a:rect l="0" t="0" r="r" b="b"/>
                    <a:pathLst>
                      <a:path w="56" h="81">
                        <a:moveTo>
                          <a:pt x="0" y="0"/>
                        </a:moveTo>
                        <a:lnTo>
                          <a:pt x="56" y="81"/>
                        </a:lnTo>
                        <a:lnTo>
                          <a:pt x="56"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5" name="Freeform 2108"/>
                  <p:cNvSpPr>
                    <a:spLocks/>
                  </p:cNvSpPr>
                  <p:nvPr/>
                </p:nvSpPr>
                <p:spPr bwMode="auto">
                  <a:xfrm>
                    <a:off x="11280" y="3109"/>
                    <a:ext cx="50" cy="87"/>
                  </a:xfrm>
                  <a:custGeom>
                    <a:avLst/>
                    <a:gdLst>
                      <a:gd name="T0" fmla="*/ 0 w 55"/>
                      <a:gd name="T1" fmla="*/ 2 h 82"/>
                      <a:gd name="T2" fmla="*/ 52 w 55"/>
                      <a:gd name="T3" fmla="*/ 82 h 82"/>
                      <a:gd name="T4" fmla="*/ 55 w 55"/>
                      <a:gd name="T5" fmla="*/ 80 h 82"/>
                      <a:gd name="T6" fmla="*/ 0 w 55"/>
                      <a:gd name="T7" fmla="*/ 0 h 82"/>
                      <a:gd name="T8" fmla="*/ 0 w 55"/>
                      <a:gd name="T9" fmla="*/ 2 h 82"/>
                    </a:gdLst>
                    <a:ahLst/>
                    <a:cxnLst>
                      <a:cxn ang="0">
                        <a:pos x="T0" y="T1"/>
                      </a:cxn>
                      <a:cxn ang="0">
                        <a:pos x="T2" y="T3"/>
                      </a:cxn>
                      <a:cxn ang="0">
                        <a:pos x="T4" y="T5"/>
                      </a:cxn>
                      <a:cxn ang="0">
                        <a:pos x="T6" y="T7"/>
                      </a:cxn>
                      <a:cxn ang="0">
                        <a:pos x="T8" y="T9"/>
                      </a:cxn>
                    </a:cxnLst>
                    <a:rect l="0" t="0" r="r" b="b"/>
                    <a:pathLst>
                      <a:path w="55" h="82">
                        <a:moveTo>
                          <a:pt x="0" y="2"/>
                        </a:moveTo>
                        <a:lnTo>
                          <a:pt x="52" y="82"/>
                        </a:lnTo>
                        <a:lnTo>
                          <a:pt x="55" y="8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56" name="Freeform 2109"/>
                  <p:cNvSpPr>
                    <a:spLocks/>
                  </p:cNvSpPr>
                  <p:nvPr/>
                </p:nvSpPr>
                <p:spPr bwMode="auto">
                  <a:xfrm>
                    <a:off x="11322" y="3083"/>
                    <a:ext cx="58" cy="70"/>
                  </a:xfrm>
                  <a:custGeom>
                    <a:avLst/>
                    <a:gdLst>
                      <a:gd name="T0" fmla="*/ 0 w 57"/>
                      <a:gd name="T1" fmla="*/ 0 h 68"/>
                      <a:gd name="T2" fmla="*/ 54 w 57"/>
                      <a:gd name="T3" fmla="*/ 68 h 68"/>
                      <a:gd name="T4" fmla="*/ 57 w 57"/>
                      <a:gd name="T5" fmla="*/ 68 h 68"/>
                      <a:gd name="T6" fmla="*/ 2 w 57"/>
                      <a:gd name="T7" fmla="*/ 0 h 68"/>
                      <a:gd name="T8" fmla="*/ 0 w 57"/>
                      <a:gd name="T9" fmla="*/ 0 h 68"/>
                    </a:gdLst>
                    <a:ahLst/>
                    <a:cxnLst>
                      <a:cxn ang="0">
                        <a:pos x="T0" y="T1"/>
                      </a:cxn>
                      <a:cxn ang="0">
                        <a:pos x="T2" y="T3"/>
                      </a:cxn>
                      <a:cxn ang="0">
                        <a:pos x="T4" y="T5"/>
                      </a:cxn>
                      <a:cxn ang="0">
                        <a:pos x="T6" y="T7"/>
                      </a:cxn>
                      <a:cxn ang="0">
                        <a:pos x="T8" y="T9"/>
                      </a:cxn>
                    </a:cxnLst>
                    <a:rect l="0" t="0" r="r" b="b"/>
                    <a:pathLst>
                      <a:path w="57" h="68">
                        <a:moveTo>
                          <a:pt x="0" y="0"/>
                        </a:moveTo>
                        <a:lnTo>
                          <a:pt x="54" y="68"/>
                        </a:lnTo>
                        <a:lnTo>
                          <a:pt x="57" y="6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7" name="Freeform 2110"/>
                  <p:cNvSpPr>
                    <a:spLocks/>
                  </p:cNvSpPr>
                  <p:nvPr/>
                </p:nvSpPr>
                <p:spPr bwMode="auto">
                  <a:xfrm>
                    <a:off x="11280" y="3109"/>
                    <a:ext cx="58" cy="87"/>
                  </a:xfrm>
                  <a:custGeom>
                    <a:avLst/>
                    <a:gdLst>
                      <a:gd name="T0" fmla="*/ 0 w 57"/>
                      <a:gd name="T1" fmla="*/ 0 h 81"/>
                      <a:gd name="T2" fmla="*/ 55 w 57"/>
                      <a:gd name="T3" fmla="*/ 81 h 81"/>
                      <a:gd name="T4" fmla="*/ 57 w 57"/>
                      <a:gd name="T5" fmla="*/ 81 h 81"/>
                      <a:gd name="T6" fmla="*/ 0 w 57"/>
                      <a:gd name="T7" fmla="*/ 0 h 81"/>
                      <a:gd name="T8" fmla="*/ 0 w 57"/>
                      <a:gd name="T9" fmla="*/ 0 h 81"/>
                    </a:gdLst>
                    <a:ahLst/>
                    <a:cxnLst>
                      <a:cxn ang="0">
                        <a:pos x="T0" y="T1"/>
                      </a:cxn>
                      <a:cxn ang="0">
                        <a:pos x="T2" y="T3"/>
                      </a:cxn>
                      <a:cxn ang="0">
                        <a:pos x="T4" y="T5"/>
                      </a:cxn>
                      <a:cxn ang="0">
                        <a:pos x="T6" y="T7"/>
                      </a:cxn>
                      <a:cxn ang="0">
                        <a:pos x="T8" y="T9"/>
                      </a:cxn>
                    </a:cxnLst>
                    <a:rect l="0" t="0" r="r" b="b"/>
                    <a:pathLst>
                      <a:path w="57" h="81">
                        <a:moveTo>
                          <a:pt x="0" y="0"/>
                        </a:moveTo>
                        <a:lnTo>
                          <a:pt x="55" y="81"/>
                        </a:lnTo>
                        <a:lnTo>
                          <a:pt x="57"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558" name="Freeform 2111"/>
                  <p:cNvSpPr>
                    <a:spLocks/>
                  </p:cNvSpPr>
                  <p:nvPr/>
                </p:nvSpPr>
                <p:spPr bwMode="auto">
                  <a:xfrm>
                    <a:off x="11363" y="3066"/>
                    <a:ext cx="42" cy="35"/>
                  </a:xfrm>
                  <a:custGeom>
                    <a:avLst/>
                    <a:gdLst>
                      <a:gd name="T0" fmla="*/ 0 w 38"/>
                      <a:gd name="T1" fmla="*/ 2 h 42"/>
                      <a:gd name="T2" fmla="*/ 38 w 38"/>
                      <a:gd name="T3" fmla="*/ 42 h 42"/>
                      <a:gd name="T4" fmla="*/ 38 w 38"/>
                      <a:gd name="T5" fmla="*/ 40 h 42"/>
                      <a:gd name="T6" fmla="*/ 3 w 38"/>
                      <a:gd name="T7" fmla="*/ 0 h 42"/>
                      <a:gd name="T8" fmla="*/ 0 w 38"/>
                      <a:gd name="T9" fmla="*/ 2 h 42"/>
                    </a:gdLst>
                    <a:ahLst/>
                    <a:cxnLst>
                      <a:cxn ang="0">
                        <a:pos x="T0" y="T1"/>
                      </a:cxn>
                      <a:cxn ang="0">
                        <a:pos x="T2" y="T3"/>
                      </a:cxn>
                      <a:cxn ang="0">
                        <a:pos x="T4" y="T5"/>
                      </a:cxn>
                      <a:cxn ang="0">
                        <a:pos x="T6" y="T7"/>
                      </a:cxn>
                      <a:cxn ang="0">
                        <a:pos x="T8" y="T9"/>
                      </a:cxn>
                    </a:cxnLst>
                    <a:rect l="0" t="0" r="r" b="b"/>
                    <a:pathLst>
                      <a:path w="38" h="42">
                        <a:moveTo>
                          <a:pt x="0" y="2"/>
                        </a:moveTo>
                        <a:lnTo>
                          <a:pt x="38" y="42"/>
                        </a:lnTo>
                        <a:lnTo>
                          <a:pt x="38" y="4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59" name="Freeform 2112"/>
                  <p:cNvSpPr>
                    <a:spLocks/>
                  </p:cNvSpPr>
                  <p:nvPr/>
                </p:nvSpPr>
                <p:spPr bwMode="auto">
                  <a:xfrm>
                    <a:off x="11289" y="3100"/>
                    <a:ext cx="58" cy="87"/>
                  </a:xfrm>
                  <a:custGeom>
                    <a:avLst/>
                    <a:gdLst>
                      <a:gd name="T0" fmla="*/ 0 w 59"/>
                      <a:gd name="T1" fmla="*/ 2 h 82"/>
                      <a:gd name="T2" fmla="*/ 56 w 59"/>
                      <a:gd name="T3" fmla="*/ 82 h 82"/>
                      <a:gd name="T4" fmla="*/ 59 w 59"/>
                      <a:gd name="T5" fmla="*/ 80 h 82"/>
                      <a:gd name="T6" fmla="*/ 2 w 59"/>
                      <a:gd name="T7" fmla="*/ 0 h 82"/>
                      <a:gd name="T8" fmla="*/ 0 w 59"/>
                      <a:gd name="T9" fmla="*/ 2 h 82"/>
                    </a:gdLst>
                    <a:ahLst/>
                    <a:cxnLst>
                      <a:cxn ang="0">
                        <a:pos x="T0" y="T1"/>
                      </a:cxn>
                      <a:cxn ang="0">
                        <a:pos x="T2" y="T3"/>
                      </a:cxn>
                      <a:cxn ang="0">
                        <a:pos x="T4" y="T5"/>
                      </a:cxn>
                      <a:cxn ang="0">
                        <a:pos x="T6" y="T7"/>
                      </a:cxn>
                      <a:cxn ang="0">
                        <a:pos x="T8" y="T9"/>
                      </a:cxn>
                    </a:cxnLst>
                    <a:rect l="0" t="0" r="r" b="b"/>
                    <a:pathLst>
                      <a:path w="59" h="82">
                        <a:moveTo>
                          <a:pt x="0" y="2"/>
                        </a:moveTo>
                        <a:lnTo>
                          <a:pt x="56" y="82"/>
                        </a:lnTo>
                        <a:lnTo>
                          <a:pt x="59" y="80"/>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560" name="Freeform 2113"/>
                  <p:cNvSpPr>
                    <a:spLocks/>
                  </p:cNvSpPr>
                  <p:nvPr/>
                </p:nvSpPr>
                <p:spPr bwMode="auto">
                  <a:xfrm>
                    <a:off x="11347" y="3074"/>
                    <a:ext cx="50" cy="52"/>
                  </a:xfrm>
                  <a:custGeom>
                    <a:avLst/>
                    <a:gdLst>
                      <a:gd name="T0" fmla="*/ 0 w 45"/>
                      <a:gd name="T1" fmla="*/ 2 h 54"/>
                      <a:gd name="T2" fmla="*/ 45 w 45"/>
                      <a:gd name="T3" fmla="*/ 54 h 54"/>
                      <a:gd name="T4" fmla="*/ 45 w 45"/>
                      <a:gd name="T5" fmla="*/ 52 h 54"/>
                      <a:gd name="T6" fmla="*/ 0 w 45"/>
                      <a:gd name="T7" fmla="*/ 0 h 54"/>
                      <a:gd name="T8" fmla="*/ 0 w 45"/>
                      <a:gd name="T9" fmla="*/ 2 h 54"/>
                    </a:gdLst>
                    <a:ahLst/>
                    <a:cxnLst>
                      <a:cxn ang="0">
                        <a:pos x="T0" y="T1"/>
                      </a:cxn>
                      <a:cxn ang="0">
                        <a:pos x="T2" y="T3"/>
                      </a:cxn>
                      <a:cxn ang="0">
                        <a:pos x="T4" y="T5"/>
                      </a:cxn>
                      <a:cxn ang="0">
                        <a:pos x="T6" y="T7"/>
                      </a:cxn>
                      <a:cxn ang="0">
                        <a:pos x="T8" y="T9"/>
                      </a:cxn>
                    </a:cxnLst>
                    <a:rect l="0" t="0" r="r" b="b"/>
                    <a:pathLst>
                      <a:path w="45" h="54">
                        <a:moveTo>
                          <a:pt x="0" y="2"/>
                        </a:moveTo>
                        <a:lnTo>
                          <a:pt x="45" y="54"/>
                        </a:lnTo>
                        <a:lnTo>
                          <a:pt x="45" y="5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grpSp>
            <p:sp>
              <p:nvSpPr>
                <p:cNvPr id="2265" name="Freeform 2115"/>
                <p:cNvSpPr>
                  <a:spLocks/>
                </p:cNvSpPr>
                <p:nvPr/>
              </p:nvSpPr>
              <p:spPr bwMode="auto">
                <a:xfrm>
                  <a:off x="18039353" y="4866695"/>
                  <a:ext cx="66039" cy="82991"/>
                </a:xfrm>
                <a:custGeom>
                  <a:avLst/>
                  <a:gdLst>
                    <a:gd name="T0" fmla="*/ 0 w 43"/>
                    <a:gd name="T1" fmla="*/ 0 h 49"/>
                    <a:gd name="T2" fmla="*/ 43 w 43"/>
                    <a:gd name="T3" fmla="*/ 49 h 49"/>
                    <a:gd name="T4" fmla="*/ 43 w 43"/>
                    <a:gd name="T5" fmla="*/ 47 h 49"/>
                    <a:gd name="T6" fmla="*/ 3 w 43"/>
                    <a:gd name="T7" fmla="*/ 0 h 49"/>
                    <a:gd name="T8" fmla="*/ 0 w 43"/>
                    <a:gd name="T9" fmla="*/ 0 h 49"/>
                  </a:gdLst>
                  <a:ahLst/>
                  <a:cxnLst>
                    <a:cxn ang="0">
                      <a:pos x="T0" y="T1"/>
                    </a:cxn>
                    <a:cxn ang="0">
                      <a:pos x="T2" y="T3"/>
                    </a:cxn>
                    <a:cxn ang="0">
                      <a:pos x="T4" y="T5"/>
                    </a:cxn>
                    <a:cxn ang="0">
                      <a:pos x="T6" y="T7"/>
                    </a:cxn>
                    <a:cxn ang="0">
                      <a:pos x="T8" y="T9"/>
                    </a:cxn>
                  </a:cxnLst>
                  <a:rect l="0" t="0" r="r" b="b"/>
                  <a:pathLst>
                    <a:path w="43" h="49">
                      <a:moveTo>
                        <a:pt x="0" y="0"/>
                      </a:moveTo>
                      <a:lnTo>
                        <a:pt x="43" y="49"/>
                      </a:lnTo>
                      <a:lnTo>
                        <a:pt x="43" y="4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266" name="Freeform 2116"/>
                <p:cNvSpPr>
                  <a:spLocks/>
                </p:cNvSpPr>
                <p:nvPr/>
              </p:nvSpPr>
              <p:spPr bwMode="auto">
                <a:xfrm>
                  <a:off x="18039353" y="4866695"/>
                  <a:ext cx="66039" cy="69163"/>
                </a:xfrm>
                <a:custGeom>
                  <a:avLst/>
                  <a:gdLst>
                    <a:gd name="T0" fmla="*/ 0 w 40"/>
                    <a:gd name="T1" fmla="*/ 0 h 45"/>
                    <a:gd name="T2" fmla="*/ 40 w 40"/>
                    <a:gd name="T3" fmla="*/ 45 h 45"/>
                    <a:gd name="T4" fmla="*/ 40 w 40"/>
                    <a:gd name="T5" fmla="*/ 43 h 45"/>
                    <a:gd name="T6" fmla="*/ 0 w 40"/>
                    <a:gd name="T7" fmla="*/ 0 h 45"/>
                    <a:gd name="T8" fmla="*/ 0 w 40"/>
                    <a:gd name="T9" fmla="*/ 0 h 45"/>
                  </a:gdLst>
                  <a:ahLst/>
                  <a:cxnLst>
                    <a:cxn ang="0">
                      <a:pos x="T0" y="T1"/>
                    </a:cxn>
                    <a:cxn ang="0">
                      <a:pos x="T2" y="T3"/>
                    </a:cxn>
                    <a:cxn ang="0">
                      <a:pos x="T4" y="T5"/>
                    </a:cxn>
                    <a:cxn ang="0">
                      <a:pos x="T6" y="T7"/>
                    </a:cxn>
                    <a:cxn ang="0">
                      <a:pos x="T8" y="T9"/>
                    </a:cxn>
                  </a:cxnLst>
                  <a:rect l="0" t="0" r="r" b="b"/>
                  <a:pathLst>
                    <a:path w="40" h="45">
                      <a:moveTo>
                        <a:pt x="0" y="0"/>
                      </a:moveTo>
                      <a:lnTo>
                        <a:pt x="40" y="45"/>
                      </a:lnTo>
                      <a:lnTo>
                        <a:pt x="40" y="4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267" name="Freeform 2117"/>
                <p:cNvSpPr>
                  <a:spLocks/>
                </p:cNvSpPr>
                <p:nvPr/>
              </p:nvSpPr>
              <p:spPr bwMode="auto">
                <a:xfrm>
                  <a:off x="17999736" y="4894358"/>
                  <a:ext cx="79242" cy="110655"/>
                </a:xfrm>
                <a:custGeom>
                  <a:avLst/>
                  <a:gdLst>
                    <a:gd name="T0" fmla="*/ 0 w 52"/>
                    <a:gd name="T1" fmla="*/ 2 h 68"/>
                    <a:gd name="T2" fmla="*/ 52 w 52"/>
                    <a:gd name="T3" fmla="*/ 68 h 68"/>
                    <a:gd name="T4" fmla="*/ 52 w 52"/>
                    <a:gd name="T5" fmla="*/ 66 h 68"/>
                    <a:gd name="T6" fmla="*/ 0 w 52"/>
                    <a:gd name="T7" fmla="*/ 0 h 68"/>
                    <a:gd name="T8" fmla="*/ 0 w 52"/>
                    <a:gd name="T9" fmla="*/ 2 h 68"/>
                  </a:gdLst>
                  <a:ahLst/>
                  <a:cxnLst>
                    <a:cxn ang="0">
                      <a:pos x="T0" y="T1"/>
                    </a:cxn>
                    <a:cxn ang="0">
                      <a:pos x="T2" y="T3"/>
                    </a:cxn>
                    <a:cxn ang="0">
                      <a:pos x="T4" y="T5"/>
                    </a:cxn>
                    <a:cxn ang="0">
                      <a:pos x="T6" y="T7"/>
                    </a:cxn>
                    <a:cxn ang="0">
                      <a:pos x="T8" y="T9"/>
                    </a:cxn>
                  </a:cxnLst>
                  <a:rect l="0" t="0" r="r" b="b"/>
                  <a:pathLst>
                    <a:path w="52" h="68">
                      <a:moveTo>
                        <a:pt x="0" y="2"/>
                      </a:moveTo>
                      <a:lnTo>
                        <a:pt x="52" y="68"/>
                      </a:lnTo>
                      <a:lnTo>
                        <a:pt x="52" y="6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2268" name="Freeform 2118"/>
                <p:cNvSpPr>
                  <a:spLocks/>
                </p:cNvSpPr>
                <p:nvPr/>
              </p:nvSpPr>
              <p:spPr bwMode="auto">
                <a:xfrm>
                  <a:off x="17999736" y="4880531"/>
                  <a:ext cx="79242" cy="110655"/>
                </a:xfrm>
                <a:custGeom>
                  <a:avLst/>
                  <a:gdLst>
                    <a:gd name="T0" fmla="*/ 0 w 52"/>
                    <a:gd name="T1" fmla="*/ 0 h 64"/>
                    <a:gd name="T2" fmla="*/ 52 w 52"/>
                    <a:gd name="T3" fmla="*/ 64 h 64"/>
                    <a:gd name="T4" fmla="*/ 52 w 52"/>
                    <a:gd name="T5" fmla="*/ 62 h 64"/>
                    <a:gd name="T6" fmla="*/ 2 w 52"/>
                    <a:gd name="T7" fmla="*/ 0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52" y="64"/>
                      </a:lnTo>
                      <a:lnTo>
                        <a:pt x="52" y="6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269" name="Freeform 2119"/>
                <p:cNvSpPr>
                  <a:spLocks/>
                </p:cNvSpPr>
                <p:nvPr/>
              </p:nvSpPr>
              <p:spPr bwMode="auto">
                <a:xfrm>
                  <a:off x="18012939" y="4880531"/>
                  <a:ext cx="79242" cy="82991"/>
                </a:xfrm>
                <a:custGeom>
                  <a:avLst/>
                  <a:gdLst>
                    <a:gd name="T0" fmla="*/ 0 w 47"/>
                    <a:gd name="T1" fmla="*/ 0 h 56"/>
                    <a:gd name="T2" fmla="*/ 47 w 47"/>
                    <a:gd name="T3" fmla="*/ 56 h 56"/>
                    <a:gd name="T4" fmla="*/ 47 w 47"/>
                    <a:gd name="T5" fmla="*/ 54 h 56"/>
                    <a:gd name="T6" fmla="*/ 2 w 47"/>
                    <a:gd name="T7" fmla="*/ 0 h 56"/>
                    <a:gd name="T8" fmla="*/ 0 w 47"/>
                    <a:gd name="T9" fmla="*/ 0 h 56"/>
                  </a:gdLst>
                  <a:ahLst/>
                  <a:cxnLst>
                    <a:cxn ang="0">
                      <a:pos x="T0" y="T1"/>
                    </a:cxn>
                    <a:cxn ang="0">
                      <a:pos x="T2" y="T3"/>
                    </a:cxn>
                    <a:cxn ang="0">
                      <a:pos x="T4" y="T5"/>
                    </a:cxn>
                    <a:cxn ang="0">
                      <a:pos x="T6" y="T7"/>
                    </a:cxn>
                    <a:cxn ang="0">
                      <a:pos x="T8" y="T9"/>
                    </a:cxn>
                  </a:cxnLst>
                  <a:rect l="0" t="0" r="r" b="b"/>
                  <a:pathLst>
                    <a:path w="47" h="56">
                      <a:moveTo>
                        <a:pt x="0" y="0"/>
                      </a:moveTo>
                      <a:lnTo>
                        <a:pt x="47" y="56"/>
                      </a:lnTo>
                      <a:lnTo>
                        <a:pt x="47" y="5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270" name="Freeform 2120"/>
                <p:cNvSpPr>
                  <a:spLocks/>
                </p:cNvSpPr>
                <p:nvPr/>
              </p:nvSpPr>
              <p:spPr bwMode="auto">
                <a:xfrm>
                  <a:off x="17999736" y="4880531"/>
                  <a:ext cx="92444" cy="96818"/>
                </a:xfrm>
                <a:custGeom>
                  <a:avLst/>
                  <a:gdLst>
                    <a:gd name="T0" fmla="*/ 0 w 50"/>
                    <a:gd name="T1" fmla="*/ 0 h 59"/>
                    <a:gd name="T2" fmla="*/ 47 w 50"/>
                    <a:gd name="T3" fmla="*/ 59 h 59"/>
                    <a:gd name="T4" fmla="*/ 50 w 50"/>
                    <a:gd name="T5" fmla="*/ 59 h 59"/>
                    <a:gd name="T6" fmla="*/ 0 w 50"/>
                    <a:gd name="T7" fmla="*/ 0 h 59"/>
                    <a:gd name="T8" fmla="*/ 0 w 50"/>
                    <a:gd name="T9" fmla="*/ 0 h 59"/>
                  </a:gdLst>
                  <a:ahLst/>
                  <a:cxnLst>
                    <a:cxn ang="0">
                      <a:pos x="T0" y="T1"/>
                    </a:cxn>
                    <a:cxn ang="0">
                      <a:pos x="T2" y="T3"/>
                    </a:cxn>
                    <a:cxn ang="0">
                      <a:pos x="T4" y="T5"/>
                    </a:cxn>
                    <a:cxn ang="0">
                      <a:pos x="T6" y="T7"/>
                    </a:cxn>
                    <a:cxn ang="0">
                      <a:pos x="T8" y="T9"/>
                    </a:cxn>
                  </a:cxnLst>
                  <a:rect l="0" t="0" r="r" b="b"/>
                  <a:pathLst>
                    <a:path w="50" h="59">
                      <a:moveTo>
                        <a:pt x="0" y="0"/>
                      </a:moveTo>
                      <a:lnTo>
                        <a:pt x="47" y="59"/>
                      </a:lnTo>
                      <a:lnTo>
                        <a:pt x="50" y="5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2271" name="Freeform 2121"/>
                <p:cNvSpPr>
                  <a:spLocks/>
                </p:cNvSpPr>
                <p:nvPr/>
              </p:nvSpPr>
              <p:spPr bwMode="auto">
                <a:xfrm>
                  <a:off x="16454522" y="2695105"/>
                  <a:ext cx="1782938" cy="511773"/>
                </a:xfrm>
                <a:custGeom>
                  <a:avLst/>
                  <a:gdLst>
                    <a:gd name="T0" fmla="*/ 317 w 477"/>
                    <a:gd name="T1" fmla="*/ 53 h 136"/>
                    <a:gd name="T2" fmla="*/ 72 w 477"/>
                    <a:gd name="T3" fmla="*/ 97 h 136"/>
                    <a:gd name="T4" fmla="*/ 75 w 477"/>
                    <a:gd name="T5" fmla="*/ 94 h 136"/>
                    <a:gd name="T6" fmla="*/ 78 w 477"/>
                    <a:gd name="T7" fmla="*/ 93 h 136"/>
                    <a:gd name="T8" fmla="*/ 79 w 477"/>
                    <a:gd name="T9" fmla="*/ 88 h 136"/>
                    <a:gd name="T10" fmla="*/ 83 w 477"/>
                    <a:gd name="T11" fmla="*/ 90 h 136"/>
                    <a:gd name="T12" fmla="*/ 84 w 477"/>
                    <a:gd name="T13" fmla="*/ 83 h 136"/>
                    <a:gd name="T14" fmla="*/ 89 w 477"/>
                    <a:gd name="T15" fmla="*/ 87 h 136"/>
                    <a:gd name="T16" fmla="*/ 90 w 477"/>
                    <a:gd name="T17" fmla="*/ 80 h 136"/>
                    <a:gd name="T18" fmla="*/ 95 w 477"/>
                    <a:gd name="T19" fmla="*/ 84 h 136"/>
                    <a:gd name="T20" fmla="*/ 96 w 477"/>
                    <a:gd name="T21" fmla="*/ 78 h 136"/>
                    <a:gd name="T22" fmla="*/ 101 w 477"/>
                    <a:gd name="T23" fmla="*/ 81 h 136"/>
                    <a:gd name="T24" fmla="*/ 103 w 477"/>
                    <a:gd name="T25" fmla="*/ 76 h 136"/>
                    <a:gd name="T26" fmla="*/ 107 w 477"/>
                    <a:gd name="T27" fmla="*/ 79 h 136"/>
                    <a:gd name="T28" fmla="*/ 110 w 477"/>
                    <a:gd name="T29" fmla="*/ 75 h 136"/>
                    <a:gd name="T30" fmla="*/ 113 w 477"/>
                    <a:gd name="T31" fmla="*/ 76 h 136"/>
                    <a:gd name="T32" fmla="*/ 164 w 477"/>
                    <a:gd name="T33" fmla="*/ 60 h 136"/>
                    <a:gd name="T34" fmla="*/ 167 w 477"/>
                    <a:gd name="T35" fmla="*/ 59 h 136"/>
                    <a:gd name="T36" fmla="*/ 170 w 477"/>
                    <a:gd name="T37" fmla="*/ 58 h 136"/>
                    <a:gd name="T38" fmla="*/ 174 w 477"/>
                    <a:gd name="T39" fmla="*/ 58 h 136"/>
                    <a:gd name="T40" fmla="*/ 176 w 477"/>
                    <a:gd name="T41" fmla="*/ 57 h 136"/>
                    <a:gd name="T42" fmla="*/ 180 w 477"/>
                    <a:gd name="T43" fmla="*/ 57 h 136"/>
                    <a:gd name="T44" fmla="*/ 183 w 477"/>
                    <a:gd name="T45" fmla="*/ 57 h 136"/>
                    <a:gd name="T46" fmla="*/ 320 w 477"/>
                    <a:gd name="T47" fmla="*/ 66 h 136"/>
                    <a:gd name="T48" fmla="*/ 322 w 477"/>
                    <a:gd name="T49" fmla="*/ 66 h 136"/>
                    <a:gd name="T50" fmla="*/ 325 w 477"/>
                    <a:gd name="T51" fmla="*/ 67 h 136"/>
                    <a:gd name="T52" fmla="*/ 327 w 477"/>
                    <a:gd name="T53" fmla="*/ 67 h 136"/>
                    <a:gd name="T54" fmla="*/ 329 w 477"/>
                    <a:gd name="T55" fmla="*/ 69 h 136"/>
                    <a:gd name="T56" fmla="*/ 331 w 477"/>
                    <a:gd name="T57" fmla="*/ 69 h 136"/>
                    <a:gd name="T58" fmla="*/ 389 w 477"/>
                    <a:gd name="T59" fmla="*/ 97 h 136"/>
                    <a:gd name="T60" fmla="*/ 391 w 477"/>
                    <a:gd name="T61" fmla="*/ 97 h 136"/>
                    <a:gd name="T62" fmla="*/ 393 w 477"/>
                    <a:gd name="T63" fmla="*/ 99 h 136"/>
                    <a:gd name="T64" fmla="*/ 396 w 477"/>
                    <a:gd name="T65" fmla="*/ 98 h 136"/>
                    <a:gd name="T66" fmla="*/ 397 w 477"/>
                    <a:gd name="T67" fmla="*/ 101 h 136"/>
                    <a:gd name="T68" fmla="*/ 401 w 477"/>
                    <a:gd name="T69" fmla="*/ 98 h 136"/>
                    <a:gd name="T70" fmla="*/ 401 w 477"/>
                    <a:gd name="T71" fmla="*/ 104 h 136"/>
                    <a:gd name="T72" fmla="*/ 406 w 477"/>
                    <a:gd name="T73" fmla="*/ 100 h 136"/>
                    <a:gd name="T74" fmla="*/ 405 w 477"/>
                    <a:gd name="T75" fmla="*/ 106 h 136"/>
                    <a:gd name="T76" fmla="*/ 411 w 477"/>
                    <a:gd name="T77" fmla="*/ 101 h 136"/>
                    <a:gd name="T78" fmla="*/ 409 w 477"/>
                    <a:gd name="T79" fmla="*/ 109 h 136"/>
                    <a:gd name="T80" fmla="*/ 415 w 477"/>
                    <a:gd name="T81" fmla="*/ 103 h 136"/>
                    <a:gd name="T82" fmla="*/ 412 w 477"/>
                    <a:gd name="T83" fmla="*/ 112 h 136"/>
                    <a:gd name="T84" fmla="*/ 420 w 477"/>
                    <a:gd name="T85" fmla="*/ 105 h 136"/>
                    <a:gd name="T86" fmla="*/ 416 w 477"/>
                    <a:gd name="T87" fmla="*/ 115 h 136"/>
                    <a:gd name="T88" fmla="*/ 423 w 477"/>
                    <a:gd name="T89" fmla="*/ 109 h 136"/>
                    <a:gd name="T90" fmla="*/ 420 w 477"/>
                    <a:gd name="T91" fmla="*/ 117 h 136"/>
                    <a:gd name="T92" fmla="*/ 426 w 477"/>
                    <a:gd name="T93" fmla="*/ 112 h 136"/>
                    <a:gd name="T94" fmla="*/ 423 w 477"/>
                    <a:gd name="T95" fmla="*/ 120 h 136"/>
                    <a:gd name="T96" fmla="*/ 429 w 477"/>
                    <a:gd name="T97" fmla="*/ 116 h 136"/>
                    <a:gd name="T98" fmla="*/ 427 w 477"/>
                    <a:gd name="T99" fmla="*/ 123 h 136"/>
                    <a:gd name="T100" fmla="*/ 432 w 477"/>
                    <a:gd name="T101" fmla="*/ 121 h 136"/>
                    <a:gd name="T102" fmla="*/ 431 w 477"/>
                    <a:gd name="T103" fmla="*/ 126 h 136"/>
                    <a:gd name="T104" fmla="*/ 434 w 477"/>
                    <a:gd name="T105" fmla="*/ 125 h 136"/>
                    <a:gd name="T106" fmla="*/ 434 w 477"/>
                    <a:gd name="T107" fmla="*/ 129 h 136"/>
                    <a:gd name="T108" fmla="*/ 436 w 477"/>
                    <a:gd name="T109" fmla="*/ 130 h 136"/>
                    <a:gd name="T110" fmla="*/ 441 w 477"/>
                    <a:gd name="T11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7" h="136">
                      <a:moveTo>
                        <a:pt x="231" y="0"/>
                      </a:moveTo>
                      <a:cubicBezTo>
                        <a:pt x="143" y="0"/>
                        <a:pt x="63" y="31"/>
                        <a:pt x="0" y="83"/>
                      </a:cubicBezTo>
                      <a:cubicBezTo>
                        <a:pt x="10" y="95"/>
                        <a:pt x="10" y="95"/>
                        <a:pt x="10" y="95"/>
                      </a:cubicBezTo>
                      <a:cubicBezTo>
                        <a:pt x="70" y="46"/>
                        <a:pt x="147" y="16"/>
                        <a:pt x="231" y="16"/>
                      </a:cubicBezTo>
                      <a:cubicBezTo>
                        <a:pt x="263" y="16"/>
                        <a:pt x="294" y="20"/>
                        <a:pt x="324" y="29"/>
                      </a:cubicBezTo>
                      <a:cubicBezTo>
                        <a:pt x="317" y="53"/>
                        <a:pt x="317" y="53"/>
                        <a:pt x="317" y="53"/>
                      </a:cubicBezTo>
                      <a:cubicBezTo>
                        <a:pt x="290" y="45"/>
                        <a:pt x="261" y="41"/>
                        <a:pt x="231" y="41"/>
                      </a:cubicBezTo>
                      <a:cubicBezTo>
                        <a:pt x="153" y="41"/>
                        <a:pt x="82" y="69"/>
                        <a:pt x="26" y="115"/>
                      </a:cubicBezTo>
                      <a:cubicBezTo>
                        <a:pt x="34" y="124"/>
                        <a:pt x="34" y="124"/>
                        <a:pt x="34" y="124"/>
                      </a:cubicBezTo>
                      <a:cubicBezTo>
                        <a:pt x="46" y="114"/>
                        <a:pt x="58" y="105"/>
                        <a:pt x="72" y="97"/>
                      </a:cubicBezTo>
                      <a:cubicBezTo>
                        <a:pt x="72" y="97"/>
                        <a:pt x="72" y="97"/>
                        <a:pt x="72" y="97"/>
                      </a:cubicBezTo>
                      <a:cubicBezTo>
                        <a:pt x="72" y="97"/>
                        <a:pt x="72" y="97"/>
                        <a:pt x="72" y="97"/>
                      </a:cubicBezTo>
                      <a:cubicBezTo>
                        <a:pt x="72" y="97"/>
                        <a:pt x="73" y="96"/>
                        <a:pt x="73" y="96"/>
                      </a:cubicBezTo>
                      <a:cubicBezTo>
                        <a:pt x="73" y="95"/>
                        <a:pt x="73" y="95"/>
                        <a:pt x="73" y="95"/>
                      </a:cubicBezTo>
                      <a:cubicBezTo>
                        <a:pt x="73" y="95"/>
                        <a:pt x="73" y="95"/>
                        <a:pt x="73" y="95"/>
                      </a:cubicBezTo>
                      <a:cubicBezTo>
                        <a:pt x="74" y="96"/>
                        <a:pt x="74" y="96"/>
                        <a:pt x="74" y="96"/>
                      </a:cubicBezTo>
                      <a:cubicBezTo>
                        <a:pt x="74" y="95"/>
                        <a:pt x="75" y="95"/>
                        <a:pt x="75" y="95"/>
                      </a:cubicBezTo>
                      <a:cubicBezTo>
                        <a:pt x="75" y="94"/>
                        <a:pt x="75" y="94"/>
                        <a:pt x="75" y="94"/>
                      </a:cubicBezTo>
                      <a:cubicBezTo>
                        <a:pt x="75" y="93"/>
                        <a:pt x="75" y="93"/>
                        <a:pt x="75" y="93"/>
                      </a:cubicBezTo>
                      <a:cubicBezTo>
                        <a:pt x="76" y="95"/>
                        <a:pt x="76" y="95"/>
                        <a:pt x="76" y="95"/>
                      </a:cubicBezTo>
                      <a:cubicBezTo>
                        <a:pt x="76" y="94"/>
                        <a:pt x="77" y="94"/>
                        <a:pt x="77" y="94"/>
                      </a:cubicBezTo>
                      <a:cubicBezTo>
                        <a:pt x="76" y="92"/>
                        <a:pt x="76" y="92"/>
                        <a:pt x="76" y="92"/>
                      </a:cubicBezTo>
                      <a:cubicBezTo>
                        <a:pt x="76" y="91"/>
                        <a:pt x="76" y="91"/>
                        <a:pt x="76" y="91"/>
                      </a:cubicBezTo>
                      <a:cubicBezTo>
                        <a:pt x="78" y="93"/>
                        <a:pt x="78" y="93"/>
                        <a:pt x="78" y="93"/>
                      </a:cubicBezTo>
                      <a:cubicBezTo>
                        <a:pt x="78" y="93"/>
                        <a:pt x="79" y="93"/>
                        <a:pt x="79" y="93"/>
                      </a:cubicBezTo>
                      <a:cubicBezTo>
                        <a:pt x="78" y="90"/>
                        <a:pt x="78" y="90"/>
                        <a:pt x="78" y="90"/>
                      </a:cubicBezTo>
                      <a:cubicBezTo>
                        <a:pt x="78" y="90"/>
                        <a:pt x="78" y="90"/>
                        <a:pt x="78" y="90"/>
                      </a:cubicBezTo>
                      <a:cubicBezTo>
                        <a:pt x="80" y="92"/>
                        <a:pt x="80" y="92"/>
                        <a:pt x="80" y="92"/>
                      </a:cubicBezTo>
                      <a:cubicBezTo>
                        <a:pt x="80" y="92"/>
                        <a:pt x="81" y="92"/>
                        <a:pt x="81" y="92"/>
                      </a:cubicBezTo>
                      <a:cubicBezTo>
                        <a:pt x="79" y="88"/>
                        <a:pt x="79" y="88"/>
                        <a:pt x="79" y="88"/>
                      </a:cubicBezTo>
                      <a:cubicBezTo>
                        <a:pt x="80" y="88"/>
                        <a:pt x="80" y="88"/>
                        <a:pt x="80" y="88"/>
                      </a:cubicBezTo>
                      <a:cubicBezTo>
                        <a:pt x="82" y="91"/>
                        <a:pt x="82" y="91"/>
                        <a:pt x="82" y="91"/>
                      </a:cubicBezTo>
                      <a:cubicBezTo>
                        <a:pt x="82" y="91"/>
                        <a:pt x="82" y="91"/>
                        <a:pt x="83" y="91"/>
                      </a:cubicBezTo>
                      <a:cubicBezTo>
                        <a:pt x="81" y="87"/>
                        <a:pt x="81" y="87"/>
                        <a:pt x="81" y="87"/>
                      </a:cubicBezTo>
                      <a:cubicBezTo>
                        <a:pt x="81" y="86"/>
                        <a:pt x="81" y="86"/>
                        <a:pt x="81" y="86"/>
                      </a:cubicBezTo>
                      <a:cubicBezTo>
                        <a:pt x="83" y="90"/>
                        <a:pt x="83" y="90"/>
                        <a:pt x="83" y="90"/>
                      </a:cubicBezTo>
                      <a:cubicBezTo>
                        <a:pt x="84" y="90"/>
                        <a:pt x="84" y="90"/>
                        <a:pt x="85" y="89"/>
                      </a:cubicBezTo>
                      <a:cubicBezTo>
                        <a:pt x="82" y="85"/>
                        <a:pt x="82" y="85"/>
                        <a:pt x="82" y="85"/>
                      </a:cubicBezTo>
                      <a:cubicBezTo>
                        <a:pt x="83" y="84"/>
                        <a:pt x="83" y="84"/>
                        <a:pt x="83" y="84"/>
                      </a:cubicBezTo>
                      <a:cubicBezTo>
                        <a:pt x="85" y="89"/>
                        <a:pt x="85" y="89"/>
                        <a:pt x="85" y="89"/>
                      </a:cubicBezTo>
                      <a:cubicBezTo>
                        <a:pt x="86" y="89"/>
                        <a:pt x="86" y="89"/>
                        <a:pt x="87" y="88"/>
                      </a:cubicBezTo>
                      <a:cubicBezTo>
                        <a:pt x="84" y="83"/>
                        <a:pt x="84" y="83"/>
                        <a:pt x="84" y="83"/>
                      </a:cubicBezTo>
                      <a:cubicBezTo>
                        <a:pt x="85" y="83"/>
                        <a:pt x="85" y="83"/>
                        <a:pt x="85" y="83"/>
                      </a:cubicBezTo>
                      <a:cubicBezTo>
                        <a:pt x="87" y="88"/>
                        <a:pt x="87" y="88"/>
                        <a:pt x="87" y="88"/>
                      </a:cubicBezTo>
                      <a:cubicBezTo>
                        <a:pt x="88" y="88"/>
                        <a:pt x="88" y="88"/>
                        <a:pt x="89" y="87"/>
                      </a:cubicBezTo>
                      <a:cubicBezTo>
                        <a:pt x="86" y="82"/>
                        <a:pt x="86" y="82"/>
                        <a:pt x="86" y="82"/>
                      </a:cubicBezTo>
                      <a:cubicBezTo>
                        <a:pt x="86" y="82"/>
                        <a:pt x="86" y="82"/>
                        <a:pt x="86" y="82"/>
                      </a:cubicBezTo>
                      <a:cubicBezTo>
                        <a:pt x="89" y="87"/>
                        <a:pt x="89" y="87"/>
                        <a:pt x="89" y="87"/>
                      </a:cubicBezTo>
                      <a:cubicBezTo>
                        <a:pt x="90" y="87"/>
                        <a:pt x="90" y="87"/>
                        <a:pt x="91" y="86"/>
                      </a:cubicBezTo>
                      <a:cubicBezTo>
                        <a:pt x="88" y="81"/>
                        <a:pt x="88" y="81"/>
                        <a:pt x="88" y="81"/>
                      </a:cubicBezTo>
                      <a:cubicBezTo>
                        <a:pt x="88" y="80"/>
                        <a:pt x="88" y="80"/>
                        <a:pt x="88" y="80"/>
                      </a:cubicBezTo>
                      <a:cubicBezTo>
                        <a:pt x="91" y="86"/>
                        <a:pt x="91" y="86"/>
                        <a:pt x="91" y="86"/>
                      </a:cubicBezTo>
                      <a:cubicBezTo>
                        <a:pt x="92" y="86"/>
                        <a:pt x="92" y="86"/>
                        <a:pt x="93" y="85"/>
                      </a:cubicBezTo>
                      <a:cubicBezTo>
                        <a:pt x="90" y="80"/>
                        <a:pt x="90" y="80"/>
                        <a:pt x="90" y="80"/>
                      </a:cubicBezTo>
                      <a:cubicBezTo>
                        <a:pt x="90" y="79"/>
                        <a:pt x="90" y="79"/>
                        <a:pt x="90" y="79"/>
                      </a:cubicBezTo>
                      <a:cubicBezTo>
                        <a:pt x="93" y="85"/>
                        <a:pt x="93" y="85"/>
                        <a:pt x="93" y="85"/>
                      </a:cubicBezTo>
                      <a:cubicBezTo>
                        <a:pt x="94" y="85"/>
                        <a:pt x="94" y="85"/>
                        <a:pt x="95" y="84"/>
                      </a:cubicBezTo>
                      <a:cubicBezTo>
                        <a:pt x="92" y="79"/>
                        <a:pt x="92" y="79"/>
                        <a:pt x="92" y="79"/>
                      </a:cubicBezTo>
                      <a:cubicBezTo>
                        <a:pt x="92" y="79"/>
                        <a:pt x="92" y="79"/>
                        <a:pt x="92" y="79"/>
                      </a:cubicBezTo>
                      <a:cubicBezTo>
                        <a:pt x="95" y="84"/>
                        <a:pt x="95" y="84"/>
                        <a:pt x="95" y="84"/>
                      </a:cubicBezTo>
                      <a:cubicBezTo>
                        <a:pt x="96" y="84"/>
                        <a:pt x="96" y="84"/>
                        <a:pt x="97" y="83"/>
                      </a:cubicBezTo>
                      <a:cubicBezTo>
                        <a:pt x="94" y="78"/>
                        <a:pt x="94" y="78"/>
                        <a:pt x="94" y="78"/>
                      </a:cubicBezTo>
                      <a:cubicBezTo>
                        <a:pt x="95" y="78"/>
                        <a:pt x="95" y="78"/>
                        <a:pt x="95" y="78"/>
                      </a:cubicBezTo>
                      <a:cubicBezTo>
                        <a:pt x="97" y="83"/>
                        <a:pt x="97" y="83"/>
                        <a:pt x="97" y="83"/>
                      </a:cubicBezTo>
                      <a:cubicBezTo>
                        <a:pt x="98" y="83"/>
                        <a:pt x="98" y="83"/>
                        <a:pt x="99" y="83"/>
                      </a:cubicBezTo>
                      <a:cubicBezTo>
                        <a:pt x="96" y="78"/>
                        <a:pt x="96" y="78"/>
                        <a:pt x="96" y="78"/>
                      </a:cubicBezTo>
                      <a:cubicBezTo>
                        <a:pt x="97" y="78"/>
                        <a:pt x="97" y="78"/>
                        <a:pt x="97" y="78"/>
                      </a:cubicBezTo>
                      <a:cubicBezTo>
                        <a:pt x="99" y="82"/>
                        <a:pt x="99" y="82"/>
                        <a:pt x="99" y="82"/>
                      </a:cubicBezTo>
                      <a:cubicBezTo>
                        <a:pt x="100" y="82"/>
                        <a:pt x="100" y="82"/>
                        <a:pt x="101" y="82"/>
                      </a:cubicBezTo>
                      <a:cubicBezTo>
                        <a:pt x="99" y="77"/>
                        <a:pt x="99" y="77"/>
                        <a:pt x="99" y="77"/>
                      </a:cubicBezTo>
                      <a:cubicBezTo>
                        <a:pt x="99" y="77"/>
                        <a:pt x="99" y="77"/>
                        <a:pt x="99" y="77"/>
                      </a:cubicBezTo>
                      <a:cubicBezTo>
                        <a:pt x="101" y="81"/>
                        <a:pt x="101" y="81"/>
                        <a:pt x="101" y="81"/>
                      </a:cubicBezTo>
                      <a:cubicBezTo>
                        <a:pt x="102" y="81"/>
                        <a:pt x="102" y="81"/>
                        <a:pt x="103" y="81"/>
                      </a:cubicBezTo>
                      <a:cubicBezTo>
                        <a:pt x="101" y="77"/>
                        <a:pt x="101" y="77"/>
                        <a:pt x="101" y="77"/>
                      </a:cubicBezTo>
                      <a:cubicBezTo>
                        <a:pt x="101" y="77"/>
                        <a:pt x="101" y="77"/>
                        <a:pt x="101" y="77"/>
                      </a:cubicBezTo>
                      <a:cubicBezTo>
                        <a:pt x="103" y="80"/>
                        <a:pt x="103" y="80"/>
                        <a:pt x="103" y="80"/>
                      </a:cubicBezTo>
                      <a:cubicBezTo>
                        <a:pt x="104" y="80"/>
                        <a:pt x="104" y="80"/>
                        <a:pt x="105" y="80"/>
                      </a:cubicBezTo>
                      <a:cubicBezTo>
                        <a:pt x="103" y="76"/>
                        <a:pt x="103" y="76"/>
                        <a:pt x="103" y="76"/>
                      </a:cubicBezTo>
                      <a:cubicBezTo>
                        <a:pt x="104" y="76"/>
                        <a:pt x="104" y="76"/>
                        <a:pt x="104" y="76"/>
                      </a:cubicBezTo>
                      <a:cubicBezTo>
                        <a:pt x="105" y="80"/>
                        <a:pt x="105" y="80"/>
                        <a:pt x="105" y="80"/>
                      </a:cubicBezTo>
                      <a:cubicBezTo>
                        <a:pt x="106" y="79"/>
                        <a:pt x="106" y="79"/>
                        <a:pt x="107" y="79"/>
                      </a:cubicBezTo>
                      <a:cubicBezTo>
                        <a:pt x="105" y="76"/>
                        <a:pt x="105" y="76"/>
                        <a:pt x="105" y="76"/>
                      </a:cubicBezTo>
                      <a:cubicBezTo>
                        <a:pt x="106" y="76"/>
                        <a:pt x="106" y="76"/>
                        <a:pt x="106" y="76"/>
                      </a:cubicBezTo>
                      <a:cubicBezTo>
                        <a:pt x="107" y="79"/>
                        <a:pt x="107" y="79"/>
                        <a:pt x="107" y="79"/>
                      </a:cubicBezTo>
                      <a:cubicBezTo>
                        <a:pt x="108" y="78"/>
                        <a:pt x="108" y="78"/>
                        <a:pt x="109" y="78"/>
                      </a:cubicBezTo>
                      <a:cubicBezTo>
                        <a:pt x="108" y="76"/>
                        <a:pt x="108" y="76"/>
                        <a:pt x="108" y="76"/>
                      </a:cubicBezTo>
                      <a:cubicBezTo>
                        <a:pt x="108" y="76"/>
                        <a:pt x="108" y="76"/>
                        <a:pt x="108" y="76"/>
                      </a:cubicBezTo>
                      <a:cubicBezTo>
                        <a:pt x="109" y="78"/>
                        <a:pt x="109" y="78"/>
                        <a:pt x="109" y="78"/>
                      </a:cubicBezTo>
                      <a:cubicBezTo>
                        <a:pt x="110" y="78"/>
                        <a:pt x="110" y="77"/>
                        <a:pt x="111" y="77"/>
                      </a:cubicBezTo>
                      <a:cubicBezTo>
                        <a:pt x="110" y="75"/>
                        <a:pt x="110" y="75"/>
                        <a:pt x="110" y="75"/>
                      </a:cubicBezTo>
                      <a:cubicBezTo>
                        <a:pt x="111" y="75"/>
                        <a:pt x="111" y="75"/>
                        <a:pt x="111" y="75"/>
                      </a:cubicBezTo>
                      <a:cubicBezTo>
                        <a:pt x="111" y="77"/>
                        <a:pt x="111" y="77"/>
                        <a:pt x="111" y="77"/>
                      </a:cubicBezTo>
                      <a:cubicBezTo>
                        <a:pt x="112" y="77"/>
                        <a:pt x="112" y="76"/>
                        <a:pt x="113" y="76"/>
                      </a:cubicBezTo>
                      <a:cubicBezTo>
                        <a:pt x="112" y="75"/>
                        <a:pt x="112" y="75"/>
                        <a:pt x="112" y="75"/>
                      </a:cubicBezTo>
                      <a:cubicBezTo>
                        <a:pt x="113" y="75"/>
                        <a:pt x="113" y="75"/>
                        <a:pt x="113" y="75"/>
                      </a:cubicBezTo>
                      <a:cubicBezTo>
                        <a:pt x="113" y="76"/>
                        <a:pt x="113" y="76"/>
                        <a:pt x="113" y="76"/>
                      </a:cubicBezTo>
                      <a:cubicBezTo>
                        <a:pt x="114" y="76"/>
                        <a:pt x="114" y="76"/>
                        <a:pt x="115" y="75"/>
                      </a:cubicBezTo>
                      <a:cubicBezTo>
                        <a:pt x="115" y="75"/>
                        <a:pt x="115" y="75"/>
                        <a:pt x="115" y="75"/>
                      </a:cubicBezTo>
                      <a:cubicBezTo>
                        <a:pt x="115" y="75"/>
                        <a:pt x="115" y="75"/>
                        <a:pt x="115" y="75"/>
                      </a:cubicBezTo>
                      <a:cubicBezTo>
                        <a:pt x="115" y="75"/>
                        <a:pt x="115" y="75"/>
                        <a:pt x="115" y="75"/>
                      </a:cubicBezTo>
                      <a:cubicBezTo>
                        <a:pt x="131" y="69"/>
                        <a:pt x="147" y="64"/>
                        <a:pt x="163" y="60"/>
                      </a:cubicBezTo>
                      <a:cubicBezTo>
                        <a:pt x="164" y="60"/>
                        <a:pt x="164" y="60"/>
                        <a:pt x="164" y="60"/>
                      </a:cubicBezTo>
                      <a:cubicBezTo>
                        <a:pt x="164" y="60"/>
                        <a:pt x="164" y="60"/>
                        <a:pt x="164" y="60"/>
                      </a:cubicBezTo>
                      <a:cubicBezTo>
                        <a:pt x="164" y="60"/>
                        <a:pt x="165" y="60"/>
                        <a:pt x="165" y="60"/>
                      </a:cubicBezTo>
                      <a:cubicBezTo>
                        <a:pt x="165" y="60"/>
                        <a:pt x="165" y="60"/>
                        <a:pt x="165" y="60"/>
                      </a:cubicBezTo>
                      <a:cubicBezTo>
                        <a:pt x="166" y="60"/>
                        <a:pt x="166" y="60"/>
                        <a:pt x="166" y="60"/>
                      </a:cubicBezTo>
                      <a:cubicBezTo>
                        <a:pt x="166" y="60"/>
                        <a:pt x="166" y="60"/>
                        <a:pt x="166" y="60"/>
                      </a:cubicBezTo>
                      <a:cubicBezTo>
                        <a:pt x="166" y="60"/>
                        <a:pt x="167" y="60"/>
                        <a:pt x="167" y="59"/>
                      </a:cubicBezTo>
                      <a:cubicBezTo>
                        <a:pt x="167" y="59"/>
                        <a:pt x="167" y="59"/>
                        <a:pt x="167" y="59"/>
                      </a:cubicBezTo>
                      <a:cubicBezTo>
                        <a:pt x="168" y="59"/>
                        <a:pt x="168" y="59"/>
                        <a:pt x="168" y="59"/>
                      </a:cubicBezTo>
                      <a:cubicBezTo>
                        <a:pt x="168" y="59"/>
                        <a:pt x="168" y="59"/>
                        <a:pt x="168" y="59"/>
                      </a:cubicBezTo>
                      <a:cubicBezTo>
                        <a:pt x="168" y="59"/>
                        <a:pt x="169" y="59"/>
                        <a:pt x="170" y="59"/>
                      </a:cubicBezTo>
                      <a:cubicBezTo>
                        <a:pt x="169" y="59"/>
                        <a:pt x="169" y="59"/>
                        <a:pt x="169" y="59"/>
                      </a:cubicBezTo>
                      <a:cubicBezTo>
                        <a:pt x="170" y="58"/>
                        <a:pt x="170" y="58"/>
                        <a:pt x="170" y="58"/>
                      </a:cubicBezTo>
                      <a:cubicBezTo>
                        <a:pt x="170" y="59"/>
                        <a:pt x="170" y="59"/>
                        <a:pt x="170" y="59"/>
                      </a:cubicBezTo>
                      <a:cubicBezTo>
                        <a:pt x="171" y="59"/>
                        <a:pt x="171" y="59"/>
                        <a:pt x="172" y="59"/>
                      </a:cubicBezTo>
                      <a:cubicBezTo>
                        <a:pt x="172" y="58"/>
                        <a:pt x="172" y="58"/>
                        <a:pt x="172" y="58"/>
                      </a:cubicBezTo>
                      <a:cubicBezTo>
                        <a:pt x="172" y="58"/>
                        <a:pt x="172" y="58"/>
                        <a:pt x="172" y="58"/>
                      </a:cubicBezTo>
                      <a:cubicBezTo>
                        <a:pt x="172" y="58"/>
                        <a:pt x="172" y="58"/>
                        <a:pt x="172" y="58"/>
                      </a:cubicBezTo>
                      <a:cubicBezTo>
                        <a:pt x="173" y="58"/>
                        <a:pt x="173" y="58"/>
                        <a:pt x="174" y="58"/>
                      </a:cubicBezTo>
                      <a:cubicBezTo>
                        <a:pt x="174" y="58"/>
                        <a:pt x="174" y="58"/>
                        <a:pt x="174" y="58"/>
                      </a:cubicBezTo>
                      <a:cubicBezTo>
                        <a:pt x="174" y="57"/>
                        <a:pt x="174" y="57"/>
                        <a:pt x="174" y="57"/>
                      </a:cubicBezTo>
                      <a:cubicBezTo>
                        <a:pt x="174" y="58"/>
                        <a:pt x="174" y="58"/>
                        <a:pt x="174" y="58"/>
                      </a:cubicBezTo>
                      <a:cubicBezTo>
                        <a:pt x="175" y="58"/>
                        <a:pt x="175" y="58"/>
                        <a:pt x="176" y="58"/>
                      </a:cubicBezTo>
                      <a:cubicBezTo>
                        <a:pt x="176" y="57"/>
                        <a:pt x="176" y="57"/>
                        <a:pt x="176" y="57"/>
                      </a:cubicBezTo>
                      <a:cubicBezTo>
                        <a:pt x="176" y="57"/>
                        <a:pt x="176" y="57"/>
                        <a:pt x="176" y="57"/>
                      </a:cubicBezTo>
                      <a:cubicBezTo>
                        <a:pt x="177" y="58"/>
                        <a:pt x="177" y="58"/>
                        <a:pt x="177" y="58"/>
                      </a:cubicBezTo>
                      <a:cubicBezTo>
                        <a:pt x="177" y="58"/>
                        <a:pt x="178" y="57"/>
                        <a:pt x="178" y="57"/>
                      </a:cubicBezTo>
                      <a:cubicBezTo>
                        <a:pt x="178" y="57"/>
                        <a:pt x="178" y="57"/>
                        <a:pt x="178" y="57"/>
                      </a:cubicBezTo>
                      <a:cubicBezTo>
                        <a:pt x="179" y="57"/>
                        <a:pt x="179" y="57"/>
                        <a:pt x="179" y="57"/>
                      </a:cubicBezTo>
                      <a:cubicBezTo>
                        <a:pt x="179" y="57"/>
                        <a:pt x="179" y="57"/>
                        <a:pt x="179" y="57"/>
                      </a:cubicBezTo>
                      <a:cubicBezTo>
                        <a:pt x="179" y="57"/>
                        <a:pt x="180" y="57"/>
                        <a:pt x="180" y="57"/>
                      </a:cubicBezTo>
                      <a:cubicBezTo>
                        <a:pt x="180" y="57"/>
                        <a:pt x="180" y="57"/>
                        <a:pt x="180" y="57"/>
                      </a:cubicBezTo>
                      <a:cubicBezTo>
                        <a:pt x="181" y="57"/>
                        <a:pt x="181" y="57"/>
                        <a:pt x="181" y="57"/>
                      </a:cubicBezTo>
                      <a:cubicBezTo>
                        <a:pt x="181" y="57"/>
                        <a:pt x="181" y="57"/>
                        <a:pt x="181" y="57"/>
                      </a:cubicBezTo>
                      <a:cubicBezTo>
                        <a:pt x="181" y="57"/>
                        <a:pt x="182" y="57"/>
                        <a:pt x="183" y="57"/>
                      </a:cubicBezTo>
                      <a:cubicBezTo>
                        <a:pt x="183" y="57"/>
                        <a:pt x="183" y="57"/>
                        <a:pt x="183" y="57"/>
                      </a:cubicBezTo>
                      <a:cubicBezTo>
                        <a:pt x="183" y="57"/>
                        <a:pt x="183" y="57"/>
                        <a:pt x="183" y="57"/>
                      </a:cubicBezTo>
                      <a:cubicBezTo>
                        <a:pt x="198" y="54"/>
                        <a:pt x="215" y="53"/>
                        <a:pt x="231" y="53"/>
                      </a:cubicBezTo>
                      <a:cubicBezTo>
                        <a:pt x="261" y="53"/>
                        <a:pt x="291" y="57"/>
                        <a:pt x="319" y="66"/>
                      </a:cubicBezTo>
                      <a:cubicBezTo>
                        <a:pt x="319" y="65"/>
                        <a:pt x="319" y="65"/>
                        <a:pt x="319" y="65"/>
                      </a:cubicBezTo>
                      <a:cubicBezTo>
                        <a:pt x="319" y="65"/>
                        <a:pt x="319" y="65"/>
                        <a:pt x="319" y="65"/>
                      </a:cubicBezTo>
                      <a:cubicBezTo>
                        <a:pt x="319" y="66"/>
                        <a:pt x="319" y="66"/>
                        <a:pt x="319" y="66"/>
                      </a:cubicBezTo>
                      <a:cubicBezTo>
                        <a:pt x="319" y="66"/>
                        <a:pt x="320" y="66"/>
                        <a:pt x="320" y="66"/>
                      </a:cubicBezTo>
                      <a:cubicBezTo>
                        <a:pt x="320" y="65"/>
                        <a:pt x="320" y="65"/>
                        <a:pt x="320" y="65"/>
                      </a:cubicBezTo>
                      <a:cubicBezTo>
                        <a:pt x="321" y="65"/>
                        <a:pt x="321" y="65"/>
                        <a:pt x="321" y="65"/>
                      </a:cubicBezTo>
                      <a:cubicBezTo>
                        <a:pt x="321" y="66"/>
                        <a:pt x="321" y="66"/>
                        <a:pt x="321" y="66"/>
                      </a:cubicBezTo>
                      <a:cubicBezTo>
                        <a:pt x="321" y="66"/>
                        <a:pt x="321" y="66"/>
                        <a:pt x="322" y="66"/>
                      </a:cubicBezTo>
                      <a:cubicBezTo>
                        <a:pt x="322" y="66"/>
                        <a:pt x="322" y="66"/>
                        <a:pt x="322" y="66"/>
                      </a:cubicBezTo>
                      <a:cubicBezTo>
                        <a:pt x="322" y="66"/>
                        <a:pt x="322" y="66"/>
                        <a:pt x="322" y="66"/>
                      </a:cubicBezTo>
                      <a:cubicBezTo>
                        <a:pt x="322" y="67"/>
                        <a:pt x="322" y="67"/>
                        <a:pt x="322" y="67"/>
                      </a:cubicBezTo>
                      <a:cubicBezTo>
                        <a:pt x="322" y="67"/>
                        <a:pt x="323" y="67"/>
                        <a:pt x="323" y="67"/>
                      </a:cubicBezTo>
                      <a:cubicBezTo>
                        <a:pt x="323" y="66"/>
                        <a:pt x="323" y="66"/>
                        <a:pt x="323" y="66"/>
                      </a:cubicBezTo>
                      <a:cubicBezTo>
                        <a:pt x="324" y="66"/>
                        <a:pt x="324" y="66"/>
                        <a:pt x="324" y="66"/>
                      </a:cubicBezTo>
                      <a:cubicBezTo>
                        <a:pt x="323" y="67"/>
                        <a:pt x="323" y="67"/>
                        <a:pt x="323" y="67"/>
                      </a:cubicBezTo>
                      <a:cubicBezTo>
                        <a:pt x="324" y="67"/>
                        <a:pt x="324" y="67"/>
                        <a:pt x="325" y="67"/>
                      </a:cubicBezTo>
                      <a:cubicBezTo>
                        <a:pt x="325" y="66"/>
                        <a:pt x="325" y="66"/>
                        <a:pt x="325" y="66"/>
                      </a:cubicBezTo>
                      <a:cubicBezTo>
                        <a:pt x="325" y="67"/>
                        <a:pt x="325" y="67"/>
                        <a:pt x="325" y="67"/>
                      </a:cubicBezTo>
                      <a:cubicBezTo>
                        <a:pt x="325" y="68"/>
                        <a:pt x="325" y="68"/>
                        <a:pt x="325" y="68"/>
                      </a:cubicBezTo>
                      <a:cubicBezTo>
                        <a:pt x="325" y="68"/>
                        <a:pt x="326" y="68"/>
                        <a:pt x="326" y="68"/>
                      </a:cubicBezTo>
                      <a:cubicBezTo>
                        <a:pt x="326" y="67"/>
                        <a:pt x="326" y="67"/>
                        <a:pt x="326" y="67"/>
                      </a:cubicBezTo>
                      <a:cubicBezTo>
                        <a:pt x="327" y="67"/>
                        <a:pt x="327" y="67"/>
                        <a:pt x="327" y="67"/>
                      </a:cubicBezTo>
                      <a:cubicBezTo>
                        <a:pt x="326" y="68"/>
                        <a:pt x="326" y="68"/>
                        <a:pt x="326" y="68"/>
                      </a:cubicBezTo>
                      <a:cubicBezTo>
                        <a:pt x="327" y="68"/>
                        <a:pt x="327" y="68"/>
                        <a:pt x="328" y="68"/>
                      </a:cubicBezTo>
                      <a:cubicBezTo>
                        <a:pt x="328" y="68"/>
                        <a:pt x="328" y="68"/>
                        <a:pt x="328" y="68"/>
                      </a:cubicBezTo>
                      <a:cubicBezTo>
                        <a:pt x="328" y="68"/>
                        <a:pt x="328" y="68"/>
                        <a:pt x="328" y="68"/>
                      </a:cubicBezTo>
                      <a:cubicBezTo>
                        <a:pt x="328" y="68"/>
                        <a:pt x="328" y="68"/>
                        <a:pt x="328" y="68"/>
                      </a:cubicBezTo>
                      <a:cubicBezTo>
                        <a:pt x="328" y="69"/>
                        <a:pt x="329" y="69"/>
                        <a:pt x="329" y="69"/>
                      </a:cubicBezTo>
                      <a:cubicBezTo>
                        <a:pt x="329" y="68"/>
                        <a:pt x="329" y="68"/>
                        <a:pt x="329" y="68"/>
                      </a:cubicBezTo>
                      <a:cubicBezTo>
                        <a:pt x="330" y="68"/>
                        <a:pt x="330" y="68"/>
                        <a:pt x="330" y="68"/>
                      </a:cubicBezTo>
                      <a:cubicBezTo>
                        <a:pt x="329" y="69"/>
                        <a:pt x="329" y="69"/>
                        <a:pt x="329" y="69"/>
                      </a:cubicBezTo>
                      <a:cubicBezTo>
                        <a:pt x="330" y="69"/>
                        <a:pt x="330" y="69"/>
                        <a:pt x="330" y="69"/>
                      </a:cubicBezTo>
                      <a:cubicBezTo>
                        <a:pt x="331" y="69"/>
                        <a:pt x="331" y="69"/>
                        <a:pt x="331" y="69"/>
                      </a:cubicBezTo>
                      <a:cubicBezTo>
                        <a:pt x="331" y="69"/>
                        <a:pt x="331" y="69"/>
                        <a:pt x="331" y="69"/>
                      </a:cubicBezTo>
                      <a:cubicBezTo>
                        <a:pt x="331" y="69"/>
                        <a:pt x="331" y="69"/>
                        <a:pt x="331" y="69"/>
                      </a:cubicBezTo>
                      <a:cubicBezTo>
                        <a:pt x="331" y="70"/>
                        <a:pt x="332" y="70"/>
                        <a:pt x="332" y="70"/>
                      </a:cubicBezTo>
                      <a:cubicBezTo>
                        <a:pt x="332" y="70"/>
                        <a:pt x="332" y="70"/>
                        <a:pt x="332" y="70"/>
                      </a:cubicBezTo>
                      <a:cubicBezTo>
                        <a:pt x="332" y="70"/>
                        <a:pt x="332" y="70"/>
                        <a:pt x="332" y="70"/>
                      </a:cubicBezTo>
                      <a:cubicBezTo>
                        <a:pt x="332" y="70"/>
                        <a:pt x="332" y="70"/>
                        <a:pt x="332" y="70"/>
                      </a:cubicBezTo>
                      <a:cubicBezTo>
                        <a:pt x="352" y="77"/>
                        <a:pt x="371" y="86"/>
                        <a:pt x="389" y="97"/>
                      </a:cubicBezTo>
                      <a:cubicBezTo>
                        <a:pt x="389" y="96"/>
                        <a:pt x="389" y="96"/>
                        <a:pt x="389" y="96"/>
                      </a:cubicBezTo>
                      <a:cubicBezTo>
                        <a:pt x="390" y="96"/>
                        <a:pt x="390" y="96"/>
                        <a:pt x="390" y="96"/>
                      </a:cubicBezTo>
                      <a:cubicBezTo>
                        <a:pt x="390" y="97"/>
                        <a:pt x="390" y="97"/>
                        <a:pt x="390" y="97"/>
                      </a:cubicBezTo>
                      <a:cubicBezTo>
                        <a:pt x="390" y="97"/>
                        <a:pt x="390" y="97"/>
                        <a:pt x="391" y="97"/>
                      </a:cubicBezTo>
                      <a:cubicBezTo>
                        <a:pt x="391" y="97"/>
                        <a:pt x="391" y="97"/>
                        <a:pt x="391" y="97"/>
                      </a:cubicBezTo>
                      <a:cubicBezTo>
                        <a:pt x="391" y="97"/>
                        <a:pt x="391" y="97"/>
                        <a:pt x="391" y="97"/>
                      </a:cubicBezTo>
                      <a:cubicBezTo>
                        <a:pt x="391" y="98"/>
                        <a:pt x="391" y="98"/>
                        <a:pt x="391" y="98"/>
                      </a:cubicBezTo>
                      <a:cubicBezTo>
                        <a:pt x="391" y="98"/>
                        <a:pt x="392" y="98"/>
                        <a:pt x="392" y="98"/>
                      </a:cubicBezTo>
                      <a:cubicBezTo>
                        <a:pt x="393" y="97"/>
                        <a:pt x="393" y="97"/>
                        <a:pt x="393" y="97"/>
                      </a:cubicBezTo>
                      <a:cubicBezTo>
                        <a:pt x="393" y="97"/>
                        <a:pt x="393" y="97"/>
                        <a:pt x="393" y="97"/>
                      </a:cubicBezTo>
                      <a:cubicBezTo>
                        <a:pt x="392" y="98"/>
                        <a:pt x="392" y="98"/>
                        <a:pt x="392" y="98"/>
                      </a:cubicBezTo>
                      <a:cubicBezTo>
                        <a:pt x="393" y="99"/>
                        <a:pt x="393" y="99"/>
                        <a:pt x="393" y="99"/>
                      </a:cubicBezTo>
                      <a:cubicBezTo>
                        <a:pt x="394" y="97"/>
                        <a:pt x="394" y="97"/>
                        <a:pt x="394" y="97"/>
                      </a:cubicBezTo>
                      <a:cubicBezTo>
                        <a:pt x="395" y="97"/>
                        <a:pt x="395" y="97"/>
                        <a:pt x="395" y="97"/>
                      </a:cubicBezTo>
                      <a:cubicBezTo>
                        <a:pt x="393" y="99"/>
                        <a:pt x="393" y="99"/>
                        <a:pt x="393" y="99"/>
                      </a:cubicBezTo>
                      <a:cubicBezTo>
                        <a:pt x="394" y="99"/>
                        <a:pt x="394" y="100"/>
                        <a:pt x="394" y="100"/>
                      </a:cubicBezTo>
                      <a:cubicBezTo>
                        <a:pt x="396" y="98"/>
                        <a:pt x="396" y="98"/>
                        <a:pt x="396" y="98"/>
                      </a:cubicBezTo>
                      <a:cubicBezTo>
                        <a:pt x="396" y="98"/>
                        <a:pt x="396" y="98"/>
                        <a:pt x="396" y="98"/>
                      </a:cubicBezTo>
                      <a:cubicBezTo>
                        <a:pt x="395" y="100"/>
                        <a:pt x="395" y="100"/>
                        <a:pt x="395" y="100"/>
                      </a:cubicBezTo>
                      <a:cubicBezTo>
                        <a:pt x="395" y="100"/>
                        <a:pt x="395" y="100"/>
                        <a:pt x="396" y="101"/>
                      </a:cubicBezTo>
                      <a:cubicBezTo>
                        <a:pt x="398" y="98"/>
                        <a:pt x="398" y="98"/>
                        <a:pt x="398" y="98"/>
                      </a:cubicBezTo>
                      <a:cubicBezTo>
                        <a:pt x="398" y="98"/>
                        <a:pt x="398" y="98"/>
                        <a:pt x="398" y="98"/>
                      </a:cubicBezTo>
                      <a:cubicBezTo>
                        <a:pt x="396" y="101"/>
                        <a:pt x="396" y="101"/>
                        <a:pt x="396" y="101"/>
                      </a:cubicBezTo>
                      <a:cubicBezTo>
                        <a:pt x="396" y="101"/>
                        <a:pt x="397" y="101"/>
                        <a:pt x="397" y="101"/>
                      </a:cubicBezTo>
                      <a:cubicBezTo>
                        <a:pt x="399" y="98"/>
                        <a:pt x="399" y="98"/>
                        <a:pt x="399" y="98"/>
                      </a:cubicBezTo>
                      <a:cubicBezTo>
                        <a:pt x="400" y="98"/>
                        <a:pt x="400" y="98"/>
                        <a:pt x="400" y="98"/>
                      </a:cubicBezTo>
                      <a:cubicBezTo>
                        <a:pt x="397" y="102"/>
                        <a:pt x="397" y="102"/>
                        <a:pt x="397" y="102"/>
                      </a:cubicBezTo>
                      <a:cubicBezTo>
                        <a:pt x="398" y="102"/>
                        <a:pt x="398" y="102"/>
                        <a:pt x="398" y="102"/>
                      </a:cubicBezTo>
                      <a:cubicBezTo>
                        <a:pt x="401" y="98"/>
                        <a:pt x="401" y="98"/>
                        <a:pt x="401" y="98"/>
                      </a:cubicBezTo>
                      <a:cubicBezTo>
                        <a:pt x="401" y="98"/>
                        <a:pt x="401" y="98"/>
                        <a:pt x="401" y="98"/>
                      </a:cubicBezTo>
                      <a:cubicBezTo>
                        <a:pt x="399" y="102"/>
                        <a:pt x="399" y="102"/>
                        <a:pt x="399" y="102"/>
                      </a:cubicBezTo>
                      <a:cubicBezTo>
                        <a:pt x="399" y="103"/>
                        <a:pt x="399" y="103"/>
                        <a:pt x="400" y="103"/>
                      </a:cubicBezTo>
                      <a:cubicBezTo>
                        <a:pt x="402" y="99"/>
                        <a:pt x="402" y="99"/>
                        <a:pt x="402" y="99"/>
                      </a:cubicBezTo>
                      <a:cubicBezTo>
                        <a:pt x="403" y="99"/>
                        <a:pt x="403" y="99"/>
                        <a:pt x="403" y="99"/>
                      </a:cubicBezTo>
                      <a:cubicBezTo>
                        <a:pt x="400" y="103"/>
                        <a:pt x="400" y="103"/>
                        <a:pt x="400" y="103"/>
                      </a:cubicBezTo>
                      <a:cubicBezTo>
                        <a:pt x="400" y="103"/>
                        <a:pt x="401" y="104"/>
                        <a:pt x="401" y="104"/>
                      </a:cubicBezTo>
                      <a:cubicBezTo>
                        <a:pt x="404" y="99"/>
                        <a:pt x="404" y="99"/>
                        <a:pt x="404" y="99"/>
                      </a:cubicBezTo>
                      <a:cubicBezTo>
                        <a:pt x="405" y="99"/>
                        <a:pt x="405" y="99"/>
                        <a:pt x="405" y="99"/>
                      </a:cubicBezTo>
                      <a:cubicBezTo>
                        <a:pt x="401" y="104"/>
                        <a:pt x="401" y="104"/>
                        <a:pt x="401" y="104"/>
                      </a:cubicBezTo>
                      <a:cubicBezTo>
                        <a:pt x="402" y="104"/>
                        <a:pt x="402" y="105"/>
                        <a:pt x="402" y="105"/>
                      </a:cubicBezTo>
                      <a:cubicBezTo>
                        <a:pt x="406" y="99"/>
                        <a:pt x="406" y="99"/>
                        <a:pt x="406" y="99"/>
                      </a:cubicBezTo>
                      <a:cubicBezTo>
                        <a:pt x="406" y="100"/>
                        <a:pt x="406" y="100"/>
                        <a:pt x="406" y="100"/>
                      </a:cubicBezTo>
                      <a:cubicBezTo>
                        <a:pt x="403" y="105"/>
                        <a:pt x="403" y="105"/>
                        <a:pt x="403" y="105"/>
                      </a:cubicBezTo>
                      <a:cubicBezTo>
                        <a:pt x="403" y="105"/>
                        <a:pt x="403" y="105"/>
                        <a:pt x="404" y="106"/>
                      </a:cubicBezTo>
                      <a:cubicBezTo>
                        <a:pt x="407" y="100"/>
                        <a:pt x="407" y="100"/>
                        <a:pt x="407" y="100"/>
                      </a:cubicBezTo>
                      <a:cubicBezTo>
                        <a:pt x="408" y="100"/>
                        <a:pt x="408" y="100"/>
                        <a:pt x="408" y="100"/>
                      </a:cubicBezTo>
                      <a:cubicBezTo>
                        <a:pt x="404" y="106"/>
                        <a:pt x="404" y="106"/>
                        <a:pt x="404" y="106"/>
                      </a:cubicBezTo>
                      <a:cubicBezTo>
                        <a:pt x="404" y="106"/>
                        <a:pt x="404" y="106"/>
                        <a:pt x="405" y="106"/>
                      </a:cubicBezTo>
                      <a:cubicBezTo>
                        <a:pt x="409" y="100"/>
                        <a:pt x="409" y="100"/>
                        <a:pt x="409" y="100"/>
                      </a:cubicBezTo>
                      <a:cubicBezTo>
                        <a:pt x="409" y="100"/>
                        <a:pt x="409" y="100"/>
                        <a:pt x="409" y="100"/>
                      </a:cubicBezTo>
                      <a:cubicBezTo>
                        <a:pt x="405" y="107"/>
                        <a:pt x="405" y="107"/>
                        <a:pt x="405" y="107"/>
                      </a:cubicBezTo>
                      <a:cubicBezTo>
                        <a:pt x="405" y="107"/>
                        <a:pt x="406" y="107"/>
                        <a:pt x="406" y="107"/>
                      </a:cubicBezTo>
                      <a:cubicBezTo>
                        <a:pt x="411" y="101"/>
                        <a:pt x="411" y="101"/>
                        <a:pt x="411" y="101"/>
                      </a:cubicBezTo>
                      <a:cubicBezTo>
                        <a:pt x="411" y="101"/>
                        <a:pt x="411" y="101"/>
                        <a:pt x="411" y="101"/>
                      </a:cubicBezTo>
                      <a:cubicBezTo>
                        <a:pt x="406" y="108"/>
                        <a:pt x="406" y="108"/>
                        <a:pt x="406" y="108"/>
                      </a:cubicBezTo>
                      <a:cubicBezTo>
                        <a:pt x="407" y="108"/>
                        <a:pt x="407" y="108"/>
                        <a:pt x="407" y="108"/>
                      </a:cubicBezTo>
                      <a:cubicBezTo>
                        <a:pt x="412" y="101"/>
                        <a:pt x="412" y="101"/>
                        <a:pt x="412" y="101"/>
                      </a:cubicBezTo>
                      <a:cubicBezTo>
                        <a:pt x="412" y="102"/>
                        <a:pt x="412" y="102"/>
                        <a:pt x="412" y="102"/>
                      </a:cubicBezTo>
                      <a:cubicBezTo>
                        <a:pt x="408" y="108"/>
                        <a:pt x="408" y="108"/>
                        <a:pt x="408" y="108"/>
                      </a:cubicBezTo>
                      <a:cubicBezTo>
                        <a:pt x="408" y="109"/>
                        <a:pt x="408" y="109"/>
                        <a:pt x="409" y="109"/>
                      </a:cubicBezTo>
                      <a:cubicBezTo>
                        <a:pt x="414" y="102"/>
                        <a:pt x="414" y="102"/>
                        <a:pt x="414" y="102"/>
                      </a:cubicBezTo>
                      <a:cubicBezTo>
                        <a:pt x="414" y="102"/>
                        <a:pt x="414" y="102"/>
                        <a:pt x="414" y="102"/>
                      </a:cubicBezTo>
                      <a:cubicBezTo>
                        <a:pt x="409" y="109"/>
                        <a:pt x="409" y="109"/>
                        <a:pt x="409" y="109"/>
                      </a:cubicBezTo>
                      <a:cubicBezTo>
                        <a:pt x="409" y="110"/>
                        <a:pt x="410" y="110"/>
                        <a:pt x="410" y="110"/>
                      </a:cubicBezTo>
                      <a:cubicBezTo>
                        <a:pt x="415" y="103"/>
                        <a:pt x="415" y="103"/>
                        <a:pt x="415" y="103"/>
                      </a:cubicBezTo>
                      <a:cubicBezTo>
                        <a:pt x="415" y="103"/>
                        <a:pt x="415" y="103"/>
                        <a:pt x="415" y="103"/>
                      </a:cubicBezTo>
                      <a:cubicBezTo>
                        <a:pt x="410" y="110"/>
                        <a:pt x="410" y="110"/>
                        <a:pt x="410" y="110"/>
                      </a:cubicBezTo>
                      <a:cubicBezTo>
                        <a:pt x="411" y="110"/>
                        <a:pt x="411" y="111"/>
                        <a:pt x="411" y="111"/>
                      </a:cubicBezTo>
                      <a:cubicBezTo>
                        <a:pt x="416" y="103"/>
                        <a:pt x="416" y="103"/>
                        <a:pt x="416" y="103"/>
                      </a:cubicBezTo>
                      <a:cubicBezTo>
                        <a:pt x="417" y="104"/>
                        <a:pt x="417" y="104"/>
                        <a:pt x="417" y="104"/>
                      </a:cubicBezTo>
                      <a:cubicBezTo>
                        <a:pt x="411" y="111"/>
                        <a:pt x="411" y="111"/>
                        <a:pt x="411" y="111"/>
                      </a:cubicBezTo>
                      <a:cubicBezTo>
                        <a:pt x="412" y="111"/>
                        <a:pt x="412" y="112"/>
                        <a:pt x="412" y="112"/>
                      </a:cubicBezTo>
                      <a:cubicBezTo>
                        <a:pt x="418" y="104"/>
                        <a:pt x="418" y="104"/>
                        <a:pt x="418" y="104"/>
                      </a:cubicBezTo>
                      <a:cubicBezTo>
                        <a:pt x="418" y="104"/>
                        <a:pt x="418" y="104"/>
                        <a:pt x="418" y="104"/>
                      </a:cubicBezTo>
                      <a:cubicBezTo>
                        <a:pt x="413" y="112"/>
                        <a:pt x="413" y="112"/>
                        <a:pt x="413" y="112"/>
                      </a:cubicBezTo>
                      <a:cubicBezTo>
                        <a:pt x="413" y="112"/>
                        <a:pt x="413" y="112"/>
                        <a:pt x="414" y="113"/>
                      </a:cubicBezTo>
                      <a:cubicBezTo>
                        <a:pt x="419" y="105"/>
                        <a:pt x="419" y="105"/>
                        <a:pt x="419" y="105"/>
                      </a:cubicBezTo>
                      <a:cubicBezTo>
                        <a:pt x="420" y="105"/>
                        <a:pt x="420" y="105"/>
                        <a:pt x="420" y="105"/>
                      </a:cubicBezTo>
                      <a:cubicBezTo>
                        <a:pt x="414" y="113"/>
                        <a:pt x="414" y="113"/>
                        <a:pt x="414" y="113"/>
                      </a:cubicBezTo>
                      <a:cubicBezTo>
                        <a:pt x="414" y="113"/>
                        <a:pt x="415" y="113"/>
                        <a:pt x="415" y="114"/>
                      </a:cubicBezTo>
                      <a:cubicBezTo>
                        <a:pt x="420" y="106"/>
                        <a:pt x="420" y="106"/>
                        <a:pt x="420" y="106"/>
                      </a:cubicBezTo>
                      <a:cubicBezTo>
                        <a:pt x="421" y="106"/>
                        <a:pt x="421" y="106"/>
                        <a:pt x="421" y="106"/>
                      </a:cubicBezTo>
                      <a:cubicBezTo>
                        <a:pt x="415" y="114"/>
                        <a:pt x="415" y="114"/>
                        <a:pt x="415" y="114"/>
                      </a:cubicBezTo>
                      <a:cubicBezTo>
                        <a:pt x="415" y="114"/>
                        <a:pt x="416" y="114"/>
                        <a:pt x="416" y="115"/>
                      </a:cubicBezTo>
                      <a:cubicBezTo>
                        <a:pt x="422" y="107"/>
                        <a:pt x="422" y="107"/>
                        <a:pt x="422" y="107"/>
                      </a:cubicBezTo>
                      <a:cubicBezTo>
                        <a:pt x="422" y="107"/>
                        <a:pt x="422" y="107"/>
                        <a:pt x="422" y="107"/>
                      </a:cubicBezTo>
                      <a:cubicBezTo>
                        <a:pt x="416" y="115"/>
                        <a:pt x="416" y="115"/>
                        <a:pt x="416" y="115"/>
                      </a:cubicBezTo>
                      <a:cubicBezTo>
                        <a:pt x="417" y="115"/>
                        <a:pt x="417" y="115"/>
                        <a:pt x="417" y="116"/>
                      </a:cubicBezTo>
                      <a:cubicBezTo>
                        <a:pt x="423" y="108"/>
                        <a:pt x="423" y="108"/>
                        <a:pt x="423" y="108"/>
                      </a:cubicBezTo>
                      <a:cubicBezTo>
                        <a:pt x="423" y="109"/>
                        <a:pt x="423" y="109"/>
                        <a:pt x="423" y="109"/>
                      </a:cubicBezTo>
                      <a:cubicBezTo>
                        <a:pt x="418" y="116"/>
                        <a:pt x="418" y="116"/>
                        <a:pt x="418" y="116"/>
                      </a:cubicBezTo>
                      <a:cubicBezTo>
                        <a:pt x="418" y="116"/>
                        <a:pt x="418" y="116"/>
                        <a:pt x="419" y="116"/>
                      </a:cubicBezTo>
                      <a:cubicBezTo>
                        <a:pt x="424" y="109"/>
                        <a:pt x="424" y="109"/>
                        <a:pt x="424" y="109"/>
                      </a:cubicBezTo>
                      <a:cubicBezTo>
                        <a:pt x="424" y="110"/>
                        <a:pt x="424" y="110"/>
                        <a:pt x="424" y="110"/>
                      </a:cubicBezTo>
                      <a:cubicBezTo>
                        <a:pt x="419" y="117"/>
                        <a:pt x="419" y="117"/>
                        <a:pt x="419" y="117"/>
                      </a:cubicBezTo>
                      <a:cubicBezTo>
                        <a:pt x="419" y="117"/>
                        <a:pt x="420" y="117"/>
                        <a:pt x="420" y="117"/>
                      </a:cubicBezTo>
                      <a:cubicBezTo>
                        <a:pt x="425" y="111"/>
                        <a:pt x="425" y="111"/>
                        <a:pt x="425" y="111"/>
                      </a:cubicBezTo>
                      <a:cubicBezTo>
                        <a:pt x="425" y="111"/>
                        <a:pt x="425" y="111"/>
                        <a:pt x="425" y="111"/>
                      </a:cubicBezTo>
                      <a:cubicBezTo>
                        <a:pt x="420" y="118"/>
                        <a:pt x="420" y="118"/>
                        <a:pt x="420" y="118"/>
                      </a:cubicBezTo>
                      <a:cubicBezTo>
                        <a:pt x="420" y="118"/>
                        <a:pt x="421" y="118"/>
                        <a:pt x="421" y="118"/>
                      </a:cubicBezTo>
                      <a:cubicBezTo>
                        <a:pt x="426" y="112"/>
                        <a:pt x="426" y="112"/>
                        <a:pt x="426" y="112"/>
                      </a:cubicBezTo>
                      <a:cubicBezTo>
                        <a:pt x="426" y="112"/>
                        <a:pt x="426" y="112"/>
                        <a:pt x="426" y="112"/>
                      </a:cubicBezTo>
                      <a:cubicBezTo>
                        <a:pt x="421" y="119"/>
                        <a:pt x="421" y="119"/>
                        <a:pt x="421" y="119"/>
                      </a:cubicBezTo>
                      <a:cubicBezTo>
                        <a:pt x="422" y="119"/>
                        <a:pt x="422" y="119"/>
                        <a:pt x="422" y="119"/>
                      </a:cubicBezTo>
                      <a:cubicBezTo>
                        <a:pt x="427" y="113"/>
                        <a:pt x="427" y="113"/>
                        <a:pt x="427" y="113"/>
                      </a:cubicBezTo>
                      <a:cubicBezTo>
                        <a:pt x="427" y="114"/>
                        <a:pt x="427" y="114"/>
                        <a:pt x="427" y="114"/>
                      </a:cubicBezTo>
                      <a:cubicBezTo>
                        <a:pt x="423" y="120"/>
                        <a:pt x="423" y="120"/>
                        <a:pt x="423" y="120"/>
                      </a:cubicBezTo>
                      <a:cubicBezTo>
                        <a:pt x="423" y="120"/>
                        <a:pt x="423" y="120"/>
                        <a:pt x="423" y="120"/>
                      </a:cubicBezTo>
                      <a:cubicBezTo>
                        <a:pt x="428" y="115"/>
                        <a:pt x="428" y="115"/>
                        <a:pt x="428" y="115"/>
                      </a:cubicBezTo>
                      <a:cubicBezTo>
                        <a:pt x="428" y="115"/>
                        <a:pt x="428" y="115"/>
                        <a:pt x="428" y="115"/>
                      </a:cubicBezTo>
                      <a:cubicBezTo>
                        <a:pt x="424" y="120"/>
                        <a:pt x="424" y="120"/>
                        <a:pt x="424" y="120"/>
                      </a:cubicBezTo>
                      <a:cubicBezTo>
                        <a:pt x="424" y="121"/>
                        <a:pt x="424" y="121"/>
                        <a:pt x="425" y="121"/>
                      </a:cubicBezTo>
                      <a:cubicBezTo>
                        <a:pt x="429" y="116"/>
                        <a:pt x="429" y="116"/>
                        <a:pt x="429" y="116"/>
                      </a:cubicBezTo>
                      <a:cubicBezTo>
                        <a:pt x="429" y="116"/>
                        <a:pt x="429" y="116"/>
                        <a:pt x="429" y="116"/>
                      </a:cubicBezTo>
                      <a:cubicBezTo>
                        <a:pt x="425" y="121"/>
                        <a:pt x="425" y="121"/>
                        <a:pt x="425" y="121"/>
                      </a:cubicBezTo>
                      <a:cubicBezTo>
                        <a:pt x="425" y="122"/>
                        <a:pt x="426" y="122"/>
                        <a:pt x="426" y="122"/>
                      </a:cubicBezTo>
                      <a:cubicBezTo>
                        <a:pt x="430" y="117"/>
                        <a:pt x="430" y="117"/>
                        <a:pt x="430" y="117"/>
                      </a:cubicBezTo>
                      <a:cubicBezTo>
                        <a:pt x="430" y="118"/>
                        <a:pt x="430" y="118"/>
                        <a:pt x="430" y="118"/>
                      </a:cubicBezTo>
                      <a:cubicBezTo>
                        <a:pt x="426" y="122"/>
                        <a:pt x="426" y="122"/>
                        <a:pt x="426" y="122"/>
                      </a:cubicBezTo>
                      <a:cubicBezTo>
                        <a:pt x="426" y="123"/>
                        <a:pt x="427" y="123"/>
                        <a:pt x="427" y="123"/>
                      </a:cubicBezTo>
                      <a:cubicBezTo>
                        <a:pt x="430" y="119"/>
                        <a:pt x="430" y="119"/>
                        <a:pt x="430" y="119"/>
                      </a:cubicBezTo>
                      <a:cubicBezTo>
                        <a:pt x="431" y="119"/>
                        <a:pt x="431" y="119"/>
                        <a:pt x="431" y="119"/>
                      </a:cubicBezTo>
                      <a:cubicBezTo>
                        <a:pt x="427" y="123"/>
                        <a:pt x="427" y="123"/>
                        <a:pt x="427" y="123"/>
                      </a:cubicBezTo>
                      <a:cubicBezTo>
                        <a:pt x="428" y="124"/>
                        <a:pt x="428" y="124"/>
                        <a:pt x="428" y="124"/>
                      </a:cubicBezTo>
                      <a:cubicBezTo>
                        <a:pt x="431" y="120"/>
                        <a:pt x="431" y="120"/>
                        <a:pt x="431" y="120"/>
                      </a:cubicBezTo>
                      <a:cubicBezTo>
                        <a:pt x="432" y="121"/>
                        <a:pt x="432" y="121"/>
                        <a:pt x="432" y="121"/>
                      </a:cubicBezTo>
                      <a:cubicBezTo>
                        <a:pt x="429" y="124"/>
                        <a:pt x="429" y="124"/>
                        <a:pt x="429" y="124"/>
                      </a:cubicBezTo>
                      <a:cubicBezTo>
                        <a:pt x="429" y="125"/>
                        <a:pt x="429" y="125"/>
                        <a:pt x="429" y="125"/>
                      </a:cubicBezTo>
                      <a:cubicBezTo>
                        <a:pt x="432" y="122"/>
                        <a:pt x="432" y="122"/>
                        <a:pt x="432" y="122"/>
                      </a:cubicBezTo>
                      <a:cubicBezTo>
                        <a:pt x="432" y="122"/>
                        <a:pt x="432" y="122"/>
                        <a:pt x="432" y="122"/>
                      </a:cubicBezTo>
                      <a:cubicBezTo>
                        <a:pt x="430" y="125"/>
                        <a:pt x="430" y="125"/>
                        <a:pt x="430" y="125"/>
                      </a:cubicBezTo>
                      <a:cubicBezTo>
                        <a:pt x="430" y="126"/>
                        <a:pt x="430" y="126"/>
                        <a:pt x="431" y="126"/>
                      </a:cubicBezTo>
                      <a:cubicBezTo>
                        <a:pt x="433" y="123"/>
                        <a:pt x="433" y="123"/>
                        <a:pt x="433" y="123"/>
                      </a:cubicBezTo>
                      <a:cubicBezTo>
                        <a:pt x="433" y="124"/>
                        <a:pt x="433" y="124"/>
                        <a:pt x="433" y="124"/>
                      </a:cubicBezTo>
                      <a:cubicBezTo>
                        <a:pt x="431" y="126"/>
                        <a:pt x="431" y="126"/>
                        <a:pt x="431" y="126"/>
                      </a:cubicBezTo>
                      <a:cubicBezTo>
                        <a:pt x="431" y="127"/>
                        <a:pt x="431" y="127"/>
                        <a:pt x="432" y="127"/>
                      </a:cubicBezTo>
                      <a:cubicBezTo>
                        <a:pt x="434" y="125"/>
                        <a:pt x="434" y="125"/>
                        <a:pt x="434" y="125"/>
                      </a:cubicBezTo>
                      <a:cubicBezTo>
                        <a:pt x="434" y="125"/>
                        <a:pt x="434" y="125"/>
                        <a:pt x="434" y="125"/>
                      </a:cubicBezTo>
                      <a:cubicBezTo>
                        <a:pt x="432" y="127"/>
                        <a:pt x="432" y="127"/>
                        <a:pt x="432" y="127"/>
                      </a:cubicBezTo>
                      <a:cubicBezTo>
                        <a:pt x="432" y="128"/>
                        <a:pt x="433" y="128"/>
                        <a:pt x="433" y="128"/>
                      </a:cubicBezTo>
                      <a:cubicBezTo>
                        <a:pt x="434" y="126"/>
                        <a:pt x="434" y="126"/>
                        <a:pt x="434" y="126"/>
                      </a:cubicBezTo>
                      <a:cubicBezTo>
                        <a:pt x="435" y="127"/>
                        <a:pt x="435" y="127"/>
                        <a:pt x="435" y="127"/>
                      </a:cubicBezTo>
                      <a:cubicBezTo>
                        <a:pt x="433" y="128"/>
                        <a:pt x="433" y="128"/>
                        <a:pt x="433" y="128"/>
                      </a:cubicBezTo>
                      <a:cubicBezTo>
                        <a:pt x="434" y="129"/>
                        <a:pt x="434" y="129"/>
                        <a:pt x="434" y="129"/>
                      </a:cubicBezTo>
                      <a:cubicBezTo>
                        <a:pt x="435" y="128"/>
                        <a:pt x="435" y="128"/>
                        <a:pt x="435" y="128"/>
                      </a:cubicBezTo>
                      <a:cubicBezTo>
                        <a:pt x="435" y="128"/>
                        <a:pt x="435" y="128"/>
                        <a:pt x="435" y="128"/>
                      </a:cubicBezTo>
                      <a:cubicBezTo>
                        <a:pt x="434" y="129"/>
                        <a:pt x="434" y="129"/>
                        <a:pt x="434" y="129"/>
                      </a:cubicBezTo>
                      <a:cubicBezTo>
                        <a:pt x="435" y="130"/>
                        <a:pt x="435" y="130"/>
                        <a:pt x="435" y="130"/>
                      </a:cubicBezTo>
                      <a:cubicBezTo>
                        <a:pt x="436" y="129"/>
                        <a:pt x="436" y="129"/>
                        <a:pt x="436" y="129"/>
                      </a:cubicBezTo>
                      <a:cubicBezTo>
                        <a:pt x="436" y="130"/>
                        <a:pt x="436" y="130"/>
                        <a:pt x="436" y="130"/>
                      </a:cubicBezTo>
                      <a:cubicBezTo>
                        <a:pt x="436" y="130"/>
                        <a:pt x="436" y="130"/>
                        <a:pt x="436" y="130"/>
                      </a:cubicBezTo>
                      <a:cubicBezTo>
                        <a:pt x="436" y="131"/>
                        <a:pt x="436" y="131"/>
                        <a:pt x="436" y="131"/>
                      </a:cubicBezTo>
                      <a:cubicBezTo>
                        <a:pt x="437" y="131"/>
                        <a:pt x="437" y="131"/>
                        <a:pt x="437" y="131"/>
                      </a:cubicBezTo>
                      <a:cubicBezTo>
                        <a:pt x="437" y="131"/>
                        <a:pt x="437" y="131"/>
                        <a:pt x="437" y="131"/>
                      </a:cubicBezTo>
                      <a:cubicBezTo>
                        <a:pt x="437" y="131"/>
                        <a:pt x="437" y="131"/>
                        <a:pt x="437" y="131"/>
                      </a:cubicBezTo>
                      <a:cubicBezTo>
                        <a:pt x="438" y="133"/>
                        <a:pt x="440" y="134"/>
                        <a:pt x="441" y="136"/>
                      </a:cubicBezTo>
                      <a:cubicBezTo>
                        <a:pt x="477" y="97"/>
                        <a:pt x="477" y="97"/>
                        <a:pt x="477" y="97"/>
                      </a:cubicBezTo>
                      <a:cubicBezTo>
                        <a:pt x="413" y="36"/>
                        <a:pt x="326" y="0"/>
                        <a:pt x="231" y="0"/>
                      </a:cubicBezTo>
                    </a:path>
                  </a:pathLst>
                </a:custGeom>
                <a:solidFill>
                  <a:srgbClr val="01AAE5"/>
                </a:solidFill>
                <a:ln>
                  <a:noFill/>
                </a:ln>
                <a:extLst/>
              </p:spPr>
              <p:txBody>
                <a:bodyPr/>
                <a:lstStyle/>
                <a:p>
                  <a:pPr eaLnBrk="1" hangingPunct="1">
                    <a:defRPr/>
                  </a:pPr>
                  <a:endParaRPr lang="zh-CN" altLang="en-US" sz="1050"/>
                </a:p>
              </p:txBody>
            </p:sp>
            <p:sp>
              <p:nvSpPr>
                <p:cNvPr id="2272" name="Freeform 2122"/>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73" name="Freeform 2123"/>
                <p:cNvSpPr>
                  <a:spLocks/>
                </p:cNvSpPr>
                <p:nvPr/>
              </p:nvSpPr>
              <p:spPr bwMode="auto">
                <a:xfrm>
                  <a:off x="17656356" y="2944077"/>
                  <a:ext cx="13203"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74" name="Freeform 2124"/>
                <p:cNvSpPr>
                  <a:spLocks/>
                </p:cNvSpPr>
                <p:nvPr/>
              </p:nvSpPr>
              <p:spPr bwMode="auto">
                <a:xfrm>
                  <a:off x="17669559" y="2944077"/>
                  <a:ext cx="0" cy="0"/>
                </a:xfrm>
                <a:custGeom>
                  <a:avLst/>
                  <a:gdLst>
                    <a:gd name="T0" fmla="*/ 0 h 2"/>
                    <a:gd name="T1" fmla="*/ 1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1"/>
                        <a:pt x="0" y="1"/>
                        <a:pt x="0" y="1"/>
                      </a:cubicBezTo>
                      <a:cubicBezTo>
                        <a:pt x="0" y="1"/>
                        <a:pt x="0" y="1"/>
                        <a:pt x="0" y="2"/>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75" name="Freeform 2125"/>
                <p:cNvSpPr>
                  <a:spLocks/>
                </p:cNvSpPr>
                <p:nvPr/>
              </p:nvSpPr>
              <p:spPr bwMode="auto">
                <a:xfrm>
                  <a:off x="17669559" y="2944077"/>
                  <a:ext cx="13211"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76" name="Oval 2126"/>
                <p:cNvSpPr>
                  <a:spLocks noChangeArrowheads="1"/>
                </p:cNvSpPr>
                <p:nvPr/>
              </p:nvSpPr>
              <p:spPr bwMode="auto">
                <a:xfrm>
                  <a:off x="17682770" y="2944077"/>
                  <a:ext cx="0" cy="0"/>
                </a:xfrm>
                <a:prstGeom prst="ellipse">
                  <a:avLst/>
                </a:prstGeom>
                <a:solidFill>
                  <a:srgbClr val="02E3FC"/>
                </a:solidFill>
                <a:ln>
                  <a:noFill/>
                </a:ln>
                <a:extLst/>
              </p:spPr>
              <p:txBody>
                <a:bodyPr/>
                <a:lstStyle/>
                <a:p>
                  <a:pPr eaLnBrk="1" hangingPunct="1">
                    <a:defRPr/>
                  </a:pPr>
                  <a:endParaRPr lang="zh-CN" altLang="en-US" sz="1050"/>
                </a:p>
              </p:txBody>
            </p:sp>
            <p:sp>
              <p:nvSpPr>
                <p:cNvPr id="2277" name="Oval 2127"/>
                <p:cNvSpPr>
                  <a:spLocks noChangeArrowheads="1"/>
                </p:cNvSpPr>
                <p:nvPr/>
              </p:nvSpPr>
              <p:spPr bwMode="auto">
                <a:xfrm>
                  <a:off x="17682770" y="2957905"/>
                  <a:ext cx="13203" cy="0"/>
                </a:xfrm>
                <a:prstGeom prst="ellipse">
                  <a:avLst/>
                </a:prstGeom>
                <a:solidFill>
                  <a:srgbClr val="02E3FC"/>
                </a:solidFill>
                <a:ln>
                  <a:noFill/>
                </a:ln>
                <a:extLst/>
              </p:spPr>
              <p:txBody>
                <a:bodyPr/>
                <a:lstStyle/>
                <a:p>
                  <a:pPr eaLnBrk="1" hangingPunct="1">
                    <a:defRPr/>
                  </a:pPr>
                  <a:endParaRPr lang="zh-CN" altLang="en-US" sz="1050"/>
                </a:p>
              </p:txBody>
            </p:sp>
            <p:sp>
              <p:nvSpPr>
                <p:cNvPr id="2278" name="Freeform 2128"/>
                <p:cNvSpPr>
                  <a:spLocks/>
                </p:cNvSpPr>
                <p:nvPr/>
              </p:nvSpPr>
              <p:spPr bwMode="auto">
                <a:xfrm>
                  <a:off x="17682770" y="2944077"/>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279" name="Freeform 2129"/>
                <p:cNvSpPr>
                  <a:spLocks/>
                </p:cNvSpPr>
                <p:nvPr/>
              </p:nvSpPr>
              <p:spPr bwMode="auto">
                <a:xfrm>
                  <a:off x="17682770" y="2944077"/>
                  <a:ext cx="0"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80" name="Freeform 2130"/>
                <p:cNvSpPr>
                  <a:spLocks/>
                </p:cNvSpPr>
                <p:nvPr/>
              </p:nvSpPr>
              <p:spPr bwMode="auto">
                <a:xfrm>
                  <a:off x="17656356" y="2944077"/>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81" name="Freeform 2131"/>
                <p:cNvSpPr>
                  <a:spLocks/>
                </p:cNvSpPr>
                <p:nvPr/>
              </p:nvSpPr>
              <p:spPr bwMode="auto">
                <a:xfrm>
                  <a:off x="17643145" y="2944077"/>
                  <a:ext cx="0" cy="0"/>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82" name="Freeform 2132"/>
                <p:cNvSpPr>
                  <a:spLocks/>
                </p:cNvSpPr>
                <p:nvPr/>
              </p:nvSpPr>
              <p:spPr bwMode="auto">
                <a:xfrm>
                  <a:off x="17643145" y="2944077"/>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283" name="Freeform 2133"/>
                <p:cNvSpPr>
                  <a:spLocks/>
                </p:cNvSpPr>
                <p:nvPr/>
              </p:nvSpPr>
              <p:spPr bwMode="auto">
                <a:xfrm>
                  <a:off x="18012939" y="3096223"/>
                  <a:ext cx="26414" cy="41500"/>
                </a:xfrm>
                <a:custGeom>
                  <a:avLst/>
                  <a:gdLst>
                    <a:gd name="T0" fmla="*/ 5 w 5"/>
                    <a:gd name="T1" fmla="*/ 0 h 8"/>
                    <a:gd name="T2" fmla="*/ 0 w 5"/>
                    <a:gd name="T3" fmla="*/ 7 h 8"/>
                    <a:gd name="T4" fmla="*/ 0 w 5"/>
                    <a:gd name="T5" fmla="*/ 8 h 8"/>
                    <a:gd name="T6" fmla="*/ 5 w 5"/>
                    <a:gd name="T7" fmla="*/ 1 h 8"/>
                    <a:gd name="T8" fmla="*/ 5 w 5"/>
                    <a:gd name="T9" fmla="*/ 0 h 8"/>
                  </a:gdLst>
                  <a:ahLst/>
                  <a:cxnLst>
                    <a:cxn ang="0">
                      <a:pos x="T0" y="T1"/>
                    </a:cxn>
                    <a:cxn ang="0">
                      <a:pos x="T2" y="T3"/>
                    </a:cxn>
                    <a:cxn ang="0">
                      <a:pos x="T4" y="T5"/>
                    </a:cxn>
                    <a:cxn ang="0">
                      <a:pos x="T6" y="T7"/>
                    </a:cxn>
                    <a:cxn ang="0">
                      <a:pos x="T8" y="T9"/>
                    </a:cxn>
                  </a:cxnLst>
                  <a:rect l="0" t="0" r="r" b="b"/>
                  <a:pathLst>
                    <a:path w="5" h="8">
                      <a:moveTo>
                        <a:pt x="5" y="0"/>
                      </a:moveTo>
                      <a:cubicBezTo>
                        <a:pt x="0" y="7"/>
                        <a:pt x="0" y="7"/>
                        <a:pt x="0" y="7"/>
                      </a:cubicBezTo>
                      <a:cubicBezTo>
                        <a:pt x="0" y="8"/>
                        <a:pt x="0" y="8"/>
                        <a:pt x="0" y="8"/>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84" name="Freeform 2134"/>
                <p:cNvSpPr>
                  <a:spLocks/>
                </p:cNvSpPr>
                <p:nvPr/>
              </p:nvSpPr>
              <p:spPr bwMode="auto">
                <a:xfrm>
                  <a:off x="18065767" y="3165386"/>
                  <a:ext cx="13211" cy="13827"/>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0" y="2"/>
                        <a:pt x="0" y="2"/>
                        <a:pt x="0"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285" name="Freeform 2135"/>
                <p:cNvSpPr>
                  <a:spLocks/>
                </p:cNvSpPr>
                <p:nvPr/>
              </p:nvSpPr>
              <p:spPr bwMode="auto">
                <a:xfrm>
                  <a:off x="18065767" y="3151550"/>
                  <a:ext cx="13211" cy="13836"/>
                </a:xfrm>
                <a:custGeom>
                  <a:avLst/>
                  <a:gdLst>
                    <a:gd name="T0" fmla="*/ 2 w 2"/>
                    <a:gd name="T1" fmla="*/ 0 h 3"/>
                    <a:gd name="T2" fmla="*/ 0 w 2"/>
                    <a:gd name="T3" fmla="*/ 3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1"/>
                        <a:pt x="2" y="1"/>
                        <a:pt x="2" y="1"/>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286" name="Freeform 2136"/>
                <p:cNvSpPr>
                  <a:spLocks/>
                </p:cNvSpPr>
                <p:nvPr/>
              </p:nvSpPr>
              <p:spPr bwMode="auto">
                <a:xfrm>
                  <a:off x="18092180" y="3179214"/>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287" name="Freeform 2137"/>
                <p:cNvSpPr>
                  <a:spLocks/>
                </p:cNvSpPr>
                <p:nvPr/>
              </p:nvSpPr>
              <p:spPr bwMode="auto">
                <a:xfrm>
                  <a:off x="18078978" y="3179214"/>
                  <a:ext cx="13203"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288" name="Freeform 2138"/>
                <p:cNvSpPr>
                  <a:spLocks/>
                </p:cNvSpPr>
                <p:nvPr/>
              </p:nvSpPr>
              <p:spPr bwMode="auto">
                <a:xfrm>
                  <a:off x="18052564" y="3151550"/>
                  <a:ext cx="13203" cy="13836"/>
                </a:xfrm>
                <a:custGeom>
                  <a:avLst/>
                  <a:gdLst>
                    <a:gd name="T0" fmla="*/ 3 w 3"/>
                    <a:gd name="T1" fmla="*/ 0 h 3"/>
                    <a:gd name="T2" fmla="*/ 0 w 3"/>
                    <a:gd name="T3" fmla="*/ 3 h 3"/>
                    <a:gd name="T4" fmla="*/ 1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0" y="3"/>
                        <a:pt x="0" y="3"/>
                        <a:pt x="0" y="3"/>
                      </a:cubicBezTo>
                      <a:cubicBezTo>
                        <a:pt x="1" y="3"/>
                        <a:pt x="1" y="3"/>
                        <a:pt x="1" y="3"/>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289" name="Freeform 2139"/>
                <p:cNvSpPr>
                  <a:spLocks/>
                </p:cNvSpPr>
                <p:nvPr/>
              </p:nvSpPr>
              <p:spPr bwMode="auto">
                <a:xfrm>
                  <a:off x="18078978" y="3165386"/>
                  <a:ext cx="0" cy="13827"/>
                </a:xfrm>
                <a:custGeom>
                  <a:avLst/>
                  <a:gdLst>
                    <a:gd name="T0" fmla="*/ 1 w 2"/>
                    <a:gd name="T1" fmla="*/ 0 h 2"/>
                    <a:gd name="T2" fmla="*/ 0 w 2"/>
                    <a:gd name="T3" fmla="*/ 2 h 2"/>
                    <a:gd name="T4" fmla="*/ 0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1"/>
                        <a:pt x="2" y="1"/>
                        <a:pt x="2"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290" name="Freeform 2140"/>
                <p:cNvSpPr>
                  <a:spLocks/>
                </p:cNvSpPr>
                <p:nvPr/>
              </p:nvSpPr>
              <p:spPr bwMode="auto">
                <a:xfrm>
                  <a:off x="18039353" y="3137723"/>
                  <a:ext cx="13211" cy="0"/>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0" y="5"/>
                        <a:pt x="0" y="5"/>
                        <a:pt x="0" y="5"/>
                      </a:cubicBezTo>
                      <a:cubicBezTo>
                        <a:pt x="1" y="5"/>
                        <a:pt x="1" y="5"/>
                        <a:pt x="1" y="5"/>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91" name="Freeform 2141"/>
                <p:cNvSpPr>
                  <a:spLocks/>
                </p:cNvSpPr>
                <p:nvPr/>
              </p:nvSpPr>
              <p:spPr bwMode="auto">
                <a:xfrm>
                  <a:off x="18052564" y="3137723"/>
                  <a:ext cx="13203" cy="27664"/>
                </a:xfrm>
                <a:custGeom>
                  <a:avLst/>
                  <a:gdLst>
                    <a:gd name="T0" fmla="*/ 3 w 4"/>
                    <a:gd name="T1" fmla="*/ 0 h 4"/>
                    <a:gd name="T2" fmla="*/ 0 w 4"/>
                    <a:gd name="T3" fmla="*/ 4 h 4"/>
                    <a:gd name="T4" fmla="*/ 1 w 4"/>
                    <a:gd name="T5" fmla="*/ 4 h 4"/>
                    <a:gd name="T6" fmla="*/ 4 w 4"/>
                    <a:gd name="T7" fmla="*/ 1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1" y="4"/>
                      </a:cubicBezTo>
                      <a:cubicBezTo>
                        <a:pt x="4" y="1"/>
                        <a:pt x="4" y="1"/>
                        <a:pt x="4" y="1"/>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292" name="Freeform 2142"/>
                <p:cNvSpPr>
                  <a:spLocks/>
                </p:cNvSpPr>
                <p:nvPr/>
              </p:nvSpPr>
              <p:spPr bwMode="auto">
                <a:xfrm>
                  <a:off x="18039353" y="3123886"/>
                  <a:ext cx="0" cy="13836"/>
                </a:xfrm>
                <a:custGeom>
                  <a:avLst/>
                  <a:gdLst>
                    <a:gd name="T0" fmla="*/ 5 w 5"/>
                    <a:gd name="T1" fmla="*/ 0 h 7"/>
                    <a:gd name="T2" fmla="*/ 0 w 5"/>
                    <a:gd name="T3" fmla="*/ 6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93" name="Freeform 2143"/>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94" name="Freeform 2144"/>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295" name="Freeform 2145"/>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0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2296" name="Freeform 2146"/>
                <p:cNvSpPr>
                  <a:spLocks/>
                </p:cNvSpPr>
                <p:nvPr/>
              </p:nvSpPr>
              <p:spPr bwMode="auto">
                <a:xfrm>
                  <a:off x="18039353" y="3137723"/>
                  <a:ext cx="26414" cy="13827"/>
                </a:xfrm>
                <a:custGeom>
                  <a:avLst/>
                  <a:gdLst>
                    <a:gd name="T0" fmla="*/ 3 w 4"/>
                    <a:gd name="T1" fmla="*/ 0 h 4"/>
                    <a:gd name="T2" fmla="*/ 0 w 4"/>
                    <a:gd name="T3" fmla="*/ 4 h 4"/>
                    <a:gd name="T4" fmla="*/ 0 w 4"/>
                    <a:gd name="T5" fmla="*/ 4 h 4"/>
                    <a:gd name="T6" fmla="*/ 4 w 4"/>
                    <a:gd name="T7" fmla="*/ 0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0" y="4"/>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297" name="Freeform 2147"/>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1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2298" name="Freeform 2148"/>
                <p:cNvSpPr>
                  <a:spLocks/>
                </p:cNvSpPr>
                <p:nvPr/>
              </p:nvSpPr>
              <p:spPr bwMode="auto">
                <a:xfrm>
                  <a:off x="18078978" y="3179214"/>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299" name="Freeform 2149"/>
                <p:cNvSpPr>
                  <a:spLocks/>
                </p:cNvSpPr>
                <p:nvPr/>
              </p:nvSpPr>
              <p:spPr bwMode="auto">
                <a:xfrm>
                  <a:off x="17907284" y="3054732"/>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00" name="Freeform 2150"/>
                <p:cNvSpPr>
                  <a:spLocks/>
                </p:cNvSpPr>
                <p:nvPr/>
              </p:nvSpPr>
              <p:spPr bwMode="auto">
                <a:xfrm>
                  <a:off x="17920495" y="3054732"/>
                  <a:ext cx="13203" cy="13827"/>
                </a:xfrm>
                <a:custGeom>
                  <a:avLst/>
                  <a:gdLst>
                    <a:gd name="T0" fmla="*/ 1 w 2"/>
                    <a:gd name="T1" fmla="*/ 0 h 2"/>
                    <a:gd name="T2" fmla="*/ 0 w 2"/>
                    <a:gd name="T3" fmla="*/ 2 h 2"/>
                    <a:gd name="T4" fmla="*/ 0 w 2"/>
                    <a:gd name="T5" fmla="*/ 2 h 2"/>
                    <a:gd name="T6" fmla="*/ 2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0"/>
                        <a:pt x="2" y="0"/>
                        <a:pt x="2"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01" name="Freeform 2151"/>
                <p:cNvSpPr>
                  <a:spLocks/>
                </p:cNvSpPr>
                <p:nvPr/>
              </p:nvSpPr>
              <p:spPr bwMode="auto">
                <a:xfrm>
                  <a:off x="17907284" y="3054732"/>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02" name="Freeform 2152"/>
                <p:cNvSpPr>
                  <a:spLocks/>
                </p:cNvSpPr>
                <p:nvPr/>
              </p:nvSpPr>
              <p:spPr bwMode="auto">
                <a:xfrm>
                  <a:off x="17920495" y="3054732"/>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03" name="Freeform 2153"/>
                <p:cNvSpPr>
                  <a:spLocks/>
                </p:cNvSpPr>
                <p:nvPr/>
              </p:nvSpPr>
              <p:spPr bwMode="auto">
                <a:xfrm>
                  <a:off x="17920495" y="3054732"/>
                  <a:ext cx="13203" cy="13827"/>
                </a:xfrm>
                <a:custGeom>
                  <a:avLst/>
                  <a:gdLst>
                    <a:gd name="T0" fmla="*/ 2 w 2"/>
                    <a:gd name="T1" fmla="*/ 0 h 2"/>
                    <a:gd name="T2" fmla="*/ 0 w 2"/>
                    <a:gd name="T3" fmla="*/ 2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1" y="2"/>
                        <a:pt x="1" y="2"/>
                        <a:pt x="1"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304" name="Freeform 2154"/>
                <p:cNvSpPr>
                  <a:spLocks/>
                </p:cNvSpPr>
                <p:nvPr/>
              </p:nvSpPr>
              <p:spPr bwMode="auto">
                <a:xfrm>
                  <a:off x="18012939" y="3096223"/>
                  <a:ext cx="26414" cy="41500"/>
                </a:xfrm>
                <a:custGeom>
                  <a:avLst/>
                  <a:gdLst>
                    <a:gd name="T0" fmla="*/ 6 w 6"/>
                    <a:gd name="T1" fmla="*/ 0 h 8"/>
                    <a:gd name="T2" fmla="*/ 0 w 6"/>
                    <a:gd name="T3" fmla="*/ 8 h 8"/>
                    <a:gd name="T4" fmla="*/ 1 w 6"/>
                    <a:gd name="T5" fmla="*/ 8 h 8"/>
                    <a:gd name="T6" fmla="*/ 6 w 6"/>
                    <a:gd name="T7" fmla="*/ 1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1"/>
                        <a:pt x="6" y="1"/>
                        <a:pt x="6" y="1"/>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2305" name="Freeform 2155"/>
                <p:cNvSpPr>
                  <a:spLocks/>
                </p:cNvSpPr>
                <p:nvPr/>
              </p:nvSpPr>
              <p:spPr bwMode="auto">
                <a:xfrm>
                  <a:off x="17986525" y="3082395"/>
                  <a:ext cx="13211" cy="13827"/>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06" name="Freeform 2156"/>
                <p:cNvSpPr>
                  <a:spLocks/>
                </p:cNvSpPr>
                <p:nvPr/>
              </p:nvSpPr>
              <p:spPr bwMode="auto">
                <a:xfrm>
                  <a:off x="17986525" y="3082395"/>
                  <a:ext cx="13211" cy="27664"/>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07" name="Freeform 2157"/>
                <p:cNvSpPr>
                  <a:spLocks/>
                </p:cNvSpPr>
                <p:nvPr/>
              </p:nvSpPr>
              <p:spPr bwMode="auto">
                <a:xfrm>
                  <a:off x="17973322" y="3082395"/>
                  <a:ext cx="26414" cy="13827"/>
                </a:xfrm>
                <a:custGeom>
                  <a:avLst/>
                  <a:gdLst>
                    <a:gd name="T0" fmla="*/ 5 w 5"/>
                    <a:gd name="T1" fmla="*/ 0 h 7"/>
                    <a:gd name="T2" fmla="*/ 0 w 5"/>
                    <a:gd name="T3" fmla="*/ 7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1" y="7"/>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08" name="Freeform 2158"/>
                <p:cNvSpPr>
                  <a:spLocks/>
                </p:cNvSpPr>
                <p:nvPr/>
              </p:nvSpPr>
              <p:spPr bwMode="auto">
                <a:xfrm>
                  <a:off x="17999736" y="3082395"/>
                  <a:ext cx="13203" cy="27664"/>
                </a:xfrm>
                <a:custGeom>
                  <a:avLst/>
                  <a:gdLst>
                    <a:gd name="T0" fmla="*/ 5 w 6"/>
                    <a:gd name="T1" fmla="*/ 0 h 8"/>
                    <a:gd name="T2" fmla="*/ 0 w 6"/>
                    <a:gd name="T3" fmla="*/ 8 h 8"/>
                    <a:gd name="T4" fmla="*/ 0 w 6"/>
                    <a:gd name="T5" fmla="*/ 8 h 8"/>
                    <a:gd name="T6" fmla="*/ 6 w 6"/>
                    <a:gd name="T7" fmla="*/ 1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1"/>
                        <a:pt x="6" y="1"/>
                        <a:pt x="6"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09" name="Freeform 2159"/>
                <p:cNvSpPr>
                  <a:spLocks/>
                </p:cNvSpPr>
                <p:nvPr/>
              </p:nvSpPr>
              <p:spPr bwMode="auto">
                <a:xfrm>
                  <a:off x="17999736" y="3096223"/>
                  <a:ext cx="39617" cy="41500"/>
                </a:xfrm>
                <a:custGeom>
                  <a:avLst/>
                  <a:gdLst>
                    <a:gd name="T0" fmla="*/ 6 w 6"/>
                    <a:gd name="T1" fmla="*/ 0 h 8"/>
                    <a:gd name="T2" fmla="*/ 0 w 6"/>
                    <a:gd name="T3" fmla="*/ 8 h 8"/>
                    <a:gd name="T4" fmla="*/ 0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0" y="8"/>
                        <a:pt x="0"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2310" name="Freeform 2160"/>
                <p:cNvSpPr>
                  <a:spLocks/>
                </p:cNvSpPr>
                <p:nvPr/>
              </p:nvSpPr>
              <p:spPr bwMode="auto">
                <a:xfrm>
                  <a:off x="17973322" y="3082395"/>
                  <a:ext cx="26414" cy="13827"/>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11" name="Freeform 2161"/>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2312" name="Freeform 2162"/>
                <p:cNvSpPr>
                  <a:spLocks/>
                </p:cNvSpPr>
                <p:nvPr/>
              </p:nvSpPr>
              <p:spPr bwMode="auto">
                <a:xfrm>
                  <a:off x="17933697" y="3054732"/>
                  <a:ext cx="13211" cy="27664"/>
                </a:xfrm>
                <a:custGeom>
                  <a:avLst/>
                  <a:gdLst>
                    <a:gd name="T0" fmla="*/ 2 w 2"/>
                    <a:gd name="T1" fmla="*/ 0 h 3"/>
                    <a:gd name="T2" fmla="*/ 0 w 2"/>
                    <a:gd name="T3" fmla="*/ 3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313" name="Freeform 2163"/>
                <p:cNvSpPr>
                  <a:spLocks/>
                </p:cNvSpPr>
                <p:nvPr/>
              </p:nvSpPr>
              <p:spPr bwMode="auto">
                <a:xfrm>
                  <a:off x="17999736" y="3096223"/>
                  <a:ext cx="13203" cy="13836"/>
                </a:xfrm>
                <a:custGeom>
                  <a:avLst/>
                  <a:gdLst>
                    <a:gd name="T0" fmla="*/ 6 w 6"/>
                    <a:gd name="T1" fmla="*/ 0 h 8"/>
                    <a:gd name="T2" fmla="*/ 0 w 6"/>
                    <a:gd name="T3" fmla="*/ 8 h 8"/>
                    <a:gd name="T4" fmla="*/ 1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2314" name="Freeform 2164"/>
                <p:cNvSpPr>
                  <a:spLocks/>
                </p:cNvSpPr>
                <p:nvPr/>
              </p:nvSpPr>
              <p:spPr bwMode="auto">
                <a:xfrm>
                  <a:off x="17946908" y="3068559"/>
                  <a:ext cx="13203" cy="13836"/>
                </a:xfrm>
                <a:custGeom>
                  <a:avLst/>
                  <a:gdLst>
                    <a:gd name="T0" fmla="*/ 2 w 3"/>
                    <a:gd name="T1" fmla="*/ 0 h 4"/>
                    <a:gd name="T2" fmla="*/ 0 w 3"/>
                    <a:gd name="T3" fmla="*/ 4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4"/>
                        <a:pt x="0" y="4"/>
                        <a:pt x="0" y="4"/>
                      </a:cubicBezTo>
                      <a:cubicBezTo>
                        <a:pt x="0" y="4"/>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315" name="Freeform 2165"/>
                <p:cNvSpPr>
                  <a:spLocks/>
                </p:cNvSpPr>
                <p:nvPr/>
              </p:nvSpPr>
              <p:spPr bwMode="auto">
                <a:xfrm>
                  <a:off x="17946908" y="3054732"/>
                  <a:ext cx="13203" cy="27664"/>
                </a:xfrm>
                <a:custGeom>
                  <a:avLst/>
                  <a:gdLst>
                    <a:gd name="T0" fmla="*/ 3 w 3"/>
                    <a:gd name="T1" fmla="*/ 0 h 4"/>
                    <a:gd name="T2" fmla="*/ 0 w 3"/>
                    <a:gd name="T3" fmla="*/ 4 h 4"/>
                    <a:gd name="T4" fmla="*/ 1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0" y="4"/>
                        <a:pt x="0" y="4"/>
                        <a:pt x="0" y="4"/>
                      </a:cubicBezTo>
                      <a:cubicBezTo>
                        <a:pt x="0" y="4"/>
                        <a:pt x="1" y="4"/>
                        <a:pt x="1" y="4"/>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316" name="Freeform 2166"/>
                <p:cNvSpPr>
                  <a:spLocks/>
                </p:cNvSpPr>
                <p:nvPr/>
              </p:nvSpPr>
              <p:spPr bwMode="auto">
                <a:xfrm>
                  <a:off x="17933697" y="3054732"/>
                  <a:ext cx="13211" cy="27664"/>
                </a:xfrm>
                <a:custGeom>
                  <a:avLst/>
                  <a:gdLst>
                    <a:gd name="T0" fmla="*/ 2 w 3"/>
                    <a:gd name="T1" fmla="*/ 0 h 4"/>
                    <a:gd name="T2" fmla="*/ 0 w 3"/>
                    <a:gd name="T3" fmla="*/ 3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3"/>
                        <a:pt x="0" y="3"/>
                        <a:pt x="0" y="3"/>
                      </a:cubicBezTo>
                      <a:cubicBezTo>
                        <a:pt x="0" y="3"/>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2317" name="Freeform 2167"/>
                <p:cNvSpPr>
                  <a:spLocks/>
                </p:cNvSpPr>
                <p:nvPr/>
              </p:nvSpPr>
              <p:spPr bwMode="auto">
                <a:xfrm>
                  <a:off x="17960111" y="3068559"/>
                  <a:ext cx="26414" cy="27664"/>
                </a:xfrm>
                <a:custGeom>
                  <a:avLst/>
                  <a:gdLst>
                    <a:gd name="T0" fmla="*/ 4 w 4"/>
                    <a:gd name="T1" fmla="*/ 0 h 7"/>
                    <a:gd name="T2" fmla="*/ 0 w 4"/>
                    <a:gd name="T3" fmla="*/ 6 h 7"/>
                    <a:gd name="T4" fmla="*/ 0 w 4"/>
                    <a:gd name="T5" fmla="*/ 7 h 7"/>
                    <a:gd name="T6" fmla="*/ 4 w 4"/>
                    <a:gd name="T7" fmla="*/ 0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cubicBezTo>
                        <a:pt x="0" y="6"/>
                        <a:pt x="0" y="6"/>
                        <a:pt x="0" y="6"/>
                      </a:cubicBezTo>
                      <a:cubicBezTo>
                        <a:pt x="0" y="7"/>
                        <a:pt x="0" y="7"/>
                        <a:pt x="0" y="7"/>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2318" name="Freeform 2168"/>
                <p:cNvSpPr>
                  <a:spLocks/>
                </p:cNvSpPr>
                <p:nvPr/>
              </p:nvSpPr>
              <p:spPr bwMode="auto">
                <a:xfrm>
                  <a:off x="17960111" y="3068559"/>
                  <a:ext cx="13211" cy="27664"/>
                </a:xfrm>
                <a:custGeom>
                  <a:avLst/>
                  <a:gdLst>
                    <a:gd name="T0" fmla="*/ 3 w 4"/>
                    <a:gd name="T1" fmla="*/ 0 h 6"/>
                    <a:gd name="T2" fmla="*/ 0 w 4"/>
                    <a:gd name="T3" fmla="*/ 6 h 6"/>
                    <a:gd name="T4" fmla="*/ 0 w 4"/>
                    <a:gd name="T5" fmla="*/ 6 h 6"/>
                    <a:gd name="T6" fmla="*/ 4 w 4"/>
                    <a:gd name="T7" fmla="*/ 0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cubicBezTo>
                        <a:pt x="0" y="6"/>
                        <a:pt x="0" y="6"/>
                        <a:pt x="0" y="6"/>
                      </a:cubicBezTo>
                      <a:cubicBezTo>
                        <a:pt x="0" y="6"/>
                        <a:pt x="0" y="6"/>
                        <a:pt x="0" y="6"/>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319" name="Freeform 2169"/>
                <p:cNvSpPr>
                  <a:spLocks/>
                </p:cNvSpPr>
                <p:nvPr/>
              </p:nvSpPr>
              <p:spPr bwMode="auto">
                <a:xfrm>
                  <a:off x="17960111" y="3068559"/>
                  <a:ext cx="0" cy="27664"/>
                </a:xfrm>
                <a:custGeom>
                  <a:avLst/>
                  <a:gdLst>
                    <a:gd name="T0" fmla="*/ 3 w 4"/>
                    <a:gd name="T1" fmla="*/ 0 h 5"/>
                    <a:gd name="T2" fmla="*/ 0 w 4"/>
                    <a:gd name="T3" fmla="*/ 5 h 5"/>
                    <a:gd name="T4" fmla="*/ 0 w 4"/>
                    <a:gd name="T5" fmla="*/ 5 h 5"/>
                    <a:gd name="T6" fmla="*/ 4 w 4"/>
                    <a:gd name="T7" fmla="*/ 0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0" y="5"/>
                        <a:pt x="0" y="5"/>
                        <a:pt x="0" y="5"/>
                      </a:cubicBezTo>
                      <a:cubicBezTo>
                        <a:pt x="0" y="5"/>
                        <a:pt x="0" y="5"/>
                        <a:pt x="0" y="5"/>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2320" name="Freeform 2170"/>
                <p:cNvSpPr>
                  <a:spLocks/>
                </p:cNvSpPr>
                <p:nvPr/>
              </p:nvSpPr>
              <p:spPr bwMode="auto">
                <a:xfrm>
                  <a:off x="17960111" y="3068559"/>
                  <a:ext cx="13211" cy="27664"/>
                </a:xfrm>
                <a:custGeom>
                  <a:avLst/>
                  <a:gdLst>
                    <a:gd name="T0" fmla="*/ 4 w 4"/>
                    <a:gd name="T1" fmla="*/ 0 h 6"/>
                    <a:gd name="T2" fmla="*/ 0 w 4"/>
                    <a:gd name="T3" fmla="*/ 6 h 6"/>
                    <a:gd name="T4" fmla="*/ 1 w 4"/>
                    <a:gd name="T5" fmla="*/ 6 h 6"/>
                    <a:gd name="T6" fmla="*/ 4 w 4"/>
                    <a:gd name="T7" fmla="*/ 1 h 6"/>
                    <a:gd name="T8" fmla="*/ 4 w 4"/>
                    <a:gd name="T9" fmla="*/ 0 h 6"/>
                  </a:gdLst>
                  <a:ahLst/>
                  <a:cxnLst>
                    <a:cxn ang="0">
                      <a:pos x="T0" y="T1"/>
                    </a:cxn>
                    <a:cxn ang="0">
                      <a:pos x="T2" y="T3"/>
                    </a:cxn>
                    <a:cxn ang="0">
                      <a:pos x="T4" y="T5"/>
                    </a:cxn>
                    <a:cxn ang="0">
                      <a:pos x="T6" y="T7"/>
                    </a:cxn>
                    <a:cxn ang="0">
                      <a:pos x="T8" y="T9"/>
                    </a:cxn>
                  </a:cxnLst>
                  <a:rect l="0" t="0" r="r" b="b"/>
                  <a:pathLst>
                    <a:path w="4" h="6">
                      <a:moveTo>
                        <a:pt x="4" y="0"/>
                      </a:moveTo>
                      <a:cubicBezTo>
                        <a:pt x="0" y="6"/>
                        <a:pt x="0" y="6"/>
                        <a:pt x="0" y="6"/>
                      </a:cubicBezTo>
                      <a:cubicBezTo>
                        <a:pt x="0" y="6"/>
                        <a:pt x="0" y="6"/>
                        <a:pt x="1" y="6"/>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2321" name="Freeform 2171"/>
                <p:cNvSpPr>
                  <a:spLocks/>
                </p:cNvSpPr>
                <p:nvPr/>
              </p:nvSpPr>
              <p:spPr bwMode="auto">
                <a:xfrm>
                  <a:off x="16745075" y="3040895"/>
                  <a:ext cx="0" cy="0"/>
                </a:xfrm>
                <a:custGeom>
                  <a:avLst/>
                  <a:gdLst>
                    <a:gd name="T0" fmla="*/ 0 w 2"/>
                    <a:gd name="T1" fmla="*/ 0 h 3"/>
                    <a:gd name="T2" fmla="*/ 0 w 2"/>
                    <a:gd name="T3" fmla="*/ 0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1" y="3"/>
                        <a:pt x="1" y="3"/>
                        <a:pt x="1" y="3"/>
                      </a:cubicBezTo>
                      <a:cubicBezTo>
                        <a:pt x="1" y="3"/>
                        <a:pt x="1" y="2"/>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2" name="Freeform 2172"/>
                <p:cNvSpPr>
                  <a:spLocks/>
                </p:cNvSpPr>
                <p:nvPr/>
              </p:nvSpPr>
              <p:spPr bwMode="auto">
                <a:xfrm>
                  <a:off x="16731872" y="3040895"/>
                  <a:ext cx="13203" cy="0"/>
                </a:xfrm>
                <a:custGeom>
                  <a:avLst/>
                  <a:gdLst>
                    <a:gd name="T0" fmla="*/ 0 w 1"/>
                    <a:gd name="T1" fmla="*/ 0 h 2"/>
                    <a:gd name="T2" fmla="*/ 0 w 1"/>
                    <a:gd name="T3" fmla="*/ 1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2"/>
                        <a:pt x="0" y="2"/>
                        <a:pt x="0" y="2"/>
                      </a:cubicBezTo>
                      <a:cubicBezTo>
                        <a:pt x="0"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3" name="Freeform 2173"/>
                <p:cNvSpPr>
                  <a:spLocks/>
                </p:cNvSpPr>
                <p:nvPr/>
              </p:nvSpPr>
              <p:spPr bwMode="auto">
                <a:xfrm>
                  <a:off x="16745075" y="3040895"/>
                  <a:ext cx="0" cy="0"/>
                </a:xfrm>
                <a:custGeom>
                  <a:avLst/>
                  <a:gdLst>
                    <a:gd name="T0" fmla="*/ 0 w 2"/>
                    <a:gd name="T1" fmla="*/ 0 h 3"/>
                    <a:gd name="T2" fmla="*/ 0 w 2"/>
                    <a:gd name="T3" fmla="*/ 1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1"/>
                        <a:pt x="0" y="1"/>
                        <a:pt x="0" y="1"/>
                      </a:cubicBezTo>
                      <a:cubicBezTo>
                        <a:pt x="1" y="3"/>
                        <a:pt x="1" y="3"/>
                        <a:pt x="1" y="3"/>
                      </a:cubicBezTo>
                      <a:cubicBezTo>
                        <a:pt x="1" y="3"/>
                        <a:pt x="1" y="3"/>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4" name="Freeform 2174"/>
                <p:cNvSpPr>
                  <a:spLocks/>
                </p:cNvSpPr>
                <p:nvPr/>
              </p:nvSpPr>
              <p:spPr bwMode="auto">
                <a:xfrm>
                  <a:off x="16718661" y="3040895"/>
                  <a:ext cx="13211"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5" name="Freeform 2175"/>
                <p:cNvSpPr>
                  <a:spLocks/>
                </p:cNvSpPr>
                <p:nvPr/>
              </p:nvSpPr>
              <p:spPr bwMode="auto">
                <a:xfrm>
                  <a:off x="16745075" y="3013232"/>
                  <a:ext cx="13211" cy="27664"/>
                </a:xfrm>
                <a:custGeom>
                  <a:avLst/>
                  <a:gdLst>
                    <a:gd name="T0" fmla="*/ 0 w 2"/>
                    <a:gd name="T1" fmla="*/ 0 h 5"/>
                    <a:gd name="T2" fmla="*/ 0 w 2"/>
                    <a:gd name="T3" fmla="*/ 1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1"/>
                        <a:pt x="0" y="1"/>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6" name="Freeform 2176"/>
                <p:cNvSpPr>
                  <a:spLocks/>
                </p:cNvSpPr>
                <p:nvPr/>
              </p:nvSpPr>
              <p:spPr bwMode="auto">
                <a:xfrm>
                  <a:off x="16758286" y="3013232"/>
                  <a:ext cx="13203" cy="13836"/>
                </a:xfrm>
                <a:custGeom>
                  <a:avLst/>
                  <a:gdLst>
                    <a:gd name="T0" fmla="*/ 1 w 3"/>
                    <a:gd name="T1" fmla="*/ 0 h 5"/>
                    <a:gd name="T2" fmla="*/ 0 w 3"/>
                    <a:gd name="T3" fmla="*/ 1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0" y="1"/>
                        <a:pt x="0" y="1"/>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27" name="Freeform 2177"/>
                <p:cNvSpPr>
                  <a:spLocks/>
                </p:cNvSpPr>
                <p:nvPr/>
              </p:nvSpPr>
              <p:spPr bwMode="auto">
                <a:xfrm>
                  <a:off x="16745075" y="3027068"/>
                  <a:ext cx="13211" cy="13827"/>
                </a:xfrm>
                <a:custGeom>
                  <a:avLst/>
                  <a:gdLst>
                    <a:gd name="T0" fmla="*/ 1 w 3"/>
                    <a:gd name="T1" fmla="*/ 0 h 4"/>
                    <a:gd name="T2" fmla="*/ 0 w 3"/>
                    <a:gd name="T3" fmla="*/ 0 h 4"/>
                    <a:gd name="T4" fmla="*/ 2 w 3"/>
                    <a:gd name="T5" fmla="*/ 4 h 4"/>
                    <a:gd name="T6" fmla="*/ 3 w 3"/>
                    <a:gd name="T7" fmla="*/ 3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0" y="0"/>
                        <a:pt x="0" y="0"/>
                        <a:pt x="0" y="0"/>
                      </a:cubicBezTo>
                      <a:cubicBezTo>
                        <a:pt x="2" y="4"/>
                        <a:pt x="2" y="4"/>
                        <a:pt x="2" y="4"/>
                      </a:cubicBezTo>
                      <a:cubicBezTo>
                        <a:pt x="2" y="3"/>
                        <a:pt x="2" y="3"/>
                        <a:pt x="3"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28" name="Freeform 2178"/>
                <p:cNvSpPr>
                  <a:spLocks/>
                </p:cNvSpPr>
                <p:nvPr/>
              </p:nvSpPr>
              <p:spPr bwMode="auto">
                <a:xfrm>
                  <a:off x="16718661" y="30547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29" name="Freeform 2179"/>
                <p:cNvSpPr>
                  <a:spLocks/>
                </p:cNvSpPr>
                <p:nvPr/>
              </p:nvSpPr>
              <p:spPr bwMode="auto">
                <a:xfrm>
                  <a:off x="16758286" y="2999404"/>
                  <a:ext cx="26414" cy="27664"/>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0" name="Freeform 2180"/>
                <p:cNvSpPr>
                  <a:spLocks/>
                </p:cNvSpPr>
                <p:nvPr/>
              </p:nvSpPr>
              <p:spPr bwMode="auto">
                <a:xfrm>
                  <a:off x="17141282" y="290257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31" name="Freeform 2181"/>
                <p:cNvSpPr>
                  <a:spLocks/>
                </p:cNvSpPr>
                <p:nvPr/>
              </p:nvSpPr>
              <p:spPr bwMode="auto">
                <a:xfrm>
                  <a:off x="17128079"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2" name="Freeform 2182"/>
                <p:cNvSpPr>
                  <a:spLocks/>
                </p:cNvSpPr>
                <p:nvPr/>
              </p:nvSpPr>
              <p:spPr bwMode="auto">
                <a:xfrm>
                  <a:off x="17062041" y="2916414"/>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3" name="Freeform 2183"/>
                <p:cNvSpPr>
                  <a:spLocks/>
                </p:cNvSpPr>
                <p:nvPr/>
              </p:nvSpPr>
              <p:spPr bwMode="auto">
                <a:xfrm>
                  <a:off x="17062041" y="2916414"/>
                  <a:ext cx="13211"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4" name="Freeform 2184"/>
                <p:cNvSpPr>
                  <a:spLocks/>
                </p:cNvSpPr>
                <p:nvPr/>
              </p:nvSpPr>
              <p:spPr bwMode="auto">
                <a:xfrm>
                  <a:off x="17075252" y="2916414"/>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5" name="Freeform 2185"/>
                <p:cNvSpPr>
                  <a:spLocks/>
                </p:cNvSpPr>
                <p:nvPr/>
              </p:nvSpPr>
              <p:spPr bwMode="auto">
                <a:xfrm>
                  <a:off x="17088455" y="2916414"/>
                  <a:ext cx="0"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6" name="Freeform 2186"/>
                <p:cNvSpPr>
                  <a:spLocks/>
                </p:cNvSpPr>
                <p:nvPr/>
              </p:nvSpPr>
              <p:spPr bwMode="auto">
                <a:xfrm>
                  <a:off x="17114868"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37" name="Freeform 2187"/>
                <p:cNvSpPr>
                  <a:spLocks/>
                </p:cNvSpPr>
                <p:nvPr/>
              </p:nvSpPr>
              <p:spPr bwMode="auto">
                <a:xfrm>
                  <a:off x="17101666" y="2902577"/>
                  <a:ext cx="13203"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38" name="Freeform 2188"/>
                <p:cNvSpPr>
                  <a:spLocks/>
                </p:cNvSpPr>
                <p:nvPr/>
              </p:nvSpPr>
              <p:spPr bwMode="auto">
                <a:xfrm>
                  <a:off x="17101666" y="2916414"/>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39" name="Freeform 2189"/>
                <p:cNvSpPr>
                  <a:spLocks/>
                </p:cNvSpPr>
                <p:nvPr/>
              </p:nvSpPr>
              <p:spPr bwMode="auto">
                <a:xfrm>
                  <a:off x="17101666" y="2902577"/>
                  <a:ext cx="0" cy="13836"/>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40" name="Freeform 2190"/>
                <p:cNvSpPr>
                  <a:spLocks/>
                </p:cNvSpPr>
                <p:nvPr/>
              </p:nvSpPr>
              <p:spPr bwMode="auto">
                <a:xfrm>
                  <a:off x="16837527" y="2985568"/>
                  <a:ext cx="13203" cy="13836"/>
                </a:xfrm>
                <a:custGeom>
                  <a:avLst/>
                  <a:gdLst>
                    <a:gd name="T0" fmla="*/ 1 w 2"/>
                    <a:gd name="T1" fmla="*/ 0 h 3"/>
                    <a:gd name="T2" fmla="*/ 0 w 2"/>
                    <a:gd name="T3" fmla="*/ 0 h 3"/>
                    <a:gd name="T4" fmla="*/ 2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0"/>
                        <a:pt x="0" y="0"/>
                      </a:cubicBezTo>
                      <a:cubicBezTo>
                        <a:pt x="2" y="3"/>
                        <a:pt x="2" y="3"/>
                        <a:pt x="2" y="3"/>
                      </a:cubicBezTo>
                      <a:cubicBezTo>
                        <a:pt x="2" y="3"/>
                        <a:pt x="2" y="3"/>
                        <a:pt x="2"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41" name="Freeform 2191"/>
                <p:cNvSpPr>
                  <a:spLocks/>
                </p:cNvSpPr>
                <p:nvPr/>
              </p:nvSpPr>
              <p:spPr bwMode="auto">
                <a:xfrm>
                  <a:off x="16877144" y="2971741"/>
                  <a:ext cx="0" cy="13827"/>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42" name="Freeform 2192"/>
                <p:cNvSpPr>
                  <a:spLocks/>
                </p:cNvSpPr>
                <p:nvPr/>
              </p:nvSpPr>
              <p:spPr bwMode="auto">
                <a:xfrm>
                  <a:off x="16863941" y="2971741"/>
                  <a:ext cx="0" cy="13827"/>
                </a:xfrm>
                <a:custGeom>
                  <a:avLst/>
                  <a:gdLst>
                    <a:gd name="T0" fmla="*/ 1 w 1"/>
                    <a:gd name="T1" fmla="*/ 0 h 2"/>
                    <a:gd name="T2" fmla="*/ 0 w 1"/>
                    <a:gd name="T3" fmla="*/ 0 h 2"/>
                    <a:gd name="T4" fmla="*/ 1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0"/>
                      </a:cubicBezTo>
                      <a:cubicBezTo>
                        <a:pt x="1" y="2"/>
                        <a:pt x="1" y="2"/>
                        <a:pt x="1" y="2"/>
                      </a:cubicBezTo>
                      <a:cubicBezTo>
                        <a:pt x="1" y="2"/>
                        <a:pt x="1" y="2"/>
                        <a:pt x="1" y="2"/>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43" name="Freeform 2193"/>
                <p:cNvSpPr>
                  <a:spLocks/>
                </p:cNvSpPr>
                <p:nvPr/>
              </p:nvSpPr>
              <p:spPr bwMode="auto">
                <a:xfrm>
                  <a:off x="16850730" y="2985568"/>
                  <a:ext cx="13211" cy="0"/>
                </a:xfrm>
                <a:custGeom>
                  <a:avLst/>
                  <a:gdLst>
                    <a:gd name="T0" fmla="*/ 0 w 1"/>
                    <a:gd name="T1" fmla="*/ 0 h 2"/>
                    <a:gd name="T2" fmla="*/ 0 w 1"/>
                    <a:gd name="T3" fmla="*/ 0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1" y="2"/>
                        <a:pt x="1" y="2"/>
                        <a:pt x="1" y="2"/>
                      </a:cubicBezTo>
                      <a:cubicBezTo>
                        <a:pt x="1"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44" name="Oval 2194"/>
                <p:cNvSpPr>
                  <a:spLocks noChangeArrowheads="1"/>
                </p:cNvSpPr>
                <p:nvPr/>
              </p:nvSpPr>
              <p:spPr bwMode="auto">
                <a:xfrm>
                  <a:off x="16877144" y="2971741"/>
                  <a:ext cx="0" cy="13827"/>
                </a:xfrm>
                <a:prstGeom prst="ellipse">
                  <a:avLst/>
                </a:prstGeom>
                <a:solidFill>
                  <a:srgbClr val="02E3FC"/>
                </a:solidFill>
                <a:ln>
                  <a:noFill/>
                </a:ln>
                <a:extLst/>
              </p:spPr>
              <p:txBody>
                <a:bodyPr/>
                <a:lstStyle/>
                <a:p>
                  <a:pPr eaLnBrk="1" hangingPunct="1">
                    <a:defRPr/>
                  </a:pPr>
                  <a:endParaRPr lang="zh-CN" altLang="en-US" sz="1050"/>
                </a:p>
              </p:txBody>
            </p:sp>
            <p:sp>
              <p:nvSpPr>
                <p:cNvPr id="2345" name="Freeform 2195"/>
                <p:cNvSpPr>
                  <a:spLocks/>
                </p:cNvSpPr>
                <p:nvPr/>
              </p:nvSpPr>
              <p:spPr bwMode="auto">
                <a:xfrm>
                  <a:off x="16837527" y="2985568"/>
                  <a:ext cx="0" cy="13836"/>
                </a:xfrm>
                <a:custGeom>
                  <a:avLst/>
                  <a:gdLst>
                    <a:gd name="T0" fmla="*/ 1 w 2"/>
                    <a:gd name="T1" fmla="*/ 0 h 4"/>
                    <a:gd name="T2" fmla="*/ 0 w 2"/>
                    <a:gd name="T3" fmla="*/ 0 h 4"/>
                    <a:gd name="T4" fmla="*/ 2 w 2"/>
                    <a:gd name="T5" fmla="*/ 4 h 4"/>
                    <a:gd name="T6" fmla="*/ 2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0" y="0"/>
                        <a:pt x="0" y="0"/>
                      </a:cubicBezTo>
                      <a:cubicBezTo>
                        <a:pt x="2" y="4"/>
                        <a:pt x="2" y="4"/>
                        <a:pt x="2" y="4"/>
                      </a:cubicBezTo>
                      <a:cubicBezTo>
                        <a:pt x="2" y="4"/>
                        <a:pt x="2" y="4"/>
                        <a:pt x="2"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46" name="Freeform 2196"/>
                <p:cNvSpPr>
                  <a:spLocks/>
                </p:cNvSpPr>
                <p:nvPr/>
              </p:nvSpPr>
              <p:spPr bwMode="auto">
                <a:xfrm>
                  <a:off x="16784700" y="2999404"/>
                  <a:ext cx="13203"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47" name="Freeform 2197"/>
                <p:cNvSpPr>
                  <a:spLocks/>
                </p:cNvSpPr>
                <p:nvPr/>
              </p:nvSpPr>
              <p:spPr bwMode="auto">
                <a:xfrm>
                  <a:off x="16784700" y="2999404"/>
                  <a:ext cx="13203" cy="13827"/>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48" name="Freeform 2198"/>
                <p:cNvSpPr>
                  <a:spLocks/>
                </p:cNvSpPr>
                <p:nvPr/>
              </p:nvSpPr>
              <p:spPr bwMode="auto">
                <a:xfrm>
                  <a:off x="16797902" y="2985568"/>
                  <a:ext cx="13211" cy="13836"/>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49" name="Freeform 2199"/>
                <p:cNvSpPr>
                  <a:spLocks/>
                </p:cNvSpPr>
                <p:nvPr/>
              </p:nvSpPr>
              <p:spPr bwMode="auto">
                <a:xfrm>
                  <a:off x="16784700" y="2999404"/>
                  <a:ext cx="0"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50" name="Freeform 2200"/>
                <p:cNvSpPr>
                  <a:spLocks/>
                </p:cNvSpPr>
                <p:nvPr/>
              </p:nvSpPr>
              <p:spPr bwMode="auto">
                <a:xfrm>
                  <a:off x="16811113" y="2985568"/>
                  <a:ext cx="13203" cy="13836"/>
                </a:xfrm>
                <a:custGeom>
                  <a:avLst/>
                  <a:gdLst>
                    <a:gd name="T0" fmla="*/ 1 w 3"/>
                    <a:gd name="T1" fmla="*/ 0 h 5"/>
                    <a:gd name="T2" fmla="*/ 0 w 3"/>
                    <a:gd name="T3" fmla="*/ 0 h 5"/>
                    <a:gd name="T4" fmla="*/ 3 w 3"/>
                    <a:gd name="T5" fmla="*/ 5 h 5"/>
                    <a:gd name="T6" fmla="*/ 3 w 3"/>
                    <a:gd name="T7" fmla="*/ 4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4"/>
                        <a:pt x="3" y="4"/>
                        <a:pt x="3"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2351" name="Freeform 2201"/>
                <p:cNvSpPr>
                  <a:spLocks/>
                </p:cNvSpPr>
                <p:nvPr/>
              </p:nvSpPr>
              <p:spPr bwMode="auto">
                <a:xfrm>
                  <a:off x="16837527" y="2985568"/>
                  <a:ext cx="0" cy="13836"/>
                </a:xfrm>
                <a:custGeom>
                  <a:avLst/>
                  <a:gdLst>
                    <a:gd name="T0" fmla="*/ 0 w 2"/>
                    <a:gd name="T1" fmla="*/ 0 h 4"/>
                    <a:gd name="T2" fmla="*/ 0 w 2"/>
                    <a:gd name="T3" fmla="*/ 0 h 4"/>
                    <a:gd name="T4" fmla="*/ 2 w 2"/>
                    <a:gd name="T5" fmla="*/ 4 h 4"/>
                    <a:gd name="T6" fmla="*/ 2 w 2"/>
                    <a:gd name="T7" fmla="*/ 3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0" y="0"/>
                      </a:cubicBezTo>
                      <a:cubicBezTo>
                        <a:pt x="2" y="4"/>
                        <a:pt x="2" y="4"/>
                        <a:pt x="2" y="4"/>
                      </a:cubicBezTo>
                      <a:cubicBezTo>
                        <a:pt x="2" y="4"/>
                        <a:pt x="2" y="4"/>
                        <a:pt x="2" y="3"/>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52" name="Freeform 2202"/>
                <p:cNvSpPr>
                  <a:spLocks/>
                </p:cNvSpPr>
                <p:nvPr/>
              </p:nvSpPr>
              <p:spPr bwMode="auto">
                <a:xfrm>
                  <a:off x="16824316" y="2985568"/>
                  <a:ext cx="13211" cy="13836"/>
                </a:xfrm>
                <a:custGeom>
                  <a:avLst/>
                  <a:gdLst>
                    <a:gd name="T0" fmla="*/ 0 w 2"/>
                    <a:gd name="T1" fmla="*/ 0 h 5"/>
                    <a:gd name="T2" fmla="*/ 0 w 2"/>
                    <a:gd name="T3" fmla="*/ 0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0"/>
                        <a:pt x="0" y="0"/>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53" name="Freeform 2203"/>
                <p:cNvSpPr>
                  <a:spLocks/>
                </p:cNvSpPr>
                <p:nvPr/>
              </p:nvSpPr>
              <p:spPr bwMode="auto">
                <a:xfrm>
                  <a:off x="16771488" y="2999404"/>
                  <a:ext cx="13211" cy="27664"/>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2354" name="Freeform 2204"/>
                <p:cNvSpPr>
                  <a:spLocks/>
                </p:cNvSpPr>
                <p:nvPr/>
              </p:nvSpPr>
              <p:spPr bwMode="auto">
                <a:xfrm>
                  <a:off x="16018698" y="4382586"/>
                  <a:ext cx="462238" cy="622427"/>
                </a:xfrm>
                <a:custGeom>
                  <a:avLst/>
                  <a:gdLst>
                    <a:gd name="T0" fmla="*/ 50 w 126"/>
                    <a:gd name="T1" fmla="*/ 0 h 165"/>
                    <a:gd name="T2" fmla="*/ 0 w 126"/>
                    <a:gd name="T3" fmla="*/ 15 h 165"/>
                    <a:gd name="T4" fmla="*/ 89 w 126"/>
                    <a:gd name="T5" fmla="*/ 165 h 165"/>
                    <a:gd name="T6" fmla="*/ 100 w 126"/>
                    <a:gd name="T7" fmla="*/ 154 h 165"/>
                    <a:gd name="T8" fmla="*/ 44 w 126"/>
                    <a:gd name="T9" fmla="*/ 80 h 165"/>
                    <a:gd name="T10" fmla="*/ 66 w 126"/>
                    <a:gd name="T11" fmla="*/ 68 h 165"/>
                    <a:gd name="T12" fmla="*/ 118 w 126"/>
                    <a:gd name="T13" fmla="*/ 136 h 165"/>
                    <a:gd name="T14" fmla="*/ 126 w 126"/>
                    <a:gd name="T15" fmla="*/ 128 h 165"/>
                    <a:gd name="T16" fmla="*/ 50 w 126"/>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65">
                      <a:moveTo>
                        <a:pt x="50" y="0"/>
                      </a:moveTo>
                      <a:cubicBezTo>
                        <a:pt x="0" y="15"/>
                        <a:pt x="0" y="15"/>
                        <a:pt x="0" y="15"/>
                      </a:cubicBezTo>
                      <a:cubicBezTo>
                        <a:pt x="17" y="72"/>
                        <a:pt x="48" y="124"/>
                        <a:pt x="89" y="165"/>
                      </a:cubicBezTo>
                      <a:cubicBezTo>
                        <a:pt x="100" y="154"/>
                        <a:pt x="100" y="154"/>
                        <a:pt x="100" y="154"/>
                      </a:cubicBezTo>
                      <a:cubicBezTo>
                        <a:pt x="78" y="132"/>
                        <a:pt x="60" y="107"/>
                        <a:pt x="44" y="80"/>
                      </a:cubicBezTo>
                      <a:cubicBezTo>
                        <a:pt x="66" y="68"/>
                        <a:pt x="66" y="68"/>
                        <a:pt x="66" y="68"/>
                      </a:cubicBezTo>
                      <a:cubicBezTo>
                        <a:pt x="80" y="93"/>
                        <a:pt x="98" y="116"/>
                        <a:pt x="118" y="136"/>
                      </a:cubicBezTo>
                      <a:cubicBezTo>
                        <a:pt x="126" y="128"/>
                        <a:pt x="126" y="128"/>
                        <a:pt x="126" y="128"/>
                      </a:cubicBezTo>
                      <a:cubicBezTo>
                        <a:pt x="91" y="93"/>
                        <a:pt x="65" y="49"/>
                        <a:pt x="50" y="0"/>
                      </a:cubicBezTo>
                    </a:path>
                  </a:pathLst>
                </a:custGeom>
                <a:solidFill>
                  <a:srgbClr val="01AAE5"/>
                </a:solidFill>
                <a:ln>
                  <a:noFill/>
                </a:ln>
                <a:extLst/>
              </p:spPr>
              <p:txBody>
                <a:bodyPr/>
                <a:lstStyle/>
                <a:p>
                  <a:pPr eaLnBrk="1" hangingPunct="1">
                    <a:defRPr/>
                  </a:pPr>
                  <a:endParaRPr lang="zh-CN" altLang="en-US" sz="1050"/>
                </a:p>
              </p:txBody>
            </p:sp>
            <p:sp>
              <p:nvSpPr>
                <p:cNvPr id="2355" name="Freeform 2205"/>
                <p:cNvSpPr>
                  <a:spLocks/>
                </p:cNvSpPr>
                <p:nvPr/>
              </p:nvSpPr>
              <p:spPr bwMode="auto">
                <a:xfrm>
                  <a:off x="18395944" y="3898468"/>
                  <a:ext cx="211311" cy="733090"/>
                </a:xfrm>
                <a:custGeom>
                  <a:avLst/>
                  <a:gdLst>
                    <a:gd name="T0" fmla="*/ 56 w 58"/>
                    <a:gd name="T1" fmla="*/ 0 h 194"/>
                    <a:gd name="T2" fmla="*/ 31 w 58"/>
                    <a:gd name="T3" fmla="*/ 3 h 194"/>
                    <a:gd name="T4" fmla="*/ 33 w 58"/>
                    <a:gd name="T5" fmla="*/ 41 h 194"/>
                    <a:gd name="T6" fmla="*/ 0 w 58"/>
                    <a:gd name="T7" fmla="*/ 183 h 194"/>
                    <a:gd name="T8" fmla="*/ 22 w 58"/>
                    <a:gd name="T9" fmla="*/ 194 h 194"/>
                    <a:gd name="T10" fmla="*/ 58 w 58"/>
                    <a:gd name="T11" fmla="*/ 41 h 194"/>
                    <a:gd name="T12" fmla="*/ 56 w 58"/>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58" h="194">
                      <a:moveTo>
                        <a:pt x="56" y="0"/>
                      </a:moveTo>
                      <a:cubicBezTo>
                        <a:pt x="31" y="3"/>
                        <a:pt x="31" y="3"/>
                        <a:pt x="31" y="3"/>
                      </a:cubicBezTo>
                      <a:cubicBezTo>
                        <a:pt x="32" y="16"/>
                        <a:pt x="33" y="28"/>
                        <a:pt x="33" y="41"/>
                      </a:cubicBezTo>
                      <a:cubicBezTo>
                        <a:pt x="33" y="92"/>
                        <a:pt x="21" y="140"/>
                        <a:pt x="0" y="183"/>
                      </a:cubicBezTo>
                      <a:cubicBezTo>
                        <a:pt x="22" y="194"/>
                        <a:pt x="22" y="194"/>
                        <a:pt x="22" y="194"/>
                      </a:cubicBezTo>
                      <a:cubicBezTo>
                        <a:pt x="45" y="148"/>
                        <a:pt x="58" y="96"/>
                        <a:pt x="58" y="41"/>
                      </a:cubicBezTo>
                      <a:cubicBezTo>
                        <a:pt x="58" y="27"/>
                        <a:pt x="57" y="14"/>
                        <a:pt x="56" y="0"/>
                      </a:cubicBezTo>
                    </a:path>
                  </a:pathLst>
                </a:custGeom>
                <a:solidFill>
                  <a:srgbClr val="01AAE5"/>
                </a:solidFill>
                <a:ln>
                  <a:noFill/>
                </a:ln>
                <a:extLst/>
              </p:spPr>
              <p:txBody>
                <a:bodyPr/>
                <a:lstStyle/>
                <a:p>
                  <a:pPr eaLnBrk="1" hangingPunct="1">
                    <a:defRPr/>
                  </a:pPr>
                  <a:endParaRPr lang="zh-CN" altLang="en-US" sz="1050"/>
                </a:p>
              </p:txBody>
            </p:sp>
            <p:sp>
              <p:nvSpPr>
                <p:cNvPr id="2356" name="Freeform 2206"/>
                <p:cNvSpPr>
                  <a:spLocks/>
                </p:cNvSpPr>
                <p:nvPr/>
              </p:nvSpPr>
              <p:spPr bwMode="auto">
                <a:xfrm>
                  <a:off x="16124353" y="3040895"/>
                  <a:ext cx="422621" cy="539445"/>
                </a:xfrm>
                <a:custGeom>
                  <a:avLst/>
                  <a:gdLst>
                    <a:gd name="T0" fmla="*/ 97 w 113"/>
                    <a:gd name="T1" fmla="*/ 0 h 141"/>
                    <a:gd name="T2" fmla="*/ 0 w 113"/>
                    <a:gd name="T3" fmla="*/ 131 h 141"/>
                    <a:gd name="T4" fmla="*/ 23 w 113"/>
                    <a:gd name="T5" fmla="*/ 141 h 141"/>
                    <a:gd name="T6" fmla="*/ 113 w 113"/>
                    <a:gd name="T7" fmla="*/ 20 h 141"/>
                    <a:gd name="T8" fmla="*/ 97 w 113"/>
                    <a:gd name="T9" fmla="*/ 0 h 141"/>
                  </a:gdLst>
                  <a:ahLst/>
                  <a:cxnLst>
                    <a:cxn ang="0">
                      <a:pos x="T0" y="T1"/>
                    </a:cxn>
                    <a:cxn ang="0">
                      <a:pos x="T2" y="T3"/>
                    </a:cxn>
                    <a:cxn ang="0">
                      <a:pos x="T4" y="T5"/>
                    </a:cxn>
                    <a:cxn ang="0">
                      <a:pos x="T6" y="T7"/>
                    </a:cxn>
                    <a:cxn ang="0">
                      <a:pos x="T8" y="T9"/>
                    </a:cxn>
                  </a:cxnLst>
                  <a:rect l="0" t="0" r="r" b="b"/>
                  <a:pathLst>
                    <a:path w="113" h="141">
                      <a:moveTo>
                        <a:pt x="97" y="0"/>
                      </a:moveTo>
                      <a:cubicBezTo>
                        <a:pt x="55" y="35"/>
                        <a:pt x="22" y="80"/>
                        <a:pt x="0" y="131"/>
                      </a:cubicBezTo>
                      <a:cubicBezTo>
                        <a:pt x="23" y="141"/>
                        <a:pt x="23" y="141"/>
                        <a:pt x="23" y="141"/>
                      </a:cubicBezTo>
                      <a:cubicBezTo>
                        <a:pt x="43" y="93"/>
                        <a:pt x="74" y="52"/>
                        <a:pt x="113" y="20"/>
                      </a:cubicBezTo>
                      <a:cubicBezTo>
                        <a:pt x="97" y="0"/>
                        <a:pt x="97" y="0"/>
                        <a:pt x="97" y="0"/>
                      </a:cubicBezTo>
                    </a:path>
                  </a:pathLst>
                </a:custGeom>
                <a:solidFill>
                  <a:srgbClr val="01AAE5"/>
                </a:solidFill>
                <a:ln>
                  <a:noFill/>
                </a:ln>
                <a:extLst/>
              </p:spPr>
              <p:txBody>
                <a:bodyPr/>
                <a:lstStyle/>
                <a:p>
                  <a:pPr eaLnBrk="1" hangingPunct="1">
                    <a:defRPr/>
                  </a:pPr>
                  <a:endParaRPr lang="zh-CN" altLang="en-US" sz="1050"/>
                </a:p>
              </p:txBody>
            </p:sp>
            <p:sp>
              <p:nvSpPr>
                <p:cNvPr id="2357" name="Freeform 2207"/>
                <p:cNvSpPr>
                  <a:spLocks/>
                </p:cNvSpPr>
                <p:nvPr/>
              </p:nvSpPr>
              <p:spPr bwMode="auto">
                <a:xfrm>
                  <a:off x="16480936" y="2764259"/>
                  <a:ext cx="1188623" cy="373463"/>
                </a:xfrm>
                <a:custGeom>
                  <a:avLst/>
                  <a:gdLst>
                    <a:gd name="T0" fmla="*/ 221 w 314"/>
                    <a:gd name="T1" fmla="*/ 0 h 99"/>
                    <a:gd name="T2" fmla="*/ 0 w 314"/>
                    <a:gd name="T3" fmla="*/ 79 h 99"/>
                    <a:gd name="T4" fmla="*/ 16 w 314"/>
                    <a:gd name="T5" fmla="*/ 99 h 99"/>
                    <a:gd name="T6" fmla="*/ 221 w 314"/>
                    <a:gd name="T7" fmla="*/ 25 h 99"/>
                    <a:gd name="T8" fmla="*/ 307 w 314"/>
                    <a:gd name="T9" fmla="*/ 37 h 99"/>
                    <a:gd name="T10" fmla="*/ 314 w 314"/>
                    <a:gd name="T11" fmla="*/ 13 h 99"/>
                    <a:gd name="T12" fmla="*/ 221 w 3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314" h="99">
                      <a:moveTo>
                        <a:pt x="221" y="0"/>
                      </a:moveTo>
                      <a:cubicBezTo>
                        <a:pt x="137" y="0"/>
                        <a:pt x="60" y="30"/>
                        <a:pt x="0" y="79"/>
                      </a:cubicBezTo>
                      <a:cubicBezTo>
                        <a:pt x="16" y="99"/>
                        <a:pt x="16" y="99"/>
                        <a:pt x="16" y="99"/>
                      </a:cubicBezTo>
                      <a:cubicBezTo>
                        <a:pt x="72" y="53"/>
                        <a:pt x="143" y="25"/>
                        <a:pt x="221" y="25"/>
                      </a:cubicBezTo>
                      <a:cubicBezTo>
                        <a:pt x="251" y="25"/>
                        <a:pt x="280" y="29"/>
                        <a:pt x="307" y="37"/>
                      </a:cubicBezTo>
                      <a:cubicBezTo>
                        <a:pt x="314" y="13"/>
                        <a:pt x="314" y="13"/>
                        <a:pt x="314" y="13"/>
                      </a:cubicBezTo>
                      <a:cubicBezTo>
                        <a:pt x="284" y="4"/>
                        <a:pt x="253" y="0"/>
                        <a:pt x="221" y="0"/>
                      </a:cubicBezTo>
                    </a:path>
                  </a:pathLst>
                </a:custGeom>
                <a:solidFill>
                  <a:srgbClr val="02E3FC"/>
                </a:solidFill>
                <a:ln>
                  <a:noFill/>
                </a:ln>
                <a:extLst/>
              </p:spPr>
              <p:txBody>
                <a:bodyPr/>
                <a:lstStyle/>
                <a:p>
                  <a:pPr eaLnBrk="1" hangingPunct="1">
                    <a:defRPr/>
                  </a:pPr>
                  <a:endParaRPr lang="zh-CN" altLang="en-US" sz="1050"/>
                </a:p>
              </p:txBody>
            </p:sp>
            <p:sp>
              <p:nvSpPr>
                <p:cNvPr id="2358" name="Freeform 2208"/>
                <p:cNvSpPr>
                  <a:spLocks/>
                </p:cNvSpPr>
                <p:nvPr/>
              </p:nvSpPr>
              <p:spPr bwMode="auto">
                <a:xfrm>
                  <a:off x="16388492" y="4894358"/>
                  <a:ext cx="1347106" cy="442618"/>
                </a:xfrm>
                <a:custGeom>
                  <a:avLst/>
                  <a:gdLst>
                    <a:gd name="T0" fmla="*/ 18 w 357"/>
                    <a:gd name="T1" fmla="*/ 0 h 121"/>
                    <a:gd name="T2" fmla="*/ 0 w 357"/>
                    <a:gd name="T3" fmla="*/ 18 h 121"/>
                    <a:gd name="T4" fmla="*/ 247 w 357"/>
                    <a:gd name="T5" fmla="*/ 121 h 121"/>
                    <a:gd name="T6" fmla="*/ 357 w 357"/>
                    <a:gd name="T7" fmla="*/ 104 h 121"/>
                    <a:gd name="T8" fmla="*/ 349 w 357"/>
                    <a:gd name="T9" fmla="*/ 80 h 121"/>
                    <a:gd name="T10" fmla="*/ 247 w 357"/>
                    <a:gd name="T11" fmla="*/ 96 h 121"/>
                    <a:gd name="T12" fmla="*/ 18 w 357"/>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57" h="121">
                      <a:moveTo>
                        <a:pt x="18" y="0"/>
                      </a:moveTo>
                      <a:cubicBezTo>
                        <a:pt x="0" y="18"/>
                        <a:pt x="0" y="18"/>
                        <a:pt x="0" y="18"/>
                      </a:cubicBezTo>
                      <a:cubicBezTo>
                        <a:pt x="63" y="82"/>
                        <a:pt x="150" y="121"/>
                        <a:pt x="247" y="121"/>
                      </a:cubicBezTo>
                      <a:cubicBezTo>
                        <a:pt x="285" y="121"/>
                        <a:pt x="322" y="115"/>
                        <a:pt x="357" y="104"/>
                      </a:cubicBezTo>
                      <a:cubicBezTo>
                        <a:pt x="349" y="80"/>
                        <a:pt x="349" y="80"/>
                        <a:pt x="349" y="80"/>
                      </a:cubicBezTo>
                      <a:cubicBezTo>
                        <a:pt x="317" y="91"/>
                        <a:pt x="282" y="96"/>
                        <a:pt x="247" y="96"/>
                      </a:cubicBezTo>
                      <a:cubicBezTo>
                        <a:pt x="157" y="96"/>
                        <a:pt x="76" y="60"/>
                        <a:pt x="18" y="0"/>
                      </a:cubicBezTo>
                    </a:path>
                  </a:pathLst>
                </a:custGeom>
                <a:solidFill>
                  <a:srgbClr val="01AAE5"/>
                </a:solidFill>
                <a:ln>
                  <a:noFill/>
                </a:ln>
                <a:extLst/>
              </p:spPr>
              <p:txBody>
                <a:bodyPr/>
                <a:lstStyle/>
                <a:p>
                  <a:pPr eaLnBrk="1" hangingPunct="1">
                    <a:defRPr/>
                  </a:pPr>
                  <a:endParaRPr lang="zh-CN" altLang="en-US" sz="1050"/>
                </a:p>
              </p:txBody>
            </p:sp>
            <p:sp>
              <p:nvSpPr>
                <p:cNvPr id="2359" name="Freeform 2209"/>
                <p:cNvSpPr>
                  <a:spLocks/>
                </p:cNvSpPr>
                <p:nvPr/>
              </p:nvSpPr>
              <p:spPr bwMode="auto">
                <a:xfrm>
                  <a:off x="16177181" y="4631558"/>
                  <a:ext cx="277341" cy="331964"/>
                </a:xfrm>
                <a:custGeom>
                  <a:avLst/>
                  <a:gdLst>
                    <a:gd name="T0" fmla="*/ 22 w 74"/>
                    <a:gd name="T1" fmla="*/ 0 h 86"/>
                    <a:gd name="T2" fmla="*/ 0 w 74"/>
                    <a:gd name="T3" fmla="*/ 12 h 86"/>
                    <a:gd name="T4" fmla="*/ 56 w 74"/>
                    <a:gd name="T5" fmla="*/ 86 h 86"/>
                    <a:gd name="T6" fmla="*/ 74 w 74"/>
                    <a:gd name="T7" fmla="*/ 68 h 86"/>
                    <a:gd name="T8" fmla="*/ 22 w 74"/>
                    <a:gd name="T9" fmla="*/ 0 h 86"/>
                  </a:gdLst>
                  <a:ahLst/>
                  <a:cxnLst>
                    <a:cxn ang="0">
                      <a:pos x="T0" y="T1"/>
                    </a:cxn>
                    <a:cxn ang="0">
                      <a:pos x="T2" y="T3"/>
                    </a:cxn>
                    <a:cxn ang="0">
                      <a:pos x="T4" y="T5"/>
                    </a:cxn>
                    <a:cxn ang="0">
                      <a:pos x="T6" y="T7"/>
                    </a:cxn>
                    <a:cxn ang="0">
                      <a:pos x="T8" y="T9"/>
                    </a:cxn>
                  </a:cxnLst>
                  <a:rect l="0" t="0" r="r" b="b"/>
                  <a:pathLst>
                    <a:path w="74" h="86">
                      <a:moveTo>
                        <a:pt x="22" y="0"/>
                      </a:moveTo>
                      <a:cubicBezTo>
                        <a:pt x="0" y="12"/>
                        <a:pt x="0" y="12"/>
                        <a:pt x="0" y="12"/>
                      </a:cubicBezTo>
                      <a:cubicBezTo>
                        <a:pt x="16" y="39"/>
                        <a:pt x="34" y="64"/>
                        <a:pt x="56" y="86"/>
                      </a:cubicBezTo>
                      <a:cubicBezTo>
                        <a:pt x="74" y="68"/>
                        <a:pt x="74" y="68"/>
                        <a:pt x="74" y="68"/>
                      </a:cubicBezTo>
                      <a:cubicBezTo>
                        <a:pt x="54" y="48"/>
                        <a:pt x="36" y="25"/>
                        <a:pt x="22" y="0"/>
                      </a:cubicBezTo>
                    </a:path>
                  </a:pathLst>
                </a:custGeom>
                <a:solidFill>
                  <a:srgbClr val="02E3FC"/>
                </a:solidFill>
                <a:ln>
                  <a:noFill/>
                </a:ln>
                <a:extLst/>
              </p:spPr>
              <p:txBody>
                <a:bodyPr/>
                <a:lstStyle/>
                <a:p>
                  <a:pPr eaLnBrk="1" hangingPunct="1">
                    <a:defRPr/>
                  </a:pPr>
                  <a:endParaRPr lang="zh-CN" altLang="en-US" sz="1050"/>
                </a:p>
              </p:txBody>
            </p:sp>
            <p:sp>
              <p:nvSpPr>
                <p:cNvPr id="2360" name="Freeform 2210"/>
                <p:cNvSpPr>
                  <a:spLocks noEditPoints="1"/>
                </p:cNvSpPr>
                <p:nvPr/>
              </p:nvSpPr>
              <p:spPr bwMode="auto">
                <a:xfrm>
                  <a:off x="15847004" y="2584450"/>
                  <a:ext cx="2931936" cy="2932344"/>
                </a:xfrm>
                <a:custGeom>
                  <a:avLst/>
                  <a:gdLst>
                    <a:gd name="T0" fmla="*/ 765 w 782"/>
                    <a:gd name="T1" fmla="*/ 318 h 783"/>
                    <a:gd name="T2" fmla="*/ 742 w 782"/>
                    <a:gd name="T3" fmla="*/ 243 h 783"/>
                    <a:gd name="T4" fmla="*/ 701 w 782"/>
                    <a:gd name="T5" fmla="*/ 174 h 783"/>
                    <a:gd name="T6" fmla="*/ 653 w 782"/>
                    <a:gd name="T7" fmla="*/ 119 h 783"/>
                    <a:gd name="T8" fmla="*/ 592 w 782"/>
                    <a:gd name="T9" fmla="*/ 68 h 783"/>
                    <a:gd name="T10" fmla="*/ 523 w 782"/>
                    <a:gd name="T11" fmla="*/ 31 h 783"/>
                    <a:gd name="T12" fmla="*/ 450 w 782"/>
                    <a:gd name="T13" fmla="*/ 18 h 783"/>
                    <a:gd name="T14" fmla="*/ 384 w 782"/>
                    <a:gd name="T15" fmla="*/ 13 h 783"/>
                    <a:gd name="T16" fmla="*/ 338 w 782"/>
                    <a:gd name="T17" fmla="*/ 14 h 783"/>
                    <a:gd name="T18" fmla="*/ 293 w 782"/>
                    <a:gd name="T19" fmla="*/ 23 h 783"/>
                    <a:gd name="T20" fmla="*/ 225 w 782"/>
                    <a:gd name="T21" fmla="*/ 51 h 783"/>
                    <a:gd name="T22" fmla="*/ 163 w 782"/>
                    <a:gd name="T23" fmla="*/ 89 h 783"/>
                    <a:gd name="T24" fmla="*/ 103 w 782"/>
                    <a:gd name="T25" fmla="*/ 141 h 783"/>
                    <a:gd name="T26" fmla="*/ 59 w 782"/>
                    <a:gd name="T27" fmla="*/ 200 h 783"/>
                    <a:gd name="T28" fmla="*/ 31 w 782"/>
                    <a:gd name="T29" fmla="*/ 274 h 783"/>
                    <a:gd name="T30" fmla="*/ 16 w 782"/>
                    <a:gd name="T31" fmla="*/ 345 h 783"/>
                    <a:gd name="T32" fmla="*/ 11 w 782"/>
                    <a:gd name="T33" fmla="*/ 425 h 783"/>
                    <a:gd name="T34" fmla="*/ 26 w 782"/>
                    <a:gd name="T35" fmla="*/ 502 h 783"/>
                    <a:gd name="T36" fmla="*/ 60 w 782"/>
                    <a:gd name="T37" fmla="*/ 574 h 783"/>
                    <a:gd name="T38" fmla="*/ 91 w 782"/>
                    <a:gd name="T39" fmla="*/ 643 h 783"/>
                    <a:gd name="T40" fmla="*/ 151 w 782"/>
                    <a:gd name="T41" fmla="*/ 688 h 783"/>
                    <a:gd name="T42" fmla="*/ 218 w 782"/>
                    <a:gd name="T43" fmla="*/ 731 h 783"/>
                    <a:gd name="T44" fmla="*/ 293 w 782"/>
                    <a:gd name="T45" fmla="*/ 757 h 783"/>
                    <a:gd name="T46" fmla="*/ 365 w 782"/>
                    <a:gd name="T47" fmla="*/ 769 h 783"/>
                    <a:gd name="T48" fmla="*/ 444 w 782"/>
                    <a:gd name="T49" fmla="*/ 769 h 783"/>
                    <a:gd name="T50" fmla="*/ 521 w 782"/>
                    <a:gd name="T51" fmla="*/ 752 h 783"/>
                    <a:gd name="T52" fmla="*/ 585 w 782"/>
                    <a:gd name="T53" fmla="*/ 716 h 783"/>
                    <a:gd name="T54" fmla="*/ 644 w 782"/>
                    <a:gd name="T55" fmla="*/ 672 h 783"/>
                    <a:gd name="T56" fmla="*/ 699 w 782"/>
                    <a:gd name="T57" fmla="*/ 615 h 783"/>
                    <a:gd name="T58" fmla="*/ 739 w 782"/>
                    <a:gd name="T59" fmla="*/ 547 h 783"/>
                    <a:gd name="T60" fmla="*/ 760 w 782"/>
                    <a:gd name="T61" fmla="*/ 470 h 783"/>
                    <a:gd name="T62" fmla="*/ 769 w 782"/>
                    <a:gd name="T63" fmla="*/ 397 h 783"/>
                    <a:gd name="T64" fmla="*/ 757 w 782"/>
                    <a:gd name="T65" fmla="*/ 462 h 783"/>
                    <a:gd name="T66" fmla="*/ 737 w 782"/>
                    <a:gd name="T67" fmla="*/ 538 h 783"/>
                    <a:gd name="T68" fmla="*/ 702 w 782"/>
                    <a:gd name="T69" fmla="*/ 602 h 783"/>
                    <a:gd name="T70" fmla="*/ 650 w 782"/>
                    <a:gd name="T71" fmla="*/ 660 h 783"/>
                    <a:gd name="T72" fmla="*/ 589 w 782"/>
                    <a:gd name="T73" fmla="*/ 708 h 783"/>
                    <a:gd name="T74" fmla="*/ 520 w 782"/>
                    <a:gd name="T75" fmla="*/ 745 h 783"/>
                    <a:gd name="T76" fmla="*/ 455 w 782"/>
                    <a:gd name="T77" fmla="*/ 762 h 783"/>
                    <a:gd name="T78" fmla="*/ 377 w 782"/>
                    <a:gd name="T79" fmla="*/ 765 h 783"/>
                    <a:gd name="T80" fmla="*/ 301 w 782"/>
                    <a:gd name="T81" fmla="*/ 754 h 783"/>
                    <a:gd name="T82" fmla="*/ 226 w 782"/>
                    <a:gd name="T83" fmla="*/ 730 h 783"/>
                    <a:gd name="T84" fmla="*/ 164 w 782"/>
                    <a:gd name="T85" fmla="*/ 692 h 783"/>
                    <a:gd name="T86" fmla="*/ 109 w 782"/>
                    <a:gd name="T87" fmla="*/ 636 h 783"/>
                    <a:gd name="T88" fmla="*/ 70 w 782"/>
                    <a:gd name="T89" fmla="*/ 576 h 783"/>
                    <a:gd name="T90" fmla="*/ 33 w 782"/>
                    <a:gd name="T91" fmla="*/ 508 h 783"/>
                    <a:gd name="T92" fmla="*/ 17 w 782"/>
                    <a:gd name="T93" fmla="*/ 437 h 783"/>
                    <a:gd name="T94" fmla="*/ 19 w 782"/>
                    <a:gd name="T95" fmla="*/ 358 h 783"/>
                    <a:gd name="T96" fmla="*/ 34 w 782"/>
                    <a:gd name="T97" fmla="*/ 282 h 783"/>
                    <a:gd name="T98" fmla="*/ 62 w 782"/>
                    <a:gd name="T99" fmla="*/ 209 h 783"/>
                    <a:gd name="T100" fmla="*/ 113 w 782"/>
                    <a:gd name="T101" fmla="*/ 158 h 783"/>
                    <a:gd name="T102" fmla="*/ 156 w 782"/>
                    <a:gd name="T103" fmla="*/ 101 h 783"/>
                    <a:gd name="T104" fmla="*/ 221 w 782"/>
                    <a:gd name="T105" fmla="*/ 58 h 783"/>
                    <a:gd name="T106" fmla="*/ 293 w 782"/>
                    <a:gd name="T107" fmla="*/ 27 h 783"/>
                    <a:gd name="T108" fmla="*/ 359 w 782"/>
                    <a:gd name="T109" fmla="*/ 19 h 783"/>
                    <a:gd name="T110" fmla="*/ 436 w 782"/>
                    <a:gd name="T111" fmla="*/ 17 h 783"/>
                    <a:gd name="T112" fmla="*/ 507 w 782"/>
                    <a:gd name="T113" fmla="*/ 33 h 783"/>
                    <a:gd name="T114" fmla="*/ 576 w 782"/>
                    <a:gd name="T115" fmla="*/ 70 h 783"/>
                    <a:gd name="T116" fmla="*/ 635 w 782"/>
                    <a:gd name="T117" fmla="*/ 109 h 783"/>
                    <a:gd name="T118" fmla="*/ 691 w 782"/>
                    <a:gd name="T119" fmla="*/ 164 h 783"/>
                    <a:gd name="T120" fmla="*/ 729 w 782"/>
                    <a:gd name="T121" fmla="*/ 226 h 783"/>
                    <a:gd name="T122" fmla="*/ 753 w 782"/>
                    <a:gd name="T123" fmla="*/ 301 h 783"/>
                    <a:gd name="T124" fmla="*/ 764 w 782"/>
                    <a:gd name="T125" fmla="*/ 37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2" h="783">
                      <a:moveTo>
                        <a:pt x="782" y="391"/>
                      </a:moveTo>
                      <a:cubicBezTo>
                        <a:pt x="774" y="391"/>
                        <a:pt x="774" y="391"/>
                        <a:pt x="774" y="391"/>
                      </a:cubicBezTo>
                      <a:cubicBezTo>
                        <a:pt x="774" y="390"/>
                        <a:pt x="774" y="390"/>
                        <a:pt x="774" y="390"/>
                      </a:cubicBezTo>
                      <a:cubicBezTo>
                        <a:pt x="769" y="390"/>
                        <a:pt x="769" y="390"/>
                        <a:pt x="769" y="390"/>
                      </a:cubicBezTo>
                      <a:cubicBezTo>
                        <a:pt x="769" y="389"/>
                        <a:pt x="769" y="387"/>
                        <a:pt x="769" y="385"/>
                      </a:cubicBezTo>
                      <a:cubicBezTo>
                        <a:pt x="772" y="385"/>
                        <a:pt x="772" y="385"/>
                        <a:pt x="772" y="385"/>
                      </a:cubicBezTo>
                      <a:cubicBezTo>
                        <a:pt x="772" y="384"/>
                        <a:pt x="772" y="384"/>
                        <a:pt x="772" y="384"/>
                      </a:cubicBezTo>
                      <a:cubicBezTo>
                        <a:pt x="769" y="384"/>
                        <a:pt x="769" y="384"/>
                        <a:pt x="769" y="384"/>
                      </a:cubicBezTo>
                      <a:cubicBezTo>
                        <a:pt x="769" y="382"/>
                        <a:pt x="768" y="380"/>
                        <a:pt x="768" y="378"/>
                      </a:cubicBezTo>
                      <a:cubicBezTo>
                        <a:pt x="771" y="378"/>
                        <a:pt x="771" y="378"/>
                        <a:pt x="771" y="378"/>
                      </a:cubicBezTo>
                      <a:cubicBezTo>
                        <a:pt x="771" y="377"/>
                        <a:pt x="771" y="377"/>
                        <a:pt x="771" y="377"/>
                      </a:cubicBezTo>
                      <a:cubicBezTo>
                        <a:pt x="768" y="378"/>
                        <a:pt x="768" y="378"/>
                        <a:pt x="768" y="378"/>
                      </a:cubicBezTo>
                      <a:cubicBezTo>
                        <a:pt x="768" y="376"/>
                        <a:pt x="768" y="374"/>
                        <a:pt x="768" y="372"/>
                      </a:cubicBezTo>
                      <a:cubicBezTo>
                        <a:pt x="771" y="372"/>
                        <a:pt x="771" y="372"/>
                        <a:pt x="771" y="372"/>
                      </a:cubicBezTo>
                      <a:cubicBezTo>
                        <a:pt x="771" y="371"/>
                        <a:pt x="771" y="371"/>
                        <a:pt x="771" y="371"/>
                      </a:cubicBezTo>
                      <a:cubicBezTo>
                        <a:pt x="768" y="371"/>
                        <a:pt x="768" y="371"/>
                        <a:pt x="768" y="371"/>
                      </a:cubicBezTo>
                      <a:cubicBezTo>
                        <a:pt x="768" y="369"/>
                        <a:pt x="768" y="367"/>
                        <a:pt x="768" y="365"/>
                      </a:cubicBezTo>
                      <a:cubicBezTo>
                        <a:pt x="771" y="365"/>
                        <a:pt x="771" y="365"/>
                        <a:pt x="771" y="365"/>
                      </a:cubicBezTo>
                      <a:cubicBezTo>
                        <a:pt x="771" y="364"/>
                        <a:pt x="771" y="364"/>
                        <a:pt x="771" y="364"/>
                      </a:cubicBezTo>
                      <a:cubicBezTo>
                        <a:pt x="768" y="364"/>
                        <a:pt x="768" y="364"/>
                        <a:pt x="768" y="364"/>
                      </a:cubicBezTo>
                      <a:cubicBezTo>
                        <a:pt x="768" y="362"/>
                        <a:pt x="767" y="361"/>
                        <a:pt x="767" y="359"/>
                      </a:cubicBezTo>
                      <a:cubicBezTo>
                        <a:pt x="770" y="358"/>
                        <a:pt x="770" y="358"/>
                        <a:pt x="770" y="358"/>
                      </a:cubicBezTo>
                      <a:cubicBezTo>
                        <a:pt x="770" y="358"/>
                        <a:pt x="770" y="358"/>
                        <a:pt x="770" y="358"/>
                      </a:cubicBezTo>
                      <a:cubicBezTo>
                        <a:pt x="767" y="358"/>
                        <a:pt x="767" y="358"/>
                        <a:pt x="767" y="358"/>
                      </a:cubicBezTo>
                      <a:cubicBezTo>
                        <a:pt x="767" y="356"/>
                        <a:pt x="767" y="354"/>
                        <a:pt x="767" y="352"/>
                      </a:cubicBezTo>
                      <a:cubicBezTo>
                        <a:pt x="770" y="352"/>
                        <a:pt x="770" y="352"/>
                        <a:pt x="770" y="352"/>
                      </a:cubicBezTo>
                      <a:cubicBezTo>
                        <a:pt x="770" y="351"/>
                        <a:pt x="770" y="351"/>
                        <a:pt x="770" y="351"/>
                      </a:cubicBezTo>
                      <a:cubicBezTo>
                        <a:pt x="767" y="351"/>
                        <a:pt x="767" y="351"/>
                        <a:pt x="767" y="351"/>
                      </a:cubicBezTo>
                      <a:cubicBezTo>
                        <a:pt x="766" y="349"/>
                        <a:pt x="766" y="347"/>
                        <a:pt x="766" y="345"/>
                      </a:cubicBezTo>
                      <a:cubicBezTo>
                        <a:pt x="769" y="345"/>
                        <a:pt x="769" y="345"/>
                        <a:pt x="769" y="345"/>
                      </a:cubicBezTo>
                      <a:cubicBezTo>
                        <a:pt x="769" y="344"/>
                        <a:pt x="769" y="344"/>
                        <a:pt x="769" y="344"/>
                      </a:cubicBezTo>
                      <a:cubicBezTo>
                        <a:pt x="766" y="345"/>
                        <a:pt x="766" y="345"/>
                        <a:pt x="766" y="345"/>
                      </a:cubicBezTo>
                      <a:cubicBezTo>
                        <a:pt x="766" y="343"/>
                        <a:pt x="765" y="341"/>
                        <a:pt x="765" y="339"/>
                      </a:cubicBezTo>
                      <a:cubicBezTo>
                        <a:pt x="768" y="339"/>
                        <a:pt x="768" y="339"/>
                        <a:pt x="768" y="339"/>
                      </a:cubicBezTo>
                      <a:cubicBezTo>
                        <a:pt x="768" y="338"/>
                        <a:pt x="768" y="338"/>
                        <a:pt x="768" y="338"/>
                      </a:cubicBezTo>
                      <a:cubicBezTo>
                        <a:pt x="765" y="338"/>
                        <a:pt x="765" y="338"/>
                        <a:pt x="765" y="338"/>
                      </a:cubicBezTo>
                      <a:cubicBezTo>
                        <a:pt x="765" y="336"/>
                        <a:pt x="764" y="334"/>
                        <a:pt x="764" y="332"/>
                      </a:cubicBezTo>
                      <a:cubicBezTo>
                        <a:pt x="767" y="332"/>
                        <a:pt x="767" y="332"/>
                        <a:pt x="767" y="332"/>
                      </a:cubicBezTo>
                      <a:cubicBezTo>
                        <a:pt x="767" y="331"/>
                        <a:pt x="767" y="331"/>
                        <a:pt x="767" y="331"/>
                      </a:cubicBezTo>
                      <a:cubicBezTo>
                        <a:pt x="764" y="332"/>
                        <a:pt x="764" y="332"/>
                        <a:pt x="764" y="332"/>
                      </a:cubicBezTo>
                      <a:cubicBezTo>
                        <a:pt x="764" y="330"/>
                        <a:pt x="763" y="328"/>
                        <a:pt x="763" y="326"/>
                      </a:cubicBezTo>
                      <a:cubicBezTo>
                        <a:pt x="768" y="325"/>
                        <a:pt x="768" y="325"/>
                        <a:pt x="768" y="325"/>
                      </a:cubicBezTo>
                      <a:cubicBezTo>
                        <a:pt x="768" y="325"/>
                        <a:pt x="768" y="325"/>
                        <a:pt x="768" y="325"/>
                      </a:cubicBezTo>
                      <a:cubicBezTo>
                        <a:pt x="776" y="324"/>
                        <a:pt x="776" y="324"/>
                        <a:pt x="776" y="324"/>
                      </a:cubicBezTo>
                      <a:cubicBezTo>
                        <a:pt x="776" y="323"/>
                        <a:pt x="776" y="323"/>
                        <a:pt x="776" y="323"/>
                      </a:cubicBezTo>
                      <a:cubicBezTo>
                        <a:pt x="768" y="324"/>
                        <a:pt x="768" y="324"/>
                        <a:pt x="768" y="324"/>
                      </a:cubicBezTo>
                      <a:cubicBezTo>
                        <a:pt x="768" y="324"/>
                        <a:pt x="768" y="324"/>
                        <a:pt x="768" y="324"/>
                      </a:cubicBezTo>
                      <a:cubicBezTo>
                        <a:pt x="763" y="325"/>
                        <a:pt x="763" y="325"/>
                        <a:pt x="763" y="325"/>
                      </a:cubicBezTo>
                      <a:cubicBezTo>
                        <a:pt x="763" y="323"/>
                        <a:pt x="762" y="321"/>
                        <a:pt x="762" y="319"/>
                      </a:cubicBezTo>
                      <a:cubicBezTo>
                        <a:pt x="765" y="319"/>
                        <a:pt x="765" y="319"/>
                        <a:pt x="765" y="319"/>
                      </a:cubicBezTo>
                      <a:cubicBezTo>
                        <a:pt x="765" y="318"/>
                        <a:pt x="765" y="318"/>
                        <a:pt x="765" y="318"/>
                      </a:cubicBezTo>
                      <a:cubicBezTo>
                        <a:pt x="762" y="319"/>
                        <a:pt x="762" y="319"/>
                        <a:pt x="762" y="319"/>
                      </a:cubicBezTo>
                      <a:cubicBezTo>
                        <a:pt x="761" y="317"/>
                        <a:pt x="761" y="315"/>
                        <a:pt x="761" y="313"/>
                      </a:cubicBezTo>
                      <a:cubicBezTo>
                        <a:pt x="763" y="312"/>
                        <a:pt x="763" y="312"/>
                        <a:pt x="763" y="312"/>
                      </a:cubicBezTo>
                      <a:cubicBezTo>
                        <a:pt x="763" y="312"/>
                        <a:pt x="763" y="312"/>
                        <a:pt x="763" y="312"/>
                      </a:cubicBezTo>
                      <a:cubicBezTo>
                        <a:pt x="760" y="312"/>
                        <a:pt x="760" y="312"/>
                        <a:pt x="760" y="312"/>
                      </a:cubicBezTo>
                      <a:cubicBezTo>
                        <a:pt x="760" y="310"/>
                        <a:pt x="760" y="308"/>
                        <a:pt x="759" y="306"/>
                      </a:cubicBezTo>
                      <a:cubicBezTo>
                        <a:pt x="762" y="306"/>
                        <a:pt x="762" y="306"/>
                        <a:pt x="762" y="306"/>
                      </a:cubicBezTo>
                      <a:cubicBezTo>
                        <a:pt x="762" y="305"/>
                        <a:pt x="762" y="305"/>
                        <a:pt x="762" y="305"/>
                      </a:cubicBezTo>
                      <a:cubicBezTo>
                        <a:pt x="759" y="306"/>
                        <a:pt x="759" y="306"/>
                        <a:pt x="759" y="306"/>
                      </a:cubicBezTo>
                      <a:cubicBezTo>
                        <a:pt x="759" y="304"/>
                        <a:pt x="758" y="302"/>
                        <a:pt x="758" y="300"/>
                      </a:cubicBezTo>
                      <a:cubicBezTo>
                        <a:pt x="760" y="299"/>
                        <a:pt x="760" y="299"/>
                        <a:pt x="760" y="299"/>
                      </a:cubicBezTo>
                      <a:cubicBezTo>
                        <a:pt x="760" y="299"/>
                        <a:pt x="760" y="299"/>
                        <a:pt x="760" y="299"/>
                      </a:cubicBezTo>
                      <a:cubicBezTo>
                        <a:pt x="757" y="299"/>
                        <a:pt x="757" y="299"/>
                        <a:pt x="757" y="299"/>
                      </a:cubicBezTo>
                      <a:cubicBezTo>
                        <a:pt x="757" y="297"/>
                        <a:pt x="757" y="295"/>
                        <a:pt x="756" y="294"/>
                      </a:cubicBezTo>
                      <a:cubicBezTo>
                        <a:pt x="759" y="293"/>
                        <a:pt x="759" y="293"/>
                        <a:pt x="759" y="293"/>
                      </a:cubicBezTo>
                      <a:cubicBezTo>
                        <a:pt x="759" y="292"/>
                        <a:pt x="759" y="292"/>
                        <a:pt x="759" y="292"/>
                      </a:cubicBezTo>
                      <a:cubicBezTo>
                        <a:pt x="756" y="293"/>
                        <a:pt x="756" y="293"/>
                        <a:pt x="756" y="293"/>
                      </a:cubicBezTo>
                      <a:cubicBezTo>
                        <a:pt x="755" y="291"/>
                        <a:pt x="755" y="289"/>
                        <a:pt x="754" y="287"/>
                      </a:cubicBezTo>
                      <a:cubicBezTo>
                        <a:pt x="757" y="286"/>
                        <a:pt x="757" y="286"/>
                        <a:pt x="757" y="286"/>
                      </a:cubicBezTo>
                      <a:cubicBezTo>
                        <a:pt x="757" y="286"/>
                        <a:pt x="757" y="286"/>
                        <a:pt x="757" y="286"/>
                      </a:cubicBezTo>
                      <a:cubicBezTo>
                        <a:pt x="754" y="287"/>
                        <a:pt x="754" y="287"/>
                        <a:pt x="754" y="287"/>
                      </a:cubicBezTo>
                      <a:cubicBezTo>
                        <a:pt x="754" y="285"/>
                        <a:pt x="753" y="283"/>
                        <a:pt x="752" y="281"/>
                      </a:cubicBezTo>
                      <a:cubicBezTo>
                        <a:pt x="755" y="280"/>
                        <a:pt x="755" y="280"/>
                        <a:pt x="755" y="280"/>
                      </a:cubicBezTo>
                      <a:cubicBezTo>
                        <a:pt x="755" y="279"/>
                        <a:pt x="755" y="279"/>
                        <a:pt x="755" y="279"/>
                      </a:cubicBezTo>
                      <a:cubicBezTo>
                        <a:pt x="752" y="280"/>
                        <a:pt x="752" y="280"/>
                        <a:pt x="752" y="280"/>
                      </a:cubicBezTo>
                      <a:cubicBezTo>
                        <a:pt x="752" y="278"/>
                        <a:pt x="751" y="276"/>
                        <a:pt x="750" y="275"/>
                      </a:cubicBezTo>
                      <a:cubicBezTo>
                        <a:pt x="753" y="274"/>
                        <a:pt x="753" y="274"/>
                        <a:pt x="753" y="274"/>
                      </a:cubicBezTo>
                      <a:cubicBezTo>
                        <a:pt x="753" y="273"/>
                        <a:pt x="753" y="273"/>
                        <a:pt x="753" y="273"/>
                      </a:cubicBezTo>
                      <a:cubicBezTo>
                        <a:pt x="750" y="274"/>
                        <a:pt x="750" y="274"/>
                        <a:pt x="750" y="274"/>
                      </a:cubicBezTo>
                      <a:cubicBezTo>
                        <a:pt x="750" y="272"/>
                        <a:pt x="749" y="270"/>
                        <a:pt x="748" y="268"/>
                      </a:cubicBezTo>
                      <a:cubicBezTo>
                        <a:pt x="751" y="267"/>
                        <a:pt x="751" y="267"/>
                        <a:pt x="751" y="267"/>
                      </a:cubicBezTo>
                      <a:cubicBezTo>
                        <a:pt x="751" y="267"/>
                        <a:pt x="751" y="267"/>
                        <a:pt x="751" y="267"/>
                      </a:cubicBezTo>
                      <a:cubicBezTo>
                        <a:pt x="748" y="268"/>
                        <a:pt x="748" y="268"/>
                        <a:pt x="748" y="268"/>
                      </a:cubicBezTo>
                      <a:cubicBezTo>
                        <a:pt x="748" y="266"/>
                        <a:pt x="747" y="264"/>
                        <a:pt x="746" y="263"/>
                      </a:cubicBezTo>
                      <a:cubicBezTo>
                        <a:pt x="751" y="261"/>
                        <a:pt x="751" y="261"/>
                        <a:pt x="751" y="261"/>
                      </a:cubicBezTo>
                      <a:cubicBezTo>
                        <a:pt x="751" y="260"/>
                        <a:pt x="751" y="260"/>
                        <a:pt x="751" y="260"/>
                      </a:cubicBezTo>
                      <a:cubicBezTo>
                        <a:pt x="758" y="258"/>
                        <a:pt x="758" y="258"/>
                        <a:pt x="758" y="258"/>
                      </a:cubicBezTo>
                      <a:cubicBezTo>
                        <a:pt x="758" y="257"/>
                        <a:pt x="758" y="257"/>
                        <a:pt x="758" y="257"/>
                      </a:cubicBezTo>
                      <a:cubicBezTo>
                        <a:pt x="751" y="260"/>
                        <a:pt x="751" y="260"/>
                        <a:pt x="751" y="260"/>
                      </a:cubicBezTo>
                      <a:cubicBezTo>
                        <a:pt x="751" y="259"/>
                        <a:pt x="751" y="259"/>
                        <a:pt x="751" y="259"/>
                      </a:cubicBezTo>
                      <a:cubicBezTo>
                        <a:pt x="746" y="261"/>
                        <a:pt x="746" y="261"/>
                        <a:pt x="746" y="261"/>
                      </a:cubicBezTo>
                      <a:cubicBezTo>
                        <a:pt x="745" y="259"/>
                        <a:pt x="745" y="258"/>
                        <a:pt x="744" y="256"/>
                      </a:cubicBezTo>
                      <a:cubicBezTo>
                        <a:pt x="747" y="255"/>
                        <a:pt x="747" y="255"/>
                        <a:pt x="747" y="255"/>
                      </a:cubicBezTo>
                      <a:cubicBezTo>
                        <a:pt x="746" y="254"/>
                        <a:pt x="746" y="254"/>
                        <a:pt x="746" y="254"/>
                      </a:cubicBezTo>
                      <a:cubicBezTo>
                        <a:pt x="744" y="255"/>
                        <a:pt x="744" y="255"/>
                        <a:pt x="744" y="255"/>
                      </a:cubicBezTo>
                      <a:cubicBezTo>
                        <a:pt x="743" y="253"/>
                        <a:pt x="742" y="252"/>
                        <a:pt x="741" y="250"/>
                      </a:cubicBezTo>
                      <a:cubicBezTo>
                        <a:pt x="744" y="249"/>
                        <a:pt x="744" y="249"/>
                        <a:pt x="744" y="249"/>
                      </a:cubicBezTo>
                      <a:cubicBezTo>
                        <a:pt x="744" y="248"/>
                        <a:pt x="744" y="248"/>
                        <a:pt x="744" y="248"/>
                      </a:cubicBezTo>
                      <a:cubicBezTo>
                        <a:pt x="741" y="249"/>
                        <a:pt x="741" y="249"/>
                        <a:pt x="741" y="249"/>
                      </a:cubicBezTo>
                      <a:cubicBezTo>
                        <a:pt x="740" y="247"/>
                        <a:pt x="740" y="245"/>
                        <a:pt x="739" y="244"/>
                      </a:cubicBezTo>
                      <a:cubicBezTo>
                        <a:pt x="742" y="243"/>
                        <a:pt x="742" y="243"/>
                        <a:pt x="742" y="243"/>
                      </a:cubicBezTo>
                      <a:cubicBezTo>
                        <a:pt x="741" y="242"/>
                        <a:pt x="741" y="242"/>
                        <a:pt x="741" y="242"/>
                      </a:cubicBezTo>
                      <a:cubicBezTo>
                        <a:pt x="739" y="243"/>
                        <a:pt x="739" y="243"/>
                        <a:pt x="739" y="243"/>
                      </a:cubicBezTo>
                      <a:cubicBezTo>
                        <a:pt x="738" y="241"/>
                        <a:pt x="737" y="239"/>
                        <a:pt x="736" y="238"/>
                      </a:cubicBezTo>
                      <a:cubicBezTo>
                        <a:pt x="739" y="236"/>
                        <a:pt x="739" y="236"/>
                        <a:pt x="739" y="236"/>
                      </a:cubicBezTo>
                      <a:cubicBezTo>
                        <a:pt x="739" y="236"/>
                        <a:pt x="739" y="236"/>
                        <a:pt x="739" y="236"/>
                      </a:cubicBezTo>
                      <a:cubicBezTo>
                        <a:pt x="736" y="237"/>
                        <a:pt x="736" y="237"/>
                        <a:pt x="736" y="237"/>
                      </a:cubicBezTo>
                      <a:cubicBezTo>
                        <a:pt x="735" y="235"/>
                        <a:pt x="734" y="233"/>
                        <a:pt x="734" y="232"/>
                      </a:cubicBezTo>
                      <a:cubicBezTo>
                        <a:pt x="736" y="230"/>
                        <a:pt x="736" y="230"/>
                        <a:pt x="736" y="230"/>
                      </a:cubicBezTo>
                      <a:cubicBezTo>
                        <a:pt x="736" y="230"/>
                        <a:pt x="736" y="230"/>
                        <a:pt x="736" y="230"/>
                      </a:cubicBezTo>
                      <a:cubicBezTo>
                        <a:pt x="733" y="231"/>
                        <a:pt x="733" y="231"/>
                        <a:pt x="733" y="231"/>
                      </a:cubicBezTo>
                      <a:cubicBezTo>
                        <a:pt x="732" y="229"/>
                        <a:pt x="732" y="227"/>
                        <a:pt x="731" y="226"/>
                      </a:cubicBezTo>
                      <a:cubicBezTo>
                        <a:pt x="733" y="224"/>
                        <a:pt x="733" y="224"/>
                        <a:pt x="733" y="224"/>
                      </a:cubicBezTo>
                      <a:cubicBezTo>
                        <a:pt x="733" y="224"/>
                        <a:pt x="733" y="224"/>
                        <a:pt x="733" y="224"/>
                      </a:cubicBezTo>
                      <a:cubicBezTo>
                        <a:pt x="730" y="225"/>
                        <a:pt x="730" y="225"/>
                        <a:pt x="730" y="225"/>
                      </a:cubicBezTo>
                      <a:cubicBezTo>
                        <a:pt x="730" y="223"/>
                        <a:pt x="729" y="221"/>
                        <a:pt x="728" y="220"/>
                      </a:cubicBezTo>
                      <a:cubicBezTo>
                        <a:pt x="730" y="218"/>
                        <a:pt x="730" y="218"/>
                        <a:pt x="730" y="218"/>
                      </a:cubicBezTo>
                      <a:cubicBezTo>
                        <a:pt x="730" y="218"/>
                        <a:pt x="730" y="218"/>
                        <a:pt x="730" y="218"/>
                      </a:cubicBezTo>
                      <a:cubicBezTo>
                        <a:pt x="727" y="219"/>
                        <a:pt x="727" y="219"/>
                        <a:pt x="727" y="219"/>
                      </a:cubicBezTo>
                      <a:cubicBezTo>
                        <a:pt x="727" y="217"/>
                        <a:pt x="726" y="216"/>
                        <a:pt x="725" y="214"/>
                      </a:cubicBezTo>
                      <a:cubicBezTo>
                        <a:pt x="727" y="213"/>
                        <a:pt x="727" y="213"/>
                        <a:pt x="727" y="213"/>
                      </a:cubicBezTo>
                      <a:cubicBezTo>
                        <a:pt x="727" y="212"/>
                        <a:pt x="727" y="212"/>
                        <a:pt x="727" y="212"/>
                      </a:cubicBezTo>
                      <a:cubicBezTo>
                        <a:pt x="724" y="213"/>
                        <a:pt x="724" y="213"/>
                        <a:pt x="724" y="213"/>
                      </a:cubicBezTo>
                      <a:cubicBezTo>
                        <a:pt x="723" y="211"/>
                        <a:pt x="723" y="210"/>
                        <a:pt x="722" y="208"/>
                      </a:cubicBezTo>
                      <a:cubicBezTo>
                        <a:pt x="724" y="207"/>
                        <a:pt x="724" y="207"/>
                        <a:pt x="724" y="207"/>
                      </a:cubicBezTo>
                      <a:cubicBezTo>
                        <a:pt x="724" y="206"/>
                        <a:pt x="724" y="206"/>
                        <a:pt x="724" y="206"/>
                      </a:cubicBezTo>
                      <a:cubicBezTo>
                        <a:pt x="721" y="207"/>
                        <a:pt x="721" y="207"/>
                        <a:pt x="721" y="207"/>
                      </a:cubicBezTo>
                      <a:cubicBezTo>
                        <a:pt x="720" y="206"/>
                        <a:pt x="719" y="204"/>
                        <a:pt x="719" y="203"/>
                      </a:cubicBezTo>
                      <a:cubicBezTo>
                        <a:pt x="723" y="200"/>
                        <a:pt x="723" y="200"/>
                        <a:pt x="723" y="200"/>
                      </a:cubicBezTo>
                      <a:cubicBezTo>
                        <a:pt x="723" y="200"/>
                        <a:pt x="723" y="200"/>
                        <a:pt x="723" y="200"/>
                      </a:cubicBezTo>
                      <a:cubicBezTo>
                        <a:pt x="730" y="196"/>
                        <a:pt x="730" y="196"/>
                        <a:pt x="730" y="196"/>
                      </a:cubicBezTo>
                      <a:cubicBezTo>
                        <a:pt x="729" y="195"/>
                        <a:pt x="729" y="195"/>
                        <a:pt x="729" y="195"/>
                      </a:cubicBezTo>
                      <a:cubicBezTo>
                        <a:pt x="723" y="199"/>
                        <a:pt x="723" y="199"/>
                        <a:pt x="723" y="199"/>
                      </a:cubicBezTo>
                      <a:cubicBezTo>
                        <a:pt x="722" y="199"/>
                        <a:pt x="722" y="199"/>
                        <a:pt x="722" y="199"/>
                      </a:cubicBezTo>
                      <a:cubicBezTo>
                        <a:pt x="718" y="201"/>
                        <a:pt x="718" y="201"/>
                        <a:pt x="718" y="201"/>
                      </a:cubicBezTo>
                      <a:cubicBezTo>
                        <a:pt x="717" y="200"/>
                        <a:pt x="716" y="198"/>
                        <a:pt x="715" y="197"/>
                      </a:cubicBezTo>
                      <a:cubicBezTo>
                        <a:pt x="717" y="195"/>
                        <a:pt x="717" y="195"/>
                        <a:pt x="717" y="195"/>
                      </a:cubicBezTo>
                      <a:cubicBezTo>
                        <a:pt x="717" y="194"/>
                        <a:pt x="717" y="194"/>
                        <a:pt x="717" y="194"/>
                      </a:cubicBezTo>
                      <a:cubicBezTo>
                        <a:pt x="715" y="196"/>
                        <a:pt x="715" y="196"/>
                        <a:pt x="715" y="196"/>
                      </a:cubicBezTo>
                      <a:cubicBezTo>
                        <a:pt x="714" y="194"/>
                        <a:pt x="713" y="193"/>
                        <a:pt x="712" y="191"/>
                      </a:cubicBezTo>
                      <a:cubicBezTo>
                        <a:pt x="714" y="189"/>
                        <a:pt x="714" y="189"/>
                        <a:pt x="714" y="189"/>
                      </a:cubicBezTo>
                      <a:cubicBezTo>
                        <a:pt x="714" y="189"/>
                        <a:pt x="714" y="189"/>
                        <a:pt x="714" y="189"/>
                      </a:cubicBezTo>
                      <a:cubicBezTo>
                        <a:pt x="711" y="190"/>
                        <a:pt x="711" y="190"/>
                        <a:pt x="711" y="190"/>
                      </a:cubicBezTo>
                      <a:cubicBezTo>
                        <a:pt x="710" y="189"/>
                        <a:pt x="709" y="187"/>
                        <a:pt x="708" y="185"/>
                      </a:cubicBezTo>
                      <a:cubicBezTo>
                        <a:pt x="710" y="184"/>
                        <a:pt x="710" y="184"/>
                        <a:pt x="710" y="184"/>
                      </a:cubicBezTo>
                      <a:cubicBezTo>
                        <a:pt x="710" y="183"/>
                        <a:pt x="710" y="183"/>
                        <a:pt x="710" y="183"/>
                      </a:cubicBezTo>
                      <a:cubicBezTo>
                        <a:pt x="708" y="185"/>
                        <a:pt x="708" y="185"/>
                        <a:pt x="708" y="185"/>
                      </a:cubicBezTo>
                      <a:cubicBezTo>
                        <a:pt x="707" y="183"/>
                        <a:pt x="705" y="182"/>
                        <a:pt x="704" y="180"/>
                      </a:cubicBezTo>
                      <a:cubicBezTo>
                        <a:pt x="707" y="178"/>
                        <a:pt x="707" y="178"/>
                        <a:pt x="707" y="178"/>
                      </a:cubicBezTo>
                      <a:cubicBezTo>
                        <a:pt x="706" y="178"/>
                        <a:pt x="706" y="178"/>
                        <a:pt x="706" y="178"/>
                      </a:cubicBezTo>
                      <a:cubicBezTo>
                        <a:pt x="704" y="179"/>
                        <a:pt x="704" y="179"/>
                        <a:pt x="704" y="179"/>
                      </a:cubicBezTo>
                      <a:cubicBezTo>
                        <a:pt x="703" y="178"/>
                        <a:pt x="702" y="176"/>
                        <a:pt x="701" y="174"/>
                      </a:cubicBezTo>
                      <a:cubicBezTo>
                        <a:pt x="703" y="173"/>
                        <a:pt x="703" y="173"/>
                        <a:pt x="703" y="173"/>
                      </a:cubicBezTo>
                      <a:cubicBezTo>
                        <a:pt x="703" y="172"/>
                        <a:pt x="703" y="172"/>
                        <a:pt x="703" y="172"/>
                      </a:cubicBezTo>
                      <a:cubicBezTo>
                        <a:pt x="700" y="174"/>
                        <a:pt x="700" y="174"/>
                        <a:pt x="700" y="174"/>
                      </a:cubicBezTo>
                      <a:cubicBezTo>
                        <a:pt x="699" y="172"/>
                        <a:pt x="698" y="171"/>
                        <a:pt x="697" y="169"/>
                      </a:cubicBezTo>
                      <a:cubicBezTo>
                        <a:pt x="699" y="167"/>
                        <a:pt x="699" y="167"/>
                        <a:pt x="699" y="167"/>
                      </a:cubicBezTo>
                      <a:cubicBezTo>
                        <a:pt x="699" y="167"/>
                        <a:pt x="699" y="167"/>
                        <a:pt x="699" y="167"/>
                      </a:cubicBezTo>
                      <a:cubicBezTo>
                        <a:pt x="696" y="169"/>
                        <a:pt x="696" y="169"/>
                        <a:pt x="696" y="169"/>
                      </a:cubicBezTo>
                      <a:cubicBezTo>
                        <a:pt x="695" y="167"/>
                        <a:pt x="694" y="165"/>
                        <a:pt x="693" y="164"/>
                      </a:cubicBezTo>
                      <a:cubicBezTo>
                        <a:pt x="695" y="162"/>
                        <a:pt x="695" y="162"/>
                        <a:pt x="695" y="162"/>
                      </a:cubicBezTo>
                      <a:cubicBezTo>
                        <a:pt x="695" y="161"/>
                        <a:pt x="695" y="161"/>
                        <a:pt x="695" y="161"/>
                      </a:cubicBezTo>
                      <a:cubicBezTo>
                        <a:pt x="692" y="163"/>
                        <a:pt x="692" y="163"/>
                        <a:pt x="692" y="163"/>
                      </a:cubicBezTo>
                      <a:cubicBezTo>
                        <a:pt x="691" y="162"/>
                        <a:pt x="690" y="160"/>
                        <a:pt x="689" y="159"/>
                      </a:cubicBezTo>
                      <a:cubicBezTo>
                        <a:pt x="691" y="157"/>
                        <a:pt x="691" y="157"/>
                        <a:pt x="691" y="157"/>
                      </a:cubicBezTo>
                      <a:cubicBezTo>
                        <a:pt x="691" y="156"/>
                        <a:pt x="691" y="156"/>
                        <a:pt x="691" y="156"/>
                      </a:cubicBezTo>
                      <a:cubicBezTo>
                        <a:pt x="688" y="158"/>
                        <a:pt x="688" y="158"/>
                        <a:pt x="688" y="158"/>
                      </a:cubicBezTo>
                      <a:cubicBezTo>
                        <a:pt x="687" y="156"/>
                        <a:pt x="686" y="155"/>
                        <a:pt x="685" y="153"/>
                      </a:cubicBezTo>
                      <a:cubicBezTo>
                        <a:pt x="687" y="152"/>
                        <a:pt x="687" y="152"/>
                        <a:pt x="687" y="152"/>
                      </a:cubicBezTo>
                      <a:cubicBezTo>
                        <a:pt x="687" y="151"/>
                        <a:pt x="687" y="151"/>
                        <a:pt x="687" y="151"/>
                      </a:cubicBezTo>
                      <a:cubicBezTo>
                        <a:pt x="684" y="153"/>
                        <a:pt x="684" y="153"/>
                        <a:pt x="684" y="153"/>
                      </a:cubicBezTo>
                      <a:cubicBezTo>
                        <a:pt x="683" y="151"/>
                        <a:pt x="682" y="150"/>
                        <a:pt x="681" y="149"/>
                      </a:cubicBezTo>
                      <a:cubicBezTo>
                        <a:pt x="685" y="145"/>
                        <a:pt x="685" y="145"/>
                        <a:pt x="685" y="145"/>
                      </a:cubicBezTo>
                      <a:cubicBezTo>
                        <a:pt x="685" y="145"/>
                        <a:pt x="685" y="145"/>
                        <a:pt x="685" y="145"/>
                      </a:cubicBezTo>
                      <a:cubicBezTo>
                        <a:pt x="691" y="140"/>
                        <a:pt x="691" y="140"/>
                        <a:pt x="691" y="140"/>
                      </a:cubicBezTo>
                      <a:cubicBezTo>
                        <a:pt x="690" y="139"/>
                        <a:pt x="690" y="139"/>
                        <a:pt x="690" y="139"/>
                      </a:cubicBezTo>
                      <a:cubicBezTo>
                        <a:pt x="684" y="144"/>
                        <a:pt x="684" y="144"/>
                        <a:pt x="684" y="144"/>
                      </a:cubicBezTo>
                      <a:cubicBezTo>
                        <a:pt x="684" y="144"/>
                        <a:pt x="684" y="144"/>
                        <a:pt x="684" y="144"/>
                      </a:cubicBezTo>
                      <a:cubicBezTo>
                        <a:pt x="680" y="147"/>
                        <a:pt x="680" y="147"/>
                        <a:pt x="680" y="147"/>
                      </a:cubicBezTo>
                      <a:cubicBezTo>
                        <a:pt x="679" y="146"/>
                        <a:pt x="677" y="145"/>
                        <a:pt x="676" y="143"/>
                      </a:cubicBezTo>
                      <a:cubicBezTo>
                        <a:pt x="678" y="141"/>
                        <a:pt x="678" y="141"/>
                        <a:pt x="678" y="141"/>
                      </a:cubicBezTo>
                      <a:cubicBezTo>
                        <a:pt x="678" y="141"/>
                        <a:pt x="678" y="141"/>
                        <a:pt x="678" y="141"/>
                      </a:cubicBezTo>
                      <a:cubicBezTo>
                        <a:pt x="676" y="143"/>
                        <a:pt x="676" y="143"/>
                        <a:pt x="676" y="143"/>
                      </a:cubicBezTo>
                      <a:cubicBezTo>
                        <a:pt x="674" y="141"/>
                        <a:pt x="673" y="140"/>
                        <a:pt x="672" y="138"/>
                      </a:cubicBezTo>
                      <a:cubicBezTo>
                        <a:pt x="674" y="136"/>
                        <a:pt x="674" y="136"/>
                        <a:pt x="674" y="136"/>
                      </a:cubicBezTo>
                      <a:cubicBezTo>
                        <a:pt x="674" y="136"/>
                        <a:pt x="674" y="136"/>
                        <a:pt x="674" y="136"/>
                      </a:cubicBezTo>
                      <a:cubicBezTo>
                        <a:pt x="671" y="138"/>
                        <a:pt x="671" y="138"/>
                        <a:pt x="671" y="138"/>
                      </a:cubicBezTo>
                      <a:cubicBezTo>
                        <a:pt x="670" y="136"/>
                        <a:pt x="669" y="135"/>
                        <a:pt x="667" y="134"/>
                      </a:cubicBezTo>
                      <a:cubicBezTo>
                        <a:pt x="670" y="131"/>
                        <a:pt x="670" y="131"/>
                        <a:pt x="670" y="131"/>
                      </a:cubicBezTo>
                      <a:cubicBezTo>
                        <a:pt x="669" y="131"/>
                        <a:pt x="669" y="131"/>
                        <a:pt x="669" y="131"/>
                      </a:cubicBezTo>
                      <a:cubicBezTo>
                        <a:pt x="667" y="133"/>
                        <a:pt x="667" y="133"/>
                        <a:pt x="667" y="133"/>
                      </a:cubicBezTo>
                      <a:cubicBezTo>
                        <a:pt x="666" y="132"/>
                        <a:pt x="664" y="130"/>
                        <a:pt x="663" y="129"/>
                      </a:cubicBezTo>
                      <a:cubicBezTo>
                        <a:pt x="665" y="127"/>
                        <a:pt x="665" y="127"/>
                        <a:pt x="665" y="127"/>
                      </a:cubicBezTo>
                      <a:cubicBezTo>
                        <a:pt x="664" y="126"/>
                        <a:pt x="664" y="126"/>
                        <a:pt x="664" y="126"/>
                      </a:cubicBezTo>
                      <a:cubicBezTo>
                        <a:pt x="662" y="128"/>
                        <a:pt x="662" y="128"/>
                        <a:pt x="662" y="128"/>
                      </a:cubicBezTo>
                      <a:cubicBezTo>
                        <a:pt x="661" y="127"/>
                        <a:pt x="660" y="125"/>
                        <a:pt x="658" y="124"/>
                      </a:cubicBezTo>
                      <a:cubicBezTo>
                        <a:pt x="660" y="122"/>
                        <a:pt x="660" y="122"/>
                        <a:pt x="660" y="122"/>
                      </a:cubicBezTo>
                      <a:cubicBezTo>
                        <a:pt x="660" y="121"/>
                        <a:pt x="660" y="121"/>
                        <a:pt x="660" y="121"/>
                      </a:cubicBezTo>
                      <a:cubicBezTo>
                        <a:pt x="658" y="123"/>
                        <a:pt x="658" y="123"/>
                        <a:pt x="658" y="123"/>
                      </a:cubicBezTo>
                      <a:cubicBezTo>
                        <a:pt x="656" y="122"/>
                        <a:pt x="655" y="121"/>
                        <a:pt x="654" y="119"/>
                      </a:cubicBezTo>
                      <a:cubicBezTo>
                        <a:pt x="656" y="117"/>
                        <a:pt x="656" y="117"/>
                        <a:pt x="656" y="117"/>
                      </a:cubicBezTo>
                      <a:cubicBezTo>
                        <a:pt x="655" y="117"/>
                        <a:pt x="655" y="117"/>
                        <a:pt x="655" y="117"/>
                      </a:cubicBezTo>
                      <a:cubicBezTo>
                        <a:pt x="653" y="119"/>
                        <a:pt x="653" y="119"/>
                        <a:pt x="653" y="119"/>
                      </a:cubicBezTo>
                      <a:cubicBezTo>
                        <a:pt x="652" y="117"/>
                        <a:pt x="650" y="116"/>
                        <a:pt x="649" y="115"/>
                      </a:cubicBezTo>
                      <a:cubicBezTo>
                        <a:pt x="651" y="113"/>
                        <a:pt x="651" y="113"/>
                        <a:pt x="651" y="113"/>
                      </a:cubicBezTo>
                      <a:cubicBezTo>
                        <a:pt x="650" y="112"/>
                        <a:pt x="650" y="112"/>
                        <a:pt x="650" y="112"/>
                      </a:cubicBezTo>
                      <a:cubicBezTo>
                        <a:pt x="648" y="114"/>
                        <a:pt x="648" y="114"/>
                        <a:pt x="648" y="114"/>
                      </a:cubicBezTo>
                      <a:cubicBezTo>
                        <a:pt x="647" y="113"/>
                        <a:pt x="645" y="112"/>
                        <a:pt x="644" y="110"/>
                      </a:cubicBezTo>
                      <a:cubicBezTo>
                        <a:pt x="646" y="108"/>
                        <a:pt x="646" y="108"/>
                        <a:pt x="646" y="108"/>
                      </a:cubicBezTo>
                      <a:cubicBezTo>
                        <a:pt x="645" y="108"/>
                        <a:pt x="645" y="108"/>
                        <a:pt x="645" y="108"/>
                      </a:cubicBezTo>
                      <a:cubicBezTo>
                        <a:pt x="643" y="110"/>
                        <a:pt x="643" y="110"/>
                        <a:pt x="643" y="110"/>
                      </a:cubicBezTo>
                      <a:cubicBezTo>
                        <a:pt x="642" y="109"/>
                        <a:pt x="640" y="107"/>
                        <a:pt x="639" y="106"/>
                      </a:cubicBezTo>
                      <a:cubicBezTo>
                        <a:pt x="641" y="104"/>
                        <a:pt x="641" y="104"/>
                        <a:pt x="641" y="104"/>
                      </a:cubicBezTo>
                      <a:cubicBezTo>
                        <a:pt x="640" y="103"/>
                        <a:pt x="640" y="103"/>
                        <a:pt x="640" y="103"/>
                      </a:cubicBezTo>
                      <a:cubicBezTo>
                        <a:pt x="638" y="105"/>
                        <a:pt x="638" y="105"/>
                        <a:pt x="638" y="105"/>
                      </a:cubicBezTo>
                      <a:cubicBezTo>
                        <a:pt x="637" y="104"/>
                        <a:pt x="636" y="103"/>
                        <a:pt x="634" y="102"/>
                      </a:cubicBezTo>
                      <a:cubicBezTo>
                        <a:pt x="638" y="98"/>
                        <a:pt x="638" y="98"/>
                        <a:pt x="638" y="98"/>
                      </a:cubicBezTo>
                      <a:cubicBezTo>
                        <a:pt x="637" y="97"/>
                        <a:pt x="637" y="97"/>
                        <a:pt x="637" y="97"/>
                      </a:cubicBezTo>
                      <a:cubicBezTo>
                        <a:pt x="642" y="91"/>
                        <a:pt x="642" y="91"/>
                        <a:pt x="642" y="91"/>
                      </a:cubicBezTo>
                      <a:cubicBezTo>
                        <a:pt x="642" y="91"/>
                        <a:pt x="642" y="91"/>
                        <a:pt x="642" y="91"/>
                      </a:cubicBezTo>
                      <a:cubicBezTo>
                        <a:pt x="637" y="97"/>
                        <a:pt x="637" y="97"/>
                        <a:pt x="637" y="97"/>
                      </a:cubicBezTo>
                      <a:cubicBezTo>
                        <a:pt x="637" y="97"/>
                        <a:pt x="637" y="97"/>
                        <a:pt x="637" y="97"/>
                      </a:cubicBezTo>
                      <a:cubicBezTo>
                        <a:pt x="633" y="101"/>
                        <a:pt x="633" y="101"/>
                        <a:pt x="633" y="101"/>
                      </a:cubicBezTo>
                      <a:cubicBezTo>
                        <a:pt x="632" y="100"/>
                        <a:pt x="630" y="99"/>
                        <a:pt x="629" y="97"/>
                      </a:cubicBezTo>
                      <a:cubicBezTo>
                        <a:pt x="631" y="95"/>
                        <a:pt x="631" y="95"/>
                        <a:pt x="631" y="95"/>
                      </a:cubicBezTo>
                      <a:cubicBezTo>
                        <a:pt x="630" y="95"/>
                        <a:pt x="630" y="95"/>
                        <a:pt x="630" y="95"/>
                      </a:cubicBezTo>
                      <a:cubicBezTo>
                        <a:pt x="628" y="97"/>
                        <a:pt x="628" y="97"/>
                        <a:pt x="628" y="97"/>
                      </a:cubicBezTo>
                      <a:cubicBezTo>
                        <a:pt x="627" y="96"/>
                        <a:pt x="625" y="95"/>
                        <a:pt x="624" y="93"/>
                      </a:cubicBezTo>
                      <a:cubicBezTo>
                        <a:pt x="626" y="91"/>
                        <a:pt x="626" y="91"/>
                        <a:pt x="626" y="91"/>
                      </a:cubicBezTo>
                      <a:cubicBezTo>
                        <a:pt x="625" y="90"/>
                        <a:pt x="625" y="90"/>
                        <a:pt x="625" y="90"/>
                      </a:cubicBezTo>
                      <a:cubicBezTo>
                        <a:pt x="623" y="93"/>
                        <a:pt x="623" y="93"/>
                        <a:pt x="623" y="93"/>
                      </a:cubicBezTo>
                      <a:cubicBezTo>
                        <a:pt x="622" y="92"/>
                        <a:pt x="620" y="90"/>
                        <a:pt x="619" y="89"/>
                      </a:cubicBezTo>
                      <a:cubicBezTo>
                        <a:pt x="620" y="87"/>
                        <a:pt x="620" y="87"/>
                        <a:pt x="620" y="87"/>
                      </a:cubicBezTo>
                      <a:cubicBezTo>
                        <a:pt x="620" y="86"/>
                        <a:pt x="620" y="86"/>
                        <a:pt x="620" y="86"/>
                      </a:cubicBezTo>
                      <a:cubicBezTo>
                        <a:pt x="618" y="89"/>
                        <a:pt x="618" y="89"/>
                        <a:pt x="618" y="89"/>
                      </a:cubicBezTo>
                      <a:cubicBezTo>
                        <a:pt x="616" y="88"/>
                        <a:pt x="615" y="86"/>
                        <a:pt x="613" y="85"/>
                      </a:cubicBezTo>
                      <a:cubicBezTo>
                        <a:pt x="615" y="83"/>
                        <a:pt x="615" y="83"/>
                        <a:pt x="615" y="83"/>
                      </a:cubicBezTo>
                      <a:cubicBezTo>
                        <a:pt x="614" y="82"/>
                        <a:pt x="614" y="82"/>
                        <a:pt x="614" y="82"/>
                      </a:cubicBezTo>
                      <a:cubicBezTo>
                        <a:pt x="613" y="85"/>
                        <a:pt x="613" y="85"/>
                        <a:pt x="613" y="85"/>
                      </a:cubicBezTo>
                      <a:cubicBezTo>
                        <a:pt x="611" y="84"/>
                        <a:pt x="609" y="83"/>
                        <a:pt x="608" y="81"/>
                      </a:cubicBezTo>
                      <a:cubicBezTo>
                        <a:pt x="610" y="79"/>
                        <a:pt x="610" y="79"/>
                        <a:pt x="610" y="79"/>
                      </a:cubicBezTo>
                      <a:cubicBezTo>
                        <a:pt x="609" y="79"/>
                        <a:pt x="609" y="79"/>
                        <a:pt x="609" y="79"/>
                      </a:cubicBezTo>
                      <a:cubicBezTo>
                        <a:pt x="607" y="81"/>
                        <a:pt x="607" y="81"/>
                        <a:pt x="607" y="81"/>
                      </a:cubicBezTo>
                      <a:cubicBezTo>
                        <a:pt x="606" y="80"/>
                        <a:pt x="604" y="79"/>
                        <a:pt x="602" y="78"/>
                      </a:cubicBezTo>
                      <a:cubicBezTo>
                        <a:pt x="604" y="75"/>
                        <a:pt x="604" y="75"/>
                        <a:pt x="604" y="75"/>
                      </a:cubicBezTo>
                      <a:cubicBezTo>
                        <a:pt x="603" y="75"/>
                        <a:pt x="603" y="75"/>
                        <a:pt x="603" y="75"/>
                      </a:cubicBezTo>
                      <a:cubicBezTo>
                        <a:pt x="602" y="77"/>
                        <a:pt x="602" y="77"/>
                        <a:pt x="602" y="77"/>
                      </a:cubicBezTo>
                      <a:cubicBezTo>
                        <a:pt x="600" y="76"/>
                        <a:pt x="599" y="75"/>
                        <a:pt x="597" y="74"/>
                      </a:cubicBezTo>
                      <a:cubicBezTo>
                        <a:pt x="599" y="72"/>
                        <a:pt x="599" y="72"/>
                        <a:pt x="599" y="72"/>
                      </a:cubicBezTo>
                      <a:cubicBezTo>
                        <a:pt x="598" y="71"/>
                        <a:pt x="598" y="71"/>
                        <a:pt x="598" y="71"/>
                      </a:cubicBezTo>
                      <a:cubicBezTo>
                        <a:pt x="596" y="74"/>
                        <a:pt x="596" y="74"/>
                        <a:pt x="596" y="74"/>
                      </a:cubicBezTo>
                      <a:cubicBezTo>
                        <a:pt x="595" y="73"/>
                        <a:pt x="593" y="72"/>
                        <a:pt x="591" y="70"/>
                      </a:cubicBezTo>
                      <a:cubicBezTo>
                        <a:pt x="593" y="68"/>
                        <a:pt x="593" y="68"/>
                        <a:pt x="593" y="68"/>
                      </a:cubicBezTo>
                      <a:cubicBezTo>
                        <a:pt x="592" y="68"/>
                        <a:pt x="592" y="68"/>
                        <a:pt x="592" y="68"/>
                      </a:cubicBezTo>
                      <a:cubicBezTo>
                        <a:pt x="591" y="70"/>
                        <a:pt x="591" y="70"/>
                        <a:pt x="591" y="70"/>
                      </a:cubicBezTo>
                      <a:cubicBezTo>
                        <a:pt x="589" y="69"/>
                        <a:pt x="587" y="68"/>
                        <a:pt x="586" y="67"/>
                      </a:cubicBezTo>
                      <a:cubicBezTo>
                        <a:pt x="587" y="65"/>
                        <a:pt x="587" y="65"/>
                        <a:pt x="587" y="65"/>
                      </a:cubicBezTo>
                      <a:cubicBezTo>
                        <a:pt x="587" y="64"/>
                        <a:pt x="587" y="64"/>
                        <a:pt x="587" y="64"/>
                      </a:cubicBezTo>
                      <a:cubicBezTo>
                        <a:pt x="585" y="67"/>
                        <a:pt x="585" y="67"/>
                        <a:pt x="585" y="67"/>
                      </a:cubicBezTo>
                      <a:cubicBezTo>
                        <a:pt x="584" y="66"/>
                        <a:pt x="582" y="65"/>
                        <a:pt x="581" y="64"/>
                      </a:cubicBezTo>
                      <a:cubicBezTo>
                        <a:pt x="583" y="59"/>
                        <a:pt x="583" y="59"/>
                        <a:pt x="583" y="59"/>
                      </a:cubicBezTo>
                      <a:cubicBezTo>
                        <a:pt x="583" y="59"/>
                        <a:pt x="583" y="59"/>
                        <a:pt x="583" y="59"/>
                      </a:cubicBezTo>
                      <a:cubicBezTo>
                        <a:pt x="587" y="52"/>
                        <a:pt x="587" y="52"/>
                        <a:pt x="587" y="52"/>
                      </a:cubicBezTo>
                      <a:cubicBezTo>
                        <a:pt x="586" y="52"/>
                        <a:pt x="586" y="52"/>
                        <a:pt x="586" y="52"/>
                      </a:cubicBezTo>
                      <a:cubicBezTo>
                        <a:pt x="582" y="59"/>
                        <a:pt x="582" y="59"/>
                        <a:pt x="582" y="59"/>
                      </a:cubicBezTo>
                      <a:cubicBezTo>
                        <a:pt x="582" y="58"/>
                        <a:pt x="582" y="58"/>
                        <a:pt x="582" y="58"/>
                      </a:cubicBezTo>
                      <a:cubicBezTo>
                        <a:pt x="579" y="63"/>
                        <a:pt x="579" y="63"/>
                        <a:pt x="579" y="63"/>
                      </a:cubicBezTo>
                      <a:cubicBezTo>
                        <a:pt x="577" y="62"/>
                        <a:pt x="576" y="61"/>
                        <a:pt x="574" y="60"/>
                      </a:cubicBezTo>
                      <a:cubicBezTo>
                        <a:pt x="576" y="58"/>
                        <a:pt x="576" y="58"/>
                        <a:pt x="576" y="58"/>
                      </a:cubicBezTo>
                      <a:cubicBezTo>
                        <a:pt x="575" y="57"/>
                        <a:pt x="575" y="57"/>
                        <a:pt x="575" y="57"/>
                      </a:cubicBezTo>
                      <a:cubicBezTo>
                        <a:pt x="574" y="60"/>
                        <a:pt x="574" y="60"/>
                        <a:pt x="574" y="60"/>
                      </a:cubicBezTo>
                      <a:cubicBezTo>
                        <a:pt x="572" y="59"/>
                        <a:pt x="570" y="58"/>
                        <a:pt x="569" y="57"/>
                      </a:cubicBezTo>
                      <a:cubicBezTo>
                        <a:pt x="570" y="55"/>
                        <a:pt x="570" y="55"/>
                        <a:pt x="570" y="55"/>
                      </a:cubicBezTo>
                      <a:cubicBezTo>
                        <a:pt x="569" y="54"/>
                        <a:pt x="569" y="54"/>
                        <a:pt x="569" y="54"/>
                      </a:cubicBezTo>
                      <a:cubicBezTo>
                        <a:pt x="568" y="57"/>
                        <a:pt x="568" y="57"/>
                        <a:pt x="568" y="57"/>
                      </a:cubicBezTo>
                      <a:cubicBezTo>
                        <a:pt x="566" y="56"/>
                        <a:pt x="564" y="55"/>
                        <a:pt x="563" y="54"/>
                      </a:cubicBezTo>
                      <a:cubicBezTo>
                        <a:pt x="564" y="52"/>
                        <a:pt x="564" y="52"/>
                        <a:pt x="564" y="52"/>
                      </a:cubicBezTo>
                      <a:cubicBezTo>
                        <a:pt x="563" y="51"/>
                        <a:pt x="563" y="51"/>
                        <a:pt x="563" y="51"/>
                      </a:cubicBezTo>
                      <a:cubicBezTo>
                        <a:pt x="562" y="54"/>
                        <a:pt x="562" y="54"/>
                        <a:pt x="562" y="54"/>
                      </a:cubicBezTo>
                      <a:cubicBezTo>
                        <a:pt x="560" y="53"/>
                        <a:pt x="559" y="52"/>
                        <a:pt x="557" y="51"/>
                      </a:cubicBezTo>
                      <a:cubicBezTo>
                        <a:pt x="558" y="49"/>
                        <a:pt x="558" y="49"/>
                        <a:pt x="558" y="49"/>
                      </a:cubicBezTo>
                      <a:cubicBezTo>
                        <a:pt x="557" y="48"/>
                        <a:pt x="557" y="48"/>
                        <a:pt x="557" y="48"/>
                      </a:cubicBezTo>
                      <a:cubicBezTo>
                        <a:pt x="556" y="51"/>
                        <a:pt x="556" y="51"/>
                        <a:pt x="556" y="51"/>
                      </a:cubicBezTo>
                      <a:cubicBezTo>
                        <a:pt x="554" y="50"/>
                        <a:pt x="553" y="49"/>
                        <a:pt x="551" y="48"/>
                      </a:cubicBezTo>
                      <a:cubicBezTo>
                        <a:pt x="552" y="46"/>
                        <a:pt x="552" y="46"/>
                        <a:pt x="552" y="46"/>
                      </a:cubicBezTo>
                      <a:cubicBezTo>
                        <a:pt x="551" y="45"/>
                        <a:pt x="551" y="45"/>
                        <a:pt x="551" y="45"/>
                      </a:cubicBezTo>
                      <a:cubicBezTo>
                        <a:pt x="550" y="48"/>
                        <a:pt x="550" y="48"/>
                        <a:pt x="550" y="48"/>
                      </a:cubicBezTo>
                      <a:cubicBezTo>
                        <a:pt x="548" y="47"/>
                        <a:pt x="547" y="46"/>
                        <a:pt x="545" y="46"/>
                      </a:cubicBezTo>
                      <a:cubicBezTo>
                        <a:pt x="546" y="43"/>
                        <a:pt x="546" y="43"/>
                        <a:pt x="546" y="43"/>
                      </a:cubicBezTo>
                      <a:cubicBezTo>
                        <a:pt x="545" y="43"/>
                        <a:pt x="545" y="43"/>
                        <a:pt x="545" y="43"/>
                      </a:cubicBezTo>
                      <a:cubicBezTo>
                        <a:pt x="544" y="45"/>
                        <a:pt x="544" y="45"/>
                        <a:pt x="544" y="45"/>
                      </a:cubicBezTo>
                      <a:cubicBezTo>
                        <a:pt x="542" y="44"/>
                        <a:pt x="541" y="44"/>
                        <a:pt x="539" y="43"/>
                      </a:cubicBezTo>
                      <a:cubicBezTo>
                        <a:pt x="540" y="40"/>
                        <a:pt x="540" y="40"/>
                        <a:pt x="540" y="40"/>
                      </a:cubicBezTo>
                      <a:cubicBezTo>
                        <a:pt x="539" y="40"/>
                        <a:pt x="539" y="40"/>
                        <a:pt x="539" y="40"/>
                      </a:cubicBezTo>
                      <a:cubicBezTo>
                        <a:pt x="538" y="43"/>
                        <a:pt x="538" y="43"/>
                        <a:pt x="538" y="43"/>
                      </a:cubicBezTo>
                      <a:cubicBezTo>
                        <a:pt x="536" y="42"/>
                        <a:pt x="535" y="41"/>
                        <a:pt x="533" y="40"/>
                      </a:cubicBezTo>
                      <a:cubicBezTo>
                        <a:pt x="534" y="38"/>
                        <a:pt x="534" y="38"/>
                        <a:pt x="534" y="38"/>
                      </a:cubicBezTo>
                      <a:cubicBezTo>
                        <a:pt x="533" y="38"/>
                        <a:pt x="533" y="38"/>
                        <a:pt x="533" y="38"/>
                      </a:cubicBezTo>
                      <a:cubicBezTo>
                        <a:pt x="532" y="40"/>
                        <a:pt x="532" y="40"/>
                        <a:pt x="532" y="40"/>
                      </a:cubicBezTo>
                      <a:cubicBezTo>
                        <a:pt x="530" y="39"/>
                        <a:pt x="528" y="39"/>
                        <a:pt x="527" y="38"/>
                      </a:cubicBezTo>
                      <a:cubicBezTo>
                        <a:pt x="528" y="35"/>
                        <a:pt x="528" y="35"/>
                        <a:pt x="528" y="35"/>
                      </a:cubicBezTo>
                      <a:cubicBezTo>
                        <a:pt x="527" y="35"/>
                        <a:pt x="527" y="35"/>
                        <a:pt x="527" y="35"/>
                      </a:cubicBezTo>
                      <a:cubicBezTo>
                        <a:pt x="526" y="38"/>
                        <a:pt x="526" y="38"/>
                        <a:pt x="526" y="38"/>
                      </a:cubicBezTo>
                      <a:cubicBezTo>
                        <a:pt x="524" y="37"/>
                        <a:pt x="523" y="36"/>
                        <a:pt x="521" y="36"/>
                      </a:cubicBezTo>
                      <a:cubicBezTo>
                        <a:pt x="523" y="31"/>
                        <a:pt x="523" y="31"/>
                        <a:pt x="523" y="31"/>
                      </a:cubicBezTo>
                      <a:cubicBezTo>
                        <a:pt x="522" y="31"/>
                        <a:pt x="522" y="31"/>
                        <a:pt x="522" y="31"/>
                      </a:cubicBezTo>
                      <a:cubicBezTo>
                        <a:pt x="525" y="23"/>
                        <a:pt x="525" y="23"/>
                        <a:pt x="525" y="23"/>
                      </a:cubicBezTo>
                      <a:cubicBezTo>
                        <a:pt x="524" y="23"/>
                        <a:pt x="524" y="23"/>
                        <a:pt x="524" y="23"/>
                      </a:cubicBezTo>
                      <a:cubicBezTo>
                        <a:pt x="522" y="30"/>
                        <a:pt x="522" y="30"/>
                        <a:pt x="522" y="30"/>
                      </a:cubicBezTo>
                      <a:cubicBezTo>
                        <a:pt x="521" y="30"/>
                        <a:pt x="521" y="30"/>
                        <a:pt x="521" y="30"/>
                      </a:cubicBezTo>
                      <a:cubicBezTo>
                        <a:pt x="519" y="35"/>
                        <a:pt x="519" y="35"/>
                        <a:pt x="519" y="35"/>
                      </a:cubicBezTo>
                      <a:cubicBezTo>
                        <a:pt x="518" y="35"/>
                        <a:pt x="516" y="34"/>
                        <a:pt x="514" y="33"/>
                      </a:cubicBezTo>
                      <a:cubicBezTo>
                        <a:pt x="515" y="31"/>
                        <a:pt x="515" y="31"/>
                        <a:pt x="515" y="31"/>
                      </a:cubicBezTo>
                      <a:cubicBezTo>
                        <a:pt x="514" y="31"/>
                        <a:pt x="514" y="31"/>
                        <a:pt x="514" y="31"/>
                      </a:cubicBezTo>
                      <a:cubicBezTo>
                        <a:pt x="514" y="33"/>
                        <a:pt x="514" y="33"/>
                        <a:pt x="514" y="33"/>
                      </a:cubicBezTo>
                      <a:cubicBezTo>
                        <a:pt x="512" y="33"/>
                        <a:pt x="510" y="32"/>
                        <a:pt x="508" y="31"/>
                      </a:cubicBezTo>
                      <a:cubicBezTo>
                        <a:pt x="509" y="29"/>
                        <a:pt x="509" y="29"/>
                        <a:pt x="509" y="29"/>
                      </a:cubicBezTo>
                      <a:cubicBezTo>
                        <a:pt x="508" y="28"/>
                        <a:pt x="508" y="28"/>
                        <a:pt x="508" y="28"/>
                      </a:cubicBezTo>
                      <a:cubicBezTo>
                        <a:pt x="507" y="31"/>
                        <a:pt x="507" y="31"/>
                        <a:pt x="507" y="31"/>
                      </a:cubicBezTo>
                      <a:cubicBezTo>
                        <a:pt x="505" y="31"/>
                        <a:pt x="504" y="30"/>
                        <a:pt x="502" y="29"/>
                      </a:cubicBezTo>
                      <a:cubicBezTo>
                        <a:pt x="503" y="27"/>
                        <a:pt x="503" y="27"/>
                        <a:pt x="503" y="27"/>
                      </a:cubicBezTo>
                      <a:cubicBezTo>
                        <a:pt x="502" y="26"/>
                        <a:pt x="502" y="26"/>
                        <a:pt x="502" y="26"/>
                      </a:cubicBezTo>
                      <a:cubicBezTo>
                        <a:pt x="501" y="29"/>
                        <a:pt x="501" y="29"/>
                        <a:pt x="501" y="29"/>
                      </a:cubicBezTo>
                      <a:cubicBezTo>
                        <a:pt x="499" y="29"/>
                        <a:pt x="497" y="28"/>
                        <a:pt x="495" y="28"/>
                      </a:cubicBezTo>
                      <a:cubicBezTo>
                        <a:pt x="496" y="25"/>
                        <a:pt x="496" y="25"/>
                        <a:pt x="496" y="25"/>
                      </a:cubicBezTo>
                      <a:cubicBezTo>
                        <a:pt x="495" y="25"/>
                        <a:pt x="495" y="25"/>
                        <a:pt x="495" y="25"/>
                      </a:cubicBezTo>
                      <a:cubicBezTo>
                        <a:pt x="495" y="27"/>
                        <a:pt x="495" y="27"/>
                        <a:pt x="495" y="27"/>
                      </a:cubicBezTo>
                      <a:cubicBezTo>
                        <a:pt x="493" y="27"/>
                        <a:pt x="491" y="26"/>
                        <a:pt x="489" y="26"/>
                      </a:cubicBezTo>
                      <a:cubicBezTo>
                        <a:pt x="490" y="23"/>
                        <a:pt x="490" y="23"/>
                        <a:pt x="490" y="23"/>
                      </a:cubicBezTo>
                      <a:cubicBezTo>
                        <a:pt x="489" y="23"/>
                        <a:pt x="489" y="23"/>
                        <a:pt x="489" y="23"/>
                      </a:cubicBezTo>
                      <a:cubicBezTo>
                        <a:pt x="488" y="26"/>
                        <a:pt x="488" y="26"/>
                        <a:pt x="488" y="26"/>
                      </a:cubicBezTo>
                      <a:cubicBezTo>
                        <a:pt x="486" y="25"/>
                        <a:pt x="485" y="25"/>
                        <a:pt x="483" y="24"/>
                      </a:cubicBezTo>
                      <a:cubicBezTo>
                        <a:pt x="483" y="21"/>
                        <a:pt x="483" y="21"/>
                        <a:pt x="483" y="21"/>
                      </a:cubicBezTo>
                      <a:cubicBezTo>
                        <a:pt x="483" y="21"/>
                        <a:pt x="483" y="21"/>
                        <a:pt x="483" y="21"/>
                      </a:cubicBezTo>
                      <a:cubicBezTo>
                        <a:pt x="482" y="24"/>
                        <a:pt x="482" y="24"/>
                        <a:pt x="482" y="24"/>
                      </a:cubicBezTo>
                      <a:cubicBezTo>
                        <a:pt x="480" y="23"/>
                        <a:pt x="478" y="23"/>
                        <a:pt x="476" y="23"/>
                      </a:cubicBezTo>
                      <a:cubicBezTo>
                        <a:pt x="477" y="20"/>
                        <a:pt x="477" y="20"/>
                        <a:pt x="477" y="20"/>
                      </a:cubicBezTo>
                      <a:cubicBezTo>
                        <a:pt x="476" y="20"/>
                        <a:pt x="476" y="20"/>
                        <a:pt x="476" y="20"/>
                      </a:cubicBezTo>
                      <a:cubicBezTo>
                        <a:pt x="475" y="22"/>
                        <a:pt x="475" y="22"/>
                        <a:pt x="475" y="22"/>
                      </a:cubicBezTo>
                      <a:cubicBezTo>
                        <a:pt x="474" y="22"/>
                        <a:pt x="472" y="22"/>
                        <a:pt x="470" y="21"/>
                      </a:cubicBezTo>
                      <a:cubicBezTo>
                        <a:pt x="470" y="18"/>
                        <a:pt x="470" y="18"/>
                        <a:pt x="470" y="18"/>
                      </a:cubicBezTo>
                      <a:cubicBezTo>
                        <a:pt x="470" y="18"/>
                        <a:pt x="470" y="18"/>
                        <a:pt x="470" y="18"/>
                      </a:cubicBezTo>
                      <a:cubicBezTo>
                        <a:pt x="469" y="21"/>
                        <a:pt x="469" y="21"/>
                        <a:pt x="469" y="21"/>
                      </a:cubicBezTo>
                      <a:cubicBezTo>
                        <a:pt x="467" y="21"/>
                        <a:pt x="465" y="20"/>
                        <a:pt x="463" y="20"/>
                      </a:cubicBezTo>
                      <a:cubicBezTo>
                        <a:pt x="464" y="17"/>
                        <a:pt x="464" y="17"/>
                        <a:pt x="464" y="17"/>
                      </a:cubicBezTo>
                      <a:cubicBezTo>
                        <a:pt x="463" y="17"/>
                        <a:pt x="463" y="17"/>
                        <a:pt x="463" y="17"/>
                      </a:cubicBezTo>
                      <a:cubicBezTo>
                        <a:pt x="463" y="20"/>
                        <a:pt x="463" y="20"/>
                        <a:pt x="463" y="20"/>
                      </a:cubicBezTo>
                      <a:cubicBezTo>
                        <a:pt x="461" y="19"/>
                        <a:pt x="459" y="19"/>
                        <a:pt x="457" y="19"/>
                      </a:cubicBezTo>
                      <a:cubicBezTo>
                        <a:pt x="458" y="13"/>
                        <a:pt x="458" y="13"/>
                        <a:pt x="458" y="13"/>
                      </a:cubicBezTo>
                      <a:cubicBezTo>
                        <a:pt x="458" y="13"/>
                        <a:pt x="458" y="13"/>
                        <a:pt x="458" y="13"/>
                      </a:cubicBezTo>
                      <a:cubicBezTo>
                        <a:pt x="459" y="6"/>
                        <a:pt x="459" y="6"/>
                        <a:pt x="459" y="6"/>
                      </a:cubicBezTo>
                      <a:cubicBezTo>
                        <a:pt x="458" y="6"/>
                        <a:pt x="458" y="6"/>
                        <a:pt x="458" y="6"/>
                      </a:cubicBezTo>
                      <a:cubicBezTo>
                        <a:pt x="457" y="13"/>
                        <a:pt x="457" y="13"/>
                        <a:pt x="457" y="13"/>
                      </a:cubicBezTo>
                      <a:cubicBezTo>
                        <a:pt x="456" y="13"/>
                        <a:pt x="456" y="13"/>
                        <a:pt x="456" y="13"/>
                      </a:cubicBezTo>
                      <a:cubicBezTo>
                        <a:pt x="456" y="18"/>
                        <a:pt x="456" y="18"/>
                        <a:pt x="456" y="18"/>
                      </a:cubicBezTo>
                      <a:cubicBezTo>
                        <a:pt x="454" y="18"/>
                        <a:pt x="452" y="18"/>
                        <a:pt x="450" y="18"/>
                      </a:cubicBezTo>
                      <a:cubicBezTo>
                        <a:pt x="451" y="15"/>
                        <a:pt x="451" y="15"/>
                        <a:pt x="451" y="15"/>
                      </a:cubicBezTo>
                      <a:cubicBezTo>
                        <a:pt x="450" y="15"/>
                        <a:pt x="450" y="15"/>
                        <a:pt x="450" y="15"/>
                      </a:cubicBezTo>
                      <a:cubicBezTo>
                        <a:pt x="450" y="17"/>
                        <a:pt x="450" y="17"/>
                        <a:pt x="450" y="17"/>
                      </a:cubicBezTo>
                      <a:cubicBezTo>
                        <a:pt x="448" y="17"/>
                        <a:pt x="446" y="17"/>
                        <a:pt x="444" y="17"/>
                      </a:cubicBezTo>
                      <a:cubicBezTo>
                        <a:pt x="444" y="14"/>
                        <a:pt x="444" y="14"/>
                        <a:pt x="444" y="14"/>
                      </a:cubicBezTo>
                      <a:cubicBezTo>
                        <a:pt x="443" y="14"/>
                        <a:pt x="443" y="14"/>
                        <a:pt x="443" y="14"/>
                      </a:cubicBezTo>
                      <a:cubicBezTo>
                        <a:pt x="443" y="16"/>
                        <a:pt x="443" y="16"/>
                        <a:pt x="443" y="16"/>
                      </a:cubicBezTo>
                      <a:cubicBezTo>
                        <a:pt x="441" y="16"/>
                        <a:pt x="439" y="16"/>
                        <a:pt x="437" y="16"/>
                      </a:cubicBezTo>
                      <a:cubicBezTo>
                        <a:pt x="438" y="13"/>
                        <a:pt x="438" y="13"/>
                        <a:pt x="438" y="13"/>
                      </a:cubicBezTo>
                      <a:cubicBezTo>
                        <a:pt x="437" y="13"/>
                        <a:pt x="437" y="13"/>
                        <a:pt x="437" y="13"/>
                      </a:cubicBezTo>
                      <a:cubicBezTo>
                        <a:pt x="436" y="16"/>
                        <a:pt x="436" y="16"/>
                        <a:pt x="436" y="16"/>
                      </a:cubicBezTo>
                      <a:cubicBezTo>
                        <a:pt x="435" y="15"/>
                        <a:pt x="433" y="15"/>
                        <a:pt x="431" y="15"/>
                      </a:cubicBezTo>
                      <a:cubicBezTo>
                        <a:pt x="431" y="12"/>
                        <a:pt x="431" y="12"/>
                        <a:pt x="431" y="12"/>
                      </a:cubicBezTo>
                      <a:cubicBezTo>
                        <a:pt x="430" y="12"/>
                        <a:pt x="430" y="12"/>
                        <a:pt x="430" y="12"/>
                      </a:cubicBezTo>
                      <a:cubicBezTo>
                        <a:pt x="430" y="15"/>
                        <a:pt x="430" y="15"/>
                        <a:pt x="430" y="15"/>
                      </a:cubicBezTo>
                      <a:cubicBezTo>
                        <a:pt x="428" y="15"/>
                        <a:pt x="426" y="15"/>
                        <a:pt x="424" y="14"/>
                      </a:cubicBezTo>
                      <a:cubicBezTo>
                        <a:pt x="424" y="11"/>
                        <a:pt x="424" y="11"/>
                        <a:pt x="424" y="11"/>
                      </a:cubicBezTo>
                      <a:cubicBezTo>
                        <a:pt x="424" y="11"/>
                        <a:pt x="424" y="11"/>
                        <a:pt x="424" y="11"/>
                      </a:cubicBezTo>
                      <a:cubicBezTo>
                        <a:pt x="423" y="14"/>
                        <a:pt x="423" y="14"/>
                        <a:pt x="423" y="14"/>
                      </a:cubicBezTo>
                      <a:cubicBezTo>
                        <a:pt x="421" y="14"/>
                        <a:pt x="419" y="14"/>
                        <a:pt x="418" y="14"/>
                      </a:cubicBezTo>
                      <a:cubicBezTo>
                        <a:pt x="418" y="11"/>
                        <a:pt x="418" y="11"/>
                        <a:pt x="418" y="11"/>
                      </a:cubicBezTo>
                      <a:cubicBezTo>
                        <a:pt x="417" y="11"/>
                        <a:pt x="417" y="11"/>
                        <a:pt x="417" y="11"/>
                      </a:cubicBezTo>
                      <a:cubicBezTo>
                        <a:pt x="417" y="14"/>
                        <a:pt x="417" y="14"/>
                        <a:pt x="417" y="14"/>
                      </a:cubicBezTo>
                      <a:cubicBezTo>
                        <a:pt x="415" y="14"/>
                        <a:pt x="413" y="14"/>
                        <a:pt x="411" y="13"/>
                      </a:cubicBezTo>
                      <a:cubicBezTo>
                        <a:pt x="411" y="10"/>
                        <a:pt x="411" y="10"/>
                        <a:pt x="411" y="10"/>
                      </a:cubicBezTo>
                      <a:cubicBezTo>
                        <a:pt x="410" y="10"/>
                        <a:pt x="410" y="10"/>
                        <a:pt x="410" y="10"/>
                      </a:cubicBezTo>
                      <a:cubicBezTo>
                        <a:pt x="410" y="13"/>
                        <a:pt x="410" y="13"/>
                        <a:pt x="410" y="13"/>
                      </a:cubicBezTo>
                      <a:cubicBezTo>
                        <a:pt x="408" y="13"/>
                        <a:pt x="406" y="13"/>
                        <a:pt x="404" y="13"/>
                      </a:cubicBezTo>
                      <a:cubicBezTo>
                        <a:pt x="405" y="10"/>
                        <a:pt x="405" y="10"/>
                        <a:pt x="405" y="10"/>
                      </a:cubicBezTo>
                      <a:cubicBezTo>
                        <a:pt x="404" y="10"/>
                        <a:pt x="404" y="10"/>
                        <a:pt x="404" y="10"/>
                      </a:cubicBezTo>
                      <a:cubicBezTo>
                        <a:pt x="404" y="13"/>
                        <a:pt x="404" y="13"/>
                        <a:pt x="404" y="13"/>
                      </a:cubicBezTo>
                      <a:cubicBezTo>
                        <a:pt x="402" y="13"/>
                        <a:pt x="400" y="13"/>
                        <a:pt x="398" y="13"/>
                      </a:cubicBezTo>
                      <a:cubicBezTo>
                        <a:pt x="398" y="10"/>
                        <a:pt x="398" y="10"/>
                        <a:pt x="398" y="10"/>
                      </a:cubicBezTo>
                      <a:cubicBezTo>
                        <a:pt x="397" y="10"/>
                        <a:pt x="397" y="10"/>
                        <a:pt x="397" y="10"/>
                      </a:cubicBezTo>
                      <a:cubicBezTo>
                        <a:pt x="397" y="13"/>
                        <a:pt x="397" y="13"/>
                        <a:pt x="397" y="13"/>
                      </a:cubicBezTo>
                      <a:cubicBezTo>
                        <a:pt x="395" y="13"/>
                        <a:pt x="393" y="13"/>
                        <a:pt x="392" y="13"/>
                      </a:cubicBezTo>
                      <a:cubicBezTo>
                        <a:pt x="392" y="7"/>
                        <a:pt x="392" y="7"/>
                        <a:pt x="392" y="7"/>
                      </a:cubicBezTo>
                      <a:cubicBezTo>
                        <a:pt x="391" y="7"/>
                        <a:pt x="391" y="7"/>
                        <a:pt x="391" y="7"/>
                      </a:cubicBezTo>
                      <a:cubicBezTo>
                        <a:pt x="391" y="0"/>
                        <a:pt x="391" y="0"/>
                        <a:pt x="391" y="0"/>
                      </a:cubicBezTo>
                      <a:cubicBezTo>
                        <a:pt x="390" y="0"/>
                        <a:pt x="390" y="0"/>
                        <a:pt x="390" y="0"/>
                      </a:cubicBezTo>
                      <a:cubicBezTo>
                        <a:pt x="390" y="7"/>
                        <a:pt x="390" y="7"/>
                        <a:pt x="390" y="7"/>
                      </a:cubicBezTo>
                      <a:cubicBezTo>
                        <a:pt x="390" y="7"/>
                        <a:pt x="390" y="7"/>
                        <a:pt x="390" y="7"/>
                      </a:cubicBezTo>
                      <a:cubicBezTo>
                        <a:pt x="390" y="13"/>
                        <a:pt x="390" y="13"/>
                        <a:pt x="390" y="13"/>
                      </a:cubicBezTo>
                      <a:cubicBezTo>
                        <a:pt x="388" y="13"/>
                        <a:pt x="386" y="13"/>
                        <a:pt x="385" y="13"/>
                      </a:cubicBezTo>
                      <a:cubicBezTo>
                        <a:pt x="385" y="10"/>
                        <a:pt x="385" y="10"/>
                        <a:pt x="385" y="10"/>
                      </a:cubicBezTo>
                      <a:cubicBezTo>
                        <a:pt x="385" y="10"/>
                        <a:pt x="385" y="10"/>
                        <a:pt x="385" y="10"/>
                      </a:cubicBezTo>
                      <a:cubicBezTo>
                        <a:pt x="385" y="10"/>
                        <a:pt x="385" y="10"/>
                        <a:pt x="385" y="10"/>
                      </a:cubicBezTo>
                      <a:cubicBezTo>
                        <a:pt x="385" y="10"/>
                        <a:pt x="385" y="10"/>
                        <a:pt x="385" y="10"/>
                      </a:cubicBezTo>
                      <a:cubicBezTo>
                        <a:pt x="384" y="10"/>
                        <a:pt x="384" y="10"/>
                        <a:pt x="384" y="10"/>
                      </a:cubicBezTo>
                      <a:cubicBezTo>
                        <a:pt x="384" y="10"/>
                        <a:pt x="384" y="10"/>
                        <a:pt x="384" y="10"/>
                      </a:cubicBezTo>
                      <a:cubicBezTo>
                        <a:pt x="384" y="13"/>
                        <a:pt x="384" y="13"/>
                        <a:pt x="384" y="13"/>
                      </a:cubicBezTo>
                      <a:cubicBezTo>
                        <a:pt x="382" y="13"/>
                        <a:pt x="380" y="13"/>
                        <a:pt x="378" y="13"/>
                      </a:cubicBezTo>
                      <a:cubicBezTo>
                        <a:pt x="378" y="10"/>
                        <a:pt x="378" y="10"/>
                        <a:pt x="378" y="10"/>
                      </a:cubicBezTo>
                      <a:cubicBezTo>
                        <a:pt x="378" y="10"/>
                        <a:pt x="378" y="10"/>
                        <a:pt x="378" y="10"/>
                      </a:cubicBezTo>
                      <a:cubicBezTo>
                        <a:pt x="378" y="10"/>
                        <a:pt x="378" y="10"/>
                        <a:pt x="378" y="10"/>
                      </a:cubicBezTo>
                      <a:cubicBezTo>
                        <a:pt x="377" y="10"/>
                        <a:pt x="377" y="10"/>
                        <a:pt x="377" y="10"/>
                      </a:cubicBezTo>
                      <a:cubicBezTo>
                        <a:pt x="377" y="10"/>
                        <a:pt x="377" y="10"/>
                        <a:pt x="377" y="10"/>
                      </a:cubicBezTo>
                      <a:cubicBezTo>
                        <a:pt x="377" y="10"/>
                        <a:pt x="377" y="10"/>
                        <a:pt x="377" y="10"/>
                      </a:cubicBezTo>
                      <a:cubicBezTo>
                        <a:pt x="377" y="13"/>
                        <a:pt x="377" y="13"/>
                        <a:pt x="377" y="13"/>
                      </a:cubicBezTo>
                      <a:cubicBezTo>
                        <a:pt x="375" y="13"/>
                        <a:pt x="373" y="13"/>
                        <a:pt x="371" y="13"/>
                      </a:cubicBezTo>
                      <a:cubicBezTo>
                        <a:pt x="371" y="10"/>
                        <a:pt x="371" y="10"/>
                        <a:pt x="371" y="10"/>
                      </a:cubicBezTo>
                      <a:cubicBezTo>
                        <a:pt x="371" y="10"/>
                        <a:pt x="371" y="10"/>
                        <a:pt x="371" y="10"/>
                      </a:cubicBezTo>
                      <a:cubicBezTo>
                        <a:pt x="371" y="10"/>
                        <a:pt x="371" y="10"/>
                        <a:pt x="371" y="10"/>
                      </a:cubicBezTo>
                      <a:cubicBezTo>
                        <a:pt x="370" y="10"/>
                        <a:pt x="370" y="10"/>
                        <a:pt x="370" y="10"/>
                      </a:cubicBezTo>
                      <a:cubicBezTo>
                        <a:pt x="370" y="10"/>
                        <a:pt x="370" y="10"/>
                        <a:pt x="370" y="10"/>
                      </a:cubicBezTo>
                      <a:cubicBezTo>
                        <a:pt x="370" y="10"/>
                        <a:pt x="370" y="10"/>
                        <a:pt x="370" y="10"/>
                      </a:cubicBezTo>
                      <a:cubicBezTo>
                        <a:pt x="371" y="13"/>
                        <a:pt x="371" y="13"/>
                        <a:pt x="371" y="13"/>
                      </a:cubicBezTo>
                      <a:cubicBezTo>
                        <a:pt x="369" y="14"/>
                        <a:pt x="367" y="14"/>
                        <a:pt x="365" y="14"/>
                      </a:cubicBezTo>
                      <a:cubicBezTo>
                        <a:pt x="365" y="11"/>
                        <a:pt x="365" y="11"/>
                        <a:pt x="365" y="11"/>
                      </a:cubicBezTo>
                      <a:cubicBezTo>
                        <a:pt x="365" y="11"/>
                        <a:pt x="365" y="11"/>
                        <a:pt x="365" y="11"/>
                      </a:cubicBezTo>
                      <a:cubicBezTo>
                        <a:pt x="365" y="11"/>
                        <a:pt x="365" y="11"/>
                        <a:pt x="365" y="11"/>
                      </a:cubicBezTo>
                      <a:cubicBezTo>
                        <a:pt x="364" y="11"/>
                        <a:pt x="364" y="11"/>
                        <a:pt x="364" y="11"/>
                      </a:cubicBezTo>
                      <a:cubicBezTo>
                        <a:pt x="364" y="11"/>
                        <a:pt x="364" y="11"/>
                        <a:pt x="364" y="11"/>
                      </a:cubicBezTo>
                      <a:cubicBezTo>
                        <a:pt x="364" y="11"/>
                        <a:pt x="364" y="11"/>
                        <a:pt x="364" y="11"/>
                      </a:cubicBezTo>
                      <a:cubicBezTo>
                        <a:pt x="364" y="14"/>
                        <a:pt x="364" y="14"/>
                        <a:pt x="364" y="14"/>
                      </a:cubicBezTo>
                      <a:cubicBezTo>
                        <a:pt x="362" y="14"/>
                        <a:pt x="360" y="14"/>
                        <a:pt x="358" y="14"/>
                      </a:cubicBezTo>
                      <a:cubicBezTo>
                        <a:pt x="358" y="11"/>
                        <a:pt x="358" y="11"/>
                        <a:pt x="358" y="11"/>
                      </a:cubicBezTo>
                      <a:cubicBezTo>
                        <a:pt x="358" y="11"/>
                        <a:pt x="358" y="11"/>
                        <a:pt x="358" y="11"/>
                      </a:cubicBezTo>
                      <a:cubicBezTo>
                        <a:pt x="358" y="11"/>
                        <a:pt x="358" y="11"/>
                        <a:pt x="358" y="11"/>
                      </a:cubicBezTo>
                      <a:cubicBezTo>
                        <a:pt x="357" y="11"/>
                        <a:pt x="357" y="11"/>
                        <a:pt x="357" y="11"/>
                      </a:cubicBezTo>
                      <a:cubicBezTo>
                        <a:pt x="357" y="11"/>
                        <a:pt x="357" y="11"/>
                        <a:pt x="357" y="11"/>
                      </a:cubicBezTo>
                      <a:cubicBezTo>
                        <a:pt x="357" y="11"/>
                        <a:pt x="357" y="11"/>
                        <a:pt x="357" y="11"/>
                      </a:cubicBezTo>
                      <a:cubicBezTo>
                        <a:pt x="357" y="14"/>
                        <a:pt x="357" y="14"/>
                        <a:pt x="357" y="14"/>
                      </a:cubicBezTo>
                      <a:cubicBezTo>
                        <a:pt x="356" y="15"/>
                        <a:pt x="354" y="15"/>
                        <a:pt x="352" y="15"/>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5"/>
                        <a:pt x="351" y="15"/>
                        <a:pt x="351" y="15"/>
                      </a:cubicBezTo>
                      <a:cubicBezTo>
                        <a:pt x="349" y="15"/>
                        <a:pt x="347" y="15"/>
                        <a:pt x="345" y="16"/>
                      </a:cubicBezTo>
                      <a:cubicBezTo>
                        <a:pt x="345" y="13"/>
                        <a:pt x="345" y="13"/>
                        <a:pt x="345" y="13"/>
                      </a:cubicBezTo>
                      <a:cubicBezTo>
                        <a:pt x="345" y="13"/>
                        <a:pt x="345" y="13"/>
                        <a:pt x="345" y="13"/>
                      </a:cubicBezTo>
                      <a:cubicBezTo>
                        <a:pt x="345" y="13"/>
                        <a:pt x="345" y="13"/>
                        <a:pt x="345" y="13"/>
                      </a:cubicBezTo>
                      <a:cubicBezTo>
                        <a:pt x="344" y="13"/>
                        <a:pt x="344" y="13"/>
                        <a:pt x="344" y="13"/>
                      </a:cubicBezTo>
                      <a:cubicBezTo>
                        <a:pt x="344" y="13"/>
                        <a:pt x="344" y="13"/>
                        <a:pt x="344" y="13"/>
                      </a:cubicBezTo>
                      <a:cubicBezTo>
                        <a:pt x="344" y="13"/>
                        <a:pt x="344" y="13"/>
                        <a:pt x="344" y="13"/>
                      </a:cubicBezTo>
                      <a:cubicBezTo>
                        <a:pt x="344" y="16"/>
                        <a:pt x="344" y="16"/>
                        <a:pt x="344" y="16"/>
                      </a:cubicBezTo>
                      <a:cubicBezTo>
                        <a:pt x="342" y="16"/>
                        <a:pt x="341" y="16"/>
                        <a:pt x="339" y="16"/>
                      </a:cubicBezTo>
                      <a:cubicBezTo>
                        <a:pt x="338" y="14"/>
                        <a:pt x="338" y="14"/>
                        <a:pt x="338" y="14"/>
                      </a:cubicBezTo>
                      <a:cubicBezTo>
                        <a:pt x="338" y="14"/>
                        <a:pt x="338" y="14"/>
                        <a:pt x="338" y="14"/>
                      </a:cubicBezTo>
                      <a:cubicBezTo>
                        <a:pt x="337" y="14"/>
                        <a:pt x="337" y="14"/>
                        <a:pt x="337" y="14"/>
                      </a:cubicBezTo>
                      <a:cubicBezTo>
                        <a:pt x="337" y="14"/>
                        <a:pt x="337" y="14"/>
                        <a:pt x="337" y="14"/>
                      </a:cubicBezTo>
                      <a:cubicBezTo>
                        <a:pt x="338" y="17"/>
                        <a:pt x="338" y="17"/>
                        <a:pt x="338" y="17"/>
                      </a:cubicBezTo>
                      <a:cubicBezTo>
                        <a:pt x="336" y="17"/>
                        <a:pt x="334" y="17"/>
                        <a:pt x="332" y="17"/>
                      </a:cubicBezTo>
                      <a:cubicBezTo>
                        <a:pt x="332" y="15"/>
                        <a:pt x="332" y="15"/>
                        <a:pt x="332" y="15"/>
                      </a:cubicBezTo>
                      <a:cubicBezTo>
                        <a:pt x="332" y="15"/>
                        <a:pt x="332" y="15"/>
                        <a:pt x="332" y="15"/>
                      </a:cubicBezTo>
                      <a:cubicBezTo>
                        <a:pt x="332" y="15"/>
                        <a:pt x="332" y="15"/>
                        <a:pt x="332" y="15"/>
                      </a:cubicBezTo>
                      <a:cubicBezTo>
                        <a:pt x="331" y="15"/>
                        <a:pt x="331" y="15"/>
                        <a:pt x="331" y="15"/>
                      </a:cubicBezTo>
                      <a:cubicBezTo>
                        <a:pt x="331" y="15"/>
                        <a:pt x="331" y="15"/>
                        <a:pt x="331" y="15"/>
                      </a:cubicBezTo>
                      <a:cubicBezTo>
                        <a:pt x="331" y="15"/>
                        <a:pt x="331" y="15"/>
                        <a:pt x="331" y="15"/>
                      </a:cubicBezTo>
                      <a:cubicBezTo>
                        <a:pt x="331" y="18"/>
                        <a:pt x="331" y="18"/>
                        <a:pt x="331" y="18"/>
                      </a:cubicBezTo>
                      <a:cubicBezTo>
                        <a:pt x="330" y="18"/>
                        <a:pt x="328" y="18"/>
                        <a:pt x="326" y="18"/>
                      </a:cubicBezTo>
                      <a:cubicBezTo>
                        <a:pt x="325" y="13"/>
                        <a:pt x="325" y="13"/>
                        <a:pt x="325" y="13"/>
                      </a:cubicBezTo>
                      <a:cubicBezTo>
                        <a:pt x="325" y="13"/>
                        <a:pt x="325" y="13"/>
                        <a:pt x="325" y="13"/>
                      </a:cubicBezTo>
                      <a:cubicBezTo>
                        <a:pt x="323" y="6"/>
                        <a:pt x="323" y="6"/>
                        <a:pt x="323" y="6"/>
                      </a:cubicBezTo>
                      <a:cubicBezTo>
                        <a:pt x="323" y="6"/>
                        <a:pt x="323" y="6"/>
                        <a:pt x="323" y="6"/>
                      </a:cubicBezTo>
                      <a:cubicBezTo>
                        <a:pt x="324" y="13"/>
                        <a:pt x="324" y="13"/>
                        <a:pt x="324" y="13"/>
                      </a:cubicBezTo>
                      <a:cubicBezTo>
                        <a:pt x="323" y="13"/>
                        <a:pt x="323" y="13"/>
                        <a:pt x="323" y="13"/>
                      </a:cubicBezTo>
                      <a:cubicBezTo>
                        <a:pt x="324" y="19"/>
                        <a:pt x="324" y="19"/>
                        <a:pt x="324" y="19"/>
                      </a:cubicBezTo>
                      <a:cubicBezTo>
                        <a:pt x="323" y="19"/>
                        <a:pt x="321" y="19"/>
                        <a:pt x="319" y="20"/>
                      </a:cubicBezTo>
                      <a:cubicBezTo>
                        <a:pt x="319" y="17"/>
                        <a:pt x="319" y="17"/>
                        <a:pt x="319" y="17"/>
                      </a:cubicBezTo>
                      <a:cubicBezTo>
                        <a:pt x="319" y="17"/>
                        <a:pt x="319" y="17"/>
                        <a:pt x="319" y="17"/>
                      </a:cubicBezTo>
                      <a:cubicBezTo>
                        <a:pt x="318" y="17"/>
                        <a:pt x="318" y="17"/>
                        <a:pt x="318" y="17"/>
                      </a:cubicBezTo>
                      <a:cubicBezTo>
                        <a:pt x="318" y="17"/>
                        <a:pt x="318" y="17"/>
                        <a:pt x="318" y="17"/>
                      </a:cubicBezTo>
                      <a:cubicBezTo>
                        <a:pt x="318" y="17"/>
                        <a:pt x="318" y="17"/>
                        <a:pt x="318" y="17"/>
                      </a:cubicBezTo>
                      <a:cubicBezTo>
                        <a:pt x="318" y="17"/>
                        <a:pt x="318" y="17"/>
                        <a:pt x="318" y="17"/>
                      </a:cubicBezTo>
                      <a:cubicBezTo>
                        <a:pt x="318" y="20"/>
                        <a:pt x="318" y="20"/>
                        <a:pt x="318" y="20"/>
                      </a:cubicBezTo>
                      <a:cubicBezTo>
                        <a:pt x="316" y="20"/>
                        <a:pt x="315" y="21"/>
                        <a:pt x="313" y="21"/>
                      </a:cubicBezTo>
                      <a:cubicBezTo>
                        <a:pt x="312" y="18"/>
                        <a:pt x="312" y="18"/>
                        <a:pt x="312" y="18"/>
                      </a:cubicBezTo>
                      <a:cubicBezTo>
                        <a:pt x="312" y="18"/>
                        <a:pt x="312" y="18"/>
                        <a:pt x="312" y="18"/>
                      </a:cubicBezTo>
                      <a:cubicBezTo>
                        <a:pt x="312" y="18"/>
                        <a:pt x="312" y="18"/>
                        <a:pt x="312" y="18"/>
                      </a:cubicBezTo>
                      <a:cubicBezTo>
                        <a:pt x="312" y="18"/>
                        <a:pt x="312" y="18"/>
                        <a:pt x="312" y="18"/>
                      </a:cubicBezTo>
                      <a:cubicBezTo>
                        <a:pt x="311" y="18"/>
                        <a:pt x="311" y="18"/>
                        <a:pt x="311" y="18"/>
                      </a:cubicBezTo>
                      <a:cubicBezTo>
                        <a:pt x="311" y="18"/>
                        <a:pt x="311" y="18"/>
                        <a:pt x="311" y="18"/>
                      </a:cubicBezTo>
                      <a:cubicBezTo>
                        <a:pt x="312" y="21"/>
                        <a:pt x="312" y="21"/>
                        <a:pt x="312" y="21"/>
                      </a:cubicBezTo>
                      <a:cubicBezTo>
                        <a:pt x="310" y="22"/>
                        <a:pt x="308" y="22"/>
                        <a:pt x="306" y="22"/>
                      </a:cubicBezTo>
                      <a:cubicBezTo>
                        <a:pt x="306" y="20"/>
                        <a:pt x="306" y="20"/>
                        <a:pt x="306" y="20"/>
                      </a:cubicBezTo>
                      <a:cubicBezTo>
                        <a:pt x="306" y="20"/>
                        <a:pt x="306" y="20"/>
                        <a:pt x="306" y="20"/>
                      </a:cubicBezTo>
                      <a:cubicBezTo>
                        <a:pt x="305" y="20"/>
                        <a:pt x="305" y="20"/>
                        <a:pt x="305" y="20"/>
                      </a:cubicBezTo>
                      <a:cubicBezTo>
                        <a:pt x="305" y="20"/>
                        <a:pt x="305" y="20"/>
                        <a:pt x="305" y="20"/>
                      </a:cubicBezTo>
                      <a:cubicBezTo>
                        <a:pt x="305" y="20"/>
                        <a:pt x="305" y="20"/>
                        <a:pt x="305" y="20"/>
                      </a:cubicBezTo>
                      <a:cubicBezTo>
                        <a:pt x="305" y="23"/>
                        <a:pt x="305" y="23"/>
                        <a:pt x="305" y="23"/>
                      </a:cubicBezTo>
                      <a:cubicBezTo>
                        <a:pt x="304" y="23"/>
                        <a:pt x="302" y="23"/>
                        <a:pt x="300" y="24"/>
                      </a:cubicBezTo>
                      <a:cubicBezTo>
                        <a:pt x="299" y="21"/>
                        <a:pt x="299" y="21"/>
                        <a:pt x="299" y="21"/>
                      </a:cubicBezTo>
                      <a:cubicBezTo>
                        <a:pt x="299" y="21"/>
                        <a:pt x="299" y="21"/>
                        <a:pt x="299" y="21"/>
                      </a:cubicBezTo>
                      <a:cubicBezTo>
                        <a:pt x="299" y="21"/>
                        <a:pt x="299" y="21"/>
                        <a:pt x="299" y="21"/>
                      </a:cubicBezTo>
                      <a:cubicBezTo>
                        <a:pt x="298" y="21"/>
                        <a:pt x="298" y="21"/>
                        <a:pt x="298" y="21"/>
                      </a:cubicBezTo>
                      <a:cubicBezTo>
                        <a:pt x="298" y="21"/>
                        <a:pt x="298" y="21"/>
                        <a:pt x="298" y="21"/>
                      </a:cubicBezTo>
                      <a:cubicBezTo>
                        <a:pt x="299" y="24"/>
                        <a:pt x="299" y="24"/>
                        <a:pt x="299" y="24"/>
                      </a:cubicBezTo>
                      <a:cubicBezTo>
                        <a:pt x="297" y="25"/>
                        <a:pt x="295" y="25"/>
                        <a:pt x="293" y="26"/>
                      </a:cubicBezTo>
                      <a:cubicBezTo>
                        <a:pt x="293" y="23"/>
                        <a:pt x="293" y="23"/>
                        <a:pt x="293" y="23"/>
                      </a:cubicBezTo>
                      <a:cubicBezTo>
                        <a:pt x="293" y="23"/>
                        <a:pt x="293" y="23"/>
                        <a:pt x="293" y="23"/>
                      </a:cubicBezTo>
                      <a:cubicBezTo>
                        <a:pt x="293" y="23"/>
                        <a:pt x="293" y="23"/>
                        <a:pt x="293" y="23"/>
                      </a:cubicBezTo>
                      <a:cubicBezTo>
                        <a:pt x="292" y="23"/>
                        <a:pt x="292" y="23"/>
                        <a:pt x="292" y="23"/>
                      </a:cubicBezTo>
                      <a:cubicBezTo>
                        <a:pt x="292" y="23"/>
                        <a:pt x="292" y="23"/>
                        <a:pt x="292" y="23"/>
                      </a:cubicBezTo>
                      <a:cubicBezTo>
                        <a:pt x="292" y="23"/>
                        <a:pt x="292" y="23"/>
                        <a:pt x="292" y="23"/>
                      </a:cubicBezTo>
                      <a:cubicBezTo>
                        <a:pt x="293" y="26"/>
                        <a:pt x="293" y="26"/>
                        <a:pt x="293" y="26"/>
                      </a:cubicBezTo>
                      <a:cubicBezTo>
                        <a:pt x="291" y="26"/>
                        <a:pt x="289" y="27"/>
                        <a:pt x="287" y="27"/>
                      </a:cubicBezTo>
                      <a:cubicBezTo>
                        <a:pt x="286" y="25"/>
                        <a:pt x="286" y="25"/>
                        <a:pt x="286" y="25"/>
                      </a:cubicBezTo>
                      <a:cubicBezTo>
                        <a:pt x="285" y="25"/>
                        <a:pt x="285" y="25"/>
                        <a:pt x="285" y="25"/>
                      </a:cubicBezTo>
                      <a:cubicBezTo>
                        <a:pt x="286" y="28"/>
                        <a:pt x="286" y="28"/>
                        <a:pt x="286" y="28"/>
                      </a:cubicBezTo>
                      <a:cubicBezTo>
                        <a:pt x="284" y="28"/>
                        <a:pt x="283" y="29"/>
                        <a:pt x="281" y="29"/>
                      </a:cubicBezTo>
                      <a:cubicBezTo>
                        <a:pt x="280" y="26"/>
                        <a:pt x="280" y="26"/>
                        <a:pt x="280" y="26"/>
                      </a:cubicBezTo>
                      <a:cubicBezTo>
                        <a:pt x="279" y="27"/>
                        <a:pt x="279" y="27"/>
                        <a:pt x="279" y="27"/>
                      </a:cubicBezTo>
                      <a:cubicBezTo>
                        <a:pt x="280" y="29"/>
                        <a:pt x="280" y="29"/>
                        <a:pt x="280" y="29"/>
                      </a:cubicBezTo>
                      <a:cubicBezTo>
                        <a:pt x="278" y="30"/>
                        <a:pt x="276" y="31"/>
                        <a:pt x="274" y="31"/>
                      </a:cubicBezTo>
                      <a:cubicBezTo>
                        <a:pt x="274" y="28"/>
                        <a:pt x="274" y="28"/>
                        <a:pt x="274" y="28"/>
                      </a:cubicBezTo>
                      <a:cubicBezTo>
                        <a:pt x="273" y="29"/>
                        <a:pt x="273" y="29"/>
                        <a:pt x="273" y="29"/>
                      </a:cubicBezTo>
                      <a:cubicBezTo>
                        <a:pt x="274" y="31"/>
                        <a:pt x="274" y="31"/>
                        <a:pt x="274" y="31"/>
                      </a:cubicBezTo>
                      <a:cubicBezTo>
                        <a:pt x="272" y="32"/>
                        <a:pt x="270" y="33"/>
                        <a:pt x="268" y="33"/>
                      </a:cubicBezTo>
                      <a:cubicBezTo>
                        <a:pt x="267" y="31"/>
                        <a:pt x="267" y="31"/>
                        <a:pt x="267" y="31"/>
                      </a:cubicBezTo>
                      <a:cubicBezTo>
                        <a:pt x="266" y="31"/>
                        <a:pt x="266" y="31"/>
                        <a:pt x="266" y="31"/>
                      </a:cubicBezTo>
                      <a:cubicBezTo>
                        <a:pt x="267" y="33"/>
                        <a:pt x="267" y="33"/>
                        <a:pt x="267" y="33"/>
                      </a:cubicBezTo>
                      <a:cubicBezTo>
                        <a:pt x="266" y="34"/>
                        <a:pt x="264" y="35"/>
                        <a:pt x="262" y="35"/>
                      </a:cubicBezTo>
                      <a:cubicBezTo>
                        <a:pt x="261" y="30"/>
                        <a:pt x="261" y="30"/>
                        <a:pt x="261" y="30"/>
                      </a:cubicBezTo>
                      <a:cubicBezTo>
                        <a:pt x="260" y="30"/>
                        <a:pt x="260" y="30"/>
                        <a:pt x="260" y="30"/>
                      </a:cubicBezTo>
                      <a:cubicBezTo>
                        <a:pt x="257" y="23"/>
                        <a:pt x="257" y="23"/>
                        <a:pt x="257" y="23"/>
                      </a:cubicBezTo>
                      <a:cubicBezTo>
                        <a:pt x="257" y="23"/>
                        <a:pt x="257" y="23"/>
                        <a:pt x="257" y="23"/>
                      </a:cubicBezTo>
                      <a:cubicBezTo>
                        <a:pt x="259" y="31"/>
                        <a:pt x="259" y="31"/>
                        <a:pt x="259" y="31"/>
                      </a:cubicBezTo>
                      <a:cubicBezTo>
                        <a:pt x="259" y="31"/>
                        <a:pt x="259" y="31"/>
                        <a:pt x="259" y="31"/>
                      </a:cubicBezTo>
                      <a:cubicBezTo>
                        <a:pt x="261" y="36"/>
                        <a:pt x="261" y="36"/>
                        <a:pt x="261" y="36"/>
                      </a:cubicBezTo>
                      <a:cubicBezTo>
                        <a:pt x="259" y="36"/>
                        <a:pt x="257" y="37"/>
                        <a:pt x="256" y="38"/>
                      </a:cubicBezTo>
                      <a:cubicBezTo>
                        <a:pt x="255" y="35"/>
                        <a:pt x="255" y="35"/>
                        <a:pt x="255" y="35"/>
                      </a:cubicBezTo>
                      <a:cubicBezTo>
                        <a:pt x="254" y="35"/>
                        <a:pt x="254" y="35"/>
                        <a:pt x="254" y="35"/>
                      </a:cubicBezTo>
                      <a:cubicBezTo>
                        <a:pt x="255" y="38"/>
                        <a:pt x="255" y="38"/>
                        <a:pt x="255" y="38"/>
                      </a:cubicBezTo>
                      <a:cubicBezTo>
                        <a:pt x="253" y="39"/>
                        <a:pt x="251" y="39"/>
                        <a:pt x="250" y="40"/>
                      </a:cubicBezTo>
                      <a:cubicBezTo>
                        <a:pt x="249" y="38"/>
                        <a:pt x="249" y="38"/>
                        <a:pt x="249" y="38"/>
                      </a:cubicBezTo>
                      <a:cubicBezTo>
                        <a:pt x="248" y="38"/>
                        <a:pt x="248" y="38"/>
                        <a:pt x="248" y="38"/>
                      </a:cubicBezTo>
                      <a:cubicBezTo>
                        <a:pt x="249" y="40"/>
                        <a:pt x="249" y="40"/>
                        <a:pt x="249" y="40"/>
                      </a:cubicBezTo>
                      <a:cubicBezTo>
                        <a:pt x="247" y="41"/>
                        <a:pt x="245" y="42"/>
                        <a:pt x="243" y="43"/>
                      </a:cubicBezTo>
                      <a:cubicBezTo>
                        <a:pt x="242" y="40"/>
                        <a:pt x="242" y="40"/>
                        <a:pt x="242" y="40"/>
                      </a:cubicBezTo>
                      <a:cubicBezTo>
                        <a:pt x="242" y="40"/>
                        <a:pt x="242" y="40"/>
                        <a:pt x="242" y="40"/>
                      </a:cubicBezTo>
                      <a:cubicBezTo>
                        <a:pt x="243" y="43"/>
                        <a:pt x="243" y="43"/>
                        <a:pt x="243" y="43"/>
                      </a:cubicBezTo>
                      <a:cubicBezTo>
                        <a:pt x="241" y="44"/>
                        <a:pt x="239" y="44"/>
                        <a:pt x="237" y="45"/>
                      </a:cubicBezTo>
                      <a:cubicBezTo>
                        <a:pt x="236" y="43"/>
                        <a:pt x="236" y="43"/>
                        <a:pt x="236" y="43"/>
                      </a:cubicBezTo>
                      <a:cubicBezTo>
                        <a:pt x="236" y="43"/>
                        <a:pt x="236" y="43"/>
                        <a:pt x="236" y="43"/>
                      </a:cubicBezTo>
                      <a:cubicBezTo>
                        <a:pt x="237" y="46"/>
                        <a:pt x="237" y="46"/>
                        <a:pt x="237" y="46"/>
                      </a:cubicBezTo>
                      <a:cubicBezTo>
                        <a:pt x="235" y="46"/>
                        <a:pt x="233" y="47"/>
                        <a:pt x="231" y="48"/>
                      </a:cubicBezTo>
                      <a:cubicBezTo>
                        <a:pt x="230" y="45"/>
                        <a:pt x="230" y="45"/>
                        <a:pt x="230" y="45"/>
                      </a:cubicBezTo>
                      <a:cubicBezTo>
                        <a:pt x="230" y="46"/>
                        <a:pt x="230" y="46"/>
                        <a:pt x="230" y="46"/>
                      </a:cubicBezTo>
                      <a:cubicBezTo>
                        <a:pt x="231" y="48"/>
                        <a:pt x="231" y="48"/>
                        <a:pt x="231" y="48"/>
                      </a:cubicBezTo>
                      <a:cubicBezTo>
                        <a:pt x="229" y="49"/>
                        <a:pt x="227" y="50"/>
                        <a:pt x="225" y="51"/>
                      </a:cubicBezTo>
                      <a:cubicBezTo>
                        <a:pt x="224" y="48"/>
                        <a:pt x="224" y="48"/>
                        <a:pt x="224" y="48"/>
                      </a:cubicBezTo>
                      <a:cubicBezTo>
                        <a:pt x="224" y="49"/>
                        <a:pt x="224" y="49"/>
                        <a:pt x="224" y="49"/>
                      </a:cubicBezTo>
                      <a:cubicBezTo>
                        <a:pt x="225" y="51"/>
                        <a:pt x="225" y="51"/>
                        <a:pt x="225" y="51"/>
                      </a:cubicBezTo>
                      <a:cubicBezTo>
                        <a:pt x="223" y="52"/>
                        <a:pt x="221" y="53"/>
                        <a:pt x="220" y="54"/>
                      </a:cubicBezTo>
                      <a:cubicBezTo>
                        <a:pt x="218" y="51"/>
                        <a:pt x="218" y="51"/>
                        <a:pt x="218" y="51"/>
                      </a:cubicBezTo>
                      <a:cubicBezTo>
                        <a:pt x="218" y="52"/>
                        <a:pt x="218" y="52"/>
                        <a:pt x="218" y="52"/>
                      </a:cubicBezTo>
                      <a:cubicBezTo>
                        <a:pt x="219" y="54"/>
                        <a:pt x="219" y="54"/>
                        <a:pt x="219" y="54"/>
                      </a:cubicBezTo>
                      <a:cubicBezTo>
                        <a:pt x="217" y="55"/>
                        <a:pt x="215" y="56"/>
                        <a:pt x="214" y="57"/>
                      </a:cubicBezTo>
                      <a:cubicBezTo>
                        <a:pt x="212" y="54"/>
                        <a:pt x="212" y="54"/>
                        <a:pt x="212" y="54"/>
                      </a:cubicBezTo>
                      <a:cubicBezTo>
                        <a:pt x="212" y="55"/>
                        <a:pt x="212" y="55"/>
                        <a:pt x="212" y="55"/>
                      </a:cubicBezTo>
                      <a:cubicBezTo>
                        <a:pt x="213" y="57"/>
                        <a:pt x="213" y="57"/>
                        <a:pt x="213" y="57"/>
                      </a:cubicBezTo>
                      <a:cubicBezTo>
                        <a:pt x="211" y="58"/>
                        <a:pt x="210" y="59"/>
                        <a:pt x="208" y="60"/>
                      </a:cubicBezTo>
                      <a:cubicBezTo>
                        <a:pt x="207" y="58"/>
                        <a:pt x="207" y="58"/>
                        <a:pt x="207" y="58"/>
                      </a:cubicBezTo>
                      <a:cubicBezTo>
                        <a:pt x="206" y="58"/>
                        <a:pt x="206" y="58"/>
                        <a:pt x="206" y="58"/>
                      </a:cubicBezTo>
                      <a:cubicBezTo>
                        <a:pt x="207" y="60"/>
                        <a:pt x="207" y="60"/>
                        <a:pt x="207" y="60"/>
                      </a:cubicBezTo>
                      <a:cubicBezTo>
                        <a:pt x="206" y="61"/>
                        <a:pt x="204" y="62"/>
                        <a:pt x="203" y="63"/>
                      </a:cubicBezTo>
                      <a:cubicBezTo>
                        <a:pt x="200" y="58"/>
                        <a:pt x="200" y="58"/>
                        <a:pt x="200" y="58"/>
                      </a:cubicBezTo>
                      <a:cubicBezTo>
                        <a:pt x="199" y="59"/>
                        <a:pt x="199" y="59"/>
                        <a:pt x="199" y="59"/>
                      </a:cubicBezTo>
                      <a:cubicBezTo>
                        <a:pt x="196" y="52"/>
                        <a:pt x="196" y="52"/>
                        <a:pt x="196" y="52"/>
                      </a:cubicBezTo>
                      <a:cubicBezTo>
                        <a:pt x="195" y="52"/>
                        <a:pt x="195" y="52"/>
                        <a:pt x="195" y="52"/>
                      </a:cubicBezTo>
                      <a:cubicBezTo>
                        <a:pt x="199" y="59"/>
                        <a:pt x="199" y="59"/>
                        <a:pt x="199" y="59"/>
                      </a:cubicBezTo>
                      <a:cubicBezTo>
                        <a:pt x="198" y="59"/>
                        <a:pt x="198" y="59"/>
                        <a:pt x="198" y="59"/>
                      </a:cubicBezTo>
                      <a:cubicBezTo>
                        <a:pt x="201" y="64"/>
                        <a:pt x="201" y="64"/>
                        <a:pt x="201" y="64"/>
                      </a:cubicBezTo>
                      <a:cubicBezTo>
                        <a:pt x="200" y="65"/>
                        <a:pt x="198" y="66"/>
                        <a:pt x="196" y="67"/>
                      </a:cubicBezTo>
                      <a:cubicBezTo>
                        <a:pt x="195" y="64"/>
                        <a:pt x="195" y="64"/>
                        <a:pt x="195" y="64"/>
                      </a:cubicBezTo>
                      <a:cubicBezTo>
                        <a:pt x="194" y="65"/>
                        <a:pt x="194" y="65"/>
                        <a:pt x="194" y="65"/>
                      </a:cubicBezTo>
                      <a:cubicBezTo>
                        <a:pt x="196" y="67"/>
                        <a:pt x="196" y="67"/>
                        <a:pt x="196" y="67"/>
                      </a:cubicBezTo>
                      <a:cubicBezTo>
                        <a:pt x="194" y="68"/>
                        <a:pt x="193" y="69"/>
                        <a:pt x="191" y="70"/>
                      </a:cubicBezTo>
                      <a:cubicBezTo>
                        <a:pt x="189" y="68"/>
                        <a:pt x="189" y="68"/>
                        <a:pt x="189" y="68"/>
                      </a:cubicBezTo>
                      <a:cubicBezTo>
                        <a:pt x="189" y="68"/>
                        <a:pt x="189" y="68"/>
                        <a:pt x="189" y="68"/>
                      </a:cubicBezTo>
                      <a:cubicBezTo>
                        <a:pt x="190" y="70"/>
                        <a:pt x="190" y="70"/>
                        <a:pt x="190" y="70"/>
                      </a:cubicBezTo>
                      <a:cubicBezTo>
                        <a:pt x="189" y="72"/>
                        <a:pt x="187" y="73"/>
                        <a:pt x="185" y="74"/>
                      </a:cubicBezTo>
                      <a:cubicBezTo>
                        <a:pt x="184" y="71"/>
                        <a:pt x="184" y="71"/>
                        <a:pt x="184" y="71"/>
                      </a:cubicBezTo>
                      <a:cubicBezTo>
                        <a:pt x="183" y="72"/>
                        <a:pt x="183" y="72"/>
                        <a:pt x="183" y="72"/>
                      </a:cubicBezTo>
                      <a:cubicBezTo>
                        <a:pt x="185" y="74"/>
                        <a:pt x="185" y="74"/>
                        <a:pt x="185" y="74"/>
                      </a:cubicBezTo>
                      <a:cubicBezTo>
                        <a:pt x="183" y="75"/>
                        <a:pt x="181" y="76"/>
                        <a:pt x="180" y="77"/>
                      </a:cubicBezTo>
                      <a:cubicBezTo>
                        <a:pt x="178" y="75"/>
                        <a:pt x="178" y="75"/>
                        <a:pt x="178" y="75"/>
                      </a:cubicBezTo>
                      <a:cubicBezTo>
                        <a:pt x="178" y="75"/>
                        <a:pt x="178" y="75"/>
                        <a:pt x="178" y="75"/>
                      </a:cubicBezTo>
                      <a:cubicBezTo>
                        <a:pt x="179" y="78"/>
                        <a:pt x="179" y="78"/>
                        <a:pt x="179" y="78"/>
                      </a:cubicBezTo>
                      <a:cubicBezTo>
                        <a:pt x="178" y="79"/>
                        <a:pt x="176" y="80"/>
                        <a:pt x="174" y="81"/>
                      </a:cubicBezTo>
                      <a:cubicBezTo>
                        <a:pt x="173" y="79"/>
                        <a:pt x="173" y="79"/>
                        <a:pt x="173" y="79"/>
                      </a:cubicBezTo>
                      <a:cubicBezTo>
                        <a:pt x="172" y="79"/>
                        <a:pt x="172" y="79"/>
                        <a:pt x="172" y="79"/>
                      </a:cubicBezTo>
                      <a:cubicBezTo>
                        <a:pt x="174" y="81"/>
                        <a:pt x="174" y="81"/>
                        <a:pt x="174" y="81"/>
                      </a:cubicBezTo>
                      <a:cubicBezTo>
                        <a:pt x="172" y="83"/>
                        <a:pt x="171" y="84"/>
                        <a:pt x="169" y="85"/>
                      </a:cubicBezTo>
                      <a:cubicBezTo>
                        <a:pt x="167" y="82"/>
                        <a:pt x="167" y="82"/>
                        <a:pt x="167" y="82"/>
                      </a:cubicBezTo>
                      <a:cubicBezTo>
                        <a:pt x="167" y="83"/>
                        <a:pt x="167" y="83"/>
                        <a:pt x="167" y="83"/>
                      </a:cubicBezTo>
                      <a:cubicBezTo>
                        <a:pt x="168" y="85"/>
                        <a:pt x="168" y="85"/>
                        <a:pt x="168" y="85"/>
                      </a:cubicBezTo>
                      <a:cubicBezTo>
                        <a:pt x="167" y="86"/>
                        <a:pt x="165" y="88"/>
                        <a:pt x="164" y="89"/>
                      </a:cubicBezTo>
                      <a:cubicBezTo>
                        <a:pt x="162" y="86"/>
                        <a:pt x="162" y="86"/>
                        <a:pt x="162" y="86"/>
                      </a:cubicBezTo>
                      <a:cubicBezTo>
                        <a:pt x="161" y="87"/>
                        <a:pt x="161" y="87"/>
                        <a:pt x="161" y="87"/>
                      </a:cubicBezTo>
                      <a:cubicBezTo>
                        <a:pt x="163" y="89"/>
                        <a:pt x="163" y="89"/>
                        <a:pt x="163" y="89"/>
                      </a:cubicBezTo>
                      <a:cubicBezTo>
                        <a:pt x="162" y="90"/>
                        <a:pt x="160" y="92"/>
                        <a:pt x="158" y="93"/>
                      </a:cubicBezTo>
                      <a:cubicBezTo>
                        <a:pt x="157" y="91"/>
                        <a:pt x="157" y="91"/>
                        <a:pt x="157" y="91"/>
                      </a:cubicBezTo>
                      <a:cubicBezTo>
                        <a:pt x="156" y="91"/>
                        <a:pt x="156" y="91"/>
                        <a:pt x="156" y="91"/>
                      </a:cubicBezTo>
                      <a:cubicBezTo>
                        <a:pt x="158" y="93"/>
                        <a:pt x="158" y="93"/>
                        <a:pt x="158" y="93"/>
                      </a:cubicBezTo>
                      <a:cubicBezTo>
                        <a:pt x="156" y="95"/>
                        <a:pt x="155" y="96"/>
                        <a:pt x="153" y="97"/>
                      </a:cubicBezTo>
                      <a:cubicBezTo>
                        <a:pt x="151" y="95"/>
                        <a:pt x="151" y="95"/>
                        <a:pt x="151" y="95"/>
                      </a:cubicBezTo>
                      <a:cubicBezTo>
                        <a:pt x="151" y="95"/>
                        <a:pt x="151" y="95"/>
                        <a:pt x="151" y="95"/>
                      </a:cubicBezTo>
                      <a:cubicBezTo>
                        <a:pt x="153" y="97"/>
                        <a:pt x="153" y="97"/>
                        <a:pt x="153" y="97"/>
                      </a:cubicBezTo>
                      <a:cubicBezTo>
                        <a:pt x="151" y="99"/>
                        <a:pt x="150" y="100"/>
                        <a:pt x="149" y="101"/>
                      </a:cubicBezTo>
                      <a:cubicBezTo>
                        <a:pt x="145" y="97"/>
                        <a:pt x="145" y="97"/>
                        <a:pt x="145" y="97"/>
                      </a:cubicBezTo>
                      <a:cubicBezTo>
                        <a:pt x="145" y="97"/>
                        <a:pt x="145" y="97"/>
                        <a:pt x="145" y="97"/>
                      </a:cubicBezTo>
                      <a:cubicBezTo>
                        <a:pt x="140" y="91"/>
                        <a:pt x="140" y="91"/>
                        <a:pt x="140" y="91"/>
                      </a:cubicBezTo>
                      <a:cubicBezTo>
                        <a:pt x="139" y="91"/>
                        <a:pt x="139" y="91"/>
                        <a:pt x="139" y="91"/>
                      </a:cubicBezTo>
                      <a:cubicBezTo>
                        <a:pt x="144" y="97"/>
                        <a:pt x="144" y="97"/>
                        <a:pt x="144" y="97"/>
                      </a:cubicBezTo>
                      <a:cubicBezTo>
                        <a:pt x="144" y="98"/>
                        <a:pt x="144" y="98"/>
                        <a:pt x="144" y="98"/>
                      </a:cubicBezTo>
                      <a:cubicBezTo>
                        <a:pt x="147" y="102"/>
                        <a:pt x="147" y="102"/>
                        <a:pt x="147" y="102"/>
                      </a:cubicBezTo>
                      <a:cubicBezTo>
                        <a:pt x="146" y="103"/>
                        <a:pt x="145" y="104"/>
                        <a:pt x="143" y="105"/>
                      </a:cubicBezTo>
                      <a:cubicBezTo>
                        <a:pt x="141" y="103"/>
                        <a:pt x="141" y="103"/>
                        <a:pt x="141" y="103"/>
                      </a:cubicBezTo>
                      <a:cubicBezTo>
                        <a:pt x="141" y="104"/>
                        <a:pt x="141" y="104"/>
                        <a:pt x="141" y="104"/>
                      </a:cubicBezTo>
                      <a:cubicBezTo>
                        <a:pt x="143" y="106"/>
                        <a:pt x="143" y="106"/>
                        <a:pt x="143" y="106"/>
                      </a:cubicBezTo>
                      <a:cubicBezTo>
                        <a:pt x="141" y="107"/>
                        <a:pt x="140" y="109"/>
                        <a:pt x="138" y="110"/>
                      </a:cubicBezTo>
                      <a:cubicBezTo>
                        <a:pt x="136" y="108"/>
                        <a:pt x="136" y="108"/>
                        <a:pt x="136" y="108"/>
                      </a:cubicBezTo>
                      <a:cubicBezTo>
                        <a:pt x="136" y="108"/>
                        <a:pt x="136" y="108"/>
                        <a:pt x="136" y="108"/>
                      </a:cubicBezTo>
                      <a:cubicBezTo>
                        <a:pt x="138" y="110"/>
                        <a:pt x="138" y="110"/>
                        <a:pt x="138" y="110"/>
                      </a:cubicBezTo>
                      <a:cubicBezTo>
                        <a:pt x="136" y="112"/>
                        <a:pt x="135" y="113"/>
                        <a:pt x="133" y="114"/>
                      </a:cubicBezTo>
                      <a:cubicBezTo>
                        <a:pt x="131" y="112"/>
                        <a:pt x="131" y="112"/>
                        <a:pt x="131" y="112"/>
                      </a:cubicBezTo>
                      <a:cubicBezTo>
                        <a:pt x="131" y="113"/>
                        <a:pt x="131" y="113"/>
                        <a:pt x="131" y="113"/>
                      </a:cubicBezTo>
                      <a:cubicBezTo>
                        <a:pt x="133" y="115"/>
                        <a:pt x="133" y="115"/>
                        <a:pt x="133" y="115"/>
                      </a:cubicBezTo>
                      <a:cubicBezTo>
                        <a:pt x="131" y="116"/>
                        <a:pt x="130" y="117"/>
                        <a:pt x="129" y="119"/>
                      </a:cubicBezTo>
                      <a:cubicBezTo>
                        <a:pt x="127" y="117"/>
                        <a:pt x="127" y="117"/>
                        <a:pt x="127" y="117"/>
                      </a:cubicBezTo>
                      <a:cubicBezTo>
                        <a:pt x="126" y="117"/>
                        <a:pt x="126" y="117"/>
                        <a:pt x="126" y="117"/>
                      </a:cubicBezTo>
                      <a:cubicBezTo>
                        <a:pt x="128" y="119"/>
                        <a:pt x="128" y="119"/>
                        <a:pt x="128" y="119"/>
                      </a:cubicBezTo>
                      <a:cubicBezTo>
                        <a:pt x="127" y="121"/>
                        <a:pt x="125" y="122"/>
                        <a:pt x="124" y="123"/>
                      </a:cubicBezTo>
                      <a:cubicBezTo>
                        <a:pt x="122" y="121"/>
                        <a:pt x="122" y="121"/>
                        <a:pt x="122" y="121"/>
                      </a:cubicBezTo>
                      <a:cubicBezTo>
                        <a:pt x="121" y="122"/>
                        <a:pt x="121" y="122"/>
                        <a:pt x="121" y="122"/>
                      </a:cubicBezTo>
                      <a:cubicBezTo>
                        <a:pt x="123" y="124"/>
                        <a:pt x="123" y="124"/>
                        <a:pt x="123" y="124"/>
                      </a:cubicBezTo>
                      <a:cubicBezTo>
                        <a:pt x="122" y="125"/>
                        <a:pt x="121" y="127"/>
                        <a:pt x="119" y="128"/>
                      </a:cubicBezTo>
                      <a:cubicBezTo>
                        <a:pt x="117" y="126"/>
                        <a:pt x="117" y="126"/>
                        <a:pt x="117" y="126"/>
                      </a:cubicBezTo>
                      <a:cubicBezTo>
                        <a:pt x="117" y="127"/>
                        <a:pt x="117" y="127"/>
                        <a:pt x="117" y="127"/>
                      </a:cubicBezTo>
                      <a:cubicBezTo>
                        <a:pt x="119" y="129"/>
                        <a:pt x="119" y="129"/>
                        <a:pt x="119" y="129"/>
                      </a:cubicBezTo>
                      <a:cubicBezTo>
                        <a:pt x="117" y="130"/>
                        <a:pt x="116" y="132"/>
                        <a:pt x="115" y="133"/>
                      </a:cubicBezTo>
                      <a:cubicBezTo>
                        <a:pt x="113" y="131"/>
                        <a:pt x="113" y="131"/>
                        <a:pt x="113" y="131"/>
                      </a:cubicBezTo>
                      <a:cubicBezTo>
                        <a:pt x="112" y="131"/>
                        <a:pt x="112" y="131"/>
                        <a:pt x="112" y="131"/>
                      </a:cubicBezTo>
                      <a:cubicBezTo>
                        <a:pt x="114" y="134"/>
                        <a:pt x="114" y="134"/>
                        <a:pt x="114" y="134"/>
                      </a:cubicBezTo>
                      <a:cubicBezTo>
                        <a:pt x="113" y="135"/>
                        <a:pt x="112" y="136"/>
                        <a:pt x="110" y="138"/>
                      </a:cubicBezTo>
                      <a:cubicBezTo>
                        <a:pt x="108" y="136"/>
                        <a:pt x="108" y="136"/>
                        <a:pt x="108" y="136"/>
                      </a:cubicBezTo>
                      <a:cubicBezTo>
                        <a:pt x="108" y="136"/>
                        <a:pt x="108" y="136"/>
                        <a:pt x="108" y="136"/>
                      </a:cubicBezTo>
                      <a:cubicBezTo>
                        <a:pt x="110" y="138"/>
                        <a:pt x="110" y="138"/>
                        <a:pt x="110" y="138"/>
                      </a:cubicBezTo>
                      <a:cubicBezTo>
                        <a:pt x="108" y="140"/>
                        <a:pt x="107" y="141"/>
                        <a:pt x="106" y="143"/>
                      </a:cubicBezTo>
                      <a:cubicBezTo>
                        <a:pt x="104" y="141"/>
                        <a:pt x="104" y="141"/>
                        <a:pt x="104" y="141"/>
                      </a:cubicBezTo>
                      <a:cubicBezTo>
                        <a:pt x="103" y="141"/>
                        <a:pt x="103" y="141"/>
                        <a:pt x="103" y="141"/>
                      </a:cubicBezTo>
                      <a:cubicBezTo>
                        <a:pt x="105" y="143"/>
                        <a:pt x="105" y="143"/>
                        <a:pt x="105" y="143"/>
                      </a:cubicBezTo>
                      <a:cubicBezTo>
                        <a:pt x="104" y="145"/>
                        <a:pt x="103" y="146"/>
                        <a:pt x="102" y="147"/>
                      </a:cubicBezTo>
                      <a:cubicBezTo>
                        <a:pt x="98" y="144"/>
                        <a:pt x="98" y="144"/>
                        <a:pt x="98" y="144"/>
                      </a:cubicBezTo>
                      <a:cubicBezTo>
                        <a:pt x="97" y="144"/>
                        <a:pt x="97" y="144"/>
                        <a:pt x="97" y="144"/>
                      </a:cubicBezTo>
                      <a:cubicBezTo>
                        <a:pt x="91" y="139"/>
                        <a:pt x="91" y="139"/>
                        <a:pt x="91" y="139"/>
                      </a:cubicBezTo>
                      <a:cubicBezTo>
                        <a:pt x="91" y="140"/>
                        <a:pt x="91" y="140"/>
                        <a:pt x="91" y="140"/>
                      </a:cubicBezTo>
                      <a:cubicBezTo>
                        <a:pt x="97" y="145"/>
                        <a:pt x="97" y="145"/>
                        <a:pt x="97" y="145"/>
                      </a:cubicBezTo>
                      <a:cubicBezTo>
                        <a:pt x="97" y="145"/>
                        <a:pt x="97" y="145"/>
                        <a:pt x="97" y="145"/>
                      </a:cubicBezTo>
                      <a:cubicBezTo>
                        <a:pt x="101" y="149"/>
                        <a:pt x="101" y="149"/>
                        <a:pt x="101" y="149"/>
                      </a:cubicBezTo>
                      <a:cubicBezTo>
                        <a:pt x="100" y="150"/>
                        <a:pt x="99" y="151"/>
                        <a:pt x="97" y="153"/>
                      </a:cubicBezTo>
                      <a:cubicBezTo>
                        <a:pt x="95" y="151"/>
                        <a:pt x="95" y="151"/>
                        <a:pt x="95" y="151"/>
                      </a:cubicBezTo>
                      <a:cubicBezTo>
                        <a:pt x="95" y="152"/>
                        <a:pt x="95" y="152"/>
                        <a:pt x="95" y="152"/>
                      </a:cubicBezTo>
                      <a:cubicBezTo>
                        <a:pt x="97" y="153"/>
                        <a:pt x="97" y="153"/>
                        <a:pt x="97" y="153"/>
                      </a:cubicBezTo>
                      <a:cubicBezTo>
                        <a:pt x="96" y="155"/>
                        <a:pt x="94" y="156"/>
                        <a:pt x="93" y="158"/>
                      </a:cubicBezTo>
                      <a:cubicBezTo>
                        <a:pt x="91" y="156"/>
                        <a:pt x="91" y="156"/>
                        <a:pt x="91" y="156"/>
                      </a:cubicBezTo>
                      <a:cubicBezTo>
                        <a:pt x="90" y="157"/>
                        <a:pt x="90" y="157"/>
                        <a:pt x="90" y="157"/>
                      </a:cubicBezTo>
                      <a:cubicBezTo>
                        <a:pt x="93" y="159"/>
                        <a:pt x="93" y="159"/>
                        <a:pt x="93" y="159"/>
                      </a:cubicBezTo>
                      <a:cubicBezTo>
                        <a:pt x="92" y="160"/>
                        <a:pt x="90" y="162"/>
                        <a:pt x="89" y="163"/>
                      </a:cubicBezTo>
                      <a:cubicBezTo>
                        <a:pt x="87" y="161"/>
                        <a:pt x="87" y="161"/>
                        <a:pt x="87" y="161"/>
                      </a:cubicBezTo>
                      <a:cubicBezTo>
                        <a:pt x="86" y="162"/>
                        <a:pt x="86" y="162"/>
                        <a:pt x="86" y="162"/>
                      </a:cubicBezTo>
                      <a:cubicBezTo>
                        <a:pt x="89" y="164"/>
                        <a:pt x="89" y="164"/>
                        <a:pt x="89" y="164"/>
                      </a:cubicBezTo>
                      <a:cubicBezTo>
                        <a:pt x="88" y="165"/>
                        <a:pt x="86" y="167"/>
                        <a:pt x="85" y="168"/>
                      </a:cubicBezTo>
                      <a:cubicBezTo>
                        <a:pt x="83" y="167"/>
                        <a:pt x="83" y="167"/>
                        <a:pt x="83" y="167"/>
                      </a:cubicBezTo>
                      <a:cubicBezTo>
                        <a:pt x="82" y="167"/>
                        <a:pt x="82" y="167"/>
                        <a:pt x="82" y="167"/>
                      </a:cubicBezTo>
                      <a:cubicBezTo>
                        <a:pt x="85" y="169"/>
                        <a:pt x="85" y="169"/>
                        <a:pt x="85" y="169"/>
                      </a:cubicBezTo>
                      <a:cubicBezTo>
                        <a:pt x="84" y="171"/>
                        <a:pt x="83" y="172"/>
                        <a:pt x="81" y="174"/>
                      </a:cubicBezTo>
                      <a:cubicBezTo>
                        <a:pt x="79" y="172"/>
                        <a:pt x="79" y="172"/>
                        <a:pt x="79" y="172"/>
                      </a:cubicBezTo>
                      <a:cubicBezTo>
                        <a:pt x="79" y="173"/>
                        <a:pt x="79" y="173"/>
                        <a:pt x="79" y="173"/>
                      </a:cubicBezTo>
                      <a:cubicBezTo>
                        <a:pt x="81" y="174"/>
                        <a:pt x="81" y="174"/>
                        <a:pt x="81" y="174"/>
                      </a:cubicBezTo>
                      <a:cubicBezTo>
                        <a:pt x="80" y="176"/>
                        <a:pt x="79" y="178"/>
                        <a:pt x="78" y="179"/>
                      </a:cubicBezTo>
                      <a:cubicBezTo>
                        <a:pt x="75" y="178"/>
                        <a:pt x="75" y="178"/>
                        <a:pt x="75" y="178"/>
                      </a:cubicBezTo>
                      <a:cubicBezTo>
                        <a:pt x="75" y="178"/>
                        <a:pt x="75" y="178"/>
                        <a:pt x="75" y="178"/>
                      </a:cubicBezTo>
                      <a:cubicBezTo>
                        <a:pt x="77" y="180"/>
                        <a:pt x="77" y="180"/>
                        <a:pt x="77" y="180"/>
                      </a:cubicBezTo>
                      <a:cubicBezTo>
                        <a:pt x="76" y="182"/>
                        <a:pt x="75" y="183"/>
                        <a:pt x="74" y="185"/>
                      </a:cubicBezTo>
                      <a:cubicBezTo>
                        <a:pt x="72" y="183"/>
                        <a:pt x="72" y="183"/>
                        <a:pt x="72" y="183"/>
                      </a:cubicBezTo>
                      <a:cubicBezTo>
                        <a:pt x="71" y="184"/>
                        <a:pt x="71" y="184"/>
                        <a:pt x="71" y="184"/>
                      </a:cubicBezTo>
                      <a:cubicBezTo>
                        <a:pt x="74" y="185"/>
                        <a:pt x="74" y="185"/>
                        <a:pt x="74" y="185"/>
                      </a:cubicBezTo>
                      <a:cubicBezTo>
                        <a:pt x="73" y="187"/>
                        <a:pt x="72" y="189"/>
                        <a:pt x="70" y="190"/>
                      </a:cubicBezTo>
                      <a:cubicBezTo>
                        <a:pt x="68" y="189"/>
                        <a:pt x="68" y="189"/>
                        <a:pt x="68" y="189"/>
                      </a:cubicBezTo>
                      <a:cubicBezTo>
                        <a:pt x="68" y="189"/>
                        <a:pt x="68" y="189"/>
                        <a:pt x="68" y="189"/>
                      </a:cubicBezTo>
                      <a:cubicBezTo>
                        <a:pt x="70" y="191"/>
                        <a:pt x="70" y="191"/>
                        <a:pt x="70" y="191"/>
                      </a:cubicBezTo>
                      <a:cubicBezTo>
                        <a:pt x="69" y="193"/>
                        <a:pt x="68" y="194"/>
                        <a:pt x="67" y="196"/>
                      </a:cubicBezTo>
                      <a:cubicBezTo>
                        <a:pt x="65" y="194"/>
                        <a:pt x="65" y="194"/>
                        <a:pt x="65" y="194"/>
                      </a:cubicBezTo>
                      <a:cubicBezTo>
                        <a:pt x="64" y="195"/>
                        <a:pt x="64" y="195"/>
                        <a:pt x="64" y="195"/>
                      </a:cubicBezTo>
                      <a:cubicBezTo>
                        <a:pt x="67" y="197"/>
                        <a:pt x="67" y="197"/>
                        <a:pt x="67" y="197"/>
                      </a:cubicBezTo>
                      <a:cubicBezTo>
                        <a:pt x="66" y="198"/>
                        <a:pt x="65" y="200"/>
                        <a:pt x="64" y="201"/>
                      </a:cubicBezTo>
                      <a:cubicBezTo>
                        <a:pt x="59" y="199"/>
                        <a:pt x="59" y="199"/>
                        <a:pt x="59" y="199"/>
                      </a:cubicBezTo>
                      <a:cubicBezTo>
                        <a:pt x="59" y="199"/>
                        <a:pt x="59" y="199"/>
                        <a:pt x="59" y="199"/>
                      </a:cubicBezTo>
                      <a:cubicBezTo>
                        <a:pt x="52" y="195"/>
                        <a:pt x="52" y="195"/>
                        <a:pt x="52" y="195"/>
                      </a:cubicBezTo>
                      <a:cubicBezTo>
                        <a:pt x="52" y="196"/>
                        <a:pt x="52" y="196"/>
                        <a:pt x="52" y="196"/>
                      </a:cubicBezTo>
                      <a:cubicBezTo>
                        <a:pt x="59" y="200"/>
                        <a:pt x="59" y="200"/>
                        <a:pt x="59" y="200"/>
                      </a:cubicBezTo>
                      <a:cubicBezTo>
                        <a:pt x="58" y="200"/>
                        <a:pt x="58" y="200"/>
                        <a:pt x="58" y="200"/>
                      </a:cubicBezTo>
                      <a:cubicBezTo>
                        <a:pt x="63" y="203"/>
                        <a:pt x="63" y="203"/>
                        <a:pt x="63" y="203"/>
                      </a:cubicBezTo>
                      <a:cubicBezTo>
                        <a:pt x="62" y="204"/>
                        <a:pt x="61" y="206"/>
                        <a:pt x="60" y="207"/>
                      </a:cubicBezTo>
                      <a:cubicBezTo>
                        <a:pt x="58" y="206"/>
                        <a:pt x="58" y="206"/>
                        <a:pt x="58" y="206"/>
                      </a:cubicBezTo>
                      <a:cubicBezTo>
                        <a:pt x="58" y="207"/>
                        <a:pt x="58" y="207"/>
                        <a:pt x="58" y="207"/>
                      </a:cubicBezTo>
                      <a:cubicBezTo>
                        <a:pt x="60" y="208"/>
                        <a:pt x="60" y="208"/>
                        <a:pt x="60" y="208"/>
                      </a:cubicBezTo>
                      <a:cubicBezTo>
                        <a:pt x="59" y="210"/>
                        <a:pt x="58" y="211"/>
                        <a:pt x="57" y="213"/>
                      </a:cubicBezTo>
                      <a:cubicBezTo>
                        <a:pt x="55" y="212"/>
                        <a:pt x="55" y="212"/>
                        <a:pt x="55" y="212"/>
                      </a:cubicBezTo>
                      <a:cubicBezTo>
                        <a:pt x="54" y="213"/>
                        <a:pt x="54" y="213"/>
                        <a:pt x="54" y="213"/>
                      </a:cubicBezTo>
                      <a:cubicBezTo>
                        <a:pt x="57" y="214"/>
                        <a:pt x="57" y="214"/>
                        <a:pt x="57" y="214"/>
                      </a:cubicBezTo>
                      <a:cubicBezTo>
                        <a:pt x="56" y="216"/>
                        <a:pt x="55" y="217"/>
                        <a:pt x="54" y="219"/>
                      </a:cubicBezTo>
                      <a:cubicBezTo>
                        <a:pt x="52" y="218"/>
                        <a:pt x="52" y="218"/>
                        <a:pt x="52" y="218"/>
                      </a:cubicBezTo>
                      <a:cubicBezTo>
                        <a:pt x="51" y="218"/>
                        <a:pt x="51" y="218"/>
                        <a:pt x="51" y="218"/>
                      </a:cubicBezTo>
                      <a:cubicBezTo>
                        <a:pt x="54" y="220"/>
                        <a:pt x="54" y="220"/>
                        <a:pt x="54" y="220"/>
                      </a:cubicBezTo>
                      <a:cubicBezTo>
                        <a:pt x="53" y="221"/>
                        <a:pt x="52" y="223"/>
                        <a:pt x="51" y="225"/>
                      </a:cubicBezTo>
                      <a:cubicBezTo>
                        <a:pt x="49" y="224"/>
                        <a:pt x="49" y="224"/>
                        <a:pt x="49" y="224"/>
                      </a:cubicBezTo>
                      <a:cubicBezTo>
                        <a:pt x="48" y="224"/>
                        <a:pt x="48" y="224"/>
                        <a:pt x="48" y="224"/>
                      </a:cubicBezTo>
                      <a:cubicBezTo>
                        <a:pt x="51" y="226"/>
                        <a:pt x="51" y="226"/>
                        <a:pt x="51" y="226"/>
                      </a:cubicBezTo>
                      <a:cubicBezTo>
                        <a:pt x="50" y="227"/>
                        <a:pt x="49" y="229"/>
                        <a:pt x="48" y="231"/>
                      </a:cubicBezTo>
                      <a:cubicBezTo>
                        <a:pt x="46" y="230"/>
                        <a:pt x="46" y="230"/>
                        <a:pt x="46" y="230"/>
                      </a:cubicBezTo>
                      <a:cubicBezTo>
                        <a:pt x="45" y="230"/>
                        <a:pt x="45" y="230"/>
                        <a:pt x="45" y="230"/>
                      </a:cubicBezTo>
                      <a:cubicBezTo>
                        <a:pt x="48" y="232"/>
                        <a:pt x="48" y="232"/>
                        <a:pt x="48" y="232"/>
                      </a:cubicBezTo>
                      <a:cubicBezTo>
                        <a:pt x="47" y="233"/>
                        <a:pt x="46" y="235"/>
                        <a:pt x="46" y="237"/>
                      </a:cubicBezTo>
                      <a:cubicBezTo>
                        <a:pt x="43" y="236"/>
                        <a:pt x="43" y="236"/>
                        <a:pt x="43" y="236"/>
                      </a:cubicBezTo>
                      <a:cubicBezTo>
                        <a:pt x="43" y="236"/>
                        <a:pt x="43" y="236"/>
                        <a:pt x="43" y="236"/>
                      </a:cubicBezTo>
                      <a:cubicBezTo>
                        <a:pt x="45" y="238"/>
                        <a:pt x="45" y="238"/>
                        <a:pt x="45" y="238"/>
                      </a:cubicBezTo>
                      <a:cubicBezTo>
                        <a:pt x="45" y="239"/>
                        <a:pt x="44" y="241"/>
                        <a:pt x="43" y="243"/>
                      </a:cubicBezTo>
                      <a:cubicBezTo>
                        <a:pt x="40" y="242"/>
                        <a:pt x="40" y="242"/>
                        <a:pt x="40" y="242"/>
                      </a:cubicBezTo>
                      <a:cubicBezTo>
                        <a:pt x="40" y="243"/>
                        <a:pt x="40" y="243"/>
                        <a:pt x="40" y="243"/>
                      </a:cubicBezTo>
                      <a:cubicBezTo>
                        <a:pt x="43" y="244"/>
                        <a:pt x="43" y="244"/>
                        <a:pt x="43" y="244"/>
                      </a:cubicBezTo>
                      <a:cubicBezTo>
                        <a:pt x="42" y="245"/>
                        <a:pt x="41" y="247"/>
                        <a:pt x="40" y="249"/>
                      </a:cubicBezTo>
                      <a:cubicBezTo>
                        <a:pt x="38" y="248"/>
                        <a:pt x="38" y="248"/>
                        <a:pt x="38" y="248"/>
                      </a:cubicBezTo>
                      <a:cubicBezTo>
                        <a:pt x="38" y="249"/>
                        <a:pt x="38" y="249"/>
                        <a:pt x="38" y="249"/>
                      </a:cubicBezTo>
                      <a:cubicBezTo>
                        <a:pt x="40" y="250"/>
                        <a:pt x="40" y="250"/>
                        <a:pt x="40" y="250"/>
                      </a:cubicBezTo>
                      <a:cubicBezTo>
                        <a:pt x="39" y="252"/>
                        <a:pt x="39" y="253"/>
                        <a:pt x="38" y="255"/>
                      </a:cubicBezTo>
                      <a:cubicBezTo>
                        <a:pt x="35" y="254"/>
                        <a:pt x="35" y="254"/>
                        <a:pt x="35" y="254"/>
                      </a:cubicBezTo>
                      <a:cubicBezTo>
                        <a:pt x="35" y="255"/>
                        <a:pt x="35" y="255"/>
                        <a:pt x="35" y="255"/>
                      </a:cubicBezTo>
                      <a:cubicBezTo>
                        <a:pt x="38" y="256"/>
                        <a:pt x="38" y="256"/>
                        <a:pt x="38" y="256"/>
                      </a:cubicBezTo>
                      <a:cubicBezTo>
                        <a:pt x="37" y="258"/>
                        <a:pt x="37" y="259"/>
                        <a:pt x="36" y="261"/>
                      </a:cubicBezTo>
                      <a:cubicBezTo>
                        <a:pt x="31" y="259"/>
                        <a:pt x="31" y="259"/>
                        <a:pt x="31" y="259"/>
                      </a:cubicBezTo>
                      <a:cubicBezTo>
                        <a:pt x="31" y="260"/>
                        <a:pt x="31" y="260"/>
                        <a:pt x="31" y="260"/>
                      </a:cubicBezTo>
                      <a:cubicBezTo>
                        <a:pt x="23" y="257"/>
                        <a:pt x="23" y="257"/>
                        <a:pt x="23" y="257"/>
                      </a:cubicBezTo>
                      <a:cubicBezTo>
                        <a:pt x="23" y="258"/>
                        <a:pt x="23" y="258"/>
                        <a:pt x="23" y="258"/>
                      </a:cubicBezTo>
                      <a:cubicBezTo>
                        <a:pt x="30" y="260"/>
                        <a:pt x="30" y="260"/>
                        <a:pt x="30" y="260"/>
                      </a:cubicBezTo>
                      <a:cubicBezTo>
                        <a:pt x="30" y="261"/>
                        <a:pt x="30" y="261"/>
                        <a:pt x="30" y="261"/>
                      </a:cubicBezTo>
                      <a:cubicBezTo>
                        <a:pt x="35" y="263"/>
                        <a:pt x="35" y="263"/>
                        <a:pt x="35" y="263"/>
                      </a:cubicBezTo>
                      <a:cubicBezTo>
                        <a:pt x="35" y="264"/>
                        <a:pt x="34" y="266"/>
                        <a:pt x="34" y="268"/>
                      </a:cubicBezTo>
                      <a:cubicBezTo>
                        <a:pt x="31" y="267"/>
                        <a:pt x="31" y="267"/>
                        <a:pt x="31" y="267"/>
                      </a:cubicBezTo>
                      <a:cubicBezTo>
                        <a:pt x="31" y="267"/>
                        <a:pt x="31" y="267"/>
                        <a:pt x="31" y="267"/>
                      </a:cubicBezTo>
                      <a:cubicBezTo>
                        <a:pt x="33" y="268"/>
                        <a:pt x="33" y="268"/>
                        <a:pt x="33" y="268"/>
                      </a:cubicBezTo>
                      <a:cubicBezTo>
                        <a:pt x="33" y="270"/>
                        <a:pt x="32" y="272"/>
                        <a:pt x="31" y="274"/>
                      </a:cubicBezTo>
                      <a:cubicBezTo>
                        <a:pt x="29" y="273"/>
                        <a:pt x="29" y="273"/>
                        <a:pt x="29" y="273"/>
                      </a:cubicBezTo>
                      <a:cubicBezTo>
                        <a:pt x="28" y="274"/>
                        <a:pt x="28" y="274"/>
                        <a:pt x="28" y="274"/>
                      </a:cubicBezTo>
                      <a:cubicBezTo>
                        <a:pt x="31" y="275"/>
                        <a:pt x="31" y="275"/>
                        <a:pt x="31" y="275"/>
                      </a:cubicBezTo>
                      <a:cubicBezTo>
                        <a:pt x="31" y="276"/>
                        <a:pt x="30" y="278"/>
                        <a:pt x="29" y="280"/>
                      </a:cubicBezTo>
                      <a:cubicBezTo>
                        <a:pt x="27" y="279"/>
                        <a:pt x="27" y="279"/>
                        <a:pt x="27" y="279"/>
                      </a:cubicBezTo>
                      <a:cubicBezTo>
                        <a:pt x="26" y="280"/>
                        <a:pt x="26" y="280"/>
                        <a:pt x="26" y="280"/>
                      </a:cubicBezTo>
                      <a:cubicBezTo>
                        <a:pt x="29" y="281"/>
                        <a:pt x="29" y="281"/>
                        <a:pt x="29" y="281"/>
                      </a:cubicBezTo>
                      <a:cubicBezTo>
                        <a:pt x="29" y="283"/>
                        <a:pt x="28" y="285"/>
                        <a:pt x="28" y="286"/>
                      </a:cubicBezTo>
                      <a:cubicBezTo>
                        <a:pt x="25" y="286"/>
                        <a:pt x="25" y="286"/>
                        <a:pt x="25" y="286"/>
                      </a:cubicBezTo>
                      <a:cubicBezTo>
                        <a:pt x="25" y="286"/>
                        <a:pt x="25" y="286"/>
                        <a:pt x="25" y="286"/>
                      </a:cubicBezTo>
                      <a:cubicBezTo>
                        <a:pt x="27" y="287"/>
                        <a:pt x="27" y="287"/>
                        <a:pt x="27" y="287"/>
                      </a:cubicBezTo>
                      <a:cubicBezTo>
                        <a:pt x="27" y="289"/>
                        <a:pt x="26" y="291"/>
                        <a:pt x="26" y="293"/>
                      </a:cubicBezTo>
                      <a:cubicBezTo>
                        <a:pt x="23" y="292"/>
                        <a:pt x="23" y="292"/>
                        <a:pt x="23" y="292"/>
                      </a:cubicBezTo>
                      <a:cubicBezTo>
                        <a:pt x="23" y="293"/>
                        <a:pt x="23" y="293"/>
                        <a:pt x="23" y="293"/>
                      </a:cubicBezTo>
                      <a:cubicBezTo>
                        <a:pt x="26" y="294"/>
                        <a:pt x="26" y="294"/>
                        <a:pt x="26" y="294"/>
                      </a:cubicBezTo>
                      <a:cubicBezTo>
                        <a:pt x="25" y="295"/>
                        <a:pt x="25" y="297"/>
                        <a:pt x="24" y="299"/>
                      </a:cubicBezTo>
                      <a:cubicBezTo>
                        <a:pt x="21" y="299"/>
                        <a:pt x="21" y="299"/>
                        <a:pt x="21" y="299"/>
                      </a:cubicBezTo>
                      <a:cubicBezTo>
                        <a:pt x="21" y="299"/>
                        <a:pt x="21" y="299"/>
                        <a:pt x="21" y="299"/>
                      </a:cubicBezTo>
                      <a:cubicBezTo>
                        <a:pt x="24" y="300"/>
                        <a:pt x="24" y="300"/>
                        <a:pt x="24" y="300"/>
                      </a:cubicBezTo>
                      <a:cubicBezTo>
                        <a:pt x="23" y="302"/>
                        <a:pt x="23" y="304"/>
                        <a:pt x="23" y="306"/>
                      </a:cubicBezTo>
                      <a:cubicBezTo>
                        <a:pt x="20" y="305"/>
                        <a:pt x="20" y="305"/>
                        <a:pt x="20" y="305"/>
                      </a:cubicBezTo>
                      <a:cubicBezTo>
                        <a:pt x="20" y="306"/>
                        <a:pt x="20" y="306"/>
                        <a:pt x="20" y="306"/>
                      </a:cubicBezTo>
                      <a:cubicBezTo>
                        <a:pt x="22" y="306"/>
                        <a:pt x="22" y="306"/>
                        <a:pt x="22" y="306"/>
                      </a:cubicBezTo>
                      <a:cubicBezTo>
                        <a:pt x="22" y="308"/>
                        <a:pt x="22" y="310"/>
                        <a:pt x="21" y="312"/>
                      </a:cubicBezTo>
                      <a:cubicBezTo>
                        <a:pt x="18" y="312"/>
                        <a:pt x="18" y="312"/>
                        <a:pt x="18" y="312"/>
                      </a:cubicBezTo>
                      <a:cubicBezTo>
                        <a:pt x="18" y="312"/>
                        <a:pt x="18" y="312"/>
                        <a:pt x="18" y="312"/>
                      </a:cubicBezTo>
                      <a:cubicBezTo>
                        <a:pt x="21" y="313"/>
                        <a:pt x="21" y="313"/>
                        <a:pt x="21" y="313"/>
                      </a:cubicBezTo>
                      <a:cubicBezTo>
                        <a:pt x="21" y="315"/>
                        <a:pt x="20" y="317"/>
                        <a:pt x="20" y="319"/>
                      </a:cubicBezTo>
                      <a:cubicBezTo>
                        <a:pt x="17" y="318"/>
                        <a:pt x="17" y="318"/>
                        <a:pt x="17" y="318"/>
                      </a:cubicBezTo>
                      <a:cubicBezTo>
                        <a:pt x="17" y="319"/>
                        <a:pt x="17" y="319"/>
                        <a:pt x="17" y="319"/>
                      </a:cubicBezTo>
                      <a:cubicBezTo>
                        <a:pt x="20" y="319"/>
                        <a:pt x="20" y="319"/>
                        <a:pt x="20" y="319"/>
                      </a:cubicBezTo>
                      <a:cubicBezTo>
                        <a:pt x="19" y="321"/>
                        <a:pt x="19" y="323"/>
                        <a:pt x="19" y="325"/>
                      </a:cubicBezTo>
                      <a:cubicBezTo>
                        <a:pt x="13" y="324"/>
                        <a:pt x="13" y="324"/>
                        <a:pt x="13" y="324"/>
                      </a:cubicBezTo>
                      <a:cubicBezTo>
                        <a:pt x="13" y="324"/>
                        <a:pt x="13" y="324"/>
                        <a:pt x="13" y="324"/>
                      </a:cubicBezTo>
                      <a:cubicBezTo>
                        <a:pt x="6" y="323"/>
                        <a:pt x="6" y="323"/>
                        <a:pt x="6" y="323"/>
                      </a:cubicBezTo>
                      <a:cubicBezTo>
                        <a:pt x="6" y="324"/>
                        <a:pt x="6" y="324"/>
                        <a:pt x="6" y="324"/>
                      </a:cubicBezTo>
                      <a:cubicBezTo>
                        <a:pt x="13" y="325"/>
                        <a:pt x="13" y="325"/>
                        <a:pt x="13" y="325"/>
                      </a:cubicBezTo>
                      <a:cubicBezTo>
                        <a:pt x="13" y="325"/>
                        <a:pt x="13" y="325"/>
                        <a:pt x="13" y="325"/>
                      </a:cubicBezTo>
                      <a:cubicBezTo>
                        <a:pt x="18" y="326"/>
                        <a:pt x="18" y="326"/>
                        <a:pt x="18" y="326"/>
                      </a:cubicBezTo>
                      <a:cubicBezTo>
                        <a:pt x="18" y="328"/>
                        <a:pt x="18" y="330"/>
                        <a:pt x="18" y="332"/>
                      </a:cubicBezTo>
                      <a:cubicBezTo>
                        <a:pt x="15" y="331"/>
                        <a:pt x="15" y="331"/>
                        <a:pt x="15" y="331"/>
                      </a:cubicBezTo>
                      <a:cubicBezTo>
                        <a:pt x="15" y="332"/>
                        <a:pt x="15" y="332"/>
                        <a:pt x="15" y="332"/>
                      </a:cubicBezTo>
                      <a:cubicBezTo>
                        <a:pt x="18" y="332"/>
                        <a:pt x="18" y="332"/>
                        <a:pt x="18" y="332"/>
                      </a:cubicBezTo>
                      <a:cubicBezTo>
                        <a:pt x="17" y="334"/>
                        <a:pt x="17" y="336"/>
                        <a:pt x="17" y="338"/>
                      </a:cubicBezTo>
                      <a:cubicBezTo>
                        <a:pt x="14" y="338"/>
                        <a:pt x="14" y="338"/>
                        <a:pt x="14" y="338"/>
                      </a:cubicBezTo>
                      <a:cubicBezTo>
                        <a:pt x="14" y="339"/>
                        <a:pt x="14" y="339"/>
                        <a:pt x="14" y="339"/>
                      </a:cubicBezTo>
                      <a:cubicBezTo>
                        <a:pt x="17" y="339"/>
                        <a:pt x="17" y="339"/>
                        <a:pt x="17" y="339"/>
                      </a:cubicBezTo>
                      <a:cubicBezTo>
                        <a:pt x="16" y="341"/>
                        <a:pt x="16" y="343"/>
                        <a:pt x="16" y="345"/>
                      </a:cubicBezTo>
                      <a:cubicBezTo>
                        <a:pt x="13" y="344"/>
                        <a:pt x="13" y="344"/>
                        <a:pt x="13" y="344"/>
                      </a:cubicBezTo>
                      <a:cubicBezTo>
                        <a:pt x="13" y="345"/>
                        <a:pt x="13" y="345"/>
                        <a:pt x="13" y="345"/>
                      </a:cubicBezTo>
                      <a:cubicBezTo>
                        <a:pt x="16" y="345"/>
                        <a:pt x="16" y="345"/>
                        <a:pt x="16" y="345"/>
                      </a:cubicBezTo>
                      <a:cubicBezTo>
                        <a:pt x="15" y="347"/>
                        <a:pt x="15" y="349"/>
                        <a:pt x="15" y="351"/>
                      </a:cubicBezTo>
                      <a:cubicBezTo>
                        <a:pt x="12" y="351"/>
                        <a:pt x="12" y="351"/>
                        <a:pt x="12" y="351"/>
                      </a:cubicBezTo>
                      <a:cubicBezTo>
                        <a:pt x="12" y="352"/>
                        <a:pt x="12" y="352"/>
                        <a:pt x="12" y="352"/>
                      </a:cubicBezTo>
                      <a:cubicBezTo>
                        <a:pt x="15" y="352"/>
                        <a:pt x="15" y="352"/>
                        <a:pt x="15" y="352"/>
                      </a:cubicBezTo>
                      <a:cubicBezTo>
                        <a:pt x="15" y="354"/>
                        <a:pt x="15" y="356"/>
                        <a:pt x="14" y="358"/>
                      </a:cubicBezTo>
                      <a:cubicBezTo>
                        <a:pt x="11" y="358"/>
                        <a:pt x="11" y="358"/>
                        <a:pt x="11" y="358"/>
                      </a:cubicBezTo>
                      <a:cubicBezTo>
                        <a:pt x="11" y="358"/>
                        <a:pt x="11" y="358"/>
                        <a:pt x="11" y="358"/>
                      </a:cubicBezTo>
                      <a:cubicBezTo>
                        <a:pt x="14" y="359"/>
                        <a:pt x="14" y="359"/>
                        <a:pt x="14" y="359"/>
                      </a:cubicBezTo>
                      <a:cubicBezTo>
                        <a:pt x="14" y="361"/>
                        <a:pt x="14" y="362"/>
                        <a:pt x="14" y="364"/>
                      </a:cubicBezTo>
                      <a:cubicBezTo>
                        <a:pt x="11" y="364"/>
                        <a:pt x="11" y="364"/>
                        <a:pt x="11" y="364"/>
                      </a:cubicBezTo>
                      <a:cubicBezTo>
                        <a:pt x="11" y="365"/>
                        <a:pt x="11" y="365"/>
                        <a:pt x="11" y="365"/>
                      </a:cubicBezTo>
                      <a:cubicBezTo>
                        <a:pt x="14" y="365"/>
                        <a:pt x="14" y="365"/>
                        <a:pt x="14" y="365"/>
                      </a:cubicBezTo>
                      <a:cubicBezTo>
                        <a:pt x="14" y="367"/>
                        <a:pt x="14" y="369"/>
                        <a:pt x="14" y="371"/>
                      </a:cubicBezTo>
                      <a:cubicBezTo>
                        <a:pt x="11" y="371"/>
                        <a:pt x="11" y="371"/>
                        <a:pt x="11" y="371"/>
                      </a:cubicBezTo>
                      <a:cubicBezTo>
                        <a:pt x="10" y="372"/>
                        <a:pt x="10" y="372"/>
                        <a:pt x="10" y="372"/>
                      </a:cubicBezTo>
                      <a:cubicBezTo>
                        <a:pt x="13" y="372"/>
                        <a:pt x="13" y="372"/>
                        <a:pt x="13" y="372"/>
                      </a:cubicBezTo>
                      <a:cubicBezTo>
                        <a:pt x="13" y="374"/>
                        <a:pt x="13" y="376"/>
                        <a:pt x="13" y="378"/>
                      </a:cubicBezTo>
                      <a:cubicBezTo>
                        <a:pt x="10" y="377"/>
                        <a:pt x="10" y="377"/>
                        <a:pt x="10" y="377"/>
                      </a:cubicBezTo>
                      <a:cubicBezTo>
                        <a:pt x="10" y="378"/>
                        <a:pt x="10" y="378"/>
                        <a:pt x="10" y="378"/>
                      </a:cubicBezTo>
                      <a:cubicBezTo>
                        <a:pt x="13" y="378"/>
                        <a:pt x="13" y="378"/>
                        <a:pt x="13" y="378"/>
                      </a:cubicBezTo>
                      <a:cubicBezTo>
                        <a:pt x="13" y="380"/>
                        <a:pt x="13" y="382"/>
                        <a:pt x="13" y="384"/>
                      </a:cubicBezTo>
                      <a:cubicBezTo>
                        <a:pt x="10" y="384"/>
                        <a:pt x="10" y="384"/>
                        <a:pt x="10" y="384"/>
                      </a:cubicBezTo>
                      <a:cubicBezTo>
                        <a:pt x="10" y="385"/>
                        <a:pt x="10" y="385"/>
                        <a:pt x="10" y="385"/>
                      </a:cubicBezTo>
                      <a:cubicBezTo>
                        <a:pt x="13" y="385"/>
                        <a:pt x="13" y="385"/>
                        <a:pt x="13" y="385"/>
                      </a:cubicBezTo>
                      <a:cubicBezTo>
                        <a:pt x="13" y="387"/>
                        <a:pt x="13" y="389"/>
                        <a:pt x="13" y="390"/>
                      </a:cubicBezTo>
                      <a:cubicBezTo>
                        <a:pt x="7" y="390"/>
                        <a:pt x="7" y="390"/>
                        <a:pt x="7" y="390"/>
                      </a:cubicBezTo>
                      <a:cubicBezTo>
                        <a:pt x="7" y="391"/>
                        <a:pt x="7" y="391"/>
                        <a:pt x="7" y="391"/>
                      </a:cubicBezTo>
                      <a:cubicBezTo>
                        <a:pt x="0" y="391"/>
                        <a:pt x="0" y="391"/>
                        <a:pt x="0" y="391"/>
                      </a:cubicBezTo>
                      <a:cubicBezTo>
                        <a:pt x="0" y="392"/>
                        <a:pt x="0" y="392"/>
                        <a:pt x="0" y="392"/>
                      </a:cubicBezTo>
                      <a:cubicBezTo>
                        <a:pt x="7" y="392"/>
                        <a:pt x="7" y="392"/>
                        <a:pt x="7" y="392"/>
                      </a:cubicBezTo>
                      <a:cubicBezTo>
                        <a:pt x="7" y="392"/>
                        <a:pt x="7" y="392"/>
                        <a:pt x="7" y="392"/>
                      </a:cubicBezTo>
                      <a:cubicBezTo>
                        <a:pt x="13" y="392"/>
                        <a:pt x="13" y="392"/>
                        <a:pt x="13" y="392"/>
                      </a:cubicBezTo>
                      <a:cubicBezTo>
                        <a:pt x="13" y="394"/>
                        <a:pt x="13" y="396"/>
                        <a:pt x="13" y="397"/>
                      </a:cubicBezTo>
                      <a:cubicBezTo>
                        <a:pt x="10" y="397"/>
                        <a:pt x="10" y="397"/>
                        <a:pt x="10" y="397"/>
                      </a:cubicBezTo>
                      <a:cubicBezTo>
                        <a:pt x="10" y="398"/>
                        <a:pt x="10" y="398"/>
                        <a:pt x="10" y="398"/>
                      </a:cubicBezTo>
                      <a:cubicBezTo>
                        <a:pt x="13" y="398"/>
                        <a:pt x="13" y="398"/>
                        <a:pt x="13" y="398"/>
                      </a:cubicBezTo>
                      <a:cubicBezTo>
                        <a:pt x="13" y="400"/>
                        <a:pt x="13" y="402"/>
                        <a:pt x="13" y="404"/>
                      </a:cubicBezTo>
                      <a:cubicBezTo>
                        <a:pt x="10" y="404"/>
                        <a:pt x="10" y="404"/>
                        <a:pt x="10" y="404"/>
                      </a:cubicBezTo>
                      <a:cubicBezTo>
                        <a:pt x="10" y="405"/>
                        <a:pt x="10" y="405"/>
                        <a:pt x="10" y="405"/>
                      </a:cubicBezTo>
                      <a:cubicBezTo>
                        <a:pt x="13" y="405"/>
                        <a:pt x="13" y="405"/>
                        <a:pt x="13" y="405"/>
                      </a:cubicBezTo>
                      <a:cubicBezTo>
                        <a:pt x="13" y="407"/>
                        <a:pt x="13" y="409"/>
                        <a:pt x="13" y="411"/>
                      </a:cubicBezTo>
                      <a:cubicBezTo>
                        <a:pt x="10" y="411"/>
                        <a:pt x="10" y="411"/>
                        <a:pt x="10" y="411"/>
                      </a:cubicBezTo>
                      <a:cubicBezTo>
                        <a:pt x="11" y="412"/>
                        <a:pt x="11" y="412"/>
                        <a:pt x="11" y="412"/>
                      </a:cubicBezTo>
                      <a:cubicBezTo>
                        <a:pt x="14" y="411"/>
                        <a:pt x="14" y="411"/>
                        <a:pt x="14" y="411"/>
                      </a:cubicBezTo>
                      <a:cubicBezTo>
                        <a:pt x="14" y="413"/>
                        <a:pt x="14" y="415"/>
                        <a:pt x="14" y="417"/>
                      </a:cubicBezTo>
                      <a:cubicBezTo>
                        <a:pt x="11" y="417"/>
                        <a:pt x="11" y="417"/>
                        <a:pt x="11" y="417"/>
                      </a:cubicBezTo>
                      <a:cubicBezTo>
                        <a:pt x="11" y="418"/>
                        <a:pt x="11" y="418"/>
                        <a:pt x="11" y="418"/>
                      </a:cubicBezTo>
                      <a:cubicBezTo>
                        <a:pt x="14" y="418"/>
                        <a:pt x="14" y="418"/>
                        <a:pt x="14" y="418"/>
                      </a:cubicBezTo>
                      <a:cubicBezTo>
                        <a:pt x="14" y="420"/>
                        <a:pt x="14" y="422"/>
                        <a:pt x="14" y="424"/>
                      </a:cubicBezTo>
                      <a:cubicBezTo>
                        <a:pt x="11" y="424"/>
                        <a:pt x="11" y="424"/>
                        <a:pt x="11" y="424"/>
                      </a:cubicBezTo>
                      <a:cubicBezTo>
                        <a:pt x="11" y="425"/>
                        <a:pt x="11" y="425"/>
                        <a:pt x="11" y="425"/>
                      </a:cubicBezTo>
                      <a:cubicBezTo>
                        <a:pt x="14" y="425"/>
                        <a:pt x="14" y="425"/>
                        <a:pt x="14" y="425"/>
                      </a:cubicBezTo>
                      <a:cubicBezTo>
                        <a:pt x="15" y="426"/>
                        <a:pt x="15" y="428"/>
                        <a:pt x="15" y="430"/>
                      </a:cubicBezTo>
                      <a:cubicBezTo>
                        <a:pt x="12" y="431"/>
                        <a:pt x="12" y="431"/>
                        <a:pt x="12" y="431"/>
                      </a:cubicBezTo>
                      <a:cubicBezTo>
                        <a:pt x="12" y="431"/>
                        <a:pt x="12" y="431"/>
                        <a:pt x="12" y="431"/>
                      </a:cubicBezTo>
                      <a:cubicBezTo>
                        <a:pt x="15" y="431"/>
                        <a:pt x="15" y="431"/>
                        <a:pt x="15" y="431"/>
                      </a:cubicBezTo>
                      <a:cubicBezTo>
                        <a:pt x="15" y="433"/>
                        <a:pt x="15" y="435"/>
                        <a:pt x="16" y="437"/>
                      </a:cubicBezTo>
                      <a:cubicBezTo>
                        <a:pt x="13" y="437"/>
                        <a:pt x="13" y="437"/>
                        <a:pt x="13" y="437"/>
                      </a:cubicBezTo>
                      <a:cubicBezTo>
                        <a:pt x="13" y="438"/>
                        <a:pt x="13" y="438"/>
                        <a:pt x="13" y="438"/>
                      </a:cubicBezTo>
                      <a:cubicBezTo>
                        <a:pt x="16" y="438"/>
                        <a:pt x="16" y="438"/>
                        <a:pt x="16" y="438"/>
                      </a:cubicBezTo>
                      <a:cubicBezTo>
                        <a:pt x="16" y="440"/>
                        <a:pt x="16" y="442"/>
                        <a:pt x="17" y="443"/>
                      </a:cubicBezTo>
                      <a:cubicBezTo>
                        <a:pt x="14" y="444"/>
                        <a:pt x="14" y="444"/>
                        <a:pt x="14" y="444"/>
                      </a:cubicBezTo>
                      <a:cubicBezTo>
                        <a:pt x="14" y="445"/>
                        <a:pt x="14" y="445"/>
                        <a:pt x="14" y="445"/>
                      </a:cubicBezTo>
                      <a:cubicBezTo>
                        <a:pt x="17" y="444"/>
                        <a:pt x="17" y="444"/>
                        <a:pt x="17" y="444"/>
                      </a:cubicBezTo>
                      <a:cubicBezTo>
                        <a:pt x="17" y="446"/>
                        <a:pt x="17" y="448"/>
                        <a:pt x="18" y="450"/>
                      </a:cubicBezTo>
                      <a:cubicBezTo>
                        <a:pt x="15" y="450"/>
                        <a:pt x="15" y="450"/>
                        <a:pt x="15" y="450"/>
                      </a:cubicBezTo>
                      <a:cubicBezTo>
                        <a:pt x="15" y="451"/>
                        <a:pt x="15" y="451"/>
                        <a:pt x="15" y="451"/>
                      </a:cubicBezTo>
                      <a:cubicBezTo>
                        <a:pt x="18" y="451"/>
                        <a:pt x="18" y="451"/>
                        <a:pt x="18" y="451"/>
                      </a:cubicBezTo>
                      <a:cubicBezTo>
                        <a:pt x="18" y="452"/>
                        <a:pt x="18" y="454"/>
                        <a:pt x="18" y="456"/>
                      </a:cubicBezTo>
                      <a:cubicBezTo>
                        <a:pt x="13" y="457"/>
                        <a:pt x="13" y="457"/>
                        <a:pt x="13" y="457"/>
                      </a:cubicBezTo>
                      <a:cubicBezTo>
                        <a:pt x="13" y="457"/>
                        <a:pt x="13" y="457"/>
                        <a:pt x="13" y="457"/>
                      </a:cubicBezTo>
                      <a:cubicBezTo>
                        <a:pt x="6" y="459"/>
                        <a:pt x="6" y="459"/>
                        <a:pt x="6" y="459"/>
                      </a:cubicBezTo>
                      <a:cubicBezTo>
                        <a:pt x="6" y="460"/>
                        <a:pt x="6" y="460"/>
                        <a:pt x="6" y="460"/>
                      </a:cubicBezTo>
                      <a:cubicBezTo>
                        <a:pt x="13" y="458"/>
                        <a:pt x="13" y="458"/>
                        <a:pt x="13" y="458"/>
                      </a:cubicBezTo>
                      <a:cubicBezTo>
                        <a:pt x="13" y="459"/>
                        <a:pt x="13" y="459"/>
                        <a:pt x="13" y="459"/>
                      </a:cubicBezTo>
                      <a:cubicBezTo>
                        <a:pt x="19" y="458"/>
                        <a:pt x="19" y="458"/>
                        <a:pt x="19" y="458"/>
                      </a:cubicBezTo>
                      <a:cubicBezTo>
                        <a:pt x="19" y="460"/>
                        <a:pt x="19" y="461"/>
                        <a:pt x="20" y="463"/>
                      </a:cubicBezTo>
                      <a:cubicBezTo>
                        <a:pt x="17" y="464"/>
                        <a:pt x="17" y="464"/>
                        <a:pt x="17" y="464"/>
                      </a:cubicBezTo>
                      <a:cubicBezTo>
                        <a:pt x="17" y="464"/>
                        <a:pt x="17" y="464"/>
                        <a:pt x="17" y="464"/>
                      </a:cubicBezTo>
                      <a:cubicBezTo>
                        <a:pt x="20" y="464"/>
                        <a:pt x="20" y="464"/>
                        <a:pt x="20" y="464"/>
                      </a:cubicBezTo>
                      <a:cubicBezTo>
                        <a:pt x="20" y="466"/>
                        <a:pt x="21" y="468"/>
                        <a:pt x="21" y="469"/>
                      </a:cubicBezTo>
                      <a:cubicBezTo>
                        <a:pt x="18" y="470"/>
                        <a:pt x="18" y="470"/>
                        <a:pt x="18" y="470"/>
                      </a:cubicBezTo>
                      <a:cubicBezTo>
                        <a:pt x="18" y="471"/>
                        <a:pt x="18" y="471"/>
                        <a:pt x="18" y="471"/>
                      </a:cubicBezTo>
                      <a:cubicBezTo>
                        <a:pt x="21" y="470"/>
                        <a:pt x="21" y="470"/>
                        <a:pt x="21" y="470"/>
                      </a:cubicBezTo>
                      <a:cubicBezTo>
                        <a:pt x="22" y="472"/>
                        <a:pt x="22" y="474"/>
                        <a:pt x="22" y="476"/>
                      </a:cubicBezTo>
                      <a:cubicBezTo>
                        <a:pt x="20" y="477"/>
                        <a:pt x="20" y="477"/>
                        <a:pt x="20" y="477"/>
                      </a:cubicBezTo>
                      <a:cubicBezTo>
                        <a:pt x="20" y="477"/>
                        <a:pt x="20" y="477"/>
                        <a:pt x="20" y="477"/>
                      </a:cubicBezTo>
                      <a:cubicBezTo>
                        <a:pt x="23" y="477"/>
                        <a:pt x="23" y="477"/>
                        <a:pt x="23" y="477"/>
                      </a:cubicBezTo>
                      <a:cubicBezTo>
                        <a:pt x="23" y="479"/>
                        <a:pt x="23" y="480"/>
                        <a:pt x="24" y="482"/>
                      </a:cubicBezTo>
                      <a:cubicBezTo>
                        <a:pt x="21" y="483"/>
                        <a:pt x="21" y="483"/>
                        <a:pt x="21" y="483"/>
                      </a:cubicBezTo>
                      <a:cubicBezTo>
                        <a:pt x="21" y="484"/>
                        <a:pt x="21" y="484"/>
                        <a:pt x="21" y="484"/>
                      </a:cubicBezTo>
                      <a:cubicBezTo>
                        <a:pt x="24" y="483"/>
                        <a:pt x="24" y="483"/>
                        <a:pt x="24" y="483"/>
                      </a:cubicBezTo>
                      <a:cubicBezTo>
                        <a:pt x="25" y="485"/>
                        <a:pt x="25" y="487"/>
                        <a:pt x="26" y="489"/>
                      </a:cubicBezTo>
                      <a:cubicBezTo>
                        <a:pt x="23" y="489"/>
                        <a:pt x="23" y="489"/>
                        <a:pt x="23" y="489"/>
                      </a:cubicBezTo>
                      <a:cubicBezTo>
                        <a:pt x="23" y="490"/>
                        <a:pt x="23" y="490"/>
                        <a:pt x="23" y="490"/>
                      </a:cubicBezTo>
                      <a:cubicBezTo>
                        <a:pt x="26" y="489"/>
                        <a:pt x="26" y="489"/>
                        <a:pt x="26" y="489"/>
                      </a:cubicBezTo>
                      <a:cubicBezTo>
                        <a:pt x="26" y="491"/>
                        <a:pt x="27" y="493"/>
                        <a:pt x="27" y="495"/>
                      </a:cubicBezTo>
                      <a:cubicBezTo>
                        <a:pt x="25" y="496"/>
                        <a:pt x="25" y="496"/>
                        <a:pt x="25" y="496"/>
                      </a:cubicBezTo>
                      <a:cubicBezTo>
                        <a:pt x="25" y="497"/>
                        <a:pt x="25" y="497"/>
                        <a:pt x="25" y="497"/>
                      </a:cubicBezTo>
                      <a:cubicBezTo>
                        <a:pt x="28" y="496"/>
                        <a:pt x="28" y="496"/>
                        <a:pt x="28" y="496"/>
                      </a:cubicBezTo>
                      <a:cubicBezTo>
                        <a:pt x="28" y="498"/>
                        <a:pt x="29" y="500"/>
                        <a:pt x="29" y="501"/>
                      </a:cubicBezTo>
                      <a:cubicBezTo>
                        <a:pt x="26" y="502"/>
                        <a:pt x="26" y="502"/>
                        <a:pt x="26" y="502"/>
                      </a:cubicBezTo>
                      <a:cubicBezTo>
                        <a:pt x="27" y="503"/>
                        <a:pt x="27" y="503"/>
                        <a:pt x="27" y="503"/>
                      </a:cubicBezTo>
                      <a:cubicBezTo>
                        <a:pt x="29" y="502"/>
                        <a:pt x="29" y="502"/>
                        <a:pt x="29" y="502"/>
                      </a:cubicBezTo>
                      <a:cubicBezTo>
                        <a:pt x="30" y="504"/>
                        <a:pt x="31" y="506"/>
                        <a:pt x="31" y="508"/>
                      </a:cubicBezTo>
                      <a:cubicBezTo>
                        <a:pt x="28" y="509"/>
                        <a:pt x="28" y="509"/>
                        <a:pt x="28" y="509"/>
                      </a:cubicBezTo>
                      <a:cubicBezTo>
                        <a:pt x="29" y="509"/>
                        <a:pt x="29" y="509"/>
                        <a:pt x="29" y="509"/>
                      </a:cubicBezTo>
                      <a:cubicBezTo>
                        <a:pt x="31" y="508"/>
                        <a:pt x="31" y="508"/>
                        <a:pt x="31" y="508"/>
                      </a:cubicBezTo>
                      <a:cubicBezTo>
                        <a:pt x="32" y="510"/>
                        <a:pt x="33" y="512"/>
                        <a:pt x="33" y="514"/>
                      </a:cubicBezTo>
                      <a:cubicBezTo>
                        <a:pt x="31" y="515"/>
                        <a:pt x="31" y="515"/>
                        <a:pt x="31" y="515"/>
                      </a:cubicBezTo>
                      <a:cubicBezTo>
                        <a:pt x="31" y="516"/>
                        <a:pt x="31" y="516"/>
                        <a:pt x="31" y="516"/>
                      </a:cubicBezTo>
                      <a:cubicBezTo>
                        <a:pt x="34" y="515"/>
                        <a:pt x="34" y="515"/>
                        <a:pt x="34" y="515"/>
                      </a:cubicBezTo>
                      <a:cubicBezTo>
                        <a:pt x="34" y="516"/>
                        <a:pt x="35" y="518"/>
                        <a:pt x="35" y="520"/>
                      </a:cubicBezTo>
                      <a:cubicBezTo>
                        <a:pt x="30" y="522"/>
                        <a:pt x="30" y="522"/>
                        <a:pt x="30" y="522"/>
                      </a:cubicBezTo>
                      <a:cubicBezTo>
                        <a:pt x="30" y="522"/>
                        <a:pt x="30" y="522"/>
                        <a:pt x="30" y="522"/>
                      </a:cubicBezTo>
                      <a:cubicBezTo>
                        <a:pt x="23" y="525"/>
                        <a:pt x="23" y="525"/>
                        <a:pt x="23" y="525"/>
                      </a:cubicBezTo>
                      <a:cubicBezTo>
                        <a:pt x="23" y="525"/>
                        <a:pt x="23" y="525"/>
                        <a:pt x="23" y="525"/>
                      </a:cubicBezTo>
                      <a:cubicBezTo>
                        <a:pt x="31" y="523"/>
                        <a:pt x="31" y="523"/>
                        <a:pt x="31" y="523"/>
                      </a:cubicBezTo>
                      <a:cubicBezTo>
                        <a:pt x="31" y="523"/>
                        <a:pt x="31" y="523"/>
                        <a:pt x="31" y="523"/>
                      </a:cubicBezTo>
                      <a:cubicBezTo>
                        <a:pt x="36" y="521"/>
                        <a:pt x="36" y="521"/>
                        <a:pt x="36" y="521"/>
                      </a:cubicBezTo>
                      <a:cubicBezTo>
                        <a:pt x="37" y="523"/>
                        <a:pt x="37" y="525"/>
                        <a:pt x="38" y="526"/>
                      </a:cubicBezTo>
                      <a:cubicBezTo>
                        <a:pt x="35" y="527"/>
                        <a:pt x="35" y="527"/>
                        <a:pt x="35" y="527"/>
                      </a:cubicBezTo>
                      <a:cubicBezTo>
                        <a:pt x="35" y="528"/>
                        <a:pt x="35" y="528"/>
                        <a:pt x="35" y="528"/>
                      </a:cubicBezTo>
                      <a:cubicBezTo>
                        <a:pt x="38" y="527"/>
                        <a:pt x="38" y="527"/>
                        <a:pt x="38" y="527"/>
                      </a:cubicBezTo>
                      <a:cubicBezTo>
                        <a:pt x="39" y="529"/>
                        <a:pt x="39" y="531"/>
                        <a:pt x="40" y="533"/>
                      </a:cubicBezTo>
                      <a:cubicBezTo>
                        <a:pt x="38" y="534"/>
                        <a:pt x="38" y="534"/>
                        <a:pt x="38" y="534"/>
                      </a:cubicBezTo>
                      <a:cubicBezTo>
                        <a:pt x="38" y="534"/>
                        <a:pt x="38" y="534"/>
                        <a:pt x="38" y="534"/>
                      </a:cubicBezTo>
                      <a:cubicBezTo>
                        <a:pt x="40" y="533"/>
                        <a:pt x="40" y="533"/>
                        <a:pt x="40" y="533"/>
                      </a:cubicBezTo>
                      <a:cubicBezTo>
                        <a:pt x="41" y="535"/>
                        <a:pt x="42" y="537"/>
                        <a:pt x="43" y="539"/>
                      </a:cubicBezTo>
                      <a:cubicBezTo>
                        <a:pt x="40" y="540"/>
                        <a:pt x="40" y="540"/>
                        <a:pt x="40" y="540"/>
                      </a:cubicBezTo>
                      <a:cubicBezTo>
                        <a:pt x="40" y="541"/>
                        <a:pt x="40" y="541"/>
                        <a:pt x="40" y="541"/>
                      </a:cubicBezTo>
                      <a:cubicBezTo>
                        <a:pt x="43" y="539"/>
                        <a:pt x="43" y="539"/>
                        <a:pt x="43" y="539"/>
                      </a:cubicBezTo>
                      <a:cubicBezTo>
                        <a:pt x="44" y="541"/>
                        <a:pt x="45" y="543"/>
                        <a:pt x="45" y="545"/>
                      </a:cubicBezTo>
                      <a:cubicBezTo>
                        <a:pt x="43" y="546"/>
                        <a:pt x="43" y="546"/>
                        <a:pt x="43" y="546"/>
                      </a:cubicBezTo>
                      <a:cubicBezTo>
                        <a:pt x="43" y="547"/>
                        <a:pt x="43" y="547"/>
                        <a:pt x="43" y="547"/>
                      </a:cubicBezTo>
                      <a:cubicBezTo>
                        <a:pt x="46" y="545"/>
                        <a:pt x="46" y="545"/>
                        <a:pt x="46" y="545"/>
                      </a:cubicBezTo>
                      <a:cubicBezTo>
                        <a:pt x="46" y="547"/>
                        <a:pt x="47" y="549"/>
                        <a:pt x="48" y="551"/>
                      </a:cubicBezTo>
                      <a:cubicBezTo>
                        <a:pt x="45" y="552"/>
                        <a:pt x="45" y="552"/>
                        <a:pt x="45" y="552"/>
                      </a:cubicBezTo>
                      <a:cubicBezTo>
                        <a:pt x="46" y="553"/>
                        <a:pt x="46" y="553"/>
                        <a:pt x="46" y="553"/>
                      </a:cubicBezTo>
                      <a:cubicBezTo>
                        <a:pt x="48" y="551"/>
                        <a:pt x="48" y="551"/>
                        <a:pt x="48" y="551"/>
                      </a:cubicBezTo>
                      <a:cubicBezTo>
                        <a:pt x="49" y="553"/>
                        <a:pt x="50" y="555"/>
                        <a:pt x="51" y="557"/>
                      </a:cubicBezTo>
                      <a:cubicBezTo>
                        <a:pt x="48" y="558"/>
                        <a:pt x="48" y="558"/>
                        <a:pt x="48" y="558"/>
                      </a:cubicBezTo>
                      <a:cubicBezTo>
                        <a:pt x="49" y="559"/>
                        <a:pt x="49" y="559"/>
                        <a:pt x="49" y="559"/>
                      </a:cubicBezTo>
                      <a:cubicBezTo>
                        <a:pt x="51" y="557"/>
                        <a:pt x="51" y="557"/>
                        <a:pt x="51" y="557"/>
                      </a:cubicBezTo>
                      <a:cubicBezTo>
                        <a:pt x="52" y="559"/>
                        <a:pt x="53" y="561"/>
                        <a:pt x="54" y="563"/>
                      </a:cubicBezTo>
                      <a:cubicBezTo>
                        <a:pt x="51" y="564"/>
                        <a:pt x="51" y="564"/>
                        <a:pt x="51" y="564"/>
                      </a:cubicBezTo>
                      <a:cubicBezTo>
                        <a:pt x="52" y="565"/>
                        <a:pt x="52" y="565"/>
                        <a:pt x="52" y="565"/>
                      </a:cubicBezTo>
                      <a:cubicBezTo>
                        <a:pt x="54" y="563"/>
                        <a:pt x="54" y="563"/>
                        <a:pt x="54" y="563"/>
                      </a:cubicBezTo>
                      <a:cubicBezTo>
                        <a:pt x="55" y="565"/>
                        <a:pt x="56" y="567"/>
                        <a:pt x="57" y="568"/>
                      </a:cubicBezTo>
                      <a:cubicBezTo>
                        <a:pt x="54" y="570"/>
                        <a:pt x="54" y="570"/>
                        <a:pt x="54" y="570"/>
                      </a:cubicBezTo>
                      <a:cubicBezTo>
                        <a:pt x="55" y="571"/>
                        <a:pt x="55" y="571"/>
                        <a:pt x="55" y="571"/>
                      </a:cubicBezTo>
                      <a:cubicBezTo>
                        <a:pt x="57" y="569"/>
                        <a:pt x="57" y="569"/>
                        <a:pt x="57" y="569"/>
                      </a:cubicBezTo>
                      <a:cubicBezTo>
                        <a:pt x="58" y="571"/>
                        <a:pt x="59" y="573"/>
                        <a:pt x="60" y="574"/>
                      </a:cubicBezTo>
                      <a:cubicBezTo>
                        <a:pt x="58" y="576"/>
                        <a:pt x="58" y="576"/>
                        <a:pt x="58" y="576"/>
                      </a:cubicBezTo>
                      <a:cubicBezTo>
                        <a:pt x="58" y="576"/>
                        <a:pt x="58" y="576"/>
                        <a:pt x="58" y="576"/>
                      </a:cubicBezTo>
                      <a:cubicBezTo>
                        <a:pt x="60" y="575"/>
                        <a:pt x="60" y="575"/>
                        <a:pt x="60" y="575"/>
                      </a:cubicBezTo>
                      <a:cubicBezTo>
                        <a:pt x="61" y="577"/>
                        <a:pt x="62" y="578"/>
                        <a:pt x="63" y="580"/>
                      </a:cubicBezTo>
                      <a:cubicBezTo>
                        <a:pt x="58" y="582"/>
                        <a:pt x="58" y="582"/>
                        <a:pt x="58" y="582"/>
                      </a:cubicBezTo>
                      <a:cubicBezTo>
                        <a:pt x="59" y="583"/>
                        <a:pt x="59" y="583"/>
                        <a:pt x="59" y="583"/>
                      </a:cubicBezTo>
                      <a:cubicBezTo>
                        <a:pt x="52" y="587"/>
                        <a:pt x="52" y="587"/>
                        <a:pt x="52" y="587"/>
                      </a:cubicBezTo>
                      <a:cubicBezTo>
                        <a:pt x="52" y="587"/>
                        <a:pt x="52" y="587"/>
                        <a:pt x="52" y="587"/>
                      </a:cubicBezTo>
                      <a:cubicBezTo>
                        <a:pt x="59" y="583"/>
                        <a:pt x="59" y="583"/>
                        <a:pt x="59" y="583"/>
                      </a:cubicBezTo>
                      <a:cubicBezTo>
                        <a:pt x="59" y="584"/>
                        <a:pt x="59" y="584"/>
                        <a:pt x="59" y="584"/>
                      </a:cubicBezTo>
                      <a:cubicBezTo>
                        <a:pt x="64" y="581"/>
                        <a:pt x="64" y="581"/>
                        <a:pt x="64" y="581"/>
                      </a:cubicBezTo>
                      <a:cubicBezTo>
                        <a:pt x="65" y="583"/>
                        <a:pt x="66" y="584"/>
                        <a:pt x="67" y="586"/>
                      </a:cubicBezTo>
                      <a:cubicBezTo>
                        <a:pt x="64" y="587"/>
                        <a:pt x="64" y="587"/>
                        <a:pt x="64" y="587"/>
                      </a:cubicBezTo>
                      <a:cubicBezTo>
                        <a:pt x="65" y="588"/>
                        <a:pt x="65" y="588"/>
                        <a:pt x="65" y="588"/>
                      </a:cubicBezTo>
                      <a:cubicBezTo>
                        <a:pt x="67" y="586"/>
                        <a:pt x="67" y="586"/>
                        <a:pt x="67" y="586"/>
                      </a:cubicBezTo>
                      <a:cubicBezTo>
                        <a:pt x="68" y="588"/>
                        <a:pt x="69" y="590"/>
                        <a:pt x="70" y="591"/>
                      </a:cubicBezTo>
                      <a:cubicBezTo>
                        <a:pt x="68" y="593"/>
                        <a:pt x="68" y="593"/>
                        <a:pt x="68" y="593"/>
                      </a:cubicBezTo>
                      <a:cubicBezTo>
                        <a:pt x="68" y="594"/>
                        <a:pt x="68" y="594"/>
                        <a:pt x="68" y="594"/>
                      </a:cubicBezTo>
                      <a:cubicBezTo>
                        <a:pt x="70" y="592"/>
                        <a:pt x="70" y="592"/>
                        <a:pt x="70" y="592"/>
                      </a:cubicBezTo>
                      <a:cubicBezTo>
                        <a:pt x="72" y="594"/>
                        <a:pt x="73" y="595"/>
                        <a:pt x="74" y="597"/>
                      </a:cubicBezTo>
                      <a:cubicBezTo>
                        <a:pt x="71" y="599"/>
                        <a:pt x="71" y="599"/>
                        <a:pt x="71" y="599"/>
                      </a:cubicBezTo>
                      <a:cubicBezTo>
                        <a:pt x="72" y="599"/>
                        <a:pt x="72" y="599"/>
                        <a:pt x="72" y="599"/>
                      </a:cubicBezTo>
                      <a:cubicBezTo>
                        <a:pt x="74" y="598"/>
                        <a:pt x="74" y="598"/>
                        <a:pt x="74" y="598"/>
                      </a:cubicBezTo>
                      <a:cubicBezTo>
                        <a:pt x="75" y="599"/>
                        <a:pt x="76" y="601"/>
                        <a:pt x="77" y="602"/>
                      </a:cubicBezTo>
                      <a:cubicBezTo>
                        <a:pt x="75" y="604"/>
                        <a:pt x="75" y="604"/>
                        <a:pt x="75" y="604"/>
                      </a:cubicBezTo>
                      <a:cubicBezTo>
                        <a:pt x="75" y="605"/>
                        <a:pt x="75" y="605"/>
                        <a:pt x="75" y="605"/>
                      </a:cubicBezTo>
                      <a:cubicBezTo>
                        <a:pt x="78" y="603"/>
                        <a:pt x="78" y="603"/>
                        <a:pt x="78" y="603"/>
                      </a:cubicBezTo>
                      <a:cubicBezTo>
                        <a:pt x="79" y="605"/>
                        <a:pt x="80" y="606"/>
                        <a:pt x="81" y="608"/>
                      </a:cubicBezTo>
                      <a:cubicBezTo>
                        <a:pt x="79" y="610"/>
                        <a:pt x="79" y="610"/>
                        <a:pt x="79" y="610"/>
                      </a:cubicBezTo>
                      <a:cubicBezTo>
                        <a:pt x="79" y="610"/>
                        <a:pt x="79" y="610"/>
                        <a:pt x="79" y="610"/>
                      </a:cubicBezTo>
                      <a:cubicBezTo>
                        <a:pt x="81" y="609"/>
                        <a:pt x="81" y="609"/>
                        <a:pt x="81" y="609"/>
                      </a:cubicBezTo>
                      <a:cubicBezTo>
                        <a:pt x="83" y="610"/>
                        <a:pt x="84" y="612"/>
                        <a:pt x="85" y="613"/>
                      </a:cubicBezTo>
                      <a:cubicBezTo>
                        <a:pt x="82" y="615"/>
                        <a:pt x="82" y="615"/>
                        <a:pt x="82" y="615"/>
                      </a:cubicBezTo>
                      <a:cubicBezTo>
                        <a:pt x="83" y="616"/>
                        <a:pt x="83" y="616"/>
                        <a:pt x="83" y="616"/>
                      </a:cubicBezTo>
                      <a:cubicBezTo>
                        <a:pt x="85" y="614"/>
                        <a:pt x="85" y="614"/>
                        <a:pt x="85" y="614"/>
                      </a:cubicBezTo>
                      <a:cubicBezTo>
                        <a:pt x="86" y="615"/>
                        <a:pt x="88" y="617"/>
                        <a:pt x="89" y="619"/>
                      </a:cubicBezTo>
                      <a:cubicBezTo>
                        <a:pt x="86" y="620"/>
                        <a:pt x="86" y="620"/>
                        <a:pt x="86" y="620"/>
                      </a:cubicBezTo>
                      <a:cubicBezTo>
                        <a:pt x="87" y="621"/>
                        <a:pt x="87" y="621"/>
                        <a:pt x="87" y="621"/>
                      </a:cubicBezTo>
                      <a:cubicBezTo>
                        <a:pt x="89" y="619"/>
                        <a:pt x="89" y="619"/>
                        <a:pt x="89" y="619"/>
                      </a:cubicBezTo>
                      <a:cubicBezTo>
                        <a:pt x="90" y="621"/>
                        <a:pt x="92" y="622"/>
                        <a:pt x="93" y="624"/>
                      </a:cubicBezTo>
                      <a:cubicBezTo>
                        <a:pt x="90" y="626"/>
                        <a:pt x="90" y="626"/>
                        <a:pt x="90" y="626"/>
                      </a:cubicBezTo>
                      <a:cubicBezTo>
                        <a:pt x="91" y="626"/>
                        <a:pt x="91" y="626"/>
                        <a:pt x="91" y="626"/>
                      </a:cubicBezTo>
                      <a:cubicBezTo>
                        <a:pt x="93" y="624"/>
                        <a:pt x="93" y="624"/>
                        <a:pt x="93" y="624"/>
                      </a:cubicBezTo>
                      <a:cubicBezTo>
                        <a:pt x="94" y="626"/>
                        <a:pt x="96" y="627"/>
                        <a:pt x="97" y="629"/>
                      </a:cubicBezTo>
                      <a:cubicBezTo>
                        <a:pt x="95" y="631"/>
                        <a:pt x="95" y="631"/>
                        <a:pt x="95" y="631"/>
                      </a:cubicBezTo>
                      <a:cubicBezTo>
                        <a:pt x="95" y="631"/>
                        <a:pt x="95" y="631"/>
                        <a:pt x="95" y="631"/>
                      </a:cubicBezTo>
                      <a:cubicBezTo>
                        <a:pt x="97" y="630"/>
                        <a:pt x="97" y="630"/>
                        <a:pt x="97" y="630"/>
                      </a:cubicBezTo>
                      <a:cubicBezTo>
                        <a:pt x="99" y="631"/>
                        <a:pt x="100" y="632"/>
                        <a:pt x="101" y="634"/>
                      </a:cubicBezTo>
                      <a:cubicBezTo>
                        <a:pt x="97" y="637"/>
                        <a:pt x="97" y="637"/>
                        <a:pt x="97" y="637"/>
                      </a:cubicBezTo>
                      <a:cubicBezTo>
                        <a:pt x="97" y="638"/>
                        <a:pt x="97" y="638"/>
                        <a:pt x="97" y="638"/>
                      </a:cubicBezTo>
                      <a:cubicBezTo>
                        <a:pt x="91" y="643"/>
                        <a:pt x="91" y="643"/>
                        <a:pt x="91" y="643"/>
                      </a:cubicBezTo>
                      <a:cubicBezTo>
                        <a:pt x="91" y="643"/>
                        <a:pt x="91" y="643"/>
                        <a:pt x="91" y="643"/>
                      </a:cubicBezTo>
                      <a:cubicBezTo>
                        <a:pt x="97" y="638"/>
                        <a:pt x="97" y="638"/>
                        <a:pt x="97" y="638"/>
                      </a:cubicBezTo>
                      <a:cubicBezTo>
                        <a:pt x="98" y="639"/>
                        <a:pt x="98" y="639"/>
                        <a:pt x="98" y="639"/>
                      </a:cubicBezTo>
                      <a:cubicBezTo>
                        <a:pt x="102" y="635"/>
                        <a:pt x="102" y="635"/>
                        <a:pt x="102" y="635"/>
                      </a:cubicBezTo>
                      <a:cubicBezTo>
                        <a:pt x="103" y="636"/>
                        <a:pt x="104" y="638"/>
                        <a:pt x="105" y="639"/>
                      </a:cubicBezTo>
                      <a:cubicBezTo>
                        <a:pt x="103" y="641"/>
                        <a:pt x="103" y="641"/>
                        <a:pt x="103" y="641"/>
                      </a:cubicBezTo>
                      <a:cubicBezTo>
                        <a:pt x="104" y="642"/>
                        <a:pt x="104" y="642"/>
                        <a:pt x="104" y="642"/>
                      </a:cubicBezTo>
                      <a:cubicBezTo>
                        <a:pt x="106" y="640"/>
                        <a:pt x="106" y="640"/>
                        <a:pt x="106" y="640"/>
                      </a:cubicBezTo>
                      <a:cubicBezTo>
                        <a:pt x="107" y="641"/>
                        <a:pt x="108" y="643"/>
                        <a:pt x="110" y="644"/>
                      </a:cubicBezTo>
                      <a:cubicBezTo>
                        <a:pt x="108" y="646"/>
                        <a:pt x="108" y="646"/>
                        <a:pt x="108" y="646"/>
                      </a:cubicBezTo>
                      <a:cubicBezTo>
                        <a:pt x="108" y="647"/>
                        <a:pt x="108" y="647"/>
                        <a:pt x="108" y="647"/>
                      </a:cubicBezTo>
                      <a:cubicBezTo>
                        <a:pt x="110" y="645"/>
                        <a:pt x="110" y="645"/>
                        <a:pt x="110" y="645"/>
                      </a:cubicBezTo>
                      <a:cubicBezTo>
                        <a:pt x="112" y="646"/>
                        <a:pt x="113" y="647"/>
                        <a:pt x="114" y="649"/>
                      </a:cubicBezTo>
                      <a:cubicBezTo>
                        <a:pt x="112" y="651"/>
                        <a:pt x="112" y="651"/>
                        <a:pt x="112" y="651"/>
                      </a:cubicBezTo>
                      <a:cubicBezTo>
                        <a:pt x="113" y="651"/>
                        <a:pt x="113" y="651"/>
                        <a:pt x="113" y="651"/>
                      </a:cubicBezTo>
                      <a:cubicBezTo>
                        <a:pt x="115" y="649"/>
                        <a:pt x="115" y="649"/>
                        <a:pt x="115" y="649"/>
                      </a:cubicBezTo>
                      <a:cubicBezTo>
                        <a:pt x="116" y="651"/>
                        <a:pt x="117" y="652"/>
                        <a:pt x="119" y="654"/>
                      </a:cubicBezTo>
                      <a:cubicBezTo>
                        <a:pt x="117" y="656"/>
                        <a:pt x="117" y="656"/>
                        <a:pt x="117" y="656"/>
                      </a:cubicBezTo>
                      <a:cubicBezTo>
                        <a:pt x="117" y="656"/>
                        <a:pt x="117" y="656"/>
                        <a:pt x="117" y="656"/>
                      </a:cubicBezTo>
                      <a:cubicBezTo>
                        <a:pt x="119" y="654"/>
                        <a:pt x="119" y="654"/>
                        <a:pt x="119" y="654"/>
                      </a:cubicBezTo>
                      <a:cubicBezTo>
                        <a:pt x="121" y="656"/>
                        <a:pt x="122" y="657"/>
                        <a:pt x="123" y="658"/>
                      </a:cubicBezTo>
                      <a:cubicBezTo>
                        <a:pt x="121" y="661"/>
                        <a:pt x="121" y="661"/>
                        <a:pt x="121" y="661"/>
                      </a:cubicBezTo>
                      <a:cubicBezTo>
                        <a:pt x="122" y="661"/>
                        <a:pt x="122" y="661"/>
                        <a:pt x="122" y="661"/>
                      </a:cubicBezTo>
                      <a:cubicBezTo>
                        <a:pt x="124" y="659"/>
                        <a:pt x="124" y="659"/>
                        <a:pt x="124" y="659"/>
                      </a:cubicBezTo>
                      <a:cubicBezTo>
                        <a:pt x="125" y="660"/>
                        <a:pt x="127" y="662"/>
                        <a:pt x="128" y="663"/>
                      </a:cubicBezTo>
                      <a:cubicBezTo>
                        <a:pt x="126" y="665"/>
                        <a:pt x="126" y="665"/>
                        <a:pt x="126" y="665"/>
                      </a:cubicBezTo>
                      <a:cubicBezTo>
                        <a:pt x="127" y="666"/>
                        <a:pt x="127" y="666"/>
                        <a:pt x="127" y="666"/>
                      </a:cubicBezTo>
                      <a:cubicBezTo>
                        <a:pt x="129" y="664"/>
                        <a:pt x="129" y="664"/>
                        <a:pt x="129" y="664"/>
                      </a:cubicBezTo>
                      <a:cubicBezTo>
                        <a:pt x="130" y="665"/>
                        <a:pt x="131" y="666"/>
                        <a:pt x="133" y="668"/>
                      </a:cubicBezTo>
                      <a:cubicBezTo>
                        <a:pt x="131" y="670"/>
                        <a:pt x="131" y="670"/>
                        <a:pt x="131" y="670"/>
                      </a:cubicBezTo>
                      <a:cubicBezTo>
                        <a:pt x="131" y="670"/>
                        <a:pt x="131" y="670"/>
                        <a:pt x="131" y="670"/>
                      </a:cubicBezTo>
                      <a:cubicBezTo>
                        <a:pt x="133" y="668"/>
                        <a:pt x="133" y="668"/>
                        <a:pt x="133" y="668"/>
                      </a:cubicBezTo>
                      <a:cubicBezTo>
                        <a:pt x="135" y="669"/>
                        <a:pt x="136" y="671"/>
                        <a:pt x="138" y="672"/>
                      </a:cubicBezTo>
                      <a:cubicBezTo>
                        <a:pt x="136" y="674"/>
                        <a:pt x="136" y="674"/>
                        <a:pt x="136" y="674"/>
                      </a:cubicBezTo>
                      <a:cubicBezTo>
                        <a:pt x="136" y="675"/>
                        <a:pt x="136" y="675"/>
                        <a:pt x="136" y="675"/>
                      </a:cubicBezTo>
                      <a:cubicBezTo>
                        <a:pt x="138" y="673"/>
                        <a:pt x="138" y="673"/>
                        <a:pt x="138" y="673"/>
                      </a:cubicBezTo>
                      <a:cubicBezTo>
                        <a:pt x="140" y="674"/>
                        <a:pt x="141" y="675"/>
                        <a:pt x="143" y="676"/>
                      </a:cubicBezTo>
                      <a:cubicBezTo>
                        <a:pt x="141" y="679"/>
                        <a:pt x="141" y="679"/>
                        <a:pt x="141" y="679"/>
                      </a:cubicBezTo>
                      <a:cubicBezTo>
                        <a:pt x="141" y="679"/>
                        <a:pt x="141" y="679"/>
                        <a:pt x="141" y="679"/>
                      </a:cubicBezTo>
                      <a:cubicBezTo>
                        <a:pt x="143" y="677"/>
                        <a:pt x="143" y="677"/>
                        <a:pt x="143" y="677"/>
                      </a:cubicBezTo>
                      <a:cubicBezTo>
                        <a:pt x="145" y="678"/>
                        <a:pt x="146" y="679"/>
                        <a:pt x="147" y="680"/>
                      </a:cubicBezTo>
                      <a:cubicBezTo>
                        <a:pt x="144" y="685"/>
                        <a:pt x="144" y="685"/>
                        <a:pt x="144" y="685"/>
                      </a:cubicBezTo>
                      <a:cubicBezTo>
                        <a:pt x="144" y="685"/>
                        <a:pt x="144" y="685"/>
                        <a:pt x="144" y="685"/>
                      </a:cubicBezTo>
                      <a:cubicBezTo>
                        <a:pt x="139" y="691"/>
                        <a:pt x="139" y="691"/>
                        <a:pt x="139" y="691"/>
                      </a:cubicBezTo>
                      <a:cubicBezTo>
                        <a:pt x="140" y="691"/>
                        <a:pt x="140" y="691"/>
                        <a:pt x="140" y="691"/>
                      </a:cubicBezTo>
                      <a:cubicBezTo>
                        <a:pt x="145" y="685"/>
                        <a:pt x="145" y="685"/>
                        <a:pt x="145" y="685"/>
                      </a:cubicBezTo>
                      <a:cubicBezTo>
                        <a:pt x="145" y="686"/>
                        <a:pt x="145" y="686"/>
                        <a:pt x="145" y="686"/>
                      </a:cubicBezTo>
                      <a:cubicBezTo>
                        <a:pt x="149" y="682"/>
                        <a:pt x="149" y="682"/>
                        <a:pt x="149" y="682"/>
                      </a:cubicBezTo>
                      <a:cubicBezTo>
                        <a:pt x="150" y="683"/>
                        <a:pt x="151" y="684"/>
                        <a:pt x="153" y="685"/>
                      </a:cubicBezTo>
                      <a:cubicBezTo>
                        <a:pt x="151" y="687"/>
                        <a:pt x="151" y="687"/>
                        <a:pt x="151" y="687"/>
                      </a:cubicBezTo>
                      <a:cubicBezTo>
                        <a:pt x="151" y="688"/>
                        <a:pt x="151" y="688"/>
                        <a:pt x="151" y="688"/>
                      </a:cubicBezTo>
                      <a:cubicBezTo>
                        <a:pt x="153" y="685"/>
                        <a:pt x="153" y="685"/>
                        <a:pt x="153" y="685"/>
                      </a:cubicBezTo>
                      <a:cubicBezTo>
                        <a:pt x="155" y="687"/>
                        <a:pt x="156" y="688"/>
                        <a:pt x="158" y="689"/>
                      </a:cubicBezTo>
                      <a:cubicBezTo>
                        <a:pt x="156" y="691"/>
                        <a:pt x="156" y="691"/>
                        <a:pt x="156" y="691"/>
                      </a:cubicBezTo>
                      <a:cubicBezTo>
                        <a:pt x="157" y="692"/>
                        <a:pt x="157" y="692"/>
                        <a:pt x="157" y="692"/>
                      </a:cubicBezTo>
                      <a:cubicBezTo>
                        <a:pt x="158" y="690"/>
                        <a:pt x="158" y="690"/>
                        <a:pt x="158" y="690"/>
                      </a:cubicBezTo>
                      <a:cubicBezTo>
                        <a:pt x="160" y="691"/>
                        <a:pt x="162" y="692"/>
                        <a:pt x="163" y="693"/>
                      </a:cubicBezTo>
                      <a:cubicBezTo>
                        <a:pt x="161" y="695"/>
                        <a:pt x="161" y="695"/>
                        <a:pt x="161" y="695"/>
                      </a:cubicBezTo>
                      <a:cubicBezTo>
                        <a:pt x="162" y="696"/>
                        <a:pt x="162" y="696"/>
                        <a:pt x="162" y="696"/>
                      </a:cubicBezTo>
                      <a:cubicBezTo>
                        <a:pt x="164" y="694"/>
                        <a:pt x="164" y="694"/>
                        <a:pt x="164" y="694"/>
                      </a:cubicBezTo>
                      <a:cubicBezTo>
                        <a:pt x="165" y="695"/>
                        <a:pt x="167" y="696"/>
                        <a:pt x="168" y="697"/>
                      </a:cubicBezTo>
                      <a:cubicBezTo>
                        <a:pt x="167" y="699"/>
                        <a:pt x="167" y="699"/>
                        <a:pt x="167" y="699"/>
                      </a:cubicBezTo>
                      <a:cubicBezTo>
                        <a:pt x="167" y="700"/>
                        <a:pt x="167" y="700"/>
                        <a:pt x="167" y="700"/>
                      </a:cubicBezTo>
                      <a:cubicBezTo>
                        <a:pt x="169" y="697"/>
                        <a:pt x="169" y="697"/>
                        <a:pt x="169" y="697"/>
                      </a:cubicBezTo>
                      <a:cubicBezTo>
                        <a:pt x="171" y="699"/>
                        <a:pt x="172" y="700"/>
                        <a:pt x="174" y="701"/>
                      </a:cubicBezTo>
                      <a:cubicBezTo>
                        <a:pt x="172" y="703"/>
                        <a:pt x="172" y="703"/>
                        <a:pt x="172" y="703"/>
                      </a:cubicBezTo>
                      <a:cubicBezTo>
                        <a:pt x="173" y="704"/>
                        <a:pt x="173" y="704"/>
                        <a:pt x="173" y="704"/>
                      </a:cubicBezTo>
                      <a:cubicBezTo>
                        <a:pt x="174" y="701"/>
                        <a:pt x="174" y="701"/>
                        <a:pt x="174" y="701"/>
                      </a:cubicBezTo>
                      <a:cubicBezTo>
                        <a:pt x="176" y="702"/>
                        <a:pt x="178" y="704"/>
                        <a:pt x="179" y="705"/>
                      </a:cubicBezTo>
                      <a:cubicBezTo>
                        <a:pt x="178" y="707"/>
                        <a:pt x="178" y="707"/>
                        <a:pt x="178" y="707"/>
                      </a:cubicBezTo>
                      <a:cubicBezTo>
                        <a:pt x="178" y="708"/>
                        <a:pt x="178" y="708"/>
                        <a:pt x="178" y="708"/>
                      </a:cubicBezTo>
                      <a:cubicBezTo>
                        <a:pt x="180" y="705"/>
                        <a:pt x="180" y="705"/>
                        <a:pt x="180" y="705"/>
                      </a:cubicBezTo>
                      <a:cubicBezTo>
                        <a:pt x="181" y="706"/>
                        <a:pt x="183" y="707"/>
                        <a:pt x="185" y="708"/>
                      </a:cubicBezTo>
                      <a:cubicBezTo>
                        <a:pt x="183" y="711"/>
                        <a:pt x="183" y="711"/>
                        <a:pt x="183" y="711"/>
                      </a:cubicBezTo>
                      <a:cubicBezTo>
                        <a:pt x="184" y="711"/>
                        <a:pt x="184" y="711"/>
                        <a:pt x="184" y="711"/>
                      </a:cubicBezTo>
                      <a:cubicBezTo>
                        <a:pt x="185" y="709"/>
                        <a:pt x="185" y="709"/>
                        <a:pt x="185" y="709"/>
                      </a:cubicBezTo>
                      <a:cubicBezTo>
                        <a:pt x="187" y="710"/>
                        <a:pt x="189" y="711"/>
                        <a:pt x="190" y="712"/>
                      </a:cubicBezTo>
                      <a:cubicBezTo>
                        <a:pt x="189" y="714"/>
                        <a:pt x="189" y="714"/>
                        <a:pt x="189" y="714"/>
                      </a:cubicBezTo>
                      <a:cubicBezTo>
                        <a:pt x="189" y="715"/>
                        <a:pt x="189" y="715"/>
                        <a:pt x="189" y="715"/>
                      </a:cubicBezTo>
                      <a:cubicBezTo>
                        <a:pt x="191" y="712"/>
                        <a:pt x="191" y="712"/>
                        <a:pt x="191" y="712"/>
                      </a:cubicBezTo>
                      <a:cubicBezTo>
                        <a:pt x="193" y="713"/>
                        <a:pt x="194" y="714"/>
                        <a:pt x="196" y="715"/>
                      </a:cubicBezTo>
                      <a:cubicBezTo>
                        <a:pt x="194" y="718"/>
                        <a:pt x="194" y="718"/>
                        <a:pt x="194" y="718"/>
                      </a:cubicBezTo>
                      <a:cubicBezTo>
                        <a:pt x="195" y="718"/>
                        <a:pt x="195" y="718"/>
                        <a:pt x="195" y="718"/>
                      </a:cubicBezTo>
                      <a:cubicBezTo>
                        <a:pt x="196" y="716"/>
                        <a:pt x="196" y="716"/>
                        <a:pt x="196" y="716"/>
                      </a:cubicBezTo>
                      <a:cubicBezTo>
                        <a:pt x="198" y="717"/>
                        <a:pt x="200" y="718"/>
                        <a:pt x="201" y="718"/>
                      </a:cubicBezTo>
                      <a:cubicBezTo>
                        <a:pt x="198" y="723"/>
                        <a:pt x="198" y="723"/>
                        <a:pt x="198" y="723"/>
                      </a:cubicBezTo>
                      <a:cubicBezTo>
                        <a:pt x="199" y="723"/>
                        <a:pt x="199" y="723"/>
                        <a:pt x="199" y="723"/>
                      </a:cubicBezTo>
                      <a:cubicBezTo>
                        <a:pt x="195" y="730"/>
                        <a:pt x="195" y="730"/>
                        <a:pt x="195" y="730"/>
                      </a:cubicBezTo>
                      <a:cubicBezTo>
                        <a:pt x="196" y="730"/>
                        <a:pt x="196" y="730"/>
                        <a:pt x="196" y="730"/>
                      </a:cubicBezTo>
                      <a:cubicBezTo>
                        <a:pt x="199" y="724"/>
                        <a:pt x="199" y="724"/>
                        <a:pt x="199" y="724"/>
                      </a:cubicBezTo>
                      <a:cubicBezTo>
                        <a:pt x="200" y="724"/>
                        <a:pt x="200" y="724"/>
                        <a:pt x="200" y="724"/>
                      </a:cubicBezTo>
                      <a:cubicBezTo>
                        <a:pt x="203" y="719"/>
                        <a:pt x="203" y="719"/>
                        <a:pt x="203" y="719"/>
                      </a:cubicBezTo>
                      <a:cubicBezTo>
                        <a:pt x="204" y="720"/>
                        <a:pt x="206" y="721"/>
                        <a:pt x="207" y="722"/>
                      </a:cubicBezTo>
                      <a:cubicBezTo>
                        <a:pt x="206" y="724"/>
                        <a:pt x="206" y="724"/>
                        <a:pt x="206" y="724"/>
                      </a:cubicBezTo>
                      <a:cubicBezTo>
                        <a:pt x="207" y="725"/>
                        <a:pt x="207" y="725"/>
                        <a:pt x="207" y="725"/>
                      </a:cubicBezTo>
                      <a:cubicBezTo>
                        <a:pt x="208" y="722"/>
                        <a:pt x="208" y="722"/>
                        <a:pt x="208" y="722"/>
                      </a:cubicBezTo>
                      <a:cubicBezTo>
                        <a:pt x="210" y="723"/>
                        <a:pt x="211" y="724"/>
                        <a:pt x="213" y="725"/>
                      </a:cubicBezTo>
                      <a:cubicBezTo>
                        <a:pt x="212" y="728"/>
                        <a:pt x="212" y="728"/>
                        <a:pt x="212" y="728"/>
                      </a:cubicBezTo>
                      <a:cubicBezTo>
                        <a:pt x="212" y="728"/>
                        <a:pt x="212" y="728"/>
                        <a:pt x="212" y="728"/>
                      </a:cubicBezTo>
                      <a:cubicBezTo>
                        <a:pt x="214" y="726"/>
                        <a:pt x="214" y="726"/>
                        <a:pt x="214" y="726"/>
                      </a:cubicBezTo>
                      <a:cubicBezTo>
                        <a:pt x="215" y="726"/>
                        <a:pt x="217" y="727"/>
                        <a:pt x="219" y="728"/>
                      </a:cubicBezTo>
                      <a:cubicBezTo>
                        <a:pt x="218" y="731"/>
                        <a:pt x="218" y="731"/>
                        <a:pt x="218" y="731"/>
                      </a:cubicBezTo>
                      <a:cubicBezTo>
                        <a:pt x="218" y="731"/>
                        <a:pt x="218" y="731"/>
                        <a:pt x="218" y="731"/>
                      </a:cubicBezTo>
                      <a:cubicBezTo>
                        <a:pt x="220" y="729"/>
                        <a:pt x="220" y="729"/>
                        <a:pt x="220" y="729"/>
                      </a:cubicBezTo>
                      <a:cubicBezTo>
                        <a:pt x="221" y="729"/>
                        <a:pt x="223" y="730"/>
                        <a:pt x="225" y="731"/>
                      </a:cubicBezTo>
                      <a:cubicBezTo>
                        <a:pt x="224" y="734"/>
                        <a:pt x="224" y="734"/>
                        <a:pt x="224" y="734"/>
                      </a:cubicBezTo>
                      <a:cubicBezTo>
                        <a:pt x="224" y="734"/>
                        <a:pt x="224" y="734"/>
                        <a:pt x="224" y="734"/>
                      </a:cubicBezTo>
                      <a:cubicBezTo>
                        <a:pt x="225" y="731"/>
                        <a:pt x="225" y="731"/>
                        <a:pt x="225" y="731"/>
                      </a:cubicBezTo>
                      <a:cubicBezTo>
                        <a:pt x="227" y="732"/>
                        <a:pt x="229" y="733"/>
                        <a:pt x="231" y="734"/>
                      </a:cubicBezTo>
                      <a:cubicBezTo>
                        <a:pt x="230" y="737"/>
                        <a:pt x="230" y="737"/>
                        <a:pt x="230" y="737"/>
                      </a:cubicBezTo>
                      <a:cubicBezTo>
                        <a:pt x="230" y="737"/>
                        <a:pt x="230" y="737"/>
                        <a:pt x="230" y="737"/>
                      </a:cubicBezTo>
                      <a:cubicBezTo>
                        <a:pt x="231" y="734"/>
                        <a:pt x="231" y="734"/>
                        <a:pt x="231" y="734"/>
                      </a:cubicBezTo>
                      <a:cubicBezTo>
                        <a:pt x="233" y="735"/>
                        <a:pt x="235" y="736"/>
                        <a:pt x="237" y="737"/>
                      </a:cubicBezTo>
                      <a:cubicBezTo>
                        <a:pt x="236" y="739"/>
                        <a:pt x="236" y="739"/>
                        <a:pt x="236" y="739"/>
                      </a:cubicBezTo>
                      <a:cubicBezTo>
                        <a:pt x="236" y="740"/>
                        <a:pt x="236" y="740"/>
                        <a:pt x="236" y="740"/>
                      </a:cubicBezTo>
                      <a:cubicBezTo>
                        <a:pt x="237" y="737"/>
                        <a:pt x="237" y="737"/>
                        <a:pt x="237" y="737"/>
                      </a:cubicBezTo>
                      <a:cubicBezTo>
                        <a:pt x="239" y="738"/>
                        <a:pt x="241" y="739"/>
                        <a:pt x="243" y="739"/>
                      </a:cubicBezTo>
                      <a:cubicBezTo>
                        <a:pt x="242" y="742"/>
                        <a:pt x="242" y="742"/>
                        <a:pt x="242" y="742"/>
                      </a:cubicBezTo>
                      <a:cubicBezTo>
                        <a:pt x="242" y="742"/>
                        <a:pt x="242" y="742"/>
                        <a:pt x="242" y="742"/>
                      </a:cubicBezTo>
                      <a:cubicBezTo>
                        <a:pt x="243" y="740"/>
                        <a:pt x="243" y="740"/>
                        <a:pt x="243" y="740"/>
                      </a:cubicBezTo>
                      <a:cubicBezTo>
                        <a:pt x="245" y="740"/>
                        <a:pt x="247" y="741"/>
                        <a:pt x="249" y="742"/>
                      </a:cubicBezTo>
                      <a:cubicBezTo>
                        <a:pt x="248" y="745"/>
                        <a:pt x="248" y="745"/>
                        <a:pt x="248" y="745"/>
                      </a:cubicBezTo>
                      <a:cubicBezTo>
                        <a:pt x="249" y="745"/>
                        <a:pt x="249" y="745"/>
                        <a:pt x="249" y="745"/>
                      </a:cubicBezTo>
                      <a:cubicBezTo>
                        <a:pt x="250" y="742"/>
                        <a:pt x="250" y="742"/>
                        <a:pt x="250" y="742"/>
                      </a:cubicBezTo>
                      <a:cubicBezTo>
                        <a:pt x="251" y="743"/>
                        <a:pt x="253" y="744"/>
                        <a:pt x="255" y="744"/>
                      </a:cubicBezTo>
                      <a:cubicBezTo>
                        <a:pt x="254" y="747"/>
                        <a:pt x="254" y="747"/>
                        <a:pt x="254" y="747"/>
                      </a:cubicBezTo>
                      <a:cubicBezTo>
                        <a:pt x="255" y="747"/>
                        <a:pt x="255" y="747"/>
                        <a:pt x="255" y="747"/>
                      </a:cubicBezTo>
                      <a:cubicBezTo>
                        <a:pt x="256" y="745"/>
                        <a:pt x="256" y="745"/>
                        <a:pt x="256" y="745"/>
                      </a:cubicBezTo>
                      <a:cubicBezTo>
                        <a:pt x="257" y="745"/>
                        <a:pt x="259" y="746"/>
                        <a:pt x="261" y="746"/>
                      </a:cubicBezTo>
                      <a:cubicBezTo>
                        <a:pt x="259" y="752"/>
                        <a:pt x="259" y="752"/>
                        <a:pt x="259" y="752"/>
                      </a:cubicBezTo>
                      <a:cubicBezTo>
                        <a:pt x="259" y="752"/>
                        <a:pt x="259" y="752"/>
                        <a:pt x="259" y="752"/>
                      </a:cubicBezTo>
                      <a:cubicBezTo>
                        <a:pt x="257" y="759"/>
                        <a:pt x="257" y="759"/>
                        <a:pt x="257" y="759"/>
                      </a:cubicBezTo>
                      <a:cubicBezTo>
                        <a:pt x="257" y="759"/>
                        <a:pt x="257" y="759"/>
                        <a:pt x="257" y="759"/>
                      </a:cubicBezTo>
                      <a:cubicBezTo>
                        <a:pt x="260" y="752"/>
                        <a:pt x="260" y="752"/>
                        <a:pt x="260" y="752"/>
                      </a:cubicBezTo>
                      <a:cubicBezTo>
                        <a:pt x="261" y="752"/>
                        <a:pt x="261" y="752"/>
                        <a:pt x="261" y="752"/>
                      </a:cubicBezTo>
                      <a:cubicBezTo>
                        <a:pt x="262" y="747"/>
                        <a:pt x="262" y="747"/>
                        <a:pt x="262" y="747"/>
                      </a:cubicBezTo>
                      <a:cubicBezTo>
                        <a:pt x="264" y="748"/>
                        <a:pt x="266" y="748"/>
                        <a:pt x="267" y="749"/>
                      </a:cubicBezTo>
                      <a:cubicBezTo>
                        <a:pt x="266" y="752"/>
                        <a:pt x="266" y="752"/>
                        <a:pt x="266" y="752"/>
                      </a:cubicBezTo>
                      <a:cubicBezTo>
                        <a:pt x="267" y="752"/>
                        <a:pt x="267" y="752"/>
                        <a:pt x="267" y="752"/>
                      </a:cubicBezTo>
                      <a:cubicBezTo>
                        <a:pt x="268" y="749"/>
                        <a:pt x="268" y="749"/>
                        <a:pt x="268" y="749"/>
                      </a:cubicBezTo>
                      <a:cubicBezTo>
                        <a:pt x="270" y="750"/>
                        <a:pt x="272" y="750"/>
                        <a:pt x="274" y="751"/>
                      </a:cubicBezTo>
                      <a:cubicBezTo>
                        <a:pt x="273" y="754"/>
                        <a:pt x="273" y="754"/>
                        <a:pt x="273" y="754"/>
                      </a:cubicBezTo>
                      <a:cubicBezTo>
                        <a:pt x="274" y="754"/>
                        <a:pt x="274" y="754"/>
                        <a:pt x="274" y="754"/>
                      </a:cubicBezTo>
                      <a:cubicBezTo>
                        <a:pt x="274" y="751"/>
                        <a:pt x="274" y="751"/>
                        <a:pt x="274" y="751"/>
                      </a:cubicBezTo>
                      <a:cubicBezTo>
                        <a:pt x="276" y="752"/>
                        <a:pt x="278" y="752"/>
                        <a:pt x="280" y="753"/>
                      </a:cubicBezTo>
                      <a:cubicBezTo>
                        <a:pt x="279" y="756"/>
                        <a:pt x="279" y="756"/>
                        <a:pt x="279" y="756"/>
                      </a:cubicBezTo>
                      <a:cubicBezTo>
                        <a:pt x="280" y="756"/>
                        <a:pt x="280" y="756"/>
                        <a:pt x="280" y="756"/>
                      </a:cubicBezTo>
                      <a:cubicBezTo>
                        <a:pt x="281" y="753"/>
                        <a:pt x="281" y="753"/>
                        <a:pt x="281" y="753"/>
                      </a:cubicBezTo>
                      <a:cubicBezTo>
                        <a:pt x="283" y="754"/>
                        <a:pt x="284" y="754"/>
                        <a:pt x="286" y="755"/>
                      </a:cubicBezTo>
                      <a:cubicBezTo>
                        <a:pt x="285" y="758"/>
                        <a:pt x="285" y="758"/>
                        <a:pt x="285" y="758"/>
                      </a:cubicBezTo>
                      <a:cubicBezTo>
                        <a:pt x="286" y="758"/>
                        <a:pt x="286" y="758"/>
                        <a:pt x="286" y="758"/>
                      </a:cubicBezTo>
                      <a:cubicBezTo>
                        <a:pt x="287" y="755"/>
                        <a:pt x="287" y="755"/>
                        <a:pt x="287" y="755"/>
                      </a:cubicBezTo>
                      <a:cubicBezTo>
                        <a:pt x="289" y="756"/>
                        <a:pt x="291" y="756"/>
                        <a:pt x="293" y="757"/>
                      </a:cubicBezTo>
                      <a:cubicBezTo>
                        <a:pt x="292" y="759"/>
                        <a:pt x="292" y="759"/>
                        <a:pt x="292" y="759"/>
                      </a:cubicBezTo>
                      <a:cubicBezTo>
                        <a:pt x="293" y="760"/>
                        <a:pt x="293" y="760"/>
                        <a:pt x="293" y="760"/>
                      </a:cubicBezTo>
                      <a:cubicBezTo>
                        <a:pt x="293" y="757"/>
                        <a:pt x="293" y="757"/>
                        <a:pt x="293" y="757"/>
                      </a:cubicBezTo>
                      <a:cubicBezTo>
                        <a:pt x="295" y="757"/>
                        <a:pt x="297" y="758"/>
                        <a:pt x="299" y="758"/>
                      </a:cubicBezTo>
                      <a:cubicBezTo>
                        <a:pt x="298" y="761"/>
                        <a:pt x="298" y="761"/>
                        <a:pt x="298" y="761"/>
                      </a:cubicBezTo>
                      <a:cubicBezTo>
                        <a:pt x="299" y="761"/>
                        <a:pt x="299" y="761"/>
                        <a:pt x="299" y="761"/>
                      </a:cubicBezTo>
                      <a:cubicBezTo>
                        <a:pt x="300" y="758"/>
                        <a:pt x="300" y="758"/>
                        <a:pt x="300" y="758"/>
                      </a:cubicBezTo>
                      <a:cubicBezTo>
                        <a:pt x="302" y="759"/>
                        <a:pt x="304" y="759"/>
                        <a:pt x="305" y="760"/>
                      </a:cubicBezTo>
                      <a:cubicBezTo>
                        <a:pt x="305" y="763"/>
                        <a:pt x="305" y="763"/>
                        <a:pt x="305" y="763"/>
                      </a:cubicBezTo>
                      <a:cubicBezTo>
                        <a:pt x="306" y="763"/>
                        <a:pt x="306" y="763"/>
                        <a:pt x="306" y="763"/>
                      </a:cubicBezTo>
                      <a:cubicBezTo>
                        <a:pt x="306" y="760"/>
                        <a:pt x="306" y="760"/>
                        <a:pt x="306" y="760"/>
                      </a:cubicBezTo>
                      <a:cubicBezTo>
                        <a:pt x="308" y="760"/>
                        <a:pt x="310" y="761"/>
                        <a:pt x="312" y="761"/>
                      </a:cubicBezTo>
                      <a:cubicBezTo>
                        <a:pt x="311" y="764"/>
                        <a:pt x="311" y="764"/>
                        <a:pt x="311" y="764"/>
                      </a:cubicBezTo>
                      <a:cubicBezTo>
                        <a:pt x="312" y="764"/>
                        <a:pt x="312" y="764"/>
                        <a:pt x="312" y="764"/>
                      </a:cubicBezTo>
                      <a:cubicBezTo>
                        <a:pt x="313" y="761"/>
                        <a:pt x="313" y="761"/>
                        <a:pt x="313" y="761"/>
                      </a:cubicBezTo>
                      <a:cubicBezTo>
                        <a:pt x="315" y="762"/>
                        <a:pt x="316" y="762"/>
                        <a:pt x="318" y="763"/>
                      </a:cubicBezTo>
                      <a:cubicBezTo>
                        <a:pt x="318" y="765"/>
                        <a:pt x="318" y="765"/>
                        <a:pt x="318" y="765"/>
                      </a:cubicBezTo>
                      <a:cubicBezTo>
                        <a:pt x="319" y="766"/>
                        <a:pt x="319" y="766"/>
                        <a:pt x="319" y="766"/>
                      </a:cubicBezTo>
                      <a:cubicBezTo>
                        <a:pt x="319" y="763"/>
                        <a:pt x="319" y="763"/>
                        <a:pt x="319" y="763"/>
                      </a:cubicBezTo>
                      <a:cubicBezTo>
                        <a:pt x="321" y="763"/>
                        <a:pt x="323" y="763"/>
                        <a:pt x="324" y="764"/>
                      </a:cubicBezTo>
                      <a:cubicBezTo>
                        <a:pt x="323" y="769"/>
                        <a:pt x="323" y="769"/>
                        <a:pt x="323" y="769"/>
                      </a:cubicBezTo>
                      <a:cubicBezTo>
                        <a:pt x="324" y="769"/>
                        <a:pt x="324" y="769"/>
                        <a:pt x="324" y="769"/>
                      </a:cubicBezTo>
                      <a:cubicBezTo>
                        <a:pt x="323" y="777"/>
                        <a:pt x="323" y="777"/>
                        <a:pt x="323" y="777"/>
                      </a:cubicBezTo>
                      <a:cubicBezTo>
                        <a:pt x="323" y="777"/>
                        <a:pt x="323" y="777"/>
                        <a:pt x="323" y="777"/>
                      </a:cubicBezTo>
                      <a:cubicBezTo>
                        <a:pt x="325" y="769"/>
                        <a:pt x="325" y="769"/>
                        <a:pt x="325" y="769"/>
                      </a:cubicBezTo>
                      <a:cubicBezTo>
                        <a:pt x="325" y="769"/>
                        <a:pt x="325" y="769"/>
                        <a:pt x="325" y="769"/>
                      </a:cubicBezTo>
                      <a:cubicBezTo>
                        <a:pt x="326" y="764"/>
                        <a:pt x="326" y="764"/>
                        <a:pt x="326" y="764"/>
                      </a:cubicBezTo>
                      <a:cubicBezTo>
                        <a:pt x="328" y="764"/>
                        <a:pt x="330" y="765"/>
                        <a:pt x="331" y="765"/>
                      </a:cubicBezTo>
                      <a:cubicBezTo>
                        <a:pt x="331" y="768"/>
                        <a:pt x="331" y="768"/>
                        <a:pt x="331" y="768"/>
                      </a:cubicBezTo>
                      <a:cubicBezTo>
                        <a:pt x="332" y="768"/>
                        <a:pt x="332" y="768"/>
                        <a:pt x="332" y="768"/>
                      </a:cubicBezTo>
                      <a:cubicBezTo>
                        <a:pt x="332" y="765"/>
                        <a:pt x="332" y="765"/>
                        <a:pt x="332" y="765"/>
                      </a:cubicBezTo>
                      <a:cubicBezTo>
                        <a:pt x="334" y="765"/>
                        <a:pt x="336" y="765"/>
                        <a:pt x="338" y="766"/>
                      </a:cubicBezTo>
                      <a:cubicBezTo>
                        <a:pt x="337" y="769"/>
                        <a:pt x="337" y="769"/>
                        <a:pt x="337" y="769"/>
                      </a:cubicBezTo>
                      <a:cubicBezTo>
                        <a:pt x="338" y="769"/>
                        <a:pt x="338" y="769"/>
                        <a:pt x="338" y="769"/>
                      </a:cubicBezTo>
                      <a:cubicBezTo>
                        <a:pt x="339" y="766"/>
                        <a:pt x="339" y="766"/>
                        <a:pt x="339" y="766"/>
                      </a:cubicBezTo>
                      <a:cubicBezTo>
                        <a:pt x="341" y="766"/>
                        <a:pt x="342" y="766"/>
                        <a:pt x="344" y="767"/>
                      </a:cubicBezTo>
                      <a:cubicBezTo>
                        <a:pt x="344" y="770"/>
                        <a:pt x="344" y="770"/>
                        <a:pt x="344" y="770"/>
                      </a:cubicBezTo>
                      <a:cubicBezTo>
                        <a:pt x="345" y="770"/>
                        <a:pt x="345" y="770"/>
                        <a:pt x="345" y="770"/>
                      </a:cubicBezTo>
                      <a:cubicBezTo>
                        <a:pt x="345" y="767"/>
                        <a:pt x="345" y="767"/>
                        <a:pt x="345" y="767"/>
                      </a:cubicBezTo>
                      <a:cubicBezTo>
                        <a:pt x="347" y="767"/>
                        <a:pt x="349" y="767"/>
                        <a:pt x="351" y="767"/>
                      </a:cubicBezTo>
                      <a:cubicBezTo>
                        <a:pt x="351" y="770"/>
                        <a:pt x="351" y="770"/>
                        <a:pt x="351" y="770"/>
                      </a:cubicBezTo>
                      <a:cubicBezTo>
                        <a:pt x="351" y="770"/>
                        <a:pt x="351" y="770"/>
                        <a:pt x="351" y="770"/>
                      </a:cubicBezTo>
                      <a:cubicBezTo>
                        <a:pt x="352" y="767"/>
                        <a:pt x="352" y="767"/>
                        <a:pt x="352" y="767"/>
                      </a:cubicBezTo>
                      <a:cubicBezTo>
                        <a:pt x="354" y="768"/>
                        <a:pt x="356" y="768"/>
                        <a:pt x="357" y="768"/>
                      </a:cubicBezTo>
                      <a:cubicBezTo>
                        <a:pt x="357" y="771"/>
                        <a:pt x="357" y="771"/>
                        <a:pt x="357" y="771"/>
                      </a:cubicBezTo>
                      <a:cubicBezTo>
                        <a:pt x="358" y="771"/>
                        <a:pt x="358" y="771"/>
                        <a:pt x="358" y="771"/>
                      </a:cubicBezTo>
                      <a:cubicBezTo>
                        <a:pt x="358" y="768"/>
                        <a:pt x="358" y="768"/>
                        <a:pt x="358" y="768"/>
                      </a:cubicBezTo>
                      <a:cubicBezTo>
                        <a:pt x="360" y="768"/>
                        <a:pt x="362" y="768"/>
                        <a:pt x="364" y="769"/>
                      </a:cubicBezTo>
                      <a:cubicBezTo>
                        <a:pt x="364" y="772"/>
                        <a:pt x="364" y="772"/>
                        <a:pt x="364" y="772"/>
                      </a:cubicBezTo>
                      <a:cubicBezTo>
                        <a:pt x="365" y="772"/>
                        <a:pt x="365" y="772"/>
                        <a:pt x="365" y="772"/>
                      </a:cubicBezTo>
                      <a:cubicBezTo>
                        <a:pt x="365" y="769"/>
                        <a:pt x="365" y="769"/>
                        <a:pt x="365" y="769"/>
                      </a:cubicBezTo>
                      <a:cubicBezTo>
                        <a:pt x="367" y="769"/>
                        <a:pt x="369" y="769"/>
                        <a:pt x="371" y="769"/>
                      </a:cubicBezTo>
                      <a:cubicBezTo>
                        <a:pt x="370" y="772"/>
                        <a:pt x="370" y="772"/>
                        <a:pt x="370" y="772"/>
                      </a:cubicBezTo>
                      <a:cubicBezTo>
                        <a:pt x="371" y="772"/>
                        <a:pt x="371" y="772"/>
                        <a:pt x="371" y="772"/>
                      </a:cubicBezTo>
                      <a:cubicBezTo>
                        <a:pt x="371" y="769"/>
                        <a:pt x="371" y="769"/>
                        <a:pt x="371" y="769"/>
                      </a:cubicBezTo>
                      <a:cubicBezTo>
                        <a:pt x="373" y="769"/>
                        <a:pt x="375" y="769"/>
                        <a:pt x="377" y="769"/>
                      </a:cubicBezTo>
                      <a:cubicBezTo>
                        <a:pt x="377" y="772"/>
                        <a:pt x="377" y="772"/>
                        <a:pt x="377" y="772"/>
                      </a:cubicBezTo>
                      <a:cubicBezTo>
                        <a:pt x="378" y="772"/>
                        <a:pt x="378" y="772"/>
                        <a:pt x="378" y="772"/>
                      </a:cubicBezTo>
                      <a:cubicBezTo>
                        <a:pt x="378" y="769"/>
                        <a:pt x="378" y="769"/>
                        <a:pt x="378" y="769"/>
                      </a:cubicBezTo>
                      <a:cubicBezTo>
                        <a:pt x="380" y="769"/>
                        <a:pt x="382" y="769"/>
                        <a:pt x="384" y="769"/>
                      </a:cubicBezTo>
                      <a:cubicBezTo>
                        <a:pt x="384" y="772"/>
                        <a:pt x="384" y="772"/>
                        <a:pt x="384" y="772"/>
                      </a:cubicBezTo>
                      <a:cubicBezTo>
                        <a:pt x="385" y="772"/>
                        <a:pt x="385" y="772"/>
                        <a:pt x="385" y="772"/>
                      </a:cubicBezTo>
                      <a:cubicBezTo>
                        <a:pt x="385" y="769"/>
                        <a:pt x="385" y="769"/>
                        <a:pt x="385" y="769"/>
                      </a:cubicBezTo>
                      <a:cubicBezTo>
                        <a:pt x="386" y="769"/>
                        <a:pt x="388" y="769"/>
                        <a:pt x="390" y="769"/>
                      </a:cubicBezTo>
                      <a:cubicBezTo>
                        <a:pt x="390" y="775"/>
                        <a:pt x="390" y="775"/>
                        <a:pt x="390" y="775"/>
                      </a:cubicBezTo>
                      <a:cubicBezTo>
                        <a:pt x="390" y="775"/>
                        <a:pt x="390" y="775"/>
                        <a:pt x="390" y="775"/>
                      </a:cubicBezTo>
                      <a:cubicBezTo>
                        <a:pt x="390" y="783"/>
                        <a:pt x="390" y="783"/>
                        <a:pt x="390" y="783"/>
                      </a:cubicBezTo>
                      <a:cubicBezTo>
                        <a:pt x="391" y="783"/>
                        <a:pt x="391" y="783"/>
                        <a:pt x="391" y="783"/>
                      </a:cubicBezTo>
                      <a:cubicBezTo>
                        <a:pt x="391" y="775"/>
                        <a:pt x="391" y="775"/>
                        <a:pt x="391" y="775"/>
                      </a:cubicBezTo>
                      <a:cubicBezTo>
                        <a:pt x="392" y="775"/>
                        <a:pt x="392" y="775"/>
                        <a:pt x="392" y="775"/>
                      </a:cubicBezTo>
                      <a:cubicBezTo>
                        <a:pt x="392" y="769"/>
                        <a:pt x="392" y="769"/>
                        <a:pt x="392" y="769"/>
                      </a:cubicBezTo>
                      <a:cubicBezTo>
                        <a:pt x="393" y="769"/>
                        <a:pt x="395" y="769"/>
                        <a:pt x="397" y="769"/>
                      </a:cubicBezTo>
                      <a:cubicBezTo>
                        <a:pt x="397" y="772"/>
                        <a:pt x="397" y="772"/>
                        <a:pt x="397" y="772"/>
                      </a:cubicBezTo>
                      <a:cubicBezTo>
                        <a:pt x="398" y="772"/>
                        <a:pt x="398" y="772"/>
                        <a:pt x="398" y="772"/>
                      </a:cubicBezTo>
                      <a:cubicBezTo>
                        <a:pt x="398" y="769"/>
                        <a:pt x="398" y="769"/>
                        <a:pt x="398" y="769"/>
                      </a:cubicBezTo>
                      <a:cubicBezTo>
                        <a:pt x="400" y="769"/>
                        <a:pt x="402" y="769"/>
                        <a:pt x="404" y="769"/>
                      </a:cubicBezTo>
                      <a:cubicBezTo>
                        <a:pt x="404" y="772"/>
                        <a:pt x="404" y="772"/>
                        <a:pt x="404" y="772"/>
                      </a:cubicBezTo>
                      <a:cubicBezTo>
                        <a:pt x="404" y="772"/>
                        <a:pt x="404" y="772"/>
                        <a:pt x="404" y="772"/>
                      </a:cubicBezTo>
                      <a:cubicBezTo>
                        <a:pt x="404" y="769"/>
                        <a:pt x="404" y="769"/>
                        <a:pt x="404" y="769"/>
                      </a:cubicBezTo>
                      <a:cubicBezTo>
                        <a:pt x="406" y="769"/>
                        <a:pt x="408" y="769"/>
                        <a:pt x="410" y="769"/>
                      </a:cubicBezTo>
                      <a:cubicBezTo>
                        <a:pt x="410" y="772"/>
                        <a:pt x="410" y="772"/>
                        <a:pt x="410" y="772"/>
                      </a:cubicBezTo>
                      <a:cubicBezTo>
                        <a:pt x="411" y="772"/>
                        <a:pt x="411" y="772"/>
                        <a:pt x="411" y="772"/>
                      </a:cubicBezTo>
                      <a:cubicBezTo>
                        <a:pt x="411" y="769"/>
                        <a:pt x="411" y="769"/>
                        <a:pt x="411" y="769"/>
                      </a:cubicBezTo>
                      <a:cubicBezTo>
                        <a:pt x="413" y="769"/>
                        <a:pt x="415" y="769"/>
                        <a:pt x="417" y="769"/>
                      </a:cubicBezTo>
                      <a:cubicBezTo>
                        <a:pt x="417" y="772"/>
                        <a:pt x="417" y="772"/>
                        <a:pt x="417" y="772"/>
                      </a:cubicBezTo>
                      <a:cubicBezTo>
                        <a:pt x="418" y="772"/>
                        <a:pt x="418" y="772"/>
                        <a:pt x="418" y="772"/>
                      </a:cubicBezTo>
                      <a:cubicBezTo>
                        <a:pt x="418" y="769"/>
                        <a:pt x="418" y="769"/>
                        <a:pt x="418" y="769"/>
                      </a:cubicBezTo>
                      <a:cubicBezTo>
                        <a:pt x="419" y="768"/>
                        <a:pt x="421" y="768"/>
                        <a:pt x="423" y="768"/>
                      </a:cubicBezTo>
                      <a:cubicBezTo>
                        <a:pt x="424" y="771"/>
                        <a:pt x="424" y="771"/>
                        <a:pt x="424" y="771"/>
                      </a:cubicBezTo>
                      <a:cubicBezTo>
                        <a:pt x="424" y="771"/>
                        <a:pt x="424" y="771"/>
                        <a:pt x="424" y="771"/>
                      </a:cubicBezTo>
                      <a:cubicBezTo>
                        <a:pt x="424" y="768"/>
                        <a:pt x="424" y="768"/>
                        <a:pt x="424" y="768"/>
                      </a:cubicBezTo>
                      <a:cubicBezTo>
                        <a:pt x="426" y="768"/>
                        <a:pt x="428" y="768"/>
                        <a:pt x="430" y="767"/>
                      </a:cubicBezTo>
                      <a:cubicBezTo>
                        <a:pt x="430" y="770"/>
                        <a:pt x="430" y="770"/>
                        <a:pt x="430" y="770"/>
                      </a:cubicBezTo>
                      <a:cubicBezTo>
                        <a:pt x="431" y="770"/>
                        <a:pt x="431" y="770"/>
                        <a:pt x="431" y="770"/>
                      </a:cubicBezTo>
                      <a:cubicBezTo>
                        <a:pt x="431" y="767"/>
                        <a:pt x="431" y="767"/>
                        <a:pt x="431" y="767"/>
                      </a:cubicBezTo>
                      <a:cubicBezTo>
                        <a:pt x="433" y="767"/>
                        <a:pt x="435" y="767"/>
                        <a:pt x="436" y="767"/>
                      </a:cubicBezTo>
                      <a:cubicBezTo>
                        <a:pt x="437" y="770"/>
                        <a:pt x="437" y="770"/>
                        <a:pt x="437" y="770"/>
                      </a:cubicBezTo>
                      <a:cubicBezTo>
                        <a:pt x="438" y="770"/>
                        <a:pt x="438" y="770"/>
                        <a:pt x="438" y="770"/>
                      </a:cubicBezTo>
                      <a:cubicBezTo>
                        <a:pt x="437" y="767"/>
                        <a:pt x="437" y="767"/>
                        <a:pt x="437" y="767"/>
                      </a:cubicBezTo>
                      <a:cubicBezTo>
                        <a:pt x="439" y="766"/>
                        <a:pt x="441" y="766"/>
                        <a:pt x="443" y="766"/>
                      </a:cubicBezTo>
                      <a:cubicBezTo>
                        <a:pt x="443" y="769"/>
                        <a:pt x="443" y="769"/>
                        <a:pt x="443" y="769"/>
                      </a:cubicBezTo>
                      <a:cubicBezTo>
                        <a:pt x="444" y="769"/>
                        <a:pt x="444" y="769"/>
                        <a:pt x="444" y="769"/>
                      </a:cubicBezTo>
                      <a:cubicBezTo>
                        <a:pt x="444" y="766"/>
                        <a:pt x="444" y="766"/>
                        <a:pt x="444" y="766"/>
                      </a:cubicBezTo>
                      <a:cubicBezTo>
                        <a:pt x="446" y="765"/>
                        <a:pt x="448" y="765"/>
                        <a:pt x="450" y="765"/>
                      </a:cubicBezTo>
                      <a:cubicBezTo>
                        <a:pt x="450" y="768"/>
                        <a:pt x="450" y="768"/>
                        <a:pt x="450" y="768"/>
                      </a:cubicBezTo>
                      <a:cubicBezTo>
                        <a:pt x="451" y="768"/>
                        <a:pt x="451" y="768"/>
                        <a:pt x="451" y="768"/>
                      </a:cubicBezTo>
                      <a:cubicBezTo>
                        <a:pt x="450" y="765"/>
                        <a:pt x="450" y="765"/>
                        <a:pt x="450" y="765"/>
                      </a:cubicBezTo>
                      <a:cubicBezTo>
                        <a:pt x="452" y="765"/>
                        <a:pt x="454" y="764"/>
                        <a:pt x="456" y="764"/>
                      </a:cubicBezTo>
                      <a:cubicBezTo>
                        <a:pt x="456" y="769"/>
                        <a:pt x="456" y="769"/>
                        <a:pt x="456" y="769"/>
                      </a:cubicBezTo>
                      <a:cubicBezTo>
                        <a:pt x="457" y="769"/>
                        <a:pt x="457" y="769"/>
                        <a:pt x="457" y="769"/>
                      </a:cubicBezTo>
                      <a:cubicBezTo>
                        <a:pt x="458" y="777"/>
                        <a:pt x="458" y="777"/>
                        <a:pt x="458" y="777"/>
                      </a:cubicBezTo>
                      <a:cubicBezTo>
                        <a:pt x="459" y="777"/>
                        <a:pt x="459" y="777"/>
                        <a:pt x="459" y="777"/>
                      </a:cubicBezTo>
                      <a:cubicBezTo>
                        <a:pt x="458" y="769"/>
                        <a:pt x="458" y="769"/>
                        <a:pt x="458" y="769"/>
                      </a:cubicBezTo>
                      <a:cubicBezTo>
                        <a:pt x="458" y="769"/>
                        <a:pt x="458" y="769"/>
                        <a:pt x="458" y="769"/>
                      </a:cubicBezTo>
                      <a:cubicBezTo>
                        <a:pt x="457" y="764"/>
                        <a:pt x="457" y="764"/>
                        <a:pt x="457" y="764"/>
                      </a:cubicBezTo>
                      <a:cubicBezTo>
                        <a:pt x="459" y="763"/>
                        <a:pt x="461" y="763"/>
                        <a:pt x="463" y="763"/>
                      </a:cubicBezTo>
                      <a:cubicBezTo>
                        <a:pt x="463" y="766"/>
                        <a:pt x="463" y="766"/>
                        <a:pt x="463" y="766"/>
                      </a:cubicBezTo>
                      <a:cubicBezTo>
                        <a:pt x="464" y="765"/>
                        <a:pt x="464" y="765"/>
                        <a:pt x="464" y="765"/>
                      </a:cubicBezTo>
                      <a:cubicBezTo>
                        <a:pt x="463" y="763"/>
                        <a:pt x="463" y="763"/>
                        <a:pt x="463" y="763"/>
                      </a:cubicBezTo>
                      <a:cubicBezTo>
                        <a:pt x="465" y="762"/>
                        <a:pt x="467" y="762"/>
                        <a:pt x="469" y="761"/>
                      </a:cubicBezTo>
                      <a:cubicBezTo>
                        <a:pt x="470" y="764"/>
                        <a:pt x="470" y="764"/>
                        <a:pt x="470" y="764"/>
                      </a:cubicBezTo>
                      <a:cubicBezTo>
                        <a:pt x="470" y="764"/>
                        <a:pt x="470" y="764"/>
                        <a:pt x="470" y="764"/>
                      </a:cubicBezTo>
                      <a:cubicBezTo>
                        <a:pt x="470" y="761"/>
                        <a:pt x="470" y="761"/>
                        <a:pt x="470" y="761"/>
                      </a:cubicBezTo>
                      <a:cubicBezTo>
                        <a:pt x="472" y="761"/>
                        <a:pt x="474" y="760"/>
                        <a:pt x="475" y="760"/>
                      </a:cubicBezTo>
                      <a:cubicBezTo>
                        <a:pt x="476" y="763"/>
                        <a:pt x="476" y="763"/>
                        <a:pt x="476" y="763"/>
                      </a:cubicBezTo>
                      <a:cubicBezTo>
                        <a:pt x="477" y="763"/>
                        <a:pt x="477" y="763"/>
                        <a:pt x="477" y="763"/>
                      </a:cubicBezTo>
                      <a:cubicBezTo>
                        <a:pt x="476" y="760"/>
                        <a:pt x="476" y="760"/>
                        <a:pt x="476" y="760"/>
                      </a:cubicBezTo>
                      <a:cubicBezTo>
                        <a:pt x="478" y="759"/>
                        <a:pt x="480" y="759"/>
                        <a:pt x="482" y="758"/>
                      </a:cubicBezTo>
                      <a:cubicBezTo>
                        <a:pt x="483" y="761"/>
                        <a:pt x="483" y="761"/>
                        <a:pt x="483" y="761"/>
                      </a:cubicBezTo>
                      <a:cubicBezTo>
                        <a:pt x="483" y="761"/>
                        <a:pt x="483" y="761"/>
                        <a:pt x="483" y="761"/>
                      </a:cubicBezTo>
                      <a:cubicBezTo>
                        <a:pt x="483" y="758"/>
                        <a:pt x="483" y="758"/>
                        <a:pt x="483" y="758"/>
                      </a:cubicBezTo>
                      <a:cubicBezTo>
                        <a:pt x="485" y="758"/>
                        <a:pt x="486" y="757"/>
                        <a:pt x="488" y="757"/>
                      </a:cubicBezTo>
                      <a:cubicBezTo>
                        <a:pt x="489" y="760"/>
                        <a:pt x="489" y="760"/>
                        <a:pt x="489" y="760"/>
                      </a:cubicBezTo>
                      <a:cubicBezTo>
                        <a:pt x="490" y="759"/>
                        <a:pt x="490" y="759"/>
                        <a:pt x="490" y="759"/>
                      </a:cubicBezTo>
                      <a:cubicBezTo>
                        <a:pt x="489" y="757"/>
                        <a:pt x="489" y="757"/>
                        <a:pt x="489" y="757"/>
                      </a:cubicBezTo>
                      <a:cubicBezTo>
                        <a:pt x="491" y="756"/>
                        <a:pt x="493" y="756"/>
                        <a:pt x="495" y="755"/>
                      </a:cubicBezTo>
                      <a:cubicBezTo>
                        <a:pt x="495" y="758"/>
                        <a:pt x="495" y="758"/>
                        <a:pt x="495" y="758"/>
                      </a:cubicBezTo>
                      <a:cubicBezTo>
                        <a:pt x="496" y="758"/>
                        <a:pt x="496" y="758"/>
                        <a:pt x="496" y="758"/>
                      </a:cubicBezTo>
                      <a:cubicBezTo>
                        <a:pt x="495" y="755"/>
                        <a:pt x="495" y="755"/>
                        <a:pt x="495" y="755"/>
                      </a:cubicBezTo>
                      <a:cubicBezTo>
                        <a:pt x="497" y="754"/>
                        <a:pt x="499" y="754"/>
                        <a:pt x="501" y="753"/>
                      </a:cubicBezTo>
                      <a:cubicBezTo>
                        <a:pt x="502" y="756"/>
                        <a:pt x="502" y="756"/>
                        <a:pt x="502" y="756"/>
                      </a:cubicBezTo>
                      <a:cubicBezTo>
                        <a:pt x="503" y="756"/>
                        <a:pt x="503" y="756"/>
                        <a:pt x="503" y="756"/>
                      </a:cubicBezTo>
                      <a:cubicBezTo>
                        <a:pt x="502" y="753"/>
                        <a:pt x="502" y="753"/>
                        <a:pt x="502" y="753"/>
                      </a:cubicBezTo>
                      <a:cubicBezTo>
                        <a:pt x="504" y="752"/>
                        <a:pt x="505" y="752"/>
                        <a:pt x="507" y="751"/>
                      </a:cubicBezTo>
                      <a:cubicBezTo>
                        <a:pt x="508" y="754"/>
                        <a:pt x="508" y="754"/>
                        <a:pt x="508" y="754"/>
                      </a:cubicBezTo>
                      <a:cubicBezTo>
                        <a:pt x="509" y="754"/>
                        <a:pt x="509" y="754"/>
                        <a:pt x="509" y="754"/>
                      </a:cubicBezTo>
                      <a:cubicBezTo>
                        <a:pt x="508" y="751"/>
                        <a:pt x="508" y="751"/>
                        <a:pt x="508" y="751"/>
                      </a:cubicBezTo>
                      <a:cubicBezTo>
                        <a:pt x="510" y="750"/>
                        <a:pt x="512" y="750"/>
                        <a:pt x="514" y="749"/>
                      </a:cubicBezTo>
                      <a:cubicBezTo>
                        <a:pt x="514" y="752"/>
                        <a:pt x="514" y="752"/>
                        <a:pt x="514" y="752"/>
                      </a:cubicBezTo>
                      <a:cubicBezTo>
                        <a:pt x="515" y="752"/>
                        <a:pt x="515" y="752"/>
                        <a:pt x="515" y="752"/>
                      </a:cubicBezTo>
                      <a:cubicBezTo>
                        <a:pt x="514" y="749"/>
                        <a:pt x="514" y="749"/>
                        <a:pt x="514" y="749"/>
                      </a:cubicBezTo>
                      <a:cubicBezTo>
                        <a:pt x="516" y="748"/>
                        <a:pt x="518" y="748"/>
                        <a:pt x="519" y="747"/>
                      </a:cubicBezTo>
                      <a:cubicBezTo>
                        <a:pt x="521" y="752"/>
                        <a:pt x="521" y="752"/>
                        <a:pt x="521" y="752"/>
                      </a:cubicBezTo>
                      <a:cubicBezTo>
                        <a:pt x="522" y="752"/>
                        <a:pt x="522" y="752"/>
                        <a:pt x="522" y="752"/>
                      </a:cubicBezTo>
                      <a:cubicBezTo>
                        <a:pt x="524" y="759"/>
                        <a:pt x="524" y="759"/>
                        <a:pt x="524" y="759"/>
                      </a:cubicBezTo>
                      <a:cubicBezTo>
                        <a:pt x="525" y="759"/>
                        <a:pt x="525" y="759"/>
                        <a:pt x="525" y="759"/>
                      </a:cubicBezTo>
                      <a:cubicBezTo>
                        <a:pt x="522" y="752"/>
                        <a:pt x="522" y="752"/>
                        <a:pt x="522" y="752"/>
                      </a:cubicBezTo>
                      <a:cubicBezTo>
                        <a:pt x="523" y="752"/>
                        <a:pt x="523" y="752"/>
                        <a:pt x="523" y="752"/>
                      </a:cubicBezTo>
                      <a:cubicBezTo>
                        <a:pt x="521" y="746"/>
                        <a:pt x="521" y="746"/>
                        <a:pt x="521" y="746"/>
                      </a:cubicBezTo>
                      <a:cubicBezTo>
                        <a:pt x="523" y="746"/>
                        <a:pt x="524" y="745"/>
                        <a:pt x="526" y="745"/>
                      </a:cubicBezTo>
                      <a:cubicBezTo>
                        <a:pt x="527" y="747"/>
                        <a:pt x="527" y="747"/>
                        <a:pt x="527" y="747"/>
                      </a:cubicBezTo>
                      <a:cubicBezTo>
                        <a:pt x="528" y="747"/>
                        <a:pt x="528" y="747"/>
                        <a:pt x="528" y="747"/>
                      </a:cubicBezTo>
                      <a:cubicBezTo>
                        <a:pt x="527" y="744"/>
                        <a:pt x="527" y="744"/>
                        <a:pt x="527" y="744"/>
                      </a:cubicBezTo>
                      <a:cubicBezTo>
                        <a:pt x="528" y="744"/>
                        <a:pt x="530" y="743"/>
                        <a:pt x="532" y="742"/>
                      </a:cubicBezTo>
                      <a:cubicBezTo>
                        <a:pt x="533" y="745"/>
                        <a:pt x="533" y="745"/>
                        <a:pt x="533" y="745"/>
                      </a:cubicBezTo>
                      <a:cubicBezTo>
                        <a:pt x="534" y="745"/>
                        <a:pt x="534" y="745"/>
                        <a:pt x="534" y="745"/>
                      </a:cubicBezTo>
                      <a:cubicBezTo>
                        <a:pt x="533" y="742"/>
                        <a:pt x="533" y="742"/>
                        <a:pt x="533" y="742"/>
                      </a:cubicBezTo>
                      <a:cubicBezTo>
                        <a:pt x="535" y="741"/>
                        <a:pt x="536" y="740"/>
                        <a:pt x="538" y="740"/>
                      </a:cubicBezTo>
                      <a:cubicBezTo>
                        <a:pt x="539" y="742"/>
                        <a:pt x="539" y="742"/>
                        <a:pt x="539" y="742"/>
                      </a:cubicBezTo>
                      <a:cubicBezTo>
                        <a:pt x="540" y="742"/>
                        <a:pt x="540" y="742"/>
                        <a:pt x="540" y="742"/>
                      </a:cubicBezTo>
                      <a:cubicBezTo>
                        <a:pt x="539" y="739"/>
                        <a:pt x="539" y="739"/>
                        <a:pt x="539" y="739"/>
                      </a:cubicBezTo>
                      <a:cubicBezTo>
                        <a:pt x="541" y="739"/>
                        <a:pt x="542" y="738"/>
                        <a:pt x="544" y="737"/>
                      </a:cubicBezTo>
                      <a:cubicBezTo>
                        <a:pt x="545" y="740"/>
                        <a:pt x="545" y="740"/>
                        <a:pt x="545" y="740"/>
                      </a:cubicBezTo>
                      <a:cubicBezTo>
                        <a:pt x="546" y="739"/>
                        <a:pt x="546" y="739"/>
                        <a:pt x="546" y="739"/>
                      </a:cubicBezTo>
                      <a:cubicBezTo>
                        <a:pt x="545" y="737"/>
                        <a:pt x="545" y="737"/>
                        <a:pt x="545" y="737"/>
                      </a:cubicBezTo>
                      <a:cubicBezTo>
                        <a:pt x="547" y="736"/>
                        <a:pt x="548" y="735"/>
                        <a:pt x="550" y="734"/>
                      </a:cubicBezTo>
                      <a:cubicBezTo>
                        <a:pt x="551" y="737"/>
                        <a:pt x="551" y="737"/>
                        <a:pt x="551" y="737"/>
                      </a:cubicBezTo>
                      <a:cubicBezTo>
                        <a:pt x="552" y="737"/>
                        <a:pt x="552" y="737"/>
                        <a:pt x="552" y="737"/>
                      </a:cubicBezTo>
                      <a:cubicBezTo>
                        <a:pt x="551" y="734"/>
                        <a:pt x="551" y="734"/>
                        <a:pt x="551" y="734"/>
                      </a:cubicBezTo>
                      <a:cubicBezTo>
                        <a:pt x="553" y="733"/>
                        <a:pt x="554" y="732"/>
                        <a:pt x="556" y="731"/>
                      </a:cubicBezTo>
                      <a:cubicBezTo>
                        <a:pt x="557" y="734"/>
                        <a:pt x="557" y="734"/>
                        <a:pt x="557" y="734"/>
                      </a:cubicBezTo>
                      <a:cubicBezTo>
                        <a:pt x="558" y="734"/>
                        <a:pt x="558" y="734"/>
                        <a:pt x="558" y="734"/>
                      </a:cubicBezTo>
                      <a:cubicBezTo>
                        <a:pt x="557" y="731"/>
                        <a:pt x="557" y="731"/>
                        <a:pt x="557" y="731"/>
                      </a:cubicBezTo>
                      <a:cubicBezTo>
                        <a:pt x="559" y="730"/>
                        <a:pt x="560" y="729"/>
                        <a:pt x="562" y="729"/>
                      </a:cubicBezTo>
                      <a:cubicBezTo>
                        <a:pt x="563" y="731"/>
                        <a:pt x="563" y="731"/>
                        <a:pt x="563" y="731"/>
                      </a:cubicBezTo>
                      <a:cubicBezTo>
                        <a:pt x="564" y="731"/>
                        <a:pt x="564" y="731"/>
                        <a:pt x="564" y="731"/>
                      </a:cubicBezTo>
                      <a:cubicBezTo>
                        <a:pt x="563" y="728"/>
                        <a:pt x="563" y="728"/>
                        <a:pt x="563" y="728"/>
                      </a:cubicBezTo>
                      <a:cubicBezTo>
                        <a:pt x="564" y="727"/>
                        <a:pt x="566" y="726"/>
                        <a:pt x="568" y="726"/>
                      </a:cubicBezTo>
                      <a:cubicBezTo>
                        <a:pt x="569" y="728"/>
                        <a:pt x="569" y="728"/>
                        <a:pt x="569" y="728"/>
                      </a:cubicBezTo>
                      <a:cubicBezTo>
                        <a:pt x="570" y="728"/>
                        <a:pt x="570" y="728"/>
                        <a:pt x="570" y="728"/>
                      </a:cubicBezTo>
                      <a:cubicBezTo>
                        <a:pt x="569" y="725"/>
                        <a:pt x="569" y="725"/>
                        <a:pt x="569" y="725"/>
                      </a:cubicBezTo>
                      <a:cubicBezTo>
                        <a:pt x="570" y="724"/>
                        <a:pt x="572" y="723"/>
                        <a:pt x="574" y="722"/>
                      </a:cubicBezTo>
                      <a:cubicBezTo>
                        <a:pt x="575" y="725"/>
                        <a:pt x="575" y="725"/>
                        <a:pt x="575" y="725"/>
                      </a:cubicBezTo>
                      <a:cubicBezTo>
                        <a:pt x="576" y="724"/>
                        <a:pt x="576" y="724"/>
                        <a:pt x="576" y="724"/>
                      </a:cubicBezTo>
                      <a:cubicBezTo>
                        <a:pt x="574" y="722"/>
                        <a:pt x="574" y="722"/>
                        <a:pt x="574" y="722"/>
                      </a:cubicBezTo>
                      <a:cubicBezTo>
                        <a:pt x="576" y="721"/>
                        <a:pt x="577" y="720"/>
                        <a:pt x="579" y="719"/>
                      </a:cubicBezTo>
                      <a:cubicBezTo>
                        <a:pt x="582" y="724"/>
                        <a:pt x="582" y="724"/>
                        <a:pt x="582" y="724"/>
                      </a:cubicBezTo>
                      <a:cubicBezTo>
                        <a:pt x="582" y="724"/>
                        <a:pt x="582" y="724"/>
                        <a:pt x="582" y="724"/>
                      </a:cubicBezTo>
                      <a:cubicBezTo>
                        <a:pt x="586" y="730"/>
                        <a:pt x="586" y="730"/>
                        <a:pt x="586" y="730"/>
                      </a:cubicBezTo>
                      <a:cubicBezTo>
                        <a:pt x="587" y="730"/>
                        <a:pt x="587" y="730"/>
                        <a:pt x="587" y="730"/>
                      </a:cubicBezTo>
                      <a:cubicBezTo>
                        <a:pt x="583" y="723"/>
                        <a:pt x="583" y="723"/>
                        <a:pt x="583" y="723"/>
                      </a:cubicBezTo>
                      <a:cubicBezTo>
                        <a:pt x="583" y="723"/>
                        <a:pt x="583" y="723"/>
                        <a:pt x="583" y="723"/>
                      </a:cubicBezTo>
                      <a:cubicBezTo>
                        <a:pt x="581" y="718"/>
                        <a:pt x="581" y="718"/>
                        <a:pt x="581" y="718"/>
                      </a:cubicBezTo>
                      <a:cubicBezTo>
                        <a:pt x="582" y="718"/>
                        <a:pt x="584" y="717"/>
                        <a:pt x="585" y="716"/>
                      </a:cubicBezTo>
                      <a:cubicBezTo>
                        <a:pt x="587" y="718"/>
                        <a:pt x="587" y="718"/>
                        <a:pt x="587" y="718"/>
                      </a:cubicBezTo>
                      <a:cubicBezTo>
                        <a:pt x="587" y="718"/>
                        <a:pt x="587" y="718"/>
                        <a:pt x="587" y="718"/>
                      </a:cubicBezTo>
                      <a:cubicBezTo>
                        <a:pt x="586" y="715"/>
                        <a:pt x="586" y="715"/>
                        <a:pt x="586" y="715"/>
                      </a:cubicBezTo>
                      <a:cubicBezTo>
                        <a:pt x="587" y="714"/>
                        <a:pt x="589" y="713"/>
                        <a:pt x="591" y="712"/>
                      </a:cubicBezTo>
                      <a:cubicBezTo>
                        <a:pt x="592" y="715"/>
                        <a:pt x="592" y="715"/>
                        <a:pt x="592" y="715"/>
                      </a:cubicBezTo>
                      <a:cubicBezTo>
                        <a:pt x="593" y="714"/>
                        <a:pt x="593" y="714"/>
                        <a:pt x="593" y="714"/>
                      </a:cubicBezTo>
                      <a:cubicBezTo>
                        <a:pt x="591" y="712"/>
                        <a:pt x="591" y="712"/>
                        <a:pt x="591" y="712"/>
                      </a:cubicBezTo>
                      <a:cubicBezTo>
                        <a:pt x="593" y="711"/>
                        <a:pt x="595" y="710"/>
                        <a:pt x="596" y="709"/>
                      </a:cubicBezTo>
                      <a:cubicBezTo>
                        <a:pt x="598" y="711"/>
                        <a:pt x="598" y="711"/>
                        <a:pt x="598" y="711"/>
                      </a:cubicBezTo>
                      <a:cubicBezTo>
                        <a:pt x="599" y="711"/>
                        <a:pt x="599" y="711"/>
                        <a:pt x="599" y="711"/>
                      </a:cubicBezTo>
                      <a:cubicBezTo>
                        <a:pt x="597" y="708"/>
                        <a:pt x="597" y="708"/>
                        <a:pt x="597" y="708"/>
                      </a:cubicBezTo>
                      <a:cubicBezTo>
                        <a:pt x="599" y="707"/>
                        <a:pt x="600" y="706"/>
                        <a:pt x="602" y="705"/>
                      </a:cubicBezTo>
                      <a:cubicBezTo>
                        <a:pt x="603" y="708"/>
                        <a:pt x="603" y="708"/>
                        <a:pt x="603" y="708"/>
                      </a:cubicBezTo>
                      <a:cubicBezTo>
                        <a:pt x="604" y="707"/>
                        <a:pt x="604" y="707"/>
                        <a:pt x="604" y="707"/>
                      </a:cubicBezTo>
                      <a:cubicBezTo>
                        <a:pt x="602" y="705"/>
                        <a:pt x="602" y="705"/>
                        <a:pt x="602" y="705"/>
                      </a:cubicBezTo>
                      <a:cubicBezTo>
                        <a:pt x="604" y="704"/>
                        <a:pt x="606" y="702"/>
                        <a:pt x="607" y="701"/>
                      </a:cubicBezTo>
                      <a:cubicBezTo>
                        <a:pt x="609" y="704"/>
                        <a:pt x="609" y="704"/>
                        <a:pt x="609" y="704"/>
                      </a:cubicBezTo>
                      <a:cubicBezTo>
                        <a:pt x="610" y="703"/>
                        <a:pt x="610" y="703"/>
                        <a:pt x="610" y="703"/>
                      </a:cubicBezTo>
                      <a:cubicBezTo>
                        <a:pt x="608" y="701"/>
                        <a:pt x="608" y="701"/>
                        <a:pt x="608" y="701"/>
                      </a:cubicBezTo>
                      <a:cubicBezTo>
                        <a:pt x="609" y="700"/>
                        <a:pt x="611" y="699"/>
                        <a:pt x="613" y="697"/>
                      </a:cubicBezTo>
                      <a:cubicBezTo>
                        <a:pt x="614" y="700"/>
                        <a:pt x="614" y="700"/>
                        <a:pt x="614" y="700"/>
                      </a:cubicBezTo>
                      <a:cubicBezTo>
                        <a:pt x="615" y="699"/>
                        <a:pt x="615" y="699"/>
                        <a:pt x="615" y="699"/>
                      </a:cubicBezTo>
                      <a:cubicBezTo>
                        <a:pt x="613" y="697"/>
                        <a:pt x="613" y="697"/>
                        <a:pt x="613" y="697"/>
                      </a:cubicBezTo>
                      <a:cubicBezTo>
                        <a:pt x="615" y="696"/>
                        <a:pt x="616" y="695"/>
                        <a:pt x="618" y="694"/>
                      </a:cubicBezTo>
                      <a:cubicBezTo>
                        <a:pt x="620" y="696"/>
                        <a:pt x="620" y="696"/>
                        <a:pt x="620" y="696"/>
                      </a:cubicBezTo>
                      <a:cubicBezTo>
                        <a:pt x="620" y="695"/>
                        <a:pt x="620" y="695"/>
                        <a:pt x="620" y="695"/>
                      </a:cubicBezTo>
                      <a:cubicBezTo>
                        <a:pt x="619" y="693"/>
                        <a:pt x="619" y="693"/>
                        <a:pt x="619" y="693"/>
                      </a:cubicBezTo>
                      <a:cubicBezTo>
                        <a:pt x="620" y="692"/>
                        <a:pt x="622" y="691"/>
                        <a:pt x="623" y="690"/>
                      </a:cubicBezTo>
                      <a:cubicBezTo>
                        <a:pt x="625" y="692"/>
                        <a:pt x="625" y="692"/>
                        <a:pt x="625" y="692"/>
                      </a:cubicBezTo>
                      <a:cubicBezTo>
                        <a:pt x="626" y="691"/>
                        <a:pt x="626" y="691"/>
                        <a:pt x="626" y="691"/>
                      </a:cubicBezTo>
                      <a:cubicBezTo>
                        <a:pt x="624" y="689"/>
                        <a:pt x="624" y="689"/>
                        <a:pt x="624" y="689"/>
                      </a:cubicBezTo>
                      <a:cubicBezTo>
                        <a:pt x="625" y="688"/>
                        <a:pt x="627" y="687"/>
                        <a:pt x="628" y="685"/>
                      </a:cubicBezTo>
                      <a:cubicBezTo>
                        <a:pt x="630" y="688"/>
                        <a:pt x="630" y="688"/>
                        <a:pt x="630" y="688"/>
                      </a:cubicBezTo>
                      <a:cubicBezTo>
                        <a:pt x="631" y="687"/>
                        <a:pt x="631" y="687"/>
                        <a:pt x="631" y="687"/>
                      </a:cubicBezTo>
                      <a:cubicBezTo>
                        <a:pt x="629" y="685"/>
                        <a:pt x="629" y="685"/>
                        <a:pt x="629" y="685"/>
                      </a:cubicBezTo>
                      <a:cubicBezTo>
                        <a:pt x="630" y="684"/>
                        <a:pt x="632" y="683"/>
                        <a:pt x="633" y="682"/>
                      </a:cubicBezTo>
                      <a:cubicBezTo>
                        <a:pt x="637" y="686"/>
                        <a:pt x="637" y="686"/>
                        <a:pt x="637" y="686"/>
                      </a:cubicBezTo>
                      <a:cubicBezTo>
                        <a:pt x="637" y="685"/>
                        <a:pt x="637" y="685"/>
                        <a:pt x="637" y="685"/>
                      </a:cubicBezTo>
                      <a:cubicBezTo>
                        <a:pt x="642" y="691"/>
                        <a:pt x="642" y="691"/>
                        <a:pt x="642" y="691"/>
                      </a:cubicBezTo>
                      <a:cubicBezTo>
                        <a:pt x="642" y="691"/>
                        <a:pt x="642" y="691"/>
                        <a:pt x="642" y="691"/>
                      </a:cubicBezTo>
                      <a:cubicBezTo>
                        <a:pt x="637" y="685"/>
                        <a:pt x="637" y="685"/>
                        <a:pt x="637" y="685"/>
                      </a:cubicBezTo>
                      <a:cubicBezTo>
                        <a:pt x="638" y="685"/>
                        <a:pt x="638" y="685"/>
                        <a:pt x="638" y="685"/>
                      </a:cubicBezTo>
                      <a:cubicBezTo>
                        <a:pt x="634" y="680"/>
                        <a:pt x="634" y="680"/>
                        <a:pt x="634" y="680"/>
                      </a:cubicBezTo>
                      <a:cubicBezTo>
                        <a:pt x="636" y="679"/>
                        <a:pt x="637" y="678"/>
                        <a:pt x="638" y="677"/>
                      </a:cubicBezTo>
                      <a:cubicBezTo>
                        <a:pt x="640" y="679"/>
                        <a:pt x="640" y="679"/>
                        <a:pt x="640" y="679"/>
                      </a:cubicBezTo>
                      <a:cubicBezTo>
                        <a:pt x="641" y="679"/>
                        <a:pt x="641" y="679"/>
                        <a:pt x="641" y="679"/>
                      </a:cubicBezTo>
                      <a:cubicBezTo>
                        <a:pt x="639" y="676"/>
                        <a:pt x="639" y="676"/>
                        <a:pt x="639" y="676"/>
                      </a:cubicBezTo>
                      <a:cubicBezTo>
                        <a:pt x="640" y="675"/>
                        <a:pt x="642" y="674"/>
                        <a:pt x="643" y="673"/>
                      </a:cubicBezTo>
                      <a:cubicBezTo>
                        <a:pt x="645" y="675"/>
                        <a:pt x="645" y="675"/>
                        <a:pt x="645" y="675"/>
                      </a:cubicBezTo>
                      <a:cubicBezTo>
                        <a:pt x="646" y="674"/>
                        <a:pt x="646" y="674"/>
                        <a:pt x="646" y="674"/>
                      </a:cubicBezTo>
                      <a:cubicBezTo>
                        <a:pt x="644" y="672"/>
                        <a:pt x="644" y="672"/>
                        <a:pt x="644" y="672"/>
                      </a:cubicBezTo>
                      <a:cubicBezTo>
                        <a:pt x="645" y="671"/>
                        <a:pt x="647" y="669"/>
                        <a:pt x="648" y="668"/>
                      </a:cubicBezTo>
                      <a:cubicBezTo>
                        <a:pt x="650" y="670"/>
                        <a:pt x="650" y="670"/>
                        <a:pt x="650" y="670"/>
                      </a:cubicBezTo>
                      <a:cubicBezTo>
                        <a:pt x="651" y="670"/>
                        <a:pt x="651" y="670"/>
                        <a:pt x="651" y="670"/>
                      </a:cubicBezTo>
                      <a:cubicBezTo>
                        <a:pt x="649" y="668"/>
                        <a:pt x="649" y="668"/>
                        <a:pt x="649" y="668"/>
                      </a:cubicBezTo>
                      <a:cubicBezTo>
                        <a:pt x="650" y="666"/>
                        <a:pt x="652" y="665"/>
                        <a:pt x="653" y="664"/>
                      </a:cubicBezTo>
                      <a:cubicBezTo>
                        <a:pt x="655" y="666"/>
                        <a:pt x="655" y="666"/>
                        <a:pt x="655" y="666"/>
                      </a:cubicBezTo>
                      <a:cubicBezTo>
                        <a:pt x="656" y="665"/>
                        <a:pt x="656" y="665"/>
                        <a:pt x="656" y="665"/>
                      </a:cubicBezTo>
                      <a:cubicBezTo>
                        <a:pt x="654" y="663"/>
                        <a:pt x="654" y="663"/>
                        <a:pt x="654" y="663"/>
                      </a:cubicBezTo>
                      <a:cubicBezTo>
                        <a:pt x="655" y="662"/>
                        <a:pt x="656" y="660"/>
                        <a:pt x="658" y="659"/>
                      </a:cubicBezTo>
                      <a:cubicBezTo>
                        <a:pt x="660" y="661"/>
                        <a:pt x="660" y="661"/>
                        <a:pt x="660" y="661"/>
                      </a:cubicBezTo>
                      <a:cubicBezTo>
                        <a:pt x="660" y="661"/>
                        <a:pt x="660" y="661"/>
                        <a:pt x="660" y="661"/>
                      </a:cubicBezTo>
                      <a:cubicBezTo>
                        <a:pt x="658" y="658"/>
                        <a:pt x="658" y="658"/>
                        <a:pt x="658" y="658"/>
                      </a:cubicBezTo>
                      <a:cubicBezTo>
                        <a:pt x="660" y="657"/>
                        <a:pt x="661" y="656"/>
                        <a:pt x="662" y="654"/>
                      </a:cubicBezTo>
                      <a:cubicBezTo>
                        <a:pt x="664" y="656"/>
                        <a:pt x="664" y="656"/>
                        <a:pt x="664" y="656"/>
                      </a:cubicBezTo>
                      <a:cubicBezTo>
                        <a:pt x="665" y="656"/>
                        <a:pt x="665" y="656"/>
                        <a:pt x="665" y="656"/>
                      </a:cubicBezTo>
                      <a:cubicBezTo>
                        <a:pt x="663" y="654"/>
                        <a:pt x="663" y="654"/>
                        <a:pt x="663" y="654"/>
                      </a:cubicBezTo>
                      <a:cubicBezTo>
                        <a:pt x="664" y="652"/>
                        <a:pt x="666" y="651"/>
                        <a:pt x="667" y="649"/>
                      </a:cubicBezTo>
                      <a:cubicBezTo>
                        <a:pt x="669" y="651"/>
                        <a:pt x="669" y="651"/>
                        <a:pt x="669" y="651"/>
                      </a:cubicBezTo>
                      <a:cubicBezTo>
                        <a:pt x="670" y="651"/>
                        <a:pt x="670" y="651"/>
                        <a:pt x="670" y="651"/>
                      </a:cubicBezTo>
                      <a:cubicBezTo>
                        <a:pt x="667" y="649"/>
                        <a:pt x="667" y="649"/>
                        <a:pt x="667" y="649"/>
                      </a:cubicBezTo>
                      <a:cubicBezTo>
                        <a:pt x="669" y="647"/>
                        <a:pt x="670" y="646"/>
                        <a:pt x="671" y="645"/>
                      </a:cubicBezTo>
                      <a:cubicBezTo>
                        <a:pt x="674" y="647"/>
                        <a:pt x="674" y="647"/>
                        <a:pt x="674" y="647"/>
                      </a:cubicBezTo>
                      <a:cubicBezTo>
                        <a:pt x="674" y="646"/>
                        <a:pt x="674" y="646"/>
                        <a:pt x="674" y="646"/>
                      </a:cubicBezTo>
                      <a:cubicBezTo>
                        <a:pt x="672" y="644"/>
                        <a:pt x="672" y="644"/>
                        <a:pt x="672" y="644"/>
                      </a:cubicBezTo>
                      <a:cubicBezTo>
                        <a:pt x="673" y="643"/>
                        <a:pt x="674" y="641"/>
                        <a:pt x="676" y="640"/>
                      </a:cubicBezTo>
                      <a:cubicBezTo>
                        <a:pt x="678" y="642"/>
                        <a:pt x="678" y="642"/>
                        <a:pt x="678" y="642"/>
                      </a:cubicBezTo>
                      <a:cubicBezTo>
                        <a:pt x="678" y="641"/>
                        <a:pt x="678" y="641"/>
                        <a:pt x="678" y="641"/>
                      </a:cubicBezTo>
                      <a:cubicBezTo>
                        <a:pt x="676" y="639"/>
                        <a:pt x="676" y="639"/>
                        <a:pt x="676" y="639"/>
                      </a:cubicBezTo>
                      <a:cubicBezTo>
                        <a:pt x="677" y="638"/>
                        <a:pt x="679" y="636"/>
                        <a:pt x="680" y="635"/>
                      </a:cubicBezTo>
                      <a:cubicBezTo>
                        <a:pt x="684" y="639"/>
                        <a:pt x="684" y="639"/>
                        <a:pt x="684" y="639"/>
                      </a:cubicBezTo>
                      <a:cubicBezTo>
                        <a:pt x="684" y="638"/>
                        <a:pt x="684" y="638"/>
                        <a:pt x="684" y="638"/>
                      </a:cubicBezTo>
                      <a:cubicBezTo>
                        <a:pt x="690" y="643"/>
                        <a:pt x="690" y="643"/>
                        <a:pt x="690" y="643"/>
                      </a:cubicBezTo>
                      <a:cubicBezTo>
                        <a:pt x="691" y="643"/>
                        <a:pt x="691" y="643"/>
                        <a:pt x="691" y="643"/>
                      </a:cubicBezTo>
                      <a:cubicBezTo>
                        <a:pt x="685" y="638"/>
                        <a:pt x="685" y="638"/>
                        <a:pt x="685" y="638"/>
                      </a:cubicBezTo>
                      <a:cubicBezTo>
                        <a:pt x="685" y="637"/>
                        <a:pt x="685" y="637"/>
                        <a:pt x="685" y="637"/>
                      </a:cubicBezTo>
                      <a:cubicBezTo>
                        <a:pt x="681" y="634"/>
                        <a:pt x="681" y="634"/>
                        <a:pt x="681" y="634"/>
                      </a:cubicBezTo>
                      <a:cubicBezTo>
                        <a:pt x="682" y="632"/>
                        <a:pt x="683" y="631"/>
                        <a:pt x="684" y="630"/>
                      </a:cubicBezTo>
                      <a:cubicBezTo>
                        <a:pt x="687" y="631"/>
                        <a:pt x="687" y="631"/>
                        <a:pt x="687" y="631"/>
                      </a:cubicBezTo>
                      <a:cubicBezTo>
                        <a:pt x="687" y="631"/>
                        <a:pt x="687" y="631"/>
                        <a:pt x="687" y="631"/>
                      </a:cubicBezTo>
                      <a:cubicBezTo>
                        <a:pt x="685" y="629"/>
                        <a:pt x="685" y="629"/>
                        <a:pt x="685" y="629"/>
                      </a:cubicBezTo>
                      <a:cubicBezTo>
                        <a:pt x="686" y="627"/>
                        <a:pt x="687" y="626"/>
                        <a:pt x="688" y="624"/>
                      </a:cubicBezTo>
                      <a:cubicBezTo>
                        <a:pt x="691" y="626"/>
                        <a:pt x="691" y="626"/>
                        <a:pt x="691" y="626"/>
                      </a:cubicBezTo>
                      <a:cubicBezTo>
                        <a:pt x="691" y="626"/>
                        <a:pt x="691" y="626"/>
                        <a:pt x="691" y="626"/>
                      </a:cubicBezTo>
                      <a:cubicBezTo>
                        <a:pt x="689" y="624"/>
                        <a:pt x="689" y="624"/>
                        <a:pt x="689" y="624"/>
                      </a:cubicBezTo>
                      <a:cubicBezTo>
                        <a:pt x="690" y="622"/>
                        <a:pt x="691" y="621"/>
                        <a:pt x="692" y="619"/>
                      </a:cubicBezTo>
                      <a:cubicBezTo>
                        <a:pt x="695" y="621"/>
                        <a:pt x="695" y="621"/>
                        <a:pt x="695" y="621"/>
                      </a:cubicBezTo>
                      <a:cubicBezTo>
                        <a:pt x="695" y="620"/>
                        <a:pt x="695" y="620"/>
                        <a:pt x="695" y="620"/>
                      </a:cubicBezTo>
                      <a:cubicBezTo>
                        <a:pt x="693" y="619"/>
                        <a:pt x="693" y="619"/>
                        <a:pt x="693" y="619"/>
                      </a:cubicBezTo>
                      <a:cubicBezTo>
                        <a:pt x="694" y="617"/>
                        <a:pt x="695" y="615"/>
                        <a:pt x="696" y="614"/>
                      </a:cubicBezTo>
                      <a:cubicBezTo>
                        <a:pt x="699" y="616"/>
                        <a:pt x="699" y="616"/>
                        <a:pt x="699" y="616"/>
                      </a:cubicBezTo>
                      <a:cubicBezTo>
                        <a:pt x="699" y="615"/>
                        <a:pt x="699" y="615"/>
                        <a:pt x="699" y="615"/>
                      </a:cubicBezTo>
                      <a:cubicBezTo>
                        <a:pt x="697" y="613"/>
                        <a:pt x="697" y="613"/>
                        <a:pt x="697" y="613"/>
                      </a:cubicBezTo>
                      <a:cubicBezTo>
                        <a:pt x="698" y="612"/>
                        <a:pt x="699" y="610"/>
                        <a:pt x="700" y="609"/>
                      </a:cubicBezTo>
                      <a:cubicBezTo>
                        <a:pt x="703" y="610"/>
                        <a:pt x="703" y="610"/>
                        <a:pt x="703" y="610"/>
                      </a:cubicBezTo>
                      <a:cubicBezTo>
                        <a:pt x="703" y="610"/>
                        <a:pt x="703" y="610"/>
                        <a:pt x="703" y="610"/>
                      </a:cubicBezTo>
                      <a:cubicBezTo>
                        <a:pt x="701" y="608"/>
                        <a:pt x="701" y="608"/>
                        <a:pt x="701" y="608"/>
                      </a:cubicBezTo>
                      <a:cubicBezTo>
                        <a:pt x="702" y="606"/>
                        <a:pt x="703" y="605"/>
                        <a:pt x="704" y="603"/>
                      </a:cubicBezTo>
                      <a:cubicBezTo>
                        <a:pt x="706" y="605"/>
                        <a:pt x="706" y="605"/>
                        <a:pt x="706" y="605"/>
                      </a:cubicBezTo>
                      <a:cubicBezTo>
                        <a:pt x="707" y="604"/>
                        <a:pt x="707" y="604"/>
                        <a:pt x="707" y="604"/>
                      </a:cubicBezTo>
                      <a:cubicBezTo>
                        <a:pt x="704" y="602"/>
                        <a:pt x="704" y="602"/>
                        <a:pt x="704" y="602"/>
                      </a:cubicBezTo>
                      <a:cubicBezTo>
                        <a:pt x="705" y="601"/>
                        <a:pt x="706" y="599"/>
                        <a:pt x="708" y="598"/>
                      </a:cubicBezTo>
                      <a:cubicBezTo>
                        <a:pt x="710" y="599"/>
                        <a:pt x="710" y="599"/>
                        <a:pt x="710" y="599"/>
                      </a:cubicBezTo>
                      <a:cubicBezTo>
                        <a:pt x="710" y="599"/>
                        <a:pt x="710" y="599"/>
                        <a:pt x="710" y="599"/>
                      </a:cubicBezTo>
                      <a:cubicBezTo>
                        <a:pt x="708" y="597"/>
                        <a:pt x="708" y="597"/>
                        <a:pt x="708" y="597"/>
                      </a:cubicBezTo>
                      <a:cubicBezTo>
                        <a:pt x="709" y="595"/>
                        <a:pt x="710" y="594"/>
                        <a:pt x="711" y="592"/>
                      </a:cubicBezTo>
                      <a:cubicBezTo>
                        <a:pt x="714" y="594"/>
                        <a:pt x="714" y="594"/>
                        <a:pt x="714" y="594"/>
                      </a:cubicBezTo>
                      <a:cubicBezTo>
                        <a:pt x="714" y="593"/>
                        <a:pt x="714" y="593"/>
                        <a:pt x="714" y="593"/>
                      </a:cubicBezTo>
                      <a:cubicBezTo>
                        <a:pt x="712" y="591"/>
                        <a:pt x="712" y="591"/>
                        <a:pt x="712" y="591"/>
                      </a:cubicBezTo>
                      <a:cubicBezTo>
                        <a:pt x="713" y="590"/>
                        <a:pt x="714" y="588"/>
                        <a:pt x="715" y="586"/>
                      </a:cubicBezTo>
                      <a:cubicBezTo>
                        <a:pt x="717" y="588"/>
                        <a:pt x="717" y="588"/>
                        <a:pt x="717" y="588"/>
                      </a:cubicBezTo>
                      <a:cubicBezTo>
                        <a:pt x="717" y="587"/>
                        <a:pt x="717" y="587"/>
                        <a:pt x="717" y="587"/>
                      </a:cubicBezTo>
                      <a:cubicBezTo>
                        <a:pt x="715" y="586"/>
                        <a:pt x="715" y="586"/>
                        <a:pt x="715" y="586"/>
                      </a:cubicBezTo>
                      <a:cubicBezTo>
                        <a:pt x="716" y="584"/>
                        <a:pt x="717" y="583"/>
                        <a:pt x="718" y="581"/>
                      </a:cubicBezTo>
                      <a:cubicBezTo>
                        <a:pt x="722" y="584"/>
                        <a:pt x="722" y="584"/>
                        <a:pt x="722" y="584"/>
                      </a:cubicBezTo>
                      <a:cubicBezTo>
                        <a:pt x="723" y="583"/>
                        <a:pt x="723" y="583"/>
                        <a:pt x="723" y="583"/>
                      </a:cubicBezTo>
                      <a:cubicBezTo>
                        <a:pt x="729" y="587"/>
                        <a:pt x="729" y="587"/>
                        <a:pt x="729" y="587"/>
                      </a:cubicBezTo>
                      <a:cubicBezTo>
                        <a:pt x="730" y="587"/>
                        <a:pt x="730" y="587"/>
                        <a:pt x="730" y="587"/>
                      </a:cubicBezTo>
                      <a:cubicBezTo>
                        <a:pt x="723" y="583"/>
                        <a:pt x="723" y="583"/>
                        <a:pt x="723" y="583"/>
                      </a:cubicBezTo>
                      <a:cubicBezTo>
                        <a:pt x="723" y="582"/>
                        <a:pt x="723" y="582"/>
                        <a:pt x="723" y="582"/>
                      </a:cubicBezTo>
                      <a:cubicBezTo>
                        <a:pt x="719" y="580"/>
                        <a:pt x="719" y="580"/>
                        <a:pt x="719" y="580"/>
                      </a:cubicBezTo>
                      <a:cubicBezTo>
                        <a:pt x="719" y="578"/>
                        <a:pt x="720" y="577"/>
                        <a:pt x="721" y="575"/>
                      </a:cubicBezTo>
                      <a:cubicBezTo>
                        <a:pt x="724" y="576"/>
                        <a:pt x="724" y="576"/>
                        <a:pt x="724" y="576"/>
                      </a:cubicBezTo>
                      <a:cubicBezTo>
                        <a:pt x="724" y="576"/>
                        <a:pt x="724" y="576"/>
                        <a:pt x="724" y="576"/>
                      </a:cubicBezTo>
                      <a:cubicBezTo>
                        <a:pt x="722" y="574"/>
                        <a:pt x="722" y="574"/>
                        <a:pt x="722" y="574"/>
                      </a:cubicBezTo>
                      <a:cubicBezTo>
                        <a:pt x="723" y="573"/>
                        <a:pt x="723" y="571"/>
                        <a:pt x="724" y="569"/>
                      </a:cubicBezTo>
                      <a:cubicBezTo>
                        <a:pt x="727" y="571"/>
                        <a:pt x="727" y="571"/>
                        <a:pt x="727" y="571"/>
                      </a:cubicBezTo>
                      <a:cubicBezTo>
                        <a:pt x="727" y="570"/>
                        <a:pt x="727" y="570"/>
                        <a:pt x="727" y="570"/>
                      </a:cubicBezTo>
                      <a:cubicBezTo>
                        <a:pt x="725" y="569"/>
                        <a:pt x="725" y="569"/>
                        <a:pt x="725" y="569"/>
                      </a:cubicBezTo>
                      <a:cubicBezTo>
                        <a:pt x="726" y="567"/>
                        <a:pt x="727" y="565"/>
                        <a:pt x="727" y="563"/>
                      </a:cubicBezTo>
                      <a:cubicBezTo>
                        <a:pt x="730" y="565"/>
                        <a:pt x="730" y="565"/>
                        <a:pt x="730" y="565"/>
                      </a:cubicBezTo>
                      <a:cubicBezTo>
                        <a:pt x="730" y="564"/>
                        <a:pt x="730" y="564"/>
                        <a:pt x="730" y="564"/>
                      </a:cubicBezTo>
                      <a:cubicBezTo>
                        <a:pt x="728" y="563"/>
                        <a:pt x="728" y="563"/>
                        <a:pt x="728" y="563"/>
                      </a:cubicBezTo>
                      <a:cubicBezTo>
                        <a:pt x="729" y="561"/>
                        <a:pt x="730" y="559"/>
                        <a:pt x="730" y="557"/>
                      </a:cubicBezTo>
                      <a:cubicBezTo>
                        <a:pt x="733" y="559"/>
                        <a:pt x="733" y="559"/>
                        <a:pt x="733" y="559"/>
                      </a:cubicBezTo>
                      <a:cubicBezTo>
                        <a:pt x="733" y="558"/>
                        <a:pt x="733" y="558"/>
                        <a:pt x="733" y="558"/>
                      </a:cubicBezTo>
                      <a:cubicBezTo>
                        <a:pt x="731" y="557"/>
                        <a:pt x="731" y="557"/>
                        <a:pt x="731" y="557"/>
                      </a:cubicBezTo>
                      <a:cubicBezTo>
                        <a:pt x="732" y="555"/>
                        <a:pt x="732" y="553"/>
                        <a:pt x="733" y="551"/>
                      </a:cubicBezTo>
                      <a:cubicBezTo>
                        <a:pt x="736" y="553"/>
                        <a:pt x="736" y="553"/>
                        <a:pt x="736" y="553"/>
                      </a:cubicBezTo>
                      <a:cubicBezTo>
                        <a:pt x="736" y="552"/>
                        <a:pt x="736" y="552"/>
                        <a:pt x="736" y="552"/>
                      </a:cubicBezTo>
                      <a:cubicBezTo>
                        <a:pt x="734" y="551"/>
                        <a:pt x="734" y="551"/>
                        <a:pt x="734" y="551"/>
                      </a:cubicBezTo>
                      <a:cubicBezTo>
                        <a:pt x="734" y="549"/>
                        <a:pt x="735" y="547"/>
                        <a:pt x="736" y="545"/>
                      </a:cubicBezTo>
                      <a:cubicBezTo>
                        <a:pt x="739" y="547"/>
                        <a:pt x="739" y="547"/>
                        <a:pt x="739" y="547"/>
                      </a:cubicBezTo>
                      <a:cubicBezTo>
                        <a:pt x="739" y="546"/>
                        <a:pt x="739" y="546"/>
                        <a:pt x="739" y="546"/>
                      </a:cubicBezTo>
                      <a:cubicBezTo>
                        <a:pt x="736" y="545"/>
                        <a:pt x="736" y="545"/>
                        <a:pt x="736" y="545"/>
                      </a:cubicBezTo>
                      <a:cubicBezTo>
                        <a:pt x="737" y="543"/>
                        <a:pt x="738" y="541"/>
                        <a:pt x="739" y="539"/>
                      </a:cubicBezTo>
                      <a:cubicBezTo>
                        <a:pt x="741" y="541"/>
                        <a:pt x="741" y="541"/>
                        <a:pt x="741" y="541"/>
                      </a:cubicBezTo>
                      <a:cubicBezTo>
                        <a:pt x="742" y="540"/>
                        <a:pt x="742" y="540"/>
                        <a:pt x="742" y="540"/>
                      </a:cubicBezTo>
                      <a:cubicBezTo>
                        <a:pt x="739" y="539"/>
                        <a:pt x="739" y="539"/>
                        <a:pt x="739" y="539"/>
                      </a:cubicBezTo>
                      <a:cubicBezTo>
                        <a:pt x="740" y="537"/>
                        <a:pt x="740" y="535"/>
                        <a:pt x="741" y="533"/>
                      </a:cubicBezTo>
                      <a:cubicBezTo>
                        <a:pt x="744" y="534"/>
                        <a:pt x="744" y="534"/>
                        <a:pt x="744" y="534"/>
                      </a:cubicBezTo>
                      <a:cubicBezTo>
                        <a:pt x="744" y="534"/>
                        <a:pt x="744" y="534"/>
                        <a:pt x="744" y="534"/>
                      </a:cubicBezTo>
                      <a:cubicBezTo>
                        <a:pt x="741" y="533"/>
                        <a:pt x="741" y="533"/>
                        <a:pt x="741" y="533"/>
                      </a:cubicBezTo>
                      <a:cubicBezTo>
                        <a:pt x="742" y="531"/>
                        <a:pt x="743" y="529"/>
                        <a:pt x="744" y="527"/>
                      </a:cubicBezTo>
                      <a:cubicBezTo>
                        <a:pt x="746" y="528"/>
                        <a:pt x="746" y="528"/>
                        <a:pt x="746" y="528"/>
                      </a:cubicBezTo>
                      <a:cubicBezTo>
                        <a:pt x="747" y="527"/>
                        <a:pt x="747" y="527"/>
                        <a:pt x="747" y="527"/>
                      </a:cubicBezTo>
                      <a:cubicBezTo>
                        <a:pt x="744" y="526"/>
                        <a:pt x="744" y="526"/>
                        <a:pt x="744" y="526"/>
                      </a:cubicBezTo>
                      <a:cubicBezTo>
                        <a:pt x="744" y="525"/>
                        <a:pt x="745" y="523"/>
                        <a:pt x="746" y="521"/>
                      </a:cubicBezTo>
                      <a:cubicBezTo>
                        <a:pt x="751" y="523"/>
                        <a:pt x="751" y="523"/>
                        <a:pt x="751" y="523"/>
                      </a:cubicBezTo>
                      <a:cubicBezTo>
                        <a:pt x="751" y="523"/>
                        <a:pt x="751" y="523"/>
                        <a:pt x="751" y="523"/>
                      </a:cubicBezTo>
                      <a:cubicBezTo>
                        <a:pt x="758" y="525"/>
                        <a:pt x="758" y="525"/>
                        <a:pt x="758" y="525"/>
                      </a:cubicBezTo>
                      <a:cubicBezTo>
                        <a:pt x="758" y="525"/>
                        <a:pt x="758" y="525"/>
                        <a:pt x="758" y="525"/>
                      </a:cubicBezTo>
                      <a:cubicBezTo>
                        <a:pt x="751" y="522"/>
                        <a:pt x="751" y="522"/>
                        <a:pt x="751" y="522"/>
                      </a:cubicBezTo>
                      <a:cubicBezTo>
                        <a:pt x="751" y="522"/>
                        <a:pt x="751" y="522"/>
                        <a:pt x="751" y="522"/>
                      </a:cubicBezTo>
                      <a:cubicBezTo>
                        <a:pt x="746" y="520"/>
                        <a:pt x="746" y="520"/>
                        <a:pt x="746" y="520"/>
                      </a:cubicBezTo>
                      <a:cubicBezTo>
                        <a:pt x="747" y="518"/>
                        <a:pt x="748" y="516"/>
                        <a:pt x="748" y="515"/>
                      </a:cubicBezTo>
                      <a:cubicBezTo>
                        <a:pt x="751" y="516"/>
                        <a:pt x="751" y="516"/>
                        <a:pt x="751" y="516"/>
                      </a:cubicBezTo>
                      <a:cubicBezTo>
                        <a:pt x="751" y="515"/>
                        <a:pt x="751" y="515"/>
                        <a:pt x="751" y="515"/>
                      </a:cubicBezTo>
                      <a:cubicBezTo>
                        <a:pt x="748" y="514"/>
                        <a:pt x="748" y="514"/>
                        <a:pt x="748" y="514"/>
                      </a:cubicBezTo>
                      <a:cubicBezTo>
                        <a:pt x="749" y="512"/>
                        <a:pt x="750" y="510"/>
                        <a:pt x="750" y="509"/>
                      </a:cubicBezTo>
                      <a:cubicBezTo>
                        <a:pt x="753" y="509"/>
                        <a:pt x="753" y="509"/>
                        <a:pt x="753" y="509"/>
                      </a:cubicBezTo>
                      <a:cubicBezTo>
                        <a:pt x="753" y="509"/>
                        <a:pt x="753" y="509"/>
                        <a:pt x="753" y="509"/>
                      </a:cubicBezTo>
                      <a:cubicBezTo>
                        <a:pt x="750" y="508"/>
                        <a:pt x="750" y="508"/>
                        <a:pt x="750" y="508"/>
                      </a:cubicBezTo>
                      <a:cubicBezTo>
                        <a:pt x="751" y="506"/>
                        <a:pt x="752" y="504"/>
                        <a:pt x="752" y="502"/>
                      </a:cubicBezTo>
                      <a:cubicBezTo>
                        <a:pt x="755" y="503"/>
                        <a:pt x="755" y="503"/>
                        <a:pt x="755" y="503"/>
                      </a:cubicBezTo>
                      <a:cubicBezTo>
                        <a:pt x="755" y="502"/>
                        <a:pt x="755" y="502"/>
                        <a:pt x="755" y="502"/>
                      </a:cubicBezTo>
                      <a:cubicBezTo>
                        <a:pt x="752" y="501"/>
                        <a:pt x="752" y="501"/>
                        <a:pt x="752" y="501"/>
                      </a:cubicBezTo>
                      <a:cubicBezTo>
                        <a:pt x="753" y="500"/>
                        <a:pt x="753" y="498"/>
                        <a:pt x="754" y="496"/>
                      </a:cubicBezTo>
                      <a:cubicBezTo>
                        <a:pt x="757" y="497"/>
                        <a:pt x="757" y="497"/>
                        <a:pt x="757" y="497"/>
                      </a:cubicBezTo>
                      <a:cubicBezTo>
                        <a:pt x="757" y="496"/>
                        <a:pt x="757" y="496"/>
                        <a:pt x="757" y="496"/>
                      </a:cubicBezTo>
                      <a:cubicBezTo>
                        <a:pt x="754" y="495"/>
                        <a:pt x="754" y="495"/>
                        <a:pt x="754" y="495"/>
                      </a:cubicBezTo>
                      <a:cubicBezTo>
                        <a:pt x="755" y="493"/>
                        <a:pt x="755" y="491"/>
                        <a:pt x="756" y="489"/>
                      </a:cubicBezTo>
                      <a:cubicBezTo>
                        <a:pt x="759" y="490"/>
                        <a:pt x="759" y="490"/>
                        <a:pt x="759" y="490"/>
                      </a:cubicBezTo>
                      <a:cubicBezTo>
                        <a:pt x="759" y="489"/>
                        <a:pt x="759" y="489"/>
                        <a:pt x="759" y="489"/>
                      </a:cubicBezTo>
                      <a:cubicBezTo>
                        <a:pt x="756" y="489"/>
                        <a:pt x="756" y="489"/>
                        <a:pt x="756" y="489"/>
                      </a:cubicBezTo>
                      <a:cubicBezTo>
                        <a:pt x="757" y="487"/>
                        <a:pt x="757" y="485"/>
                        <a:pt x="757" y="483"/>
                      </a:cubicBezTo>
                      <a:cubicBezTo>
                        <a:pt x="760" y="484"/>
                        <a:pt x="760" y="484"/>
                        <a:pt x="760" y="484"/>
                      </a:cubicBezTo>
                      <a:cubicBezTo>
                        <a:pt x="760" y="483"/>
                        <a:pt x="760" y="483"/>
                        <a:pt x="760" y="483"/>
                      </a:cubicBezTo>
                      <a:cubicBezTo>
                        <a:pt x="758" y="482"/>
                        <a:pt x="758" y="482"/>
                        <a:pt x="758" y="482"/>
                      </a:cubicBezTo>
                      <a:cubicBezTo>
                        <a:pt x="758" y="480"/>
                        <a:pt x="759" y="479"/>
                        <a:pt x="759" y="477"/>
                      </a:cubicBezTo>
                      <a:cubicBezTo>
                        <a:pt x="762" y="477"/>
                        <a:pt x="762" y="477"/>
                        <a:pt x="762" y="477"/>
                      </a:cubicBezTo>
                      <a:cubicBezTo>
                        <a:pt x="762" y="477"/>
                        <a:pt x="762" y="477"/>
                        <a:pt x="762" y="477"/>
                      </a:cubicBezTo>
                      <a:cubicBezTo>
                        <a:pt x="759" y="476"/>
                        <a:pt x="759" y="476"/>
                        <a:pt x="759" y="476"/>
                      </a:cubicBezTo>
                      <a:cubicBezTo>
                        <a:pt x="760" y="474"/>
                        <a:pt x="760" y="472"/>
                        <a:pt x="760" y="470"/>
                      </a:cubicBezTo>
                      <a:cubicBezTo>
                        <a:pt x="763" y="471"/>
                        <a:pt x="763" y="471"/>
                        <a:pt x="763" y="471"/>
                      </a:cubicBezTo>
                      <a:cubicBezTo>
                        <a:pt x="763" y="470"/>
                        <a:pt x="763" y="470"/>
                        <a:pt x="763" y="470"/>
                      </a:cubicBezTo>
                      <a:cubicBezTo>
                        <a:pt x="761" y="469"/>
                        <a:pt x="761" y="469"/>
                        <a:pt x="761" y="469"/>
                      </a:cubicBezTo>
                      <a:cubicBezTo>
                        <a:pt x="761" y="468"/>
                        <a:pt x="761" y="466"/>
                        <a:pt x="762" y="464"/>
                      </a:cubicBezTo>
                      <a:cubicBezTo>
                        <a:pt x="765" y="464"/>
                        <a:pt x="765" y="464"/>
                        <a:pt x="765" y="464"/>
                      </a:cubicBezTo>
                      <a:cubicBezTo>
                        <a:pt x="765" y="464"/>
                        <a:pt x="765" y="464"/>
                        <a:pt x="765" y="464"/>
                      </a:cubicBezTo>
                      <a:cubicBezTo>
                        <a:pt x="762" y="463"/>
                        <a:pt x="762" y="463"/>
                        <a:pt x="762" y="463"/>
                      </a:cubicBezTo>
                      <a:cubicBezTo>
                        <a:pt x="762" y="461"/>
                        <a:pt x="763" y="460"/>
                        <a:pt x="763" y="458"/>
                      </a:cubicBezTo>
                      <a:cubicBezTo>
                        <a:pt x="768" y="459"/>
                        <a:pt x="768" y="459"/>
                        <a:pt x="768" y="459"/>
                      </a:cubicBezTo>
                      <a:cubicBezTo>
                        <a:pt x="768" y="458"/>
                        <a:pt x="768" y="458"/>
                        <a:pt x="768" y="458"/>
                      </a:cubicBezTo>
                      <a:cubicBezTo>
                        <a:pt x="776" y="460"/>
                        <a:pt x="776" y="460"/>
                        <a:pt x="776" y="460"/>
                      </a:cubicBezTo>
                      <a:cubicBezTo>
                        <a:pt x="776" y="459"/>
                        <a:pt x="776" y="459"/>
                        <a:pt x="776" y="459"/>
                      </a:cubicBezTo>
                      <a:cubicBezTo>
                        <a:pt x="768" y="457"/>
                        <a:pt x="768" y="457"/>
                        <a:pt x="768" y="457"/>
                      </a:cubicBezTo>
                      <a:cubicBezTo>
                        <a:pt x="768" y="457"/>
                        <a:pt x="768" y="457"/>
                        <a:pt x="768" y="457"/>
                      </a:cubicBezTo>
                      <a:cubicBezTo>
                        <a:pt x="763" y="456"/>
                        <a:pt x="763" y="456"/>
                        <a:pt x="763" y="456"/>
                      </a:cubicBezTo>
                      <a:cubicBezTo>
                        <a:pt x="763" y="454"/>
                        <a:pt x="764" y="453"/>
                        <a:pt x="764" y="451"/>
                      </a:cubicBezTo>
                      <a:cubicBezTo>
                        <a:pt x="767" y="451"/>
                        <a:pt x="767" y="451"/>
                        <a:pt x="767" y="451"/>
                      </a:cubicBezTo>
                      <a:cubicBezTo>
                        <a:pt x="767" y="450"/>
                        <a:pt x="767" y="450"/>
                        <a:pt x="767" y="450"/>
                      </a:cubicBezTo>
                      <a:cubicBezTo>
                        <a:pt x="764" y="450"/>
                        <a:pt x="764" y="450"/>
                        <a:pt x="764" y="450"/>
                      </a:cubicBezTo>
                      <a:cubicBezTo>
                        <a:pt x="764" y="448"/>
                        <a:pt x="765" y="446"/>
                        <a:pt x="765" y="444"/>
                      </a:cubicBezTo>
                      <a:cubicBezTo>
                        <a:pt x="768" y="445"/>
                        <a:pt x="768" y="445"/>
                        <a:pt x="768" y="445"/>
                      </a:cubicBezTo>
                      <a:cubicBezTo>
                        <a:pt x="768" y="444"/>
                        <a:pt x="768" y="444"/>
                        <a:pt x="768" y="444"/>
                      </a:cubicBezTo>
                      <a:cubicBezTo>
                        <a:pt x="765" y="443"/>
                        <a:pt x="765" y="443"/>
                        <a:pt x="765" y="443"/>
                      </a:cubicBezTo>
                      <a:cubicBezTo>
                        <a:pt x="765" y="442"/>
                        <a:pt x="766" y="440"/>
                        <a:pt x="766" y="438"/>
                      </a:cubicBezTo>
                      <a:cubicBezTo>
                        <a:pt x="769" y="438"/>
                        <a:pt x="769" y="438"/>
                        <a:pt x="769" y="438"/>
                      </a:cubicBezTo>
                      <a:cubicBezTo>
                        <a:pt x="769" y="437"/>
                        <a:pt x="769" y="437"/>
                        <a:pt x="769" y="437"/>
                      </a:cubicBezTo>
                      <a:cubicBezTo>
                        <a:pt x="766" y="437"/>
                        <a:pt x="766" y="437"/>
                        <a:pt x="766" y="437"/>
                      </a:cubicBezTo>
                      <a:cubicBezTo>
                        <a:pt x="766" y="435"/>
                        <a:pt x="766" y="433"/>
                        <a:pt x="767" y="431"/>
                      </a:cubicBezTo>
                      <a:cubicBezTo>
                        <a:pt x="770" y="431"/>
                        <a:pt x="770" y="431"/>
                        <a:pt x="770" y="431"/>
                      </a:cubicBezTo>
                      <a:cubicBezTo>
                        <a:pt x="770" y="431"/>
                        <a:pt x="770" y="431"/>
                        <a:pt x="770" y="431"/>
                      </a:cubicBezTo>
                      <a:cubicBezTo>
                        <a:pt x="767" y="430"/>
                        <a:pt x="767" y="430"/>
                        <a:pt x="767" y="430"/>
                      </a:cubicBezTo>
                      <a:cubicBezTo>
                        <a:pt x="767" y="428"/>
                        <a:pt x="767" y="426"/>
                        <a:pt x="767" y="425"/>
                      </a:cubicBezTo>
                      <a:cubicBezTo>
                        <a:pt x="770" y="425"/>
                        <a:pt x="770" y="425"/>
                        <a:pt x="770" y="425"/>
                      </a:cubicBezTo>
                      <a:cubicBezTo>
                        <a:pt x="770" y="424"/>
                        <a:pt x="770" y="424"/>
                        <a:pt x="770" y="424"/>
                      </a:cubicBezTo>
                      <a:cubicBezTo>
                        <a:pt x="767" y="424"/>
                        <a:pt x="767" y="424"/>
                        <a:pt x="767" y="424"/>
                      </a:cubicBezTo>
                      <a:cubicBezTo>
                        <a:pt x="767" y="422"/>
                        <a:pt x="768" y="420"/>
                        <a:pt x="768" y="418"/>
                      </a:cubicBezTo>
                      <a:cubicBezTo>
                        <a:pt x="771" y="418"/>
                        <a:pt x="771" y="418"/>
                        <a:pt x="771" y="418"/>
                      </a:cubicBezTo>
                      <a:cubicBezTo>
                        <a:pt x="771" y="417"/>
                        <a:pt x="771" y="417"/>
                        <a:pt x="771" y="417"/>
                      </a:cubicBezTo>
                      <a:cubicBezTo>
                        <a:pt x="768" y="417"/>
                        <a:pt x="768" y="417"/>
                        <a:pt x="768" y="417"/>
                      </a:cubicBezTo>
                      <a:cubicBezTo>
                        <a:pt x="768" y="415"/>
                        <a:pt x="768" y="413"/>
                        <a:pt x="768" y="411"/>
                      </a:cubicBezTo>
                      <a:cubicBezTo>
                        <a:pt x="771" y="412"/>
                        <a:pt x="771" y="412"/>
                        <a:pt x="771" y="412"/>
                      </a:cubicBezTo>
                      <a:cubicBezTo>
                        <a:pt x="771" y="411"/>
                        <a:pt x="771" y="411"/>
                        <a:pt x="771" y="411"/>
                      </a:cubicBezTo>
                      <a:cubicBezTo>
                        <a:pt x="768" y="411"/>
                        <a:pt x="768" y="411"/>
                        <a:pt x="768" y="411"/>
                      </a:cubicBezTo>
                      <a:cubicBezTo>
                        <a:pt x="768" y="409"/>
                        <a:pt x="768" y="407"/>
                        <a:pt x="768" y="405"/>
                      </a:cubicBezTo>
                      <a:cubicBezTo>
                        <a:pt x="771" y="405"/>
                        <a:pt x="771" y="405"/>
                        <a:pt x="771" y="405"/>
                      </a:cubicBezTo>
                      <a:cubicBezTo>
                        <a:pt x="771" y="404"/>
                        <a:pt x="771" y="404"/>
                        <a:pt x="771" y="404"/>
                      </a:cubicBezTo>
                      <a:cubicBezTo>
                        <a:pt x="768" y="404"/>
                        <a:pt x="768" y="404"/>
                        <a:pt x="768" y="404"/>
                      </a:cubicBezTo>
                      <a:cubicBezTo>
                        <a:pt x="768" y="402"/>
                        <a:pt x="769" y="400"/>
                        <a:pt x="769" y="398"/>
                      </a:cubicBezTo>
                      <a:cubicBezTo>
                        <a:pt x="772" y="398"/>
                        <a:pt x="772" y="398"/>
                        <a:pt x="772" y="398"/>
                      </a:cubicBezTo>
                      <a:cubicBezTo>
                        <a:pt x="772" y="397"/>
                        <a:pt x="772" y="397"/>
                        <a:pt x="772" y="397"/>
                      </a:cubicBezTo>
                      <a:cubicBezTo>
                        <a:pt x="769" y="397"/>
                        <a:pt x="769" y="397"/>
                        <a:pt x="769" y="397"/>
                      </a:cubicBezTo>
                      <a:cubicBezTo>
                        <a:pt x="769" y="396"/>
                        <a:pt x="769" y="394"/>
                        <a:pt x="769" y="392"/>
                      </a:cubicBezTo>
                      <a:cubicBezTo>
                        <a:pt x="774" y="392"/>
                        <a:pt x="774" y="392"/>
                        <a:pt x="774" y="392"/>
                      </a:cubicBezTo>
                      <a:cubicBezTo>
                        <a:pt x="774" y="392"/>
                        <a:pt x="774" y="392"/>
                        <a:pt x="774" y="392"/>
                      </a:cubicBezTo>
                      <a:cubicBezTo>
                        <a:pt x="782" y="392"/>
                        <a:pt x="782" y="392"/>
                        <a:pt x="782" y="392"/>
                      </a:cubicBezTo>
                      <a:lnTo>
                        <a:pt x="782" y="391"/>
                      </a:lnTo>
                      <a:close/>
                      <a:moveTo>
                        <a:pt x="767" y="397"/>
                      </a:moveTo>
                      <a:cubicBezTo>
                        <a:pt x="764" y="397"/>
                        <a:pt x="764" y="397"/>
                        <a:pt x="764" y="397"/>
                      </a:cubicBezTo>
                      <a:cubicBezTo>
                        <a:pt x="764" y="398"/>
                        <a:pt x="764" y="398"/>
                        <a:pt x="764" y="398"/>
                      </a:cubicBezTo>
                      <a:cubicBezTo>
                        <a:pt x="767" y="398"/>
                        <a:pt x="767" y="398"/>
                        <a:pt x="767" y="398"/>
                      </a:cubicBezTo>
                      <a:cubicBezTo>
                        <a:pt x="767" y="400"/>
                        <a:pt x="767" y="402"/>
                        <a:pt x="767" y="404"/>
                      </a:cubicBezTo>
                      <a:cubicBezTo>
                        <a:pt x="764" y="404"/>
                        <a:pt x="764" y="404"/>
                        <a:pt x="764" y="404"/>
                      </a:cubicBezTo>
                      <a:cubicBezTo>
                        <a:pt x="764" y="405"/>
                        <a:pt x="764" y="405"/>
                        <a:pt x="764" y="405"/>
                      </a:cubicBezTo>
                      <a:cubicBezTo>
                        <a:pt x="767" y="405"/>
                        <a:pt x="767" y="405"/>
                        <a:pt x="767" y="405"/>
                      </a:cubicBezTo>
                      <a:cubicBezTo>
                        <a:pt x="767" y="407"/>
                        <a:pt x="767" y="409"/>
                        <a:pt x="767" y="411"/>
                      </a:cubicBezTo>
                      <a:cubicBezTo>
                        <a:pt x="764" y="410"/>
                        <a:pt x="764" y="410"/>
                        <a:pt x="764" y="410"/>
                      </a:cubicBezTo>
                      <a:cubicBezTo>
                        <a:pt x="763" y="411"/>
                        <a:pt x="763" y="411"/>
                        <a:pt x="763" y="411"/>
                      </a:cubicBezTo>
                      <a:cubicBezTo>
                        <a:pt x="766" y="411"/>
                        <a:pt x="766" y="411"/>
                        <a:pt x="766" y="411"/>
                      </a:cubicBezTo>
                      <a:cubicBezTo>
                        <a:pt x="766" y="413"/>
                        <a:pt x="766" y="415"/>
                        <a:pt x="766" y="417"/>
                      </a:cubicBezTo>
                      <a:cubicBezTo>
                        <a:pt x="763" y="417"/>
                        <a:pt x="763" y="417"/>
                        <a:pt x="763" y="417"/>
                      </a:cubicBezTo>
                      <a:cubicBezTo>
                        <a:pt x="763" y="418"/>
                        <a:pt x="763" y="418"/>
                        <a:pt x="763" y="418"/>
                      </a:cubicBezTo>
                      <a:cubicBezTo>
                        <a:pt x="766" y="418"/>
                        <a:pt x="766" y="418"/>
                        <a:pt x="766" y="418"/>
                      </a:cubicBezTo>
                      <a:cubicBezTo>
                        <a:pt x="766" y="420"/>
                        <a:pt x="766" y="422"/>
                        <a:pt x="766" y="424"/>
                      </a:cubicBezTo>
                      <a:cubicBezTo>
                        <a:pt x="763" y="423"/>
                        <a:pt x="763" y="423"/>
                        <a:pt x="763" y="423"/>
                      </a:cubicBezTo>
                      <a:cubicBezTo>
                        <a:pt x="763" y="424"/>
                        <a:pt x="763" y="424"/>
                        <a:pt x="763" y="424"/>
                      </a:cubicBezTo>
                      <a:cubicBezTo>
                        <a:pt x="766" y="424"/>
                        <a:pt x="766" y="424"/>
                        <a:pt x="766" y="424"/>
                      </a:cubicBezTo>
                      <a:cubicBezTo>
                        <a:pt x="765" y="426"/>
                        <a:pt x="765" y="428"/>
                        <a:pt x="765" y="430"/>
                      </a:cubicBezTo>
                      <a:cubicBezTo>
                        <a:pt x="762" y="430"/>
                        <a:pt x="762" y="430"/>
                        <a:pt x="762" y="430"/>
                      </a:cubicBezTo>
                      <a:cubicBezTo>
                        <a:pt x="762" y="431"/>
                        <a:pt x="762" y="431"/>
                        <a:pt x="762" y="431"/>
                      </a:cubicBezTo>
                      <a:cubicBezTo>
                        <a:pt x="765" y="431"/>
                        <a:pt x="765" y="431"/>
                        <a:pt x="765" y="431"/>
                      </a:cubicBezTo>
                      <a:cubicBezTo>
                        <a:pt x="765" y="433"/>
                        <a:pt x="765" y="435"/>
                        <a:pt x="764" y="437"/>
                      </a:cubicBezTo>
                      <a:cubicBezTo>
                        <a:pt x="761" y="436"/>
                        <a:pt x="761" y="436"/>
                        <a:pt x="761" y="436"/>
                      </a:cubicBezTo>
                      <a:cubicBezTo>
                        <a:pt x="761" y="437"/>
                        <a:pt x="761" y="437"/>
                        <a:pt x="761" y="437"/>
                      </a:cubicBezTo>
                      <a:cubicBezTo>
                        <a:pt x="764" y="437"/>
                        <a:pt x="764" y="437"/>
                        <a:pt x="764" y="437"/>
                      </a:cubicBezTo>
                      <a:cubicBezTo>
                        <a:pt x="764" y="439"/>
                        <a:pt x="764" y="441"/>
                        <a:pt x="763" y="443"/>
                      </a:cubicBezTo>
                      <a:cubicBezTo>
                        <a:pt x="760" y="443"/>
                        <a:pt x="760" y="443"/>
                        <a:pt x="760" y="443"/>
                      </a:cubicBezTo>
                      <a:cubicBezTo>
                        <a:pt x="760" y="444"/>
                        <a:pt x="760" y="444"/>
                        <a:pt x="760" y="444"/>
                      </a:cubicBezTo>
                      <a:cubicBezTo>
                        <a:pt x="763" y="444"/>
                        <a:pt x="763" y="444"/>
                        <a:pt x="763" y="444"/>
                      </a:cubicBezTo>
                      <a:cubicBezTo>
                        <a:pt x="763" y="446"/>
                        <a:pt x="763" y="448"/>
                        <a:pt x="762" y="450"/>
                      </a:cubicBezTo>
                      <a:cubicBezTo>
                        <a:pt x="759" y="449"/>
                        <a:pt x="759" y="449"/>
                        <a:pt x="759" y="449"/>
                      </a:cubicBezTo>
                      <a:cubicBezTo>
                        <a:pt x="759" y="450"/>
                        <a:pt x="759" y="450"/>
                        <a:pt x="759" y="450"/>
                      </a:cubicBezTo>
                      <a:cubicBezTo>
                        <a:pt x="762" y="451"/>
                        <a:pt x="762" y="451"/>
                        <a:pt x="762" y="451"/>
                      </a:cubicBezTo>
                      <a:cubicBezTo>
                        <a:pt x="762" y="452"/>
                        <a:pt x="762" y="454"/>
                        <a:pt x="761" y="456"/>
                      </a:cubicBezTo>
                      <a:cubicBezTo>
                        <a:pt x="756" y="455"/>
                        <a:pt x="756" y="455"/>
                        <a:pt x="756" y="455"/>
                      </a:cubicBezTo>
                      <a:cubicBezTo>
                        <a:pt x="756" y="455"/>
                        <a:pt x="756" y="455"/>
                        <a:pt x="756" y="455"/>
                      </a:cubicBezTo>
                      <a:cubicBezTo>
                        <a:pt x="748" y="454"/>
                        <a:pt x="748" y="454"/>
                        <a:pt x="748" y="454"/>
                      </a:cubicBezTo>
                      <a:cubicBezTo>
                        <a:pt x="748" y="455"/>
                        <a:pt x="748" y="455"/>
                        <a:pt x="748" y="455"/>
                      </a:cubicBezTo>
                      <a:cubicBezTo>
                        <a:pt x="756" y="456"/>
                        <a:pt x="756" y="456"/>
                        <a:pt x="756" y="456"/>
                      </a:cubicBezTo>
                      <a:cubicBezTo>
                        <a:pt x="756" y="457"/>
                        <a:pt x="756" y="457"/>
                        <a:pt x="756" y="457"/>
                      </a:cubicBezTo>
                      <a:cubicBezTo>
                        <a:pt x="761" y="457"/>
                        <a:pt x="761" y="457"/>
                        <a:pt x="761" y="457"/>
                      </a:cubicBezTo>
                      <a:cubicBezTo>
                        <a:pt x="761" y="459"/>
                        <a:pt x="761" y="461"/>
                        <a:pt x="760" y="463"/>
                      </a:cubicBezTo>
                      <a:cubicBezTo>
                        <a:pt x="757" y="462"/>
                        <a:pt x="757" y="462"/>
                        <a:pt x="757" y="462"/>
                      </a:cubicBezTo>
                      <a:cubicBezTo>
                        <a:pt x="757" y="463"/>
                        <a:pt x="757" y="463"/>
                        <a:pt x="757" y="463"/>
                      </a:cubicBezTo>
                      <a:cubicBezTo>
                        <a:pt x="760" y="463"/>
                        <a:pt x="760" y="463"/>
                        <a:pt x="760" y="463"/>
                      </a:cubicBezTo>
                      <a:cubicBezTo>
                        <a:pt x="760" y="465"/>
                        <a:pt x="759" y="467"/>
                        <a:pt x="759" y="469"/>
                      </a:cubicBezTo>
                      <a:cubicBezTo>
                        <a:pt x="756" y="468"/>
                        <a:pt x="756" y="468"/>
                        <a:pt x="756" y="468"/>
                      </a:cubicBezTo>
                      <a:cubicBezTo>
                        <a:pt x="756" y="469"/>
                        <a:pt x="756" y="469"/>
                        <a:pt x="756" y="469"/>
                      </a:cubicBezTo>
                      <a:cubicBezTo>
                        <a:pt x="759" y="470"/>
                        <a:pt x="759" y="470"/>
                        <a:pt x="759" y="470"/>
                      </a:cubicBezTo>
                      <a:cubicBezTo>
                        <a:pt x="758" y="472"/>
                        <a:pt x="758" y="474"/>
                        <a:pt x="757" y="476"/>
                      </a:cubicBezTo>
                      <a:cubicBezTo>
                        <a:pt x="755" y="475"/>
                        <a:pt x="755" y="475"/>
                        <a:pt x="755" y="475"/>
                      </a:cubicBezTo>
                      <a:cubicBezTo>
                        <a:pt x="754" y="476"/>
                        <a:pt x="754" y="476"/>
                        <a:pt x="754" y="476"/>
                      </a:cubicBezTo>
                      <a:cubicBezTo>
                        <a:pt x="757" y="476"/>
                        <a:pt x="757" y="476"/>
                        <a:pt x="757" y="476"/>
                      </a:cubicBezTo>
                      <a:cubicBezTo>
                        <a:pt x="757" y="478"/>
                        <a:pt x="756" y="480"/>
                        <a:pt x="756" y="482"/>
                      </a:cubicBezTo>
                      <a:cubicBezTo>
                        <a:pt x="753" y="481"/>
                        <a:pt x="753" y="481"/>
                        <a:pt x="753" y="481"/>
                      </a:cubicBezTo>
                      <a:cubicBezTo>
                        <a:pt x="753" y="482"/>
                        <a:pt x="753" y="482"/>
                        <a:pt x="753" y="482"/>
                      </a:cubicBezTo>
                      <a:cubicBezTo>
                        <a:pt x="756" y="483"/>
                        <a:pt x="756" y="483"/>
                        <a:pt x="756" y="483"/>
                      </a:cubicBezTo>
                      <a:cubicBezTo>
                        <a:pt x="755" y="485"/>
                        <a:pt x="755" y="486"/>
                        <a:pt x="754" y="488"/>
                      </a:cubicBezTo>
                      <a:cubicBezTo>
                        <a:pt x="751" y="488"/>
                        <a:pt x="751" y="488"/>
                        <a:pt x="751" y="488"/>
                      </a:cubicBezTo>
                      <a:cubicBezTo>
                        <a:pt x="751" y="488"/>
                        <a:pt x="751" y="488"/>
                        <a:pt x="751" y="488"/>
                      </a:cubicBezTo>
                      <a:cubicBezTo>
                        <a:pt x="754" y="489"/>
                        <a:pt x="754" y="489"/>
                        <a:pt x="754" y="489"/>
                      </a:cubicBezTo>
                      <a:cubicBezTo>
                        <a:pt x="754" y="491"/>
                        <a:pt x="753" y="493"/>
                        <a:pt x="753" y="495"/>
                      </a:cubicBezTo>
                      <a:cubicBezTo>
                        <a:pt x="750" y="494"/>
                        <a:pt x="750" y="494"/>
                        <a:pt x="750" y="494"/>
                      </a:cubicBezTo>
                      <a:cubicBezTo>
                        <a:pt x="749" y="495"/>
                        <a:pt x="749" y="495"/>
                        <a:pt x="749" y="495"/>
                      </a:cubicBezTo>
                      <a:cubicBezTo>
                        <a:pt x="752" y="495"/>
                        <a:pt x="752" y="495"/>
                        <a:pt x="752" y="495"/>
                      </a:cubicBezTo>
                      <a:cubicBezTo>
                        <a:pt x="752" y="497"/>
                        <a:pt x="751" y="499"/>
                        <a:pt x="751" y="501"/>
                      </a:cubicBezTo>
                      <a:cubicBezTo>
                        <a:pt x="748" y="500"/>
                        <a:pt x="748" y="500"/>
                        <a:pt x="748" y="500"/>
                      </a:cubicBezTo>
                      <a:cubicBezTo>
                        <a:pt x="748" y="501"/>
                        <a:pt x="748" y="501"/>
                        <a:pt x="748" y="501"/>
                      </a:cubicBezTo>
                      <a:cubicBezTo>
                        <a:pt x="750" y="502"/>
                        <a:pt x="750" y="502"/>
                        <a:pt x="750" y="502"/>
                      </a:cubicBezTo>
                      <a:cubicBezTo>
                        <a:pt x="750" y="504"/>
                        <a:pt x="749" y="505"/>
                        <a:pt x="749" y="507"/>
                      </a:cubicBezTo>
                      <a:cubicBezTo>
                        <a:pt x="746" y="506"/>
                        <a:pt x="746" y="506"/>
                        <a:pt x="746" y="506"/>
                      </a:cubicBezTo>
                      <a:cubicBezTo>
                        <a:pt x="746" y="507"/>
                        <a:pt x="746" y="507"/>
                        <a:pt x="746" y="507"/>
                      </a:cubicBezTo>
                      <a:cubicBezTo>
                        <a:pt x="748" y="508"/>
                        <a:pt x="748" y="508"/>
                        <a:pt x="748" y="508"/>
                      </a:cubicBezTo>
                      <a:cubicBezTo>
                        <a:pt x="748" y="510"/>
                        <a:pt x="747" y="512"/>
                        <a:pt x="747" y="513"/>
                      </a:cubicBezTo>
                      <a:cubicBezTo>
                        <a:pt x="744" y="512"/>
                        <a:pt x="744" y="512"/>
                        <a:pt x="744" y="512"/>
                      </a:cubicBezTo>
                      <a:cubicBezTo>
                        <a:pt x="744" y="513"/>
                        <a:pt x="744" y="513"/>
                        <a:pt x="744" y="513"/>
                      </a:cubicBezTo>
                      <a:cubicBezTo>
                        <a:pt x="746" y="514"/>
                        <a:pt x="746" y="514"/>
                        <a:pt x="746" y="514"/>
                      </a:cubicBezTo>
                      <a:cubicBezTo>
                        <a:pt x="746" y="516"/>
                        <a:pt x="745" y="518"/>
                        <a:pt x="745" y="519"/>
                      </a:cubicBezTo>
                      <a:cubicBezTo>
                        <a:pt x="739" y="517"/>
                        <a:pt x="739" y="517"/>
                        <a:pt x="739" y="517"/>
                      </a:cubicBezTo>
                      <a:cubicBezTo>
                        <a:pt x="739" y="518"/>
                        <a:pt x="739" y="518"/>
                        <a:pt x="739" y="518"/>
                      </a:cubicBezTo>
                      <a:cubicBezTo>
                        <a:pt x="732" y="515"/>
                        <a:pt x="732" y="515"/>
                        <a:pt x="732" y="515"/>
                      </a:cubicBezTo>
                      <a:cubicBezTo>
                        <a:pt x="732" y="516"/>
                        <a:pt x="732" y="516"/>
                        <a:pt x="732" y="516"/>
                      </a:cubicBezTo>
                      <a:cubicBezTo>
                        <a:pt x="739" y="518"/>
                        <a:pt x="739" y="518"/>
                        <a:pt x="739" y="518"/>
                      </a:cubicBezTo>
                      <a:cubicBezTo>
                        <a:pt x="739" y="519"/>
                        <a:pt x="739" y="519"/>
                        <a:pt x="739" y="519"/>
                      </a:cubicBezTo>
                      <a:cubicBezTo>
                        <a:pt x="744" y="521"/>
                        <a:pt x="744" y="521"/>
                        <a:pt x="744" y="521"/>
                      </a:cubicBezTo>
                      <a:cubicBezTo>
                        <a:pt x="743" y="523"/>
                        <a:pt x="743" y="524"/>
                        <a:pt x="742" y="526"/>
                      </a:cubicBezTo>
                      <a:cubicBezTo>
                        <a:pt x="739" y="525"/>
                        <a:pt x="739" y="525"/>
                        <a:pt x="739" y="525"/>
                      </a:cubicBezTo>
                      <a:cubicBezTo>
                        <a:pt x="739" y="525"/>
                        <a:pt x="739" y="525"/>
                        <a:pt x="739" y="525"/>
                      </a:cubicBezTo>
                      <a:cubicBezTo>
                        <a:pt x="742" y="527"/>
                        <a:pt x="742" y="527"/>
                        <a:pt x="742" y="527"/>
                      </a:cubicBezTo>
                      <a:cubicBezTo>
                        <a:pt x="741" y="528"/>
                        <a:pt x="740" y="530"/>
                        <a:pt x="740" y="532"/>
                      </a:cubicBezTo>
                      <a:cubicBezTo>
                        <a:pt x="737" y="531"/>
                        <a:pt x="737" y="531"/>
                        <a:pt x="737" y="531"/>
                      </a:cubicBezTo>
                      <a:cubicBezTo>
                        <a:pt x="737" y="532"/>
                        <a:pt x="737" y="532"/>
                        <a:pt x="737" y="532"/>
                      </a:cubicBezTo>
                      <a:cubicBezTo>
                        <a:pt x="739" y="533"/>
                        <a:pt x="739" y="533"/>
                        <a:pt x="739" y="533"/>
                      </a:cubicBezTo>
                      <a:cubicBezTo>
                        <a:pt x="739" y="534"/>
                        <a:pt x="738" y="536"/>
                        <a:pt x="737" y="538"/>
                      </a:cubicBezTo>
                      <a:cubicBezTo>
                        <a:pt x="734" y="537"/>
                        <a:pt x="734" y="537"/>
                        <a:pt x="734" y="537"/>
                      </a:cubicBezTo>
                      <a:cubicBezTo>
                        <a:pt x="734" y="538"/>
                        <a:pt x="734" y="538"/>
                        <a:pt x="734" y="538"/>
                      </a:cubicBezTo>
                      <a:cubicBezTo>
                        <a:pt x="737" y="539"/>
                        <a:pt x="737" y="539"/>
                        <a:pt x="737" y="539"/>
                      </a:cubicBezTo>
                      <a:cubicBezTo>
                        <a:pt x="736" y="540"/>
                        <a:pt x="735" y="542"/>
                        <a:pt x="735" y="544"/>
                      </a:cubicBezTo>
                      <a:cubicBezTo>
                        <a:pt x="732" y="543"/>
                        <a:pt x="732" y="543"/>
                        <a:pt x="732" y="543"/>
                      </a:cubicBezTo>
                      <a:cubicBezTo>
                        <a:pt x="732" y="544"/>
                        <a:pt x="732" y="544"/>
                        <a:pt x="732" y="544"/>
                      </a:cubicBezTo>
                      <a:cubicBezTo>
                        <a:pt x="734" y="545"/>
                        <a:pt x="734" y="545"/>
                        <a:pt x="734" y="545"/>
                      </a:cubicBezTo>
                      <a:cubicBezTo>
                        <a:pt x="734" y="546"/>
                        <a:pt x="733" y="548"/>
                        <a:pt x="732" y="550"/>
                      </a:cubicBezTo>
                      <a:cubicBezTo>
                        <a:pt x="729" y="549"/>
                        <a:pt x="729" y="549"/>
                        <a:pt x="729" y="549"/>
                      </a:cubicBezTo>
                      <a:cubicBezTo>
                        <a:pt x="729" y="549"/>
                        <a:pt x="729" y="549"/>
                        <a:pt x="729" y="549"/>
                      </a:cubicBezTo>
                      <a:cubicBezTo>
                        <a:pt x="732" y="551"/>
                        <a:pt x="732" y="551"/>
                        <a:pt x="732" y="551"/>
                      </a:cubicBezTo>
                      <a:cubicBezTo>
                        <a:pt x="731" y="552"/>
                        <a:pt x="730" y="554"/>
                        <a:pt x="729" y="556"/>
                      </a:cubicBezTo>
                      <a:cubicBezTo>
                        <a:pt x="726" y="555"/>
                        <a:pt x="726" y="555"/>
                        <a:pt x="726" y="555"/>
                      </a:cubicBezTo>
                      <a:cubicBezTo>
                        <a:pt x="726" y="555"/>
                        <a:pt x="726" y="555"/>
                        <a:pt x="726" y="555"/>
                      </a:cubicBezTo>
                      <a:cubicBezTo>
                        <a:pt x="729" y="557"/>
                        <a:pt x="729" y="557"/>
                        <a:pt x="729" y="557"/>
                      </a:cubicBezTo>
                      <a:cubicBezTo>
                        <a:pt x="728" y="558"/>
                        <a:pt x="727" y="560"/>
                        <a:pt x="726" y="562"/>
                      </a:cubicBezTo>
                      <a:cubicBezTo>
                        <a:pt x="724" y="560"/>
                        <a:pt x="724" y="560"/>
                        <a:pt x="724" y="560"/>
                      </a:cubicBezTo>
                      <a:cubicBezTo>
                        <a:pt x="723" y="561"/>
                        <a:pt x="723" y="561"/>
                        <a:pt x="723" y="561"/>
                      </a:cubicBezTo>
                      <a:cubicBezTo>
                        <a:pt x="726" y="563"/>
                        <a:pt x="726" y="563"/>
                        <a:pt x="726" y="563"/>
                      </a:cubicBezTo>
                      <a:cubicBezTo>
                        <a:pt x="725" y="564"/>
                        <a:pt x="724" y="566"/>
                        <a:pt x="723" y="568"/>
                      </a:cubicBezTo>
                      <a:cubicBezTo>
                        <a:pt x="721" y="566"/>
                        <a:pt x="721" y="566"/>
                        <a:pt x="721" y="566"/>
                      </a:cubicBezTo>
                      <a:cubicBezTo>
                        <a:pt x="720" y="567"/>
                        <a:pt x="720" y="567"/>
                        <a:pt x="720" y="567"/>
                      </a:cubicBezTo>
                      <a:cubicBezTo>
                        <a:pt x="723" y="568"/>
                        <a:pt x="723" y="568"/>
                        <a:pt x="723" y="568"/>
                      </a:cubicBezTo>
                      <a:cubicBezTo>
                        <a:pt x="722" y="570"/>
                        <a:pt x="721" y="572"/>
                        <a:pt x="720" y="573"/>
                      </a:cubicBezTo>
                      <a:cubicBezTo>
                        <a:pt x="717" y="572"/>
                        <a:pt x="717" y="572"/>
                        <a:pt x="717" y="572"/>
                      </a:cubicBezTo>
                      <a:cubicBezTo>
                        <a:pt x="717" y="573"/>
                        <a:pt x="717" y="573"/>
                        <a:pt x="717" y="573"/>
                      </a:cubicBezTo>
                      <a:cubicBezTo>
                        <a:pt x="720" y="574"/>
                        <a:pt x="720" y="574"/>
                        <a:pt x="720" y="574"/>
                      </a:cubicBezTo>
                      <a:cubicBezTo>
                        <a:pt x="719" y="576"/>
                        <a:pt x="718" y="577"/>
                        <a:pt x="717" y="579"/>
                      </a:cubicBezTo>
                      <a:cubicBezTo>
                        <a:pt x="712" y="576"/>
                        <a:pt x="712" y="576"/>
                        <a:pt x="712" y="576"/>
                      </a:cubicBezTo>
                      <a:cubicBezTo>
                        <a:pt x="712" y="576"/>
                        <a:pt x="712" y="576"/>
                        <a:pt x="712" y="576"/>
                      </a:cubicBezTo>
                      <a:cubicBezTo>
                        <a:pt x="705" y="573"/>
                        <a:pt x="705" y="573"/>
                        <a:pt x="705" y="573"/>
                      </a:cubicBezTo>
                      <a:cubicBezTo>
                        <a:pt x="705" y="573"/>
                        <a:pt x="705" y="573"/>
                        <a:pt x="705" y="573"/>
                      </a:cubicBezTo>
                      <a:cubicBezTo>
                        <a:pt x="712" y="577"/>
                        <a:pt x="712" y="577"/>
                        <a:pt x="712" y="577"/>
                      </a:cubicBezTo>
                      <a:cubicBezTo>
                        <a:pt x="711" y="578"/>
                        <a:pt x="711" y="578"/>
                        <a:pt x="711" y="578"/>
                      </a:cubicBezTo>
                      <a:cubicBezTo>
                        <a:pt x="716" y="580"/>
                        <a:pt x="716" y="580"/>
                        <a:pt x="716" y="580"/>
                      </a:cubicBezTo>
                      <a:cubicBezTo>
                        <a:pt x="715" y="582"/>
                        <a:pt x="714" y="583"/>
                        <a:pt x="713" y="585"/>
                      </a:cubicBezTo>
                      <a:cubicBezTo>
                        <a:pt x="711" y="583"/>
                        <a:pt x="711" y="583"/>
                        <a:pt x="711" y="583"/>
                      </a:cubicBezTo>
                      <a:cubicBezTo>
                        <a:pt x="711" y="584"/>
                        <a:pt x="711" y="584"/>
                        <a:pt x="711" y="584"/>
                      </a:cubicBezTo>
                      <a:cubicBezTo>
                        <a:pt x="713" y="585"/>
                        <a:pt x="713" y="585"/>
                        <a:pt x="713" y="585"/>
                      </a:cubicBezTo>
                      <a:cubicBezTo>
                        <a:pt x="712" y="587"/>
                        <a:pt x="711" y="589"/>
                        <a:pt x="710" y="590"/>
                      </a:cubicBezTo>
                      <a:cubicBezTo>
                        <a:pt x="708" y="589"/>
                        <a:pt x="708" y="589"/>
                        <a:pt x="708" y="589"/>
                      </a:cubicBezTo>
                      <a:cubicBezTo>
                        <a:pt x="707" y="590"/>
                        <a:pt x="707" y="590"/>
                        <a:pt x="707" y="590"/>
                      </a:cubicBezTo>
                      <a:cubicBezTo>
                        <a:pt x="710" y="591"/>
                        <a:pt x="710" y="591"/>
                        <a:pt x="710" y="591"/>
                      </a:cubicBezTo>
                      <a:cubicBezTo>
                        <a:pt x="709" y="593"/>
                        <a:pt x="707" y="594"/>
                        <a:pt x="706" y="596"/>
                      </a:cubicBezTo>
                      <a:cubicBezTo>
                        <a:pt x="704" y="594"/>
                        <a:pt x="704" y="594"/>
                        <a:pt x="704" y="594"/>
                      </a:cubicBezTo>
                      <a:cubicBezTo>
                        <a:pt x="704" y="595"/>
                        <a:pt x="704" y="595"/>
                        <a:pt x="704" y="595"/>
                      </a:cubicBezTo>
                      <a:cubicBezTo>
                        <a:pt x="706" y="597"/>
                        <a:pt x="706" y="597"/>
                        <a:pt x="706" y="597"/>
                      </a:cubicBezTo>
                      <a:cubicBezTo>
                        <a:pt x="705" y="598"/>
                        <a:pt x="704" y="600"/>
                        <a:pt x="703" y="601"/>
                      </a:cubicBezTo>
                      <a:cubicBezTo>
                        <a:pt x="700" y="600"/>
                        <a:pt x="700" y="600"/>
                        <a:pt x="700" y="600"/>
                      </a:cubicBezTo>
                      <a:cubicBezTo>
                        <a:pt x="700" y="600"/>
                        <a:pt x="700" y="600"/>
                        <a:pt x="700" y="600"/>
                      </a:cubicBezTo>
                      <a:cubicBezTo>
                        <a:pt x="702" y="602"/>
                        <a:pt x="702" y="602"/>
                        <a:pt x="702" y="602"/>
                      </a:cubicBezTo>
                      <a:cubicBezTo>
                        <a:pt x="701" y="604"/>
                        <a:pt x="700" y="605"/>
                        <a:pt x="699" y="607"/>
                      </a:cubicBezTo>
                      <a:cubicBezTo>
                        <a:pt x="697" y="605"/>
                        <a:pt x="697" y="605"/>
                        <a:pt x="697" y="605"/>
                      </a:cubicBezTo>
                      <a:cubicBezTo>
                        <a:pt x="696" y="606"/>
                        <a:pt x="696" y="606"/>
                        <a:pt x="696" y="606"/>
                      </a:cubicBezTo>
                      <a:cubicBezTo>
                        <a:pt x="699" y="607"/>
                        <a:pt x="699" y="607"/>
                        <a:pt x="699" y="607"/>
                      </a:cubicBezTo>
                      <a:cubicBezTo>
                        <a:pt x="698" y="609"/>
                        <a:pt x="696" y="611"/>
                        <a:pt x="695" y="612"/>
                      </a:cubicBezTo>
                      <a:cubicBezTo>
                        <a:pt x="693" y="610"/>
                        <a:pt x="693" y="610"/>
                        <a:pt x="693" y="610"/>
                      </a:cubicBezTo>
                      <a:cubicBezTo>
                        <a:pt x="693" y="611"/>
                        <a:pt x="693" y="611"/>
                        <a:pt x="693" y="611"/>
                      </a:cubicBezTo>
                      <a:cubicBezTo>
                        <a:pt x="695" y="613"/>
                        <a:pt x="695" y="613"/>
                        <a:pt x="695" y="613"/>
                      </a:cubicBezTo>
                      <a:cubicBezTo>
                        <a:pt x="694" y="614"/>
                        <a:pt x="693" y="616"/>
                        <a:pt x="691" y="617"/>
                      </a:cubicBezTo>
                      <a:cubicBezTo>
                        <a:pt x="689" y="616"/>
                        <a:pt x="689" y="616"/>
                        <a:pt x="689" y="616"/>
                      </a:cubicBezTo>
                      <a:cubicBezTo>
                        <a:pt x="689" y="616"/>
                        <a:pt x="689" y="616"/>
                        <a:pt x="689" y="616"/>
                      </a:cubicBezTo>
                      <a:cubicBezTo>
                        <a:pt x="691" y="618"/>
                        <a:pt x="691" y="618"/>
                        <a:pt x="691" y="618"/>
                      </a:cubicBezTo>
                      <a:cubicBezTo>
                        <a:pt x="690" y="620"/>
                        <a:pt x="689" y="621"/>
                        <a:pt x="687" y="623"/>
                      </a:cubicBezTo>
                      <a:cubicBezTo>
                        <a:pt x="685" y="621"/>
                        <a:pt x="685" y="621"/>
                        <a:pt x="685" y="621"/>
                      </a:cubicBezTo>
                      <a:cubicBezTo>
                        <a:pt x="685" y="622"/>
                        <a:pt x="685" y="622"/>
                        <a:pt x="685" y="622"/>
                      </a:cubicBezTo>
                      <a:cubicBezTo>
                        <a:pt x="687" y="623"/>
                        <a:pt x="687" y="623"/>
                        <a:pt x="687" y="623"/>
                      </a:cubicBezTo>
                      <a:cubicBezTo>
                        <a:pt x="686" y="625"/>
                        <a:pt x="684" y="626"/>
                        <a:pt x="683" y="628"/>
                      </a:cubicBezTo>
                      <a:cubicBezTo>
                        <a:pt x="681" y="626"/>
                        <a:pt x="681" y="626"/>
                        <a:pt x="681" y="626"/>
                      </a:cubicBezTo>
                      <a:cubicBezTo>
                        <a:pt x="681" y="627"/>
                        <a:pt x="681" y="627"/>
                        <a:pt x="681" y="627"/>
                      </a:cubicBezTo>
                      <a:cubicBezTo>
                        <a:pt x="683" y="628"/>
                        <a:pt x="683" y="628"/>
                        <a:pt x="683" y="628"/>
                      </a:cubicBezTo>
                      <a:cubicBezTo>
                        <a:pt x="682" y="630"/>
                        <a:pt x="681" y="631"/>
                        <a:pt x="679" y="632"/>
                      </a:cubicBezTo>
                      <a:cubicBezTo>
                        <a:pt x="675" y="629"/>
                        <a:pt x="675" y="629"/>
                        <a:pt x="675" y="629"/>
                      </a:cubicBezTo>
                      <a:cubicBezTo>
                        <a:pt x="675" y="629"/>
                        <a:pt x="675" y="629"/>
                        <a:pt x="675" y="629"/>
                      </a:cubicBezTo>
                      <a:cubicBezTo>
                        <a:pt x="669" y="624"/>
                        <a:pt x="669" y="624"/>
                        <a:pt x="669" y="624"/>
                      </a:cubicBezTo>
                      <a:cubicBezTo>
                        <a:pt x="669" y="625"/>
                        <a:pt x="669" y="625"/>
                        <a:pt x="669" y="625"/>
                      </a:cubicBezTo>
                      <a:cubicBezTo>
                        <a:pt x="675" y="630"/>
                        <a:pt x="675" y="630"/>
                        <a:pt x="675" y="630"/>
                      </a:cubicBezTo>
                      <a:cubicBezTo>
                        <a:pt x="674" y="630"/>
                        <a:pt x="674" y="630"/>
                        <a:pt x="674" y="630"/>
                      </a:cubicBezTo>
                      <a:cubicBezTo>
                        <a:pt x="678" y="634"/>
                        <a:pt x="678" y="634"/>
                        <a:pt x="678" y="634"/>
                      </a:cubicBezTo>
                      <a:cubicBezTo>
                        <a:pt x="677" y="635"/>
                        <a:pt x="676" y="637"/>
                        <a:pt x="675" y="638"/>
                      </a:cubicBezTo>
                      <a:cubicBezTo>
                        <a:pt x="673" y="636"/>
                        <a:pt x="673" y="636"/>
                        <a:pt x="673" y="636"/>
                      </a:cubicBezTo>
                      <a:cubicBezTo>
                        <a:pt x="672" y="637"/>
                        <a:pt x="672" y="637"/>
                        <a:pt x="672" y="637"/>
                      </a:cubicBezTo>
                      <a:cubicBezTo>
                        <a:pt x="674" y="638"/>
                        <a:pt x="674" y="638"/>
                        <a:pt x="674" y="638"/>
                      </a:cubicBezTo>
                      <a:cubicBezTo>
                        <a:pt x="673" y="640"/>
                        <a:pt x="672" y="641"/>
                        <a:pt x="670" y="643"/>
                      </a:cubicBezTo>
                      <a:cubicBezTo>
                        <a:pt x="668" y="641"/>
                        <a:pt x="668" y="641"/>
                        <a:pt x="668" y="641"/>
                      </a:cubicBezTo>
                      <a:cubicBezTo>
                        <a:pt x="668" y="641"/>
                        <a:pt x="668" y="641"/>
                        <a:pt x="668" y="641"/>
                      </a:cubicBezTo>
                      <a:cubicBezTo>
                        <a:pt x="670" y="643"/>
                        <a:pt x="670" y="643"/>
                        <a:pt x="670" y="643"/>
                      </a:cubicBezTo>
                      <a:cubicBezTo>
                        <a:pt x="669" y="645"/>
                        <a:pt x="667" y="646"/>
                        <a:pt x="666" y="648"/>
                      </a:cubicBezTo>
                      <a:cubicBezTo>
                        <a:pt x="664" y="646"/>
                        <a:pt x="664" y="646"/>
                        <a:pt x="664" y="646"/>
                      </a:cubicBezTo>
                      <a:cubicBezTo>
                        <a:pt x="663" y="646"/>
                        <a:pt x="663" y="646"/>
                        <a:pt x="663" y="646"/>
                      </a:cubicBezTo>
                      <a:cubicBezTo>
                        <a:pt x="666" y="648"/>
                        <a:pt x="666" y="648"/>
                        <a:pt x="666" y="648"/>
                      </a:cubicBezTo>
                      <a:cubicBezTo>
                        <a:pt x="664" y="650"/>
                        <a:pt x="663" y="651"/>
                        <a:pt x="662" y="652"/>
                      </a:cubicBezTo>
                      <a:cubicBezTo>
                        <a:pt x="660" y="650"/>
                        <a:pt x="660" y="650"/>
                        <a:pt x="660" y="650"/>
                      </a:cubicBezTo>
                      <a:cubicBezTo>
                        <a:pt x="659" y="651"/>
                        <a:pt x="659" y="651"/>
                        <a:pt x="659" y="651"/>
                      </a:cubicBezTo>
                      <a:cubicBezTo>
                        <a:pt x="661" y="653"/>
                        <a:pt x="661" y="653"/>
                        <a:pt x="661" y="653"/>
                      </a:cubicBezTo>
                      <a:cubicBezTo>
                        <a:pt x="660" y="654"/>
                        <a:pt x="658" y="656"/>
                        <a:pt x="657" y="657"/>
                      </a:cubicBezTo>
                      <a:cubicBezTo>
                        <a:pt x="655" y="655"/>
                        <a:pt x="655" y="655"/>
                        <a:pt x="655" y="655"/>
                      </a:cubicBezTo>
                      <a:cubicBezTo>
                        <a:pt x="654" y="656"/>
                        <a:pt x="654" y="656"/>
                        <a:pt x="654" y="656"/>
                      </a:cubicBezTo>
                      <a:cubicBezTo>
                        <a:pt x="656" y="658"/>
                        <a:pt x="656" y="658"/>
                        <a:pt x="656" y="658"/>
                      </a:cubicBezTo>
                      <a:cubicBezTo>
                        <a:pt x="655" y="659"/>
                        <a:pt x="654" y="660"/>
                        <a:pt x="652" y="662"/>
                      </a:cubicBezTo>
                      <a:cubicBezTo>
                        <a:pt x="650" y="660"/>
                        <a:pt x="650" y="660"/>
                        <a:pt x="650" y="660"/>
                      </a:cubicBezTo>
                      <a:cubicBezTo>
                        <a:pt x="650" y="660"/>
                        <a:pt x="650" y="660"/>
                        <a:pt x="650" y="660"/>
                      </a:cubicBezTo>
                      <a:cubicBezTo>
                        <a:pt x="652" y="662"/>
                        <a:pt x="652" y="662"/>
                        <a:pt x="652" y="662"/>
                      </a:cubicBezTo>
                      <a:cubicBezTo>
                        <a:pt x="650" y="664"/>
                        <a:pt x="649" y="665"/>
                        <a:pt x="648" y="666"/>
                      </a:cubicBezTo>
                      <a:cubicBezTo>
                        <a:pt x="646" y="664"/>
                        <a:pt x="646" y="664"/>
                        <a:pt x="646" y="664"/>
                      </a:cubicBezTo>
                      <a:cubicBezTo>
                        <a:pt x="645" y="665"/>
                        <a:pt x="645" y="665"/>
                        <a:pt x="645" y="665"/>
                      </a:cubicBezTo>
                      <a:cubicBezTo>
                        <a:pt x="647" y="667"/>
                        <a:pt x="647" y="667"/>
                        <a:pt x="647" y="667"/>
                      </a:cubicBezTo>
                      <a:cubicBezTo>
                        <a:pt x="646" y="668"/>
                        <a:pt x="644" y="669"/>
                        <a:pt x="643" y="671"/>
                      </a:cubicBezTo>
                      <a:cubicBezTo>
                        <a:pt x="641" y="669"/>
                        <a:pt x="641" y="669"/>
                        <a:pt x="641" y="669"/>
                      </a:cubicBezTo>
                      <a:cubicBezTo>
                        <a:pt x="640" y="669"/>
                        <a:pt x="640" y="669"/>
                        <a:pt x="640" y="669"/>
                      </a:cubicBezTo>
                      <a:cubicBezTo>
                        <a:pt x="642" y="671"/>
                        <a:pt x="642" y="671"/>
                        <a:pt x="642" y="671"/>
                      </a:cubicBezTo>
                      <a:cubicBezTo>
                        <a:pt x="641" y="672"/>
                        <a:pt x="639" y="674"/>
                        <a:pt x="638" y="675"/>
                      </a:cubicBezTo>
                      <a:cubicBezTo>
                        <a:pt x="636" y="673"/>
                        <a:pt x="636" y="673"/>
                        <a:pt x="636" y="673"/>
                      </a:cubicBezTo>
                      <a:cubicBezTo>
                        <a:pt x="635" y="673"/>
                        <a:pt x="635" y="673"/>
                        <a:pt x="635" y="673"/>
                      </a:cubicBezTo>
                      <a:cubicBezTo>
                        <a:pt x="637" y="676"/>
                        <a:pt x="637" y="676"/>
                        <a:pt x="637" y="676"/>
                      </a:cubicBezTo>
                      <a:cubicBezTo>
                        <a:pt x="636" y="677"/>
                        <a:pt x="635" y="678"/>
                        <a:pt x="633" y="679"/>
                      </a:cubicBezTo>
                      <a:cubicBezTo>
                        <a:pt x="630" y="675"/>
                        <a:pt x="630" y="675"/>
                        <a:pt x="630" y="675"/>
                      </a:cubicBezTo>
                      <a:cubicBezTo>
                        <a:pt x="629" y="675"/>
                        <a:pt x="629" y="675"/>
                        <a:pt x="629" y="675"/>
                      </a:cubicBezTo>
                      <a:cubicBezTo>
                        <a:pt x="624" y="669"/>
                        <a:pt x="624" y="669"/>
                        <a:pt x="624" y="669"/>
                      </a:cubicBezTo>
                      <a:cubicBezTo>
                        <a:pt x="624" y="670"/>
                        <a:pt x="624" y="670"/>
                        <a:pt x="624" y="670"/>
                      </a:cubicBezTo>
                      <a:cubicBezTo>
                        <a:pt x="629" y="676"/>
                        <a:pt x="629" y="676"/>
                        <a:pt x="629" y="676"/>
                      </a:cubicBezTo>
                      <a:cubicBezTo>
                        <a:pt x="628" y="676"/>
                        <a:pt x="628" y="676"/>
                        <a:pt x="628" y="676"/>
                      </a:cubicBezTo>
                      <a:cubicBezTo>
                        <a:pt x="632" y="680"/>
                        <a:pt x="632" y="680"/>
                        <a:pt x="632" y="680"/>
                      </a:cubicBezTo>
                      <a:cubicBezTo>
                        <a:pt x="630" y="681"/>
                        <a:pt x="629" y="682"/>
                        <a:pt x="628" y="684"/>
                      </a:cubicBezTo>
                      <a:cubicBezTo>
                        <a:pt x="626" y="681"/>
                        <a:pt x="626" y="681"/>
                        <a:pt x="626" y="681"/>
                      </a:cubicBezTo>
                      <a:cubicBezTo>
                        <a:pt x="625" y="682"/>
                        <a:pt x="625" y="682"/>
                        <a:pt x="625" y="682"/>
                      </a:cubicBezTo>
                      <a:cubicBezTo>
                        <a:pt x="627" y="684"/>
                        <a:pt x="627" y="684"/>
                        <a:pt x="627" y="684"/>
                      </a:cubicBezTo>
                      <a:cubicBezTo>
                        <a:pt x="626" y="685"/>
                        <a:pt x="624" y="686"/>
                        <a:pt x="623" y="688"/>
                      </a:cubicBezTo>
                      <a:cubicBezTo>
                        <a:pt x="621" y="685"/>
                        <a:pt x="621" y="685"/>
                        <a:pt x="621" y="685"/>
                      </a:cubicBezTo>
                      <a:cubicBezTo>
                        <a:pt x="620" y="686"/>
                        <a:pt x="620" y="686"/>
                        <a:pt x="620" y="686"/>
                      </a:cubicBezTo>
                      <a:cubicBezTo>
                        <a:pt x="622" y="688"/>
                        <a:pt x="622" y="688"/>
                        <a:pt x="622" y="688"/>
                      </a:cubicBezTo>
                      <a:cubicBezTo>
                        <a:pt x="621" y="689"/>
                        <a:pt x="619" y="690"/>
                        <a:pt x="617" y="692"/>
                      </a:cubicBezTo>
                      <a:cubicBezTo>
                        <a:pt x="616" y="689"/>
                        <a:pt x="616" y="689"/>
                        <a:pt x="616" y="689"/>
                      </a:cubicBezTo>
                      <a:cubicBezTo>
                        <a:pt x="615" y="690"/>
                        <a:pt x="615" y="690"/>
                        <a:pt x="615" y="690"/>
                      </a:cubicBezTo>
                      <a:cubicBezTo>
                        <a:pt x="617" y="692"/>
                        <a:pt x="617" y="692"/>
                        <a:pt x="617" y="692"/>
                      </a:cubicBezTo>
                      <a:cubicBezTo>
                        <a:pt x="615" y="693"/>
                        <a:pt x="614" y="694"/>
                        <a:pt x="612" y="696"/>
                      </a:cubicBezTo>
                      <a:cubicBezTo>
                        <a:pt x="610" y="693"/>
                        <a:pt x="610" y="693"/>
                        <a:pt x="610" y="693"/>
                      </a:cubicBezTo>
                      <a:cubicBezTo>
                        <a:pt x="610" y="694"/>
                        <a:pt x="610" y="694"/>
                        <a:pt x="610" y="694"/>
                      </a:cubicBezTo>
                      <a:cubicBezTo>
                        <a:pt x="612" y="696"/>
                        <a:pt x="612" y="696"/>
                        <a:pt x="612" y="696"/>
                      </a:cubicBezTo>
                      <a:cubicBezTo>
                        <a:pt x="610" y="697"/>
                        <a:pt x="608" y="698"/>
                        <a:pt x="607" y="699"/>
                      </a:cubicBezTo>
                      <a:cubicBezTo>
                        <a:pt x="605" y="697"/>
                        <a:pt x="605" y="697"/>
                        <a:pt x="605" y="697"/>
                      </a:cubicBezTo>
                      <a:cubicBezTo>
                        <a:pt x="605" y="697"/>
                        <a:pt x="605" y="697"/>
                        <a:pt x="605" y="697"/>
                      </a:cubicBezTo>
                      <a:cubicBezTo>
                        <a:pt x="606" y="700"/>
                        <a:pt x="606" y="700"/>
                        <a:pt x="606" y="700"/>
                      </a:cubicBezTo>
                      <a:cubicBezTo>
                        <a:pt x="605" y="701"/>
                        <a:pt x="603" y="702"/>
                        <a:pt x="601" y="703"/>
                      </a:cubicBezTo>
                      <a:cubicBezTo>
                        <a:pt x="600" y="701"/>
                        <a:pt x="600" y="701"/>
                        <a:pt x="600" y="701"/>
                      </a:cubicBezTo>
                      <a:cubicBezTo>
                        <a:pt x="599" y="701"/>
                        <a:pt x="599" y="701"/>
                        <a:pt x="599" y="701"/>
                      </a:cubicBezTo>
                      <a:cubicBezTo>
                        <a:pt x="601" y="704"/>
                        <a:pt x="601" y="704"/>
                        <a:pt x="601" y="704"/>
                      </a:cubicBezTo>
                      <a:cubicBezTo>
                        <a:pt x="599" y="705"/>
                        <a:pt x="598" y="706"/>
                        <a:pt x="596" y="707"/>
                      </a:cubicBezTo>
                      <a:cubicBezTo>
                        <a:pt x="594" y="704"/>
                        <a:pt x="594" y="704"/>
                        <a:pt x="594" y="704"/>
                      </a:cubicBezTo>
                      <a:cubicBezTo>
                        <a:pt x="594" y="705"/>
                        <a:pt x="594" y="705"/>
                        <a:pt x="594" y="705"/>
                      </a:cubicBezTo>
                      <a:cubicBezTo>
                        <a:pt x="595" y="707"/>
                        <a:pt x="595" y="707"/>
                        <a:pt x="595" y="707"/>
                      </a:cubicBezTo>
                      <a:cubicBezTo>
                        <a:pt x="594" y="708"/>
                        <a:pt x="592" y="709"/>
                        <a:pt x="590" y="710"/>
                      </a:cubicBezTo>
                      <a:cubicBezTo>
                        <a:pt x="589" y="708"/>
                        <a:pt x="589" y="708"/>
                        <a:pt x="589" y="708"/>
                      </a:cubicBezTo>
                      <a:cubicBezTo>
                        <a:pt x="588" y="708"/>
                        <a:pt x="588" y="708"/>
                        <a:pt x="588" y="708"/>
                      </a:cubicBezTo>
                      <a:cubicBezTo>
                        <a:pt x="590" y="711"/>
                        <a:pt x="590" y="711"/>
                        <a:pt x="590" y="711"/>
                      </a:cubicBezTo>
                      <a:cubicBezTo>
                        <a:pt x="588" y="712"/>
                        <a:pt x="587" y="713"/>
                        <a:pt x="585" y="714"/>
                      </a:cubicBezTo>
                      <a:cubicBezTo>
                        <a:pt x="583" y="711"/>
                        <a:pt x="583" y="711"/>
                        <a:pt x="583" y="711"/>
                      </a:cubicBezTo>
                      <a:cubicBezTo>
                        <a:pt x="583" y="712"/>
                        <a:pt x="583" y="712"/>
                        <a:pt x="583" y="712"/>
                      </a:cubicBezTo>
                      <a:cubicBezTo>
                        <a:pt x="584" y="714"/>
                        <a:pt x="584" y="714"/>
                        <a:pt x="584" y="714"/>
                      </a:cubicBezTo>
                      <a:cubicBezTo>
                        <a:pt x="583" y="715"/>
                        <a:pt x="581" y="716"/>
                        <a:pt x="580" y="717"/>
                      </a:cubicBezTo>
                      <a:cubicBezTo>
                        <a:pt x="577" y="712"/>
                        <a:pt x="577" y="712"/>
                        <a:pt x="577" y="712"/>
                      </a:cubicBezTo>
                      <a:cubicBezTo>
                        <a:pt x="576" y="712"/>
                        <a:pt x="576" y="712"/>
                        <a:pt x="576" y="712"/>
                      </a:cubicBezTo>
                      <a:cubicBezTo>
                        <a:pt x="573" y="706"/>
                        <a:pt x="573" y="706"/>
                        <a:pt x="573" y="706"/>
                      </a:cubicBezTo>
                      <a:cubicBezTo>
                        <a:pt x="572" y="706"/>
                        <a:pt x="572" y="706"/>
                        <a:pt x="572" y="706"/>
                      </a:cubicBezTo>
                      <a:cubicBezTo>
                        <a:pt x="576" y="713"/>
                        <a:pt x="576" y="713"/>
                        <a:pt x="576" y="713"/>
                      </a:cubicBezTo>
                      <a:cubicBezTo>
                        <a:pt x="575" y="713"/>
                        <a:pt x="575" y="713"/>
                        <a:pt x="575" y="713"/>
                      </a:cubicBezTo>
                      <a:cubicBezTo>
                        <a:pt x="578" y="718"/>
                        <a:pt x="578" y="718"/>
                        <a:pt x="578" y="718"/>
                      </a:cubicBezTo>
                      <a:cubicBezTo>
                        <a:pt x="577" y="719"/>
                        <a:pt x="575" y="719"/>
                        <a:pt x="573" y="720"/>
                      </a:cubicBezTo>
                      <a:cubicBezTo>
                        <a:pt x="572" y="718"/>
                        <a:pt x="572" y="718"/>
                        <a:pt x="572" y="718"/>
                      </a:cubicBezTo>
                      <a:cubicBezTo>
                        <a:pt x="571" y="718"/>
                        <a:pt x="571" y="718"/>
                        <a:pt x="571" y="718"/>
                      </a:cubicBezTo>
                      <a:cubicBezTo>
                        <a:pt x="573" y="721"/>
                        <a:pt x="573" y="721"/>
                        <a:pt x="573" y="721"/>
                      </a:cubicBezTo>
                      <a:cubicBezTo>
                        <a:pt x="571" y="722"/>
                        <a:pt x="569" y="723"/>
                        <a:pt x="568" y="723"/>
                      </a:cubicBezTo>
                      <a:cubicBezTo>
                        <a:pt x="566" y="721"/>
                        <a:pt x="566" y="721"/>
                        <a:pt x="566" y="721"/>
                      </a:cubicBezTo>
                      <a:cubicBezTo>
                        <a:pt x="566" y="721"/>
                        <a:pt x="566" y="721"/>
                        <a:pt x="566" y="721"/>
                      </a:cubicBezTo>
                      <a:cubicBezTo>
                        <a:pt x="567" y="724"/>
                        <a:pt x="567" y="724"/>
                        <a:pt x="567" y="724"/>
                      </a:cubicBezTo>
                      <a:cubicBezTo>
                        <a:pt x="565" y="725"/>
                        <a:pt x="564" y="726"/>
                        <a:pt x="562" y="727"/>
                      </a:cubicBezTo>
                      <a:cubicBezTo>
                        <a:pt x="561" y="724"/>
                        <a:pt x="561" y="724"/>
                        <a:pt x="561" y="724"/>
                      </a:cubicBezTo>
                      <a:cubicBezTo>
                        <a:pt x="560" y="724"/>
                        <a:pt x="560" y="724"/>
                        <a:pt x="560" y="724"/>
                      </a:cubicBezTo>
                      <a:cubicBezTo>
                        <a:pt x="561" y="727"/>
                        <a:pt x="561" y="727"/>
                        <a:pt x="561" y="727"/>
                      </a:cubicBezTo>
                      <a:cubicBezTo>
                        <a:pt x="560" y="728"/>
                        <a:pt x="558" y="729"/>
                        <a:pt x="556" y="729"/>
                      </a:cubicBezTo>
                      <a:cubicBezTo>
                        <a:pt x="555" y="727"/>
                        <a:pt x="555" y="727"/>
                        <a:pt x="555" y="727"/>
                      </a:cubicBezTo>
                      <a:cubicBezTo>
                        <a:pt x="554" y="727"/>
                        <a:pt x="554" y="727"/>
                        <a:pt x="554" y="727"/>
                      </a:cubicBezTo>
                      <a:cubicBezTo>
                        <a:pt x="555" y="730"/>
                        <a:pt x="555" y="730"/>
                        <a:pt x="555" y="730"/>
                      </a:cubicBezTo>
                      <a:cubicBezTo>
                        <a:pt x="554" y="731"/>
                        <a:pt x="552" y="732"/>
                        <a:pt x="550" y="732"/>
                      </a:cubicBezTo>
                      <a:cubicBezTo>
                        <a:pt x="549" y="730"/>
                        <a:pt x="549" y="730"/>
                        <a:pt x="549" y="730"/>
                      </a:cubicBezTo>
                      <a:cubicBezTo>
                        <a:pt x="548" y="730"/>
                        <a:pt x="548" y="730"/>
                        <a:pt x="548" y="730"/>
                      </a:cubicBezTo>
                      <a:cubicBezTo>
                        <a:pt x="549" y="733"/>
                        <a:pt x="549" y="733"/>
                        <a:pt x="549" y="733"/>
                      </a:cubicBezTo>
                      <a:cubicBezTo>
                        <a:pt x="548" y="733"/>
                        <a:pt x="546" y="734"/>
                        <a:pt x="544" y="735"/>
                      </a:cubicBezTo>
                      <a:cubicBezTo>
                        <a:pt x="543" y="732"/>
                        <a:pt x="543" y="732"/>
                        <a:pt x="543" y="732"/>
                      </a:cubicBezTo>
                      <a:cubicBezTo>
                        <a:pt x="542" y="733"/>
                        <a:pt x="542" y="733"/>
                        <a:pt x="542" y="733"/>
                      </a:cubicBezTo>
                      <a:cubicBezTo>
                        <a:pt x="543" y="735"/>
                        <a:pt x="543" y="735"/>
                        <a:pt x="543" y="735"/>
                      </a:cubicBezTo>
                      <a:cubicBezTo>
                        <a:pt x="542" y="736"/>
                        <a:pt x="540" y="737"/>
                        <a:pt x="538" y="738"/>
                      </a:cubicBezTo>
                      <a:cubicBezTo>
                        <a:pt x="537" y="735"/>
                        <a:pt x="537" y="735"/>
                        <a:pt x="537" y="735"/>
                      </a:cubicBezTo>
                      <a:cubicBezTo>
                        <a:pt x="536" y="735"/>
                        <a:pt x="536" y="735"/>
                        <a:pt x="536" y="735"/>
                      </a:cubicBezTo>
                      <a:cubicBezTo>
                        <a:pt x="537" y="738"/>
                        <a:pt x="537" y="738"/>
                        <a:pt x="537" y="738"/>
                      </a:cubicBezTo>
                      <a:cubicBezTo>
                        <a:pt x="536" y="739"/>
                        <a:pt x="534" y="740"/>
                        <a:pt x="532" y="740"/>
                      </a:cubicBezTo>
                      <a:cubicBezTo>
                        <a:pt x="531" y="737"/>
                        <a:pt x="531" y="737"/>
                        <a:pt x="531" y="737"/>
                      </a:cubicBezTo>
                      <a:cubicBezTo>
                        <a:pt x="530" y="738"/>
                        <a:pt x="530" y="738"/>
                        <a:pt x="530" y="738"/>
                      </a:cubicBezTo>
                      <a:cubicBezTo>
                        <a:pt x="531" y="741"/>
                        <a:pt x="531" y="741"/>
                        <a:pt x="531" y="741"/>
                      </a:cubicBezTo>
                      <a:cubicBezTo>
                        <a:pt x="530" y="741"/>
                        <a:pt x="528" y="742"/>
                        <a:pt x="526" y="743"/>
                      </a:cubicBezTo>
                      <a:cubicBezTo>
                        <a:pt x="525" y="740"/>
                        <a:pt x="525" y="740"/>
                        <a:pt x="525" y="740"/>
                      </a:cubicBezTo>
                      <a:cubicBezTo>
                        <a:pt x="524" y="740"/>
                        <a:pt x="524" y="740"/>
                        <a:pt x="524" y="740"/>
                      </a:cubicBezTo>
                      <a:cubicBezTo>
                        <a:pt x="525" y="743"/>
                        <a:pt x="525" y="743"/>
                        <a:pt x="525" y="743"/>
                      </a:cubicBezTo>
                      <a:cubicBezTo>
                        <a:pt x="524" y="744"/>
                        <a:pt x="522" y="744"/>
                        <a:pt x="520" y="745"/>
                      </a:cubicBezTo>
                      <a:cubicBezTo>
                        <a:pt x="518" y="740"/>
                        <a:pt x="518" y="740"/>
                        <a:pt x="518" y="740"/>
                      </a:cubicBezTo>
                      <a:cubicBezTo>
                        <a:pt x="518" y="740"/>
                        <a:pt x="518" y="740"/>
                        <a:pt x="518" y="740"/>
                      </a:cubicBezTo>
                      <a:cubicBezTo>
                        <a:pt x="515" y="733"/>
                        <a:pt x="515" y="733"/>
                        <a:pt x="515" y="733"/>
                      </a:cubicBezTo>
                      <a:cubicBezTo>
                        <a:pt x="515" y="733"/>
                        <a:pt x="515" y="733"/>
                        <a:pt x="515" y="733"/>
                      </a:cubicBezTo>
                      <a:cubicBezTo>
                        <a:pt x="517" y="740"/>
                        <a:pt x="517" y="740"/>
                        <a:pt x="517" y="740"/>
                      </a:cubicBezTo>
                      <a:cubicBezTo>
                        <a:pt x="517" y="740"/>
                        <a:pt x="517" y="740"/>
                        <a:pt x="517" y="740"/>
                      </a:cubicBezTo>
                      <a:cubicBezTo>
                        <a:pt x="519" y="745"/>
                        <a:pt x="519" y="745"/>
                        <a:pt x="519" y="745"/>
                      </a:cubicBezTo>
                      <a:cubicBezTo>
                        <a:pt x="517" y="746"/>
                        <a:pt x="515" y="747"/>
                        <a:pt x="514" y="747"/>
                      </a:cubicBezTo>
                      <a:cubicBezTo>
                        <a:pt x="513" y="744"/>
                        <a:pt x="513" y="744"/>
                        <a:pt x="513" y="744"/>
                      </a:cubicBezTo>
                      <a:cubicBezTo>
                        <a:pt x="512" y="745"/>
                        <a:pt x="512" y="745"/>
                        <a:pt x="512" y="745"/>
                      </a:cubicBezTo>
                      <a:cubicBezTo>
                        <a:pt x="513" y="747"/>
                        <a:pt x="513" y="747"/>
                        <a:pt x="513" y="747"/>
                      </a:cubicBezTo>
                      <a:cubicBezTo>
                        <a:pt x="511" y="748"/>
                        <a:pt x="509" y="749"/>
                        <a:pt x="507" y="749"/>
                      </a:cubicBezTo>
                      <a:cubicBezTo>
                        <a:pt x="506" y="746"/>
                        <a:pt x="506" y="746"/>
                        <a:pt x="506" y="746"/>
                      </a:cubicBezTo>
                      <a:cubicBezTo>
                        <a:pt x="506" y="747"/>
                        <a:pt x="506" y="747"/>
                        <a:pt x="506" y="747"/>
                      </a:cubicBezTo>
                      <a:cubicBezTo>
                        <a:pt x="507" y="750"/>
                        <a:pt x="507" y="750"/>
                        <a:pt x="507" y="750"/>
                      </a:cubicBezTo>
                      <a:cubicBezTo>
                        <a:pt x="505" y="750"/>
                        <a:pt x="503" y="751"/>
                        <a:pt x="501" y="751"/>
                      </a:cubicBezTo>
                      <a:cubicBezTo>
                        <a:pt x="500" y="748"/>
                        <a:pt x="500" y="748"/>
                        <a:pt x="500" y="748"/>
                      </a:cubicBezTo>
                      <a:cubicBezTo>
                        <a:pt x="500" y="749"/>
                        <a:pt x="500" y="749"/>
                        <a:pt x="500" y="749"/>
                      </a:cubicBezTo>
                      <a:cubicBezTo>
                        <a:pt x="500" y="752"/>
                        <a:pt x="500" y="752"/>
                        <a:pt x="500" y="752"/>
                      </a:cubicBezTo>
                      <a:cubicBezTo>
                        <a:pt x="499" y="752"/>
                        <a:pt x="497" y="753"/>
                        <a:pt x="495" y="753"/>
                      </a:cubicBezTo>
                      <a:cubicBezTo>
                        <a:pt x="494" y="750"/>
                        <a:pt x="494" y="750"/>
                        <a:pt x="494" y="750"/>
                      </a:cubicBezTo>
                      <a:cubicBezTo>
                        <a:pt x="493" y="750"/>
                        <a:pt x="493" y="750"/>
                        <a:pt x="493" y="750"/>
                      </a:cubicBezTo>
                      <a:cubicBezTo>
                        <a:pt x="494" y="753"/>
                        <a:pt x="494" y="753"/>
                        <a:pt x="494" y="753"/>
                      </a:cubicBezTo>
                      <a:cubicBezTo>
                        <a:pt x="492" y="754"/>
                        <a:pt x="490" y="754"/>
                        <a:pt x="489" y="755"/>
                      </a:cubicBezTo>
                      <a:cubicBezTo>
                        <a:pt x="488" y="752"/>
                        <a:pt x="488" y="752"/>
                        <a:pt x="488" y="752"/>
                      </a:cubicBezTo>
                      <a:cubicBezTo>
                        <a:pt x="487" y="752"/>
                        <a:pt x="487" y="752"/>
                        <a:pt x="487" y="752"/>
                      </a:cubicBezTo>
                      <a:cubicBezTo>
                        <a:pt x="488" y="755"/>
                        <a:pt x="488" y="755"/>
                        <a:pt x="488" y="755"/>
                      </a:cubicBezTo>
                      <a:cubicBezTo>
                        <a:pt x="486" y="756"/>
                        <a:pt x="484" y="756"/>
                        <a:pt x="482" y="757"/>
                      </a:cubicBezTo>
                      <a:cubicBezTo>
                        <a:pt x="481" y="754"/>
                        <a:pt x="481" y="754"/>
                        <a:pt x="481" y="754"/>
                      </a:cubicBezTo>
                      <a:cubicBezTo>
                        <a:pt x="481" y="754"/>
                        <a:pt x="481" y="754"/>
                        <a:pt x="481" y="754"/>
                      </a:cubicBezTo>
                      <a:cubicBezTo>
                        <a:pt x="481" y="757"/>
                        <a:pt x="481" y="757"/>
                        <a:pt x="481" y="757"/>
                      </a:cubicBezTo>
                      <a:cubicBezTo>
                        <a:pt x="480" y="757"/>
                        <a:pt x="478" y="758"/>
                        <a:pt x="476" y="758"/>
                      </a:cubicBezTo>
                      <a:cubicBezTo>
                        <a:pt x="475" y="755"/>
                        <a:pt x="475" y="755"/>
                        <a:pt x="475" y="755"/>
                      </a:cubicBezTo>
                      <a:cubicBezTo>
                        <a:pt x="474" y="755"/>
                        <a:pt x="474" y="755"/>
                        <a:pt x="474" y="755"/>
                      </a:cubicBezTo>
                      <a:cubicBezTo>
                        <a:pt x="475" y="758"/>
                        <a:pt x="475" y="758"/>
                        <a:pt x="475" y="758"/>
                      </a:cubicBezTo>
                      <a:cubicBezTo>
                        <a:pt x="473" y="759"/>
                        <a:pt x="471" y="759"/>
                        <a:pt x="469" y="760"/>
                      </a:cubicBezTo>
                      <a:cubicBezTo>
                        <a:pt x="469" y="757"/>
                        <a:pt x="469" y="757"/>
                        <a:pt x="469" y="757"/>
                      </a:cubicBezTo>
                      <a:cubicBezTo>
                        <a:pt x="468" y="757"/>
                        <a:pt x="468" y="757"/>
                        <a:pt x="468" y="757"/>
                      </a:cubicBezTo>
                      <a:cubicBezTo>
                        <a:pt x="469" y="760"/>
                        <a:pt x="469" y="760"/>
                        <a:pt x="469" y="760"/>
                      </a:cubicBezTo>
                      <a:cubicBezTo>
                        <a:pt x="467" y="760"/>
                        <a:pt x="465" y="760"/>
                        <a:pt x="463" y="761"/>
                      </a:cubicBezTo>
                      <a:cubicBezTo>
                        <a:pt x="462" y="758"/>
                        <a:pt x="462" y="758"/>
                        <a:pt x="462" y="758"/>
                      </a:cubicBezTo>
                      <a:cubicBezTo>
                        <a:pt x="462" y="758"/>
                        <a:pt x="462" y="758"/>
                        <a:pt x="462" y="758"/>
                      </a:cubicBezTo>
                      <a:cubicBezTo>
                        <a:pt x="462" y="761"/>
                        <a:pt x="462" y="761"/>
                        <a:pt x="462" y="761"/>
                      </a:cubicBezTo>
                      <a:cubicBezTo>
                        <a:pt x="460" y="761"/>
                        <a:pt x="459" y="762"/>
                        <a:pt x="457" y="762"/>
                      </a:cubicBezTo>
                      <a:cubicBezTo>
                        <a:pt x="456" y="757"/>
                        <a:pt x="456" y="757"/>
                        <a:pt x="456" y="757"/>
                      </a:cubicBezTo>
                      <a:cubicBezTo>
                        <a:pt x="456" y="757"/>
                        <a:pt x="456" y="757"/>
                        <a:pt x="456" y="757"/>
                      </a:cubicBezTo>
                      <a:cubicBezTo>
                        <a:pt x="454" y="749"/>
                        <a:pt x="454" y="749"/>
                        <a:pt x="454" y="749"/>
                      </a:cubicBezTo>
                      <a:cubicBezTo>
                        <a:pt x="453" y="749"/>
                        <a:pt x="453" y="749"/>
                        <a:pt x="453" y="749"/>
                      </a:cubicBezTo>
                      <a:cubicBezTo>
                        <a:pt x="455" y="757"/>
                        <a:pt x="455" y="757"/>
                        <a:pt x="455" y="757"/>
                      </a:cubicBezTo>
                      <a:cubicBezTo>
                        <a:pt x="454" y="757"/>
                        <a:pt x="454" y="757"/>
                        <a:pt x="454" y="757"/>
                      </a:cubicBezTo>
                      <a:cubicBezTo>
                        <a:pt x="455" y="762"/>
                        <a:pt x="455" y="762"/>
                        <a:pt x="455" y="762"/>
                      </a:cubicBezTo>
                      <a:cubicBezTo>
                        <a:pt x="454" y="763"/>
                        <a:pt x="452" y="763"/>
                        <a:pt x="450" y="763"/>
                      </a:cubicBezTo>
                      <a:cubicBezTo>
                        <a:pt x="450" y="760"/>
                        <a:pt x="450" y="760"/>
                        <a:pt x="450" y="760"/>
                      </a:cubicBezTo>
                      <a:cubicBezTo>
                        <a:pt x="449" y="760"/>
                        <a:pt x="449" y="760"/>
                        <a:pt x="449" y="760"/>
                      </a:cubicBezTo>
                      <a:cubicBezTo>
                        <a:pt x="449" y="763"/>
                        <a:pt x="449" y="763"/>
                        <a:pt x="449" y="763"/>
                      </a:cubicBezTo>
                      <a:cubicBezTo>
                        <a:pt x="447" y="764"/>
                        <a:pt x="445" y="764"/>
                        <a:pt x="444" y="764"/>
                      </a:cubicBezTo>
                      <a:cubicBezTo>
                        <a:pt x="443" y="761"/>
                        <a:pt x="443" y="761"/>
                        <a:pt x="443" y="761"/>
                      </a:cubicBezTo>
                      <a:cubicBezTo>
                        <a:pt x="442" y="761"/>
                        <a:pt x="442" y="761"/>
                        <a:pt x="442" y="761"/>
                      </a:cubicBezTo>
                      <a:cubicBezTo>
                        <a:pt x="443" y="764"/>
                        <a:pt x="443" y="764"/>
                        <a:pt x="443" y="764"/>
                      </a:cubicBezTo>
                      <a:cubicBezTo>
                        <a:pt x="441" y="764"/>
                        <a:pt x="439" y="765"/>
                        <a:pt x="437" y="765"/>
                      </a:cubicBezTo>
                      <a:cubicBezTo>
                        <a:pt x="437" y="762"/>
                        <a:pt x="437" y="762"/>
                        <a:pt x="437" y="762"/>
                      </a:cubicBezTo>
                      <a:cubicBezTo>
                        <a:pt x="436" y="762"/>
                        <a:pt x="436" y="762"/>
                        <a:pt x="436" y="762"/>
                      </a:cubicBezTo>
                      <a:cubicBezTo>
                        <a:pt x="436" y="765"/>
                        <a:pt x="436" y="765"/>
                        <a:pt x="436" y="765"/>
                      </a:cubicBezTo>
                      <a:cubicBezTo>
                        <a:pt x="434" y="765"/>
                        <a:pt x="432" y="766"/>
                        <a:pt x="431" y="766"/>
                      </a:cubicBezTo>
                      <a:cubicBezTo>
                        <a:pt x="430" y="763"/>
                        <a:pt x="430" y="763"/>
                        <a:pt x="430" y="763"/>
                      </a:cubicBezTo>
                      <a:cubicBezTo>
                        <a:pt x="429" y="763"/>
                        <a:pt x="429" y="763"/>
                        <a:pt x="429" y="763"/>
                      </a:cubicBezTo>
                      <a:cubicBezTo>
                        <a:pt x="430" y="766"/>
                        <a:pt x="430" y="766"/>
                        <a:pt x="430" y="766"/>
                      </a:cubicBezTo>
                      <a:cubicBezTo>
                        <a:pt x="428" y="766"/>
                        <a:pt x="426" y="766"/>
                        <a:pt x="424" y="766"/>
                      </a:cubicBezTo>
                      <a:cubicBezTo>
                        <a:pt x="424" y="763"/>
                        <a:pt x="424" y="763"/>
                        <a:pt x="424" y="763"/>
                      </a:cubicBezTo>
                      <a:cubicBezTo>
                        <a:pt x="423" y="763"/>
                        <a:pt x="423" y="763"/>
                        <a:pt x="423" y="763"/>
                      </a:cubicBezTo>
                      <a:cubicBezTo>
                        <a:pt x="423" y="766"/>
                        <a:pt x="423" y="766"/>
                        <a:pt x="423" y="766"/>
                      </a:cubicBezTo>
                      <a:cubicBezTo>
                        <a:pt x="421" y="767"/>
                        <a:pt x="419" y="767"/>
                        <a:pt x="417" y="767"/>
                      </a:cubicBezTo>
                      <a:cubicBezTo>
                        <a:pt x="417" y="764"/>
                        <a:pt x="417" y="764"/>
                        <a:pt x="417" y="764"/>
                      </a:cubicBezTo>
                      <a:cubicBezTo>
                        <a:pt x="416" y="764"/>
                        <a:pt x="416" y="764"/>
                        <a:pt x="416" y="764"/>
                      </a:cubicBezTo>
                      <a:cubicBezTo>
                        <a:pt x="417" y="767"/>
                        <a:pt x="417" y="767"/>
                        <a:pt x="417" y="767"/>
                      </a:cubicBezTo>
                      <a:cubicBezTo>
                        <a:pt x="415" y="767"/>
                        <a:pt x="413" y="767"/>
                        <a:pt x="411" y="767"/>
                      </a:cubicBezTo>
                      <a:cubicBezTo>
                        <a:pt x="411" y="764"/>
                        <a:pt x="411" y="764"/>
                        <a:pt x="411" y="764"/>
                      </a:cubicBezTo>
                      <a:cubicBezTo>
                        <a:pt x="410" y="764"/>
                        <a:pt x="410" y="764"/>
                        <a:pt x="410" y="764"/>
                      </a:cubicBezTo>
                      <a:cubicBezTo>
                        <a:pt x="410" y="767"/>
                        <a:pt x="410" y="767"/>
                        <a:pt x="410" y="767"/>
                      </a:cubicBezTo>
                      <a:cubicBezTo>
                        <a:pt x="408" y="767"/>
                        <a:pt x="406" y="767"/>
                        <a:pt x="404" y="768"/>
                      </a:cubicBezTo>
                      <a:cubicBezTo>
                        <a:pt x="404" y="765"/>
                        <a:pt x="404" y="765"/>
                        <a:pt x="404" y="765"/>
                      </a:cubicBezTo>
                      <a:cubicBezTo>
                        <a:pt x="403" y="765"/>
                        <a:pt x="403" y="765"/>
                        <a:pt x="403" y="765"/>
                      </a:cubicBezTo>
                      <a:cubicBezTo>
                        <a:pt x="404" y="768"/>
                        <a:pt x="404" y="768"/>
                        <a:pt x="404" y="768"/>
                      </a:cubicBezTo>
                      <a:cubicBezTo>
                        <a:pt x="402" y="768"/>
                        <a:pt x="400" y="768"/>
                        <a:pt x="398" y="768"/>
                      </a:cubicBezTo>
                      <a:cubicBezTo>
                        <a:pt x="398" y="765"/>
                        <a:pt x="398" y="765"/>
                        <a:pt x="398" y="765"/>
                      </a:cubicBezTo>
                      <a:cubicBezTo>
                        <a:pt x="397" y="765"/>
                        <a:pt x="397" y="765"/>
                        <a:pt x="397" y="765"/>
                      </a:cubicBezTo>
                      <a:cubicBezTo>
                        <a:pt x="397" y="768"/>
                        <a:pt x="397" y="768"/>
                        <a:pt x="397" y="768"/>
                      </a:cubicBezTo>
                      <a:cubicBezTo>
                        <a:pt x="395" y="768"/>
                        <a:pt x="393" y="768"/>
                        <a:pt x="392" y="768"/>
                      </a:cubicBezTo>
                      <a:cubicBezTo>
                        <a:pt x="392" y="762"/>
                        <a:pt x="392" y="762"/>
                        <a:pt x="392" y="762"/>
                      </a:cubicBezTo>
                      <a:cubicBezTo>
                        <a:pt x="391" y="762"/>
                        <a:pt x="391" y="762"/>
                        <a:pt x="391" y="762"/>
                      </a:cubicBezTo>
                      <a:cubicBezTo>
                        <a:pt x="391" y="755"/>
                        <a:pt x="391" y="755"/>
                        <a:pt x="391" y="755"/>
                      </a:cubicBezTo>
                      <a:cubicBezTo>
                        <a:pt x="390" y="755"/>
                        <a:pt x="390" y="755"/>
                        <a:pt x="390" y="755"/>
                      </a:cubicBezTo>
                      <a:cubicBezTo>
                        <a:pt x="390" y="762"/>
                        <a:pt x="390" y="762"/>
                        <a:pt x="390" y="762"/>
                      </a:cubicBezTo>
                      <a:cubicBezTo>
                        <a:pt x="390" y="762"/>
                        <a:pt x="390" y="762"/>
                        <a:pt x="390" y="762"/>
                      </a:cubicBezTo>
                      <a:cubicBezTo>
                        <a:pt x="390" y="768"/>
                        <a:pt x="390" y="768"/>
                        <a:pt x="390" y="768"/>
                      </a:cubicBezTo>
                      <a:cubicBezTo>
                        <a:pt x="388" y="768"/>
                        <a:pt x="386" y="768"/>
                        <a:pt x="385" y="768"/>
                      </a:cubicBezTo>
                      <a:cubicBezTo>
                        <a:pt x="385" y="765"/>
                        <a:pt x="385" y="765"/>
                        <a:pt x="385" y="765"/>
                      </a:cubicBezTo>
                      <a:cubicBezTo>
                        <a:pt x="384" y="765"/>
                        <a:pt x="384" y="765"/>
                        <a:pt x="384" y="765"/>
                      </a:cubicBezTo>
                      <a:cubicBezTo>
                        <a:pt x="384" y="768"/>
                        <a:pt x="384" y="768"/>
                        <a:pt x="384" y="768"/>
                      </a:cubicBezTo>
                      <a:cubicBezTo>
                        <a:pt x="382" y="768"/>
                        <a:pt x="380" y="768"/>
                        <a:pt x="378" y="768"/>
                      </a:cubicBezTo>
                      <a:cubicBezTo>
                        <a:pt x="378" y="765"/>
                        <a:pt x="378" y="765"/>
                        <a:pt x="378" y="765"/>
                      </a:cubicBezTo>
                      <a:cubicBezTo>
                        <a:pt x="377" y="765"/>
                        <a:pt x="377" y="765"/>
                        <a:pt x="377" y="765"/>
                      </a:cubicBezTo>
                      <a:cubicBezTo>
                        <a:pt x="377" y="768"/>
                        <a:pt x="377" y="768"/>
                        <a:pt x="377" y="768"/>
                      </a:cubicBezTo>
                      <a:cubicBezTo>
                        <a:pt x="375" y="767"/>
                        <a:pt x="373" y="767"/>
                        <a:pt x="372" y="767"/>
                      </a:cubicBezTo>
                      <a:cubicBezTo>
                        <a:pt x="372" y="764"/>
                        <a:pt x="372" y="764"/>
                        <a:pt x="372" y="764"/>
                      </a:cubicBezTo>
                      <a:cubicBezTo>
                        <a:pt x="371" y="764"/>
                        <a:pt x="371" y="764"/>
                        <a:pt x="371" y="764"/>
                      </a:cubicBezTo>
                      <a:cubicBezTo>
                        <a:pt x="371" y="767"/>
                        <a:pt x="371" y="767"/>
                        <a:pt x="371" y="767"/>
                      </a:cubicBezTo>
                      <a:cubicBezTo>
                        <a:pt x="369" y="767"/>
                        <a:pt x="367" y="767"/>
                        <a:pt x="365" y="767"/>
                      </a:cubicBezTo>
                      <a:cubicBezTo>
                        <a:pt x="365" y="764"/>
                        <a:pt x="365" y="764"/>
                        <a:pt x="365" y="764"/>
                      </a:cubicBezTo>
                      <a:cubicBezTo>
                        <a:pt x="364" y="764"/>
                        <a:pt x="364" y="764"/>
                        <a:pt x="364" y="764"/>
                      </a:cubicBezTo>
                      <a:cubicBezTo>
                        <a:pt x="364" y="767"/>
                        <a:pt x="364" y="767"/>
                        <a:pt x="364" y="767"/>
                      </a:cubicBezTo>
                      <a:cubicBezTo>
                        <a:pt x="362" y="767"/>
                        <a:pt x="360" y="767"/>
                        <a:pt x="358" y="766"/>
                      </a:cubicBezTo>
                      <a:cubicBezTo>
                        <a:pt x="359" y="763"/>
                        <a:pt x="359" y="763"/>
                        <a:pt x="359" y="763"/>
                      </a:cubicBezTo>
                      <a:cubicBezTo>
                        <a:pt x="358" y="763"/>
                        <a:pt x="358" y="763"/>
                        <a:pt x="358" y="763"/>
                      </a:cubicBezTo>
                      <a:cubicBezTo>
                        <a:pt x="358" y="766"/>
                        <a:pt x="358" y="766"/>
                        <a:pt x="358" y="766"/>
                      </a:cubicBezTo>
                      <a:cubicBezTo>
                        <a:pt x="356" y="766"/>
                        <a:pt x="354" y="766"/>
                        <a:pt x="352" y="766"/>
                      </a:cubicBezTo>
                      <a:cubicBezTo>
                        <a:pt x="352" y="763"/>
                        <a:pt x="352" y="763"/>
                        <a:pt x="352" y="763"/>
                      </a:cubicBezTo>
                      <a:cubicBezTo>
                        <a:pt x="351" y="763"/>
                        <a:pt x="351" y="763"/>
                        <a:pt x="351" y="763"/>
                      </a:cubicBezTo>
                      <a:cubicBezTo>
                        <a:pt x="351" y="766"/>
                        <a:pt x="351" y="766"/>
                        <a:pt x="351" y="766"/>
                      </a:cubicBezTo>
                      <a:cubicBezTo>
                        <a:pt x="349" y="766"/>
                        <a:pt x="347" y="765"/>
                        <a:pt x="345" y="765"/>
                      </a:cubicBezTo>
                      <a:cubicBezTo>
                        <a:pt x="346" y="762"/>
                        <a:pt x="346" y="762"/>
                        <a:pt x="346" y="762"/>
                      </a:cubicBezTo>
                      <a:cubicBezTo>
                        <a:pt x="345" y="762"/>
                        <a:pt x="345" y="762"/>
                        <a:pt x="345" y="762"/>
                      </a:cubicBezTo>
                      <a:cubicBezTo>
                        <a:pt x="345" y="765"/>
                        <a:pt x="345" y="765"/>
                        <a:pt x="345" y="765"/>
                      </a:cubicBezTo>
                      <a:cubicBezTo>
                        <a:pt x="343" y="765"/>
                        <a:pt x="341" y="764"/>
                        <a:pt x="339" y="764"/>
                      </a:cubicBezTo>
                      <a:cubicBezTo>
                        <a:pt x="339" y="761"/>
                        <a:pt x="339" y="761"/>
                        <a:pt x="339" y="761"/>
                      </a:cubicBezTo>
                      <a:cubicBezTo>
                        <a:pt x="338" y="761"/>
                        <a:pt x="338" y="761"/>
                        <a:pt x="338" y="761"/>
                      </a:cubicBezTo>
                      <a:cubicBezTo>
                        <a:pt x="338" y="764"/>
                        <a:pt x="338" y="764"/>
                        <a:pt x="338" y="764"/>
                      </a:cubicBezTo>
                      <a:cubicBezTo>
                        <a:pt x="336" y="764"/>
                        <a:pt x="334" y="764"/>
                        <a:pt x="332" y="763"/>
                      </a:cubicBezTo>
                      <a:cubicBezTo>
                        <a:pt x="333" y="760"/>
                        <a:pt x="333" y="760"/>
                        <a:pt x="333" y="760"/>
                      </a:cubicBezTo>
                      <a:cubicBezTo>
                        <a:pt x="332" y="760"/>
                        <a:pt x="332" y="760"/>
                        <a:pt x="332" y="760"/>
                      </a:cubicBezTo>
                      <a:cubicBezTo>
                        <a:pt x="332" y="763"/>
                        <a:pt x="332" y="763"/>
                        <a:pt x="332" y="763"/>
                      </a:cubicBezTo>
                      <a:cubicBezTo>
                        <a:pt x="330" y="763"/>
                        <a:pt x="328" y="763"/>
                        <a:pt x="326" y="762"/>
                      </a:cubicBezTo>
                      <a:cubicBezTo>
                        <a:pt x="327" y="757"/>
                        <a:pt x="327" y="757"/>
                        <a:pt x="327" y="757"/>
                      </a:cubicBezTo>
                      <a:cubicBezTo>
                        <a:pt x="327" y="757"/>
                        <a:pt x="327" y="757"/>
                        <a:pt x="327" y="757"/>
                      </a:cubicBezTo>
                      <a:cubicBezTo>
                        <a:pt x="328" y="749"/>
                        <a:pt x="328" y="749"/>
                        <a:pt x="328" y="749"/>
                      </a:cubicBezTo>
                      <a:cubicBezTo>
                        <a:pt x="327" y="749"/>
                        <a:pt x="327" y="749"/>
                        <a:pt x="327" y="749"/>
                      </a:cubicBezTo>
                      <a:cubicBezTo>
                        <a:pt x="326" y="757"/>
                        <a:pt x="326" y="757"/>
                        <a:pt x="326" y="757"/>
                      </a:cubicBezTo>
                      <a:cubicBezTo>
                        <a:pt x="326" y="757"/>
                        <a:pt x="326" y="757"/>
                        <a:pt x="326" y="757"/>
                      </a:cubicBezTo>
                      <a:cubicBezTo>
                        <a:pt x="325" y="762"/>
                        <a:pt x="325" y="762"/>
                        <a:pt x="325" y="762"/>
                      </a:cubicBezTo>
                      <a:cubicBezTo>
                        <a:pt x="323" y="762"/>
                        <a:pt x="321" y="761"/>
                        <a:pt x="319" y="761"/>
                      </a:cubicBezTo>
                      <a:cubicBezTo>
                        <a:pt x="320" y="758"/>
                        <a:pt x="320" y="758"/>
                        <a:pt x="320" y="758"/>
                      </a:cubicBezTo>
                      <a:cubicBezTo>
                        <a:pt x="319" y="758"/>
                        <a:pt x="319" y="758"/>
                        <a:pt x="319" y="758"/>
                      </a:cubicBezTo>
                      <a:cubicBezTo>
                        <a:pt x="319" y="761"/>
                        <a:pt x="319" y="761"/>
                        <a:pt x="319" y="761"/>
                      </a:cubicBezTo>
                      <a:cubicBezTo>
                        <a:pt x="317" y="760"/>
                        <a:pt x="315" y="760"/>
                        <a:pt x="313" y="760"/>
                      </a:cubicBezTo>
                      <a:cubicBezTo>
                        <a:pt x="314" y="757"/>
                        <a:pt x="314" y="757"/>
                        <a:pt x="314" y="757"/>
                      </a:cubicBezTo>
                      <a:cubicBezTo>
                        <a:pt x="313" y="757"/>
                        <a:pt x="313" y="757"/>
                        <a:pt x="313" y="757"/>
                      </a:cubicBezTo>
                      <a:cubicBezTo>
                        <a:pt x="312" y="760"/>
                        <a:pt x="312" y="760"/>
                        <a:pt x="312" y="760"/>
                      </a:cubicBezTo>
                      <a:cubicBezTo>
                        <a:pt x="310" y="759"/>
                        <a:pt x="308" y="759"/>
                        <a:pt x="307" y="758"/>
                      </a:cubicBezTo>
                      <a:cubicBezTo>
                        <a:pt x="307" y="755"/>
                        <a:pt x="307" y="755"/>
                        <a:pt x="307" y="755"/>
                      </a:cubicBezTo>
                      <a:cubicBezTo>
                        <a:pt x="306" y="755"/>
                        <a:pt x="306" y="755"/>
                        <a:pt x="306" y="755"/>
                      </a:cubicBezTo>
                      <a:cubicBezTo>
                        <a:pt x="306" y="758"/>
                        <a:pt x="306" y="758"/>
                        <a:pt x="306" y="758"/>
                      </a:cubicBezTo>
                      <a:cubicBezTo>
                        <a:pt x="304" y="758"/>
                        <a:pt x="302" y="757"/>
                        <a:pt x="300" y="757"/>
                      </a:cubicBezTo>
                      <a:cubicBezTo>
                        <a:pt x="301" y="754"/>
                        <a:pt x="301" y="754"/>
                        <a:pt x="301" y="754"/>
                      </a:cubicBezTo>
                      <a:cubicBezTo>
                        <a:pt x="300" y="754"/>
                        <a:pt x="300" y="754"/>
                        <a:pt x="300" y="754"/>
                      </a:cubicBezTo>
                      <a:cubicBezTo>
                        <a:pt x="299" y="757"/>
                        <a:pt x="299" y="757"/>
                        <a:pt x="299" y="757"/>
                      </a:cubicBezTo>
                      <a:cubicBezTo>
                        <a:pt x="298" y="756"/>
                        <a:pt x="296" y="756"/>
                        <a:pt x="294" y="755"/>
                      </a:cubicBezTo>
                      <a:cubicBezTo>
                        <a:pt x="295" y="752"/>
                        <a:pt x="295" y="752"/>
                        <a:pt x="295" y="752"/>
                      </a:cubicBezTo>
                      <a:cubicBezTo>
                        <a:pt x="294" y="752"/>
                        <a:pt x="294" y="752"/>
                        <a:pt x="294" y="752"/>
                      </a:cubicBezTo>
                      <a:cubicBezTo>
                        <a:pt x="293" y="755"/>
                        <a:pt x="293" y="755"/>
                        <a:pt x="293" y="755"/>
                      </a:cubicBezTo>
                      <a:cubicBezTo>
                        <a:pt x="291" y="754"/>
                        <a:pt x="289" y="754"/>
                        <a:pt x="287" y="753"/>
                      </a:cubicBezTo>
                      <a:cubicBezTo>
                        <a:pt x="288" y="750"/>
                        <a:pt x="288" y="750"/>
                        <a:pt x="288" y="750"/>
                      </a:cubicBezTo>
                      <a:cubicBezTo>
                        <a:pt x="288" y="750"/>
                        <a:pt x="288" y="750"/>
                        <a:pt x="288" y="750"/>
                      </a:cubicBezTo>
                      <a:cubicBezTo>
                        <a:pt x="287" y="753"/>
                        <a:pt x="287" y="753"/>
                        <a:pt x="287" y="753"/>
                      </a:cubicBezTo>
                      <a:cubicBezTo>
                        <a:pt x="285" y="753"/>
                        <a:pt x="283" y="752"/>
                        <a:pt x="281" y="752"/>
                      </a:cubicBezTo>
                      <a:cubicBezTo>
                        <a:pt x="282" y="749"/>
                        <a:pt x="282" y="749"/>
                        <a:pt x="282" y="749"/>
                      </a:cubicBezTo>
                      <a:cubicBezTo>
                        <a:pt x="281" y="748"/>
                        <a:pt x="281" y="748"/>
                        <a:pt x="281" y="748"/>
                      </a:cubicBezTo>
                      <a:cubicBezTo>
                        <a:pt x="280" y="751"/>
                        <a:pt x="280" y="751"/>
                        <a:pt x="280" y="751"/>
                      </a:cubicBezTo>
                      <a:cubicBezTo>
                        <a:pt x="279" y="751"/>
                        <a:pt x="277" y="750"/>
                        <a:pt x="275" y="750"/>
                      </a:cubicBezTo>
                      <a:cubicBezTo>
                        <a:pt x="276" y="747"/>
                        <a:pt x="276" y="747"/>
                        <a:pt x="276" y="747"/>
                      </a:cubicBezTo>
                      <a:cubicBezTo>
                        <a:pt x="275" y="746"/>
                        <a:pt x="275" y="746"/>
                        <a:pt x="275" y="746"/>
                      </a:cubicBezTo>
                      <a:cubicBezTo>
                        <a:pt x="274" y="749"/>
                        <a:pt x="274" y="749"/>
                        <a:pt x="274" y="749"/>
                      </a:cubicBezTo>
                      <a:cubicBezTo>
                        <a:pt x="272" y="749"/>
                        <a:pt x="271" y="748"/>
                        <a:pt x="269" y="747"/>
                      </a:cubicBezTo>
                      <a:cubicBezTo>
                        <a:pt x="270" y="745"/>
                        <a:pt x="270" y="745"/>
                        <a:pt x="270" y="745"/>
                      </a:cubicBezTo>
                      <a:cubicBezTo>
                        <a:pt x="269" y="744"/>
                        <a:pt x="269" y="744"/>
                        <a:pt x="269" y="744"/>
                      </a:cubicBezTo>
                      <a:cubicBezTo>
                        <a:pt x="268" y="747"/>
                        <a:pt x="268" y="747"/>
                        <a:pt x="268" y="747"/>
                      </a:cubicBezTo>
                      <a:cubicBezTo>
                        <a:pt x="266" y="747"/>
                        <a:pt x="265" y="746"/>
                        <a:pt x="263" y="745"/>
                      </a:cubicBezTo>
                      <a:cubicBezTo>
                        <a:pt x="265" y="740"/>
                        <a:pt x="265" y="740"/>
                        <a:pt x="265" y="740"/>
                      </a:cubicBezTo>
                      <a:cubicBezTo>
                        <a:pt x="264" y="740"/>
                        <a:pt x="264" y="740"/>
                        <a:pt x="264" y="740"/>
                      </a:cubicBezTo>
                      <a:cubicBezTo>
                        <a:pt x="267" y="733"/>
                        <a:pt x="267" y="733"/>
                        <a:pt x="267" y="733"/>
                      </a:cubicBezTo>
                      <a:cubicBezTo>
                        <a:pt x="266" y="733"/>
                        <a:pt x="266" y="733"/>
                        <a:pt x="266" y="733"/>
                      </a:cubicBezTo>
                      <a:cubicBezTo>
                        <a:pt x="264" y="740"/>
                        <a:pt x="264" y="740"/>
                        <a:pt x="264" y="740"/>
                      </a:cubicBezTo>
                      <a:cubicBezTo>
                        <a:pt x="263" y="740"/>
                        <a:pt x="263" y="740"/>
                        <a:pt x="263" y="740"/>
                      </a:cubicBezTo>
                      <a:cubicBezTo>
                        <a:pt x="261" y="745"/>
                        <a:pt x="261" y="745"/>
                        <a:pt x="261" y="745"/>
                      </a:cubicBezTo>
                      <a:cubicBezTo>
                        <a:pt x="260" y="744"/>
                        <a:pt x="258" y="744"/>
                        <a:pt x="256" y="743"/>
                      </a:cubicBezTo>
                      <a:cubicBezTo>
                        <a:pt x="257" y="740"/>
                        <a:pt x="257" y="740"/>
                        <a:pt x="257" y="740"/>
                      </a:cubicBezTo>
                      <a:cubicBezTo>
                        <a:pt x="257" y="740"/>
                        <a:pt x="257" y="740"/>
                        <a:pt x="257" y="740"/>
                      </a:cubicBezTo>
                      <a:cubicBezTo>
                        <a:pt x="256" y="743"/>
                        <a:pt x="256" y="743"/>
                        <a:pt x="256" y="743"/>
                      </a:cubicBezTo>
                      <a:cubicBezTo>
                        <a:pt x="254" y="742"/>
                        <a:pt x="252" y="741"/>
                        <a:pt x="250" y="741"/>
                      </a:cubicBezTo>
                      <a:cubicBezTo>
                        <a:pt x="251" y="738"/>
                        <a:pt x="251" y="738"/>
                        <a:pt x="251" y="738"/>
                      </a:cubicBezTo>
                      <a:cubicBezTo>
                        <a:pt x="251" y="737"/>
                        <a:pt x="251" y="737"/>
                        <a:pt x="251" y="737"/>
                      </a:cubicBezTo>
                      <a:cubicBezTo>
                        <a:pt x="250" y="740"/>
                        <a:pt x="250" y="740"/>
                        <a:pt x="250" y="740"/>
                      </a:cubicBezTo>
                      <a:cubicBezTo>
                        <a:pt x="248" y="740"/>
                        <a:pt x="246" y="739"/>
                        <a:pt x="244" y="738"/>
                      </a:cubicBezTo>
                      <a:cubicBezTo>
                        <a:pt x="245" y="735"/>
                        <a:pt x="245" y="735"/>
                        <a:pt x="245" y="735"/>
                      </a:cubicBezTo>
                      <a:cubicBezTo>
                        <a:pt x="245" y="735"/>
                        <a:pt x="245" y="735"/>
                        <a:pt x="245" y="735"/>
                      </a:cubicBezTo>
                      <a:cubicBezTo>
                        <a:pt x="243" y="738"/>
                        <a:pt x="243" y="738"/>
                        <a:pt x="243" y="738"/>
                      </a:cubicBezTo>
                      <a:cubicBezTo>
                        <a:pt x="242" y="737"/>
                        <a:pt x="240" y="736"/>
                        <a:pt x="238" y="735"/>
                      </a:cubicBezTo>
                      <a:cubicBezTo>
                        <a:pt x="239" y="733"/>
                        <a:pt x="239" y="733"/>
                        <a:pt x="239" y="733"/>
                      </a:cubicBezTo>
                      <a:cubicBezTo>
                        <a:pt x="239" y="732"/>
                        <a:pt x="239" y="732"/>
                        <a:pt x="239" y="732"/>
                      </a:cubicBezTo>
                      <a:cubicBezTo>
                        <a:pt x="237" y="735"/>
                        <a:pt x="237" y="735"/>
                        <a:pt x="237" y="735"/>
                      </a:cubicBezTo>
                      <a:cubicBezTo>
                        <a:pt x="236" y="734"/>
                        <a:pt x="234" y="733"/>
                        <a:pt x="232" y="733"/>
                      </a:cubicBezTo>
                      <a:cubicBezTo>
                        <a:pt x="233" y="730"/>
                        <a:pt x="233" y="730"/>
                        <a:pt x="233" y="730"/>
                      </a:cubicBezTo>
                      <a:cubicBezTo>
                        <a:pt x="233" y="730"/>
                        <a:pt x="233" y="730"/>
                        <a:pt x="233" y="730"/>
                      </a:cubicBezTo>
                      <a:cubicBezTo>
                        <a:pt x="231" y="732"/>
                        <a:pt x="231" y="732"/>
                        <a:pt x="231" y="732"/>
                      </a:cubicBezTo>
                      <a:cubicBezTo>
                        <a:pt x="230" y="732"/>
                        <a:pt x="228" y="731"/>
                        <a:pt x="226" y="730"/>
                      </a:cubicBezTo>
                      <a:cubicBezTo>
                        <a:pt x="228" y="727"/>
                        <a:pt x="228" y="727"/>
                        <a:pt x="228" y="727"/>
                      </a:cubicBezTo>
                      <a:cubicBezTo>
                        <a:pt x="227" y="727"/>
                        <a:pt x="227" y="727"/>
                        <a:pt x="227" y="727"/>
                      </a:cubicBezTo>
                      <a:cubicBezTo>
                        <a:pt x="226" y="729"/>
                        <a:pt x="226" y="729"/>
                        <a:pt x="226" y="729"/>
                      </a:cubicBezTo>
                      <a:cubicBezTo>
                        <a:pt x="224" y="729"/>
                        <a:pt x="222" y="728"/>
                        <a:pt x="220" y="727"/>
                      </a:cubicBezTo>
                      <a:cubicBezTo>
                        <a:pt x="222" y="724"/>
                        <a:pt x="222" y="724"/>
                        <a:pt x="222" y="724"/>
                      </a:cubicBezTo>
                      <a:cubicBezTo>
                        <a:pt x="221" y="724"/>
                        <a:pt x="221" y="724"/>
                        <a:pt x="221" y="724"/>
                      </a:cubicBezTo>
                      <a:cubicBezTo>
                        <a:pt x="220" y="727"/>
                        <a:pt x="220" y="727"/>
                        <a:pt x="220" y="727"/>
                      </a:cubicBezTo>
                      <a:cubicBezTo>
                        <a:pt x="218" y="726"/>
                        <a:pt x="216" y="725"/>
                        <a:pt x="215" y="724"/>
                      </a:cubicBezTo>
                      <a:cubicBezTo>
                        <a:pt x="216" y="721"/>
                        <a:pt x="216" y="721"/>
                        <a:pt x="216" y="721"/>
                      </a:cubicBezTo>
                      <a:cubicBezTo>
                        <a:pt x="215" y="721"/>
                        <a:pt x="215" y="721"/>
                        <a:pt x="215" y="721"/>
                      </a:cubicBezTo>
                      <a:cubicBezTo>
                        <a:pt x="214" y="723"/>
                        <a:pt x="214" y="723"/>
                        <a:pt x="214" y="723"/>
                      </a:cubicBezTo>
                      <a:cubicBezTo>
                        <a:pt x="212" y="723"/>
                        <a:pt x="210" y="722"/>
                        <a:pt x="209" y="721"/>
                      </a:cubicBezTo>
                      <a:cubicBezTo>
                        <a:pt x="210" y="718"/>
                        <a:pt x="210" y="718"/>
                        <a:pt x="210" y="718"/>
                      </a:cubicBezTo>
                      <a:cubicBezTo>
                        <a:pt x="210" y="718"/>
                        <a:pt x="210" y="718"/>
                        <a:pt x="210" y="718"/>
                      </a:cubicBezTo>
                      <a:cubicBezTo>
                        <a:pt x="208" y="720"/>
                        <a:pt x="208" y="720"/>
                        <a:pt x="208" y="720"/>
                      </a:cubicBezTo>
                      <a:cubicBezTo>
                        <a:pt x="207" y="719"/>
                        <a:pt x="205" y="719"/>
                        <a:pt x="204" y="718"/>
                      </a:cubicBezTo>
                      <a:cubicBezTo>
                        <a:pt x="206" y="713"/>
                        <a:pt x="206" y="713"/>
                        <a:pt x="206" y="713"/>
                      </a:cubicBezTo>
                      <a:cubicBezTo>
                        <a:pt x="206" y="713"/>
                        <a:pt x="206" y="713"/>
                        <a:pt x="206" y="713"/>
                      </a:cubicBezTo>
                      <a:cubicBezTo>
                        <a:pt x="210" y="706"/>
                        <a:pt x="210" y="706"/>
                        <a:pt x="210" y="706"/>
                      </a:cubicBezTo>
                      <a:cubicBezTo>
                        <a:pt x="209" y="706"/>
                        <a:pt x="209" y="706"/>
                        <a:pt x="209" y="706"/>
                      </a:cubicBezTo>
                      <a:cubicBezTo>
                        <a:pt x="205" y="712"/>
                        <a:pt x="205" y="712"/>
                        <a:pt x="205" y="712"/>
                      </a:cubicBezTo>
                      <a:cubicBezTo>
                        <a:pt x="205" y="712"/>
                        <a:pt x="205" y="712"/>
                        <a:pt x="205" y="712"/>
                      </a:cubicBezTo>
                      <a:cubicBezTo>
                        <a:pt x="202" y="717"/>
                        <a:pt x="202" y="717"/>
                        <a:pt x="202" y="717"/>
                      </a:cubicBezTo>
                      <a:cubicBezTo>
                        <a:pt x="200" y="716"/>
                        <a:pt x="199" y="715"/>
                        <a:pt x="197" y="714"/>
                      </a:cubicBezTo>
                      <a:cubicBezTo>
                        <a:pt x="199" y="712"/>
                        <a:pt x="199" y="712"/>
                        <a:pt x="199" y="712"/>
                      </a:cubicBezTo>
                      <a:cubicBezTo>
                        <a:pt x="198" y="711"/>
                        <a:pt x="198" y="711"/>
                        <a:pt x="198" y="711"/>
                      </a:cubicBezTo>
                      <a:cubicBezTo>
                        <a:pt x="197" y="714"/>
                        <a:pt x="197" y="714"/>
                        <a:pt x="197" y="714"/>
                      </a:cubicBezTo>
                      <a:cubicBezTo>
                        <a:pt x="195" y="713"/>
                        <a:pt x="193" y="712"/>
                        <a:pt x="192" y="711"/>
                      </a:cubicBezTo>
                      <a:cubicBezTo>
                        <a:pt x="193" y="708"/>
                        <a:pt x="193" y="708"/>
                        <a:pt x="193" y="708"/>
                      </a:cubicBezTo>
                      <a:cubicBezTo>
                        <a:pt x="193" y="708"/>
                        <a:pt x="193" y="708"/>
                        <a:pt x="193" y="708"/>
                      </a:cubicBezTo>
                      <a:cubicBezTo>
                        <a:pt x="191" y="710"/>
                        <a:pt x="191" y="710"/>
                        <a:pt x="191" y="710"/>
                      </a:cubicBezTo>
                      <a:cubicBezTo>
                        <a:pt x="190" y="709"/>
                        <a:pt x="188" y="708"/>
                        <a:pt x="186" y="707"/>
                      </a:cubicBezTo>
                      <a:cubicBezTo>
                        <a:pt x="188" y="705"/>
                        <a:pt x="188" y="705"/>
                        <a:pt x="188" y="705"/>
                      </a:cubicBezTo>
                      <a:cubicBezTo>
                        <a:pt x="187" y="704"/>
                        <a:pt x="187" y="704"/>
                        <a:pt x="187" y="704"/>
                      </a:cubicBezTo>
                      <a:cubicBezTo>
                        <a:pt x="186" y="707"/>
                        <a:pt x="186" y="707"/>
                        <a:pt x="186" y="707"/>
                      </a:cubicBezTo>
                      <a:cubicBezTo>
                        <a:pt x="184" y="706"/>
                        <a:pt x="182" y="705"/>
                        <a:pt x="181" y="704"/>
                      </a:cubicBezTo>
                      <a:cubicBezTo>
                        <a:pt x="182" y="701"/>
                        <a:pt x="182" y="701"/>
                        <a:pt x="182" y="701"/>
                      </a:cubicBezTo>
                      <a:cubicBezTo>
                        <a:pt x="182" y="701"/>
                        <a:pt x="182" y="701"/>
                        <a:pt x="182" y="701"/>
                      </a:cubicBezTo>
                      <a:cubicBezTo>
                        <a:pt x="180" y="703"/>
                        <a:pt x="180" y="703"/>
                        <a:pt x="180" y="703"/>
                      </a:cubicBezTo>
                      <a:cubicBezTo>
                        <a:pt x="179" y="702"/>
                        <a:pt x="177" y="701"/>
                        <a:pt x="175" y="700"/>
                      </a:cubicBezTo>
                      <a:cubicBezTo>
                        <a:pt x="177" y="697"/>
                        <a:pt x="177" y="697"/>
                        <a:pt x="177" y="697"/>
                      </a:cubicBezTo>
                      <a:cubicBezTo>
                        <a:pt x="176" y="697"/>
                        <a:pt x="176" y="697"/>
                        <a:pt x="176" y="697"/>
                      </a:cubicBezTo>
                      <a:cubicBezTo>
                        <a:pt x="175" y="699"/>
                        <a:pt x="175" y="699"/>
                        <a:pt x="175" y="699"/>
                      </a:cubicBezTo>
                      <a:cubicBezTo>
                        <a:pt x="173" y="698"/>
                        <a:pt x="172" y="697"/>
                        <a:pt x="170" y="696"/>
                      </a:cubicBezTo>
                      <a:cubicBezTo>
                        <a:pt x="172" y="694"/>
                        <a:pt x="172" y="694"/>
                        <a:pt x="172" y="694"/>
                      </a:cubicBezTo>
                      <a:cubicBezTo>
                        <a:pt x="171" y="693"/>
                        <a:pt x="171" y="693"/>
                        <a:pt x="171" y="693"/>
                      </a:cubicBezTo>
                      <a:cubicBezTo>
                        <a:pt x="169" y="696"/>
                        <a:pt x="169" y="696"/>
                        <a:pt x="169" y="696"/>
                      </a:cubicBezTo>
                      <a:cubicBezTo>
                        <a:pt x="168" y="694"/>
                        <a:pt x="166" y="693"/>
                        <a:pt x="165" y="692"/>
                      </a:cubicBezTo>
                      <a:cubicBezTo>
                        <a:pt x="167" y="690"/>
                        <a:pt x="167" y="690"/>
                        <a:pt x="167" y="690"/>
                      </a:cubicBezTo>
                      <a:cubicBezTo>
                        <a:pt x="166" y="689"/>
                        <a:pt x="166" y="689"/>
                        <a:pt x="166" y="689"/>
                      </a:cubicBezTo>
                      <a:cubicBezTo>
                        <a:pt x="164" y="692"/>
                        <a:pt x="164" y="692"/>
                        <a:pt x="164" y="692"/>
                      </a:cubicBezTo>
                      <a:cubicBezTo>
                        <a:pt x="163" y="690"/>
                        <a:pt x="161" y="689"/>
                        <a:pt x="160" y="688"/>
                      </a:cubicBezTo>
                      <a:cubicBezTo>
                        <a:pt x="161" y="686"/>
                        <a:pt x="161" y="686"/>
                        <a:pt x="161" y="686"/>
                      </a:cubicBezTo>
                      <a:cubicBezTo>
                        <a:pt x="161" y="685"/>
                        <a:pt x="161" y="685"/>
                        <a:pt x="161" y="685"/>
                      </a:cubicBezTo>
                      <a:cubicBezTo>
                        <a:pt x="159" y="688"/>
                        <a:pt x="159" y="688"/>
                        <a:pt x="159" y="688"/>
                      </a:cubicBezTo>
                      <a:cubicBezTo>
                        <a:pt x="157" y="686"/>
                        <a:pt x="156" y="685"/>
                        <a:pt x="154" y="684"/>
                      </a:cubicBezTo>
                      <a:cubicBezTo>
                        <a:pt x="156" y="682"/>
                        <a:pt x="156" y="682"/>
                        <a:pt x="156" y="682"/>
                      </a:cubicBezTo>
                      <a:cubicBezTo>
                        <a:pt x="156" y="681"/>
                        <a:pt x="156" y="681"/>
                        <a:pt x="156" y="681"/>
                      </a:cubicBezTo>
                      <a:cubicBezTo>
                        <a:pt x="154" y="683"/>
                        <a:pt x="154" y="683"/>
                        <a:pt x="154" y="683"/>
                      </a:cubicBezTo>
                      <a:cubicBezTo>
                        <a:pt x="153" y="682"/>
                        <a:pt x="151" y="681"/>
                        <a:pt x="150" y="680"/>
                      </a:cubicBezTo>
                      <a:cubicBezTo>
                        <a:pt x="153" y="676"/>
                        <a:pt x="153" y="676"/>
                        <a:pt x="153" y="676"/>
                      </a:cubicBezTo>
                      <a:cubicBezTo>
                        <a:pt x="153" y="676"/>
                        <a:pt x="153" y="676"/>
                        <a:pt x="153" y="676"/>
                      </a:cubicBezTo>
                      <a:cubicBezTo>
                        <a:pt x="158" y="670"/>
                        <a:pt x="158" y="670"/>
                        <a:pt x="158" y="670"/>
                      </a:cubicBezTo>
                      <a:cubicBezTo>
                        <a:pt x="157" y="669"/>
                        <a:pt x="157" y="669"/>
                        <a:pt x="157" y="669"/>
                      </a:cubicBezTo>
                      <a:cubicBezTo>
                        <a:pt x="152" y="675"/>
                        <a:pt x="152" y="675"/>
                        <a:pt x="152" y="675"/>
                      </a:cubicBezTo>
                      <a:cubicBezTo>
                        <a:pt x="152" y="675"/>
                        <a:pt x="152" y="675"/>
                        <a:pt x="152" y="675"/>
                      </a:cubicBezTo>
                      <a:cubicBezTo>
                        <a:pt x="148" y="679"/>
                        <a:pt x="148" y="679"/>
                        <a:pt x="148" y="679"/>
                      </a:cubicBezTo>
                      <a:cubicBezTo>
                        <a:pt x="147" y="678"/>
                        <a:pt x="146" y="677"/>
                        <a:pt x="144" y="676"/>
                      </a:cubicBezTo>
                      <a:cubicBezTo>
                        <a:pt x="146" y="673"/>
                        <a:pt x="146" y="673"/>
                        <a:pt x="146" y="673"/>
                      </a:cubicBezTo>
                      <a:cubicBezTo>
                        <a:pt x="146" y="673"/>
                        <a:pt x="146" y="673"/>
                        <a:pt x="146" y="673"/>
                      </a:cubicBezTo>
                      <a:cubicBezTo>
                        <a:pt x="144" y="675"/>
                        <a:pt x="144" y="675"/>
                        <a:pt x="144" y="675"/>
                      </a:cubicBezTo>
                      <a:cubicBezTo>
                        <a:pt x="142" y="674"/>
                        <a:pt x="141" y="672"/>
                        <a:pt x="139" y="671"/>
                      </a:cubicBezTo>
                      <a:cubicBezTo>
                        <a:pt x="141" y="669"/>
                        <a:pt x="141" y="669"/>
                        <a:pt x="141" y="669"/>
                      </a:cubicBezTo>
                      <a:cubicBezTo>
                        <a:pt x="141" y="669"/>
                        <a:pt x="141" y="669"/>
                        <a:pt x="141" y="669"/>
                      </a:cubicBezTo>
                      <a:cubicBezTo>
                        <a:pt x="139" y="671"/>
                        <a:pt x="139" y="671"/>
                        <a:pt x="139" y="671"/>
                      </a:cubicBezTo>
                      <a:cubicBezTo>
                        <a:pt x="137" y="669"/>
                        <a:pt x="136" y="668"/>
                        <a:pt x="135" y="667"/>
                      </a:cubicBezTo>
                      <a:cubicBezTo>
                        <a:pt x="137" y="665"/>
                        <a:pt x="137" y="665"/>
                        <a:pt x="137" y="665"/>
                      </a:cubicBezTo>
                      <a:cubicBezTo>
                        <a:pt x="136" y="664"/>
                        <a:pt x="136" y="664"/>
                        <a:pt x="136" y="664"/>
                      </a:cubicBezTo>
                      <a:cubicBezTo>
                        <a:pt x="134" y="666"/>
                        <a:pt x="134" y="666"/>
                        <a:pt x="134" y="666"/>
                      </a:cubicBezTo>
                      <a:cubicBezTo>
                        <a:pt x="133" y="665"/>
                        <a:pt x="131" y="664"/>
                        <a:pt x="130" y="662"/>
                      </a:cubicBezTo>
                      <a:cubicBezTo>
                        <a:pt x="132" y="660"/>
                        <a:pt x="132" y="660"/>
                        <a:pt x="132" y="660"/>
                      </a:cubicBezTo>
                      <a:cubicBezTo>
                        <a:pt x="131" y="660"/>
                        <a:pt x="131" y="660"/>
                        <a:pt x="131" y="660"/>
                      </a:cubicBezTo>
                      <a:cubicBezTo>
                        <a:pt x="129" y="662"/>
                        <a:pt x="129" y="662"/>
                        <a:pt x="129" y="662"/>
                      </a:cubicBezTo>
                      <a:cubicBezTo>
                        <a:pt x="128" y="660"/>
                        <a:pt x="127" y="659"/>
                        <a:pt x="125" y="658"/>
                      </a:cubicBezTo>
                      <a:cubicBezTo>
                        <a:pt x="127" y="656"/>
                        <a:pt x="127" y="656"/>
                        <a:pt x="127" y="656"/>
                      </a:cubicBezTo>
                      <a:cubicBezTo>
                        <a:pt x="127" y="655"/>
                        <a:pt x="127" y="655"/>
                        <a:pt x="127" y="655"/>
                      </a:cubicBezTo>
                      <a:cubicBezTo>
                        <a:pt x="125" y="657"/>
                        <a:pt x="125" y="657"/>
                        <a:pt x="125" y="657"/>
                      </a:cubicBezTo>
                      <a:cubicBezTo>
                        <a:pt x="123" y="656"/>
                        <a:pt x="122" y="654"/>
                        <a:pt x="121" y="653"/>
                      </a:cubicBezTo>
                      <a:cubicBezTo>
                        <a:pt x="123" y="651"/>
                        <a:pt x="123" y="651"/>
                        <a:pt x="123" y="651"/>
                      </a:cubicBezTo>
                      <a:cubicBezTo>
                        <a:pt x="122" y="650"/>
                        <a:pt x="122" y="650"/>
                        <a:pt x="122" y="650"/>
                      </a:cubicBezTo>
                      <a:cubicBezTo>
                        <a:pt x="120" y="652"/>
                        <a:pt x="120" y="652"/>
                        <a:pt x="120" y="652"/>
                      </a:cubicBezTo>
                      <a:cubicBezTo>
                        <a:pt x="119" y="651"/>
                        <a:pt x="117" y="650"/>
                        <a:pt x="116" y="648"/>
                      </a:cubicBezTo>
                      <a:cubicBezTo>
                        <a:pt x="118" y="646"/>
                        <a:pt x="118" y="646"/>
                        <a:pt x="118" y="646"/>
                      </a:cubicBezTo>
                      <a:cubicBezTo>
                        <a:pt x="118" y="646"/>
                        <a:pt x="118" y="646"/>
                        <a:pt x="118" y="646"/>
                      </a:cubicBezTo>
                      <a:cubicBezTo>
                        <a:pt x="116" y="648"/>
                        <a:pt x="116" y="648"/>
                        <a:pt x="116" y="648"/>
                      </a:cubicBezTo>
                      <a:cubicBezTo>
                        <a:pt x="114" y="646"/>
                        <a:pt x="113" y="645"/>
                        <a:pt x="112" y="643"/>
                      </a:cubicBezTo>
                      <a:cubicBezTo>
                        <a:pt x="114" y="641"/>
                        <a:pt x="114" y="641"/>
                        <a:pt x="114" y="641"/>
                      </a:cubicBezTo>
                      <a:cubicBezTo>
                        <a:pt x="113" y="641"/>
                        <a:pt x="113" y="641"/>
                        <a:pt x="113" y="641"/>
                      </a:cubicBezTo>
                      <a:cubicBezTo>
                        <a:pt x="111" y="643"/>
                        <a:pt x="111" y="643"/>
                        <a:pt x="111" y="643"/>
                      </a:cubicBezTo>
                      <a:cubicBezTo>
                        <a:pt x="110" y="641"/>
                        <a:pt x="109" y="640"/>
                        <a:pt x="107" y="638"/>
                      </a:cubicBezTo>
                      <a:cubicBezTo>
                        <a:pt x="109" y="637"/>
                        <a:pt x="109" y="637"/>
                        <a:pt x="109" y="637"/>
                      </a:cubicBezTo>
                      <a:cubicBezTo>
                        <a:pt x="109" y="636"/>
                        <a:pt x="109" y="636"/>
                        <a:pt x="109" y="636"/>
                      </a:cubicBezTo>
                      <a:cubicBezTo>
                        <a:pt x="107" y="638"/>
                        <a:pt x="107" y="638"/>
                        <a:pt x="107" y="638"/>
                      </a:cubicBezTo>
                      <a:cubicBezTo>
                        <a:pt x="106" y="637"/>
                        <a:pt x="104" y="635"/>
                        <a:pt x="103" y="634"/>
                      </a:cubicBezTo>
                      <a:cubicBezTo>
                        <a:pt x="107" y="630"/>
                        <a:pt x="107" y="630"/>
                        <a:pt x="107" y="630"/>
                      </a:cubicBezTo>
                      <a:cubicBezTo>
                        <a:pt x="107" y="630"/>
                        <a:pt x="107" y="630"/>
                        <a:pt x="107" y="630"/>
                      </a:cubicBezTo>
                      <a:cubicBezTo>
                        <a:pt x="113" y="625"/>
                        <a:pt x="113" y="625"/>
                        <a:pt x="113" y="625"/>
                      </a:cubicBezTo>
                      <a:cubicBezTo>
                        <a:pt x="113" y="624"/>
                        <a:pt x="113" y="624"/>
                        <a:pt x="113" y="624"/>
                      </a:cubicBezTo>
                      <a:cubicBezTo>
                        <a:pt x="107" y="629"/>
                        <a:pt x="107" y="629"/>
                        <a:pt x="107" y="629"/>
                      </a:cubicBezTo>
                      <a:cubicBezTo>
                        <a:pt x="106" y="629"/>
                        <a:pt x="106" y="629"/>
                        <a:pt x="106" y="629"/>
                      </a:cubicBezTo>
                      <a:cubicBezTo>
                        <a:pt x="102" y="632"/>
                        <a:pt x="102" y="632"/>
                        <a:pt x="102" y="632"/>
                      </a:cubicBezTo>
                      <a:cubicBezTo>
                        <a:pt x="101" y="631"/>
                        <a:pt x="100" y="630"/>
                        <a:pt x="99" y="628"/>
                      </a:cubicBezTo>
                      <a:cubicBezTo>
                        <a:pt x="101" y="627"/>
                        <a:pt x="101" y="627"/>
                        <a:pt x="101" y="627"/>
                      </a:cubicBezTo>
                      <a:cubicBezTo>
                        <a:pt x="101" y="626"/>
                        <a:pt x="101" y="626"/>
                        <a:pt x="101" y="626"/>
                      </a:cubicBezTo>
                      <a:cubicBezTo>
                        <a:pt x="98" y="628"/>
                        <a:pt x="98" y="628"/>
                        <a:pt x="98" y="628"/>
                      </a:cubicBezTo>
                      <a:cubicBezTo>
                        <a:pt x="97" y="626"/>
                        <a:pt x="96" y="625"/>
                        <a:pt x="95" y="623"/>
                      </a:cubicBezTo>
                      <a:cubicBezTo>
                        <a:pt x="97" y="622"/>
                        <a:pt x="97" y="622"/>
                        <a:pt x="97" y="622"/>
                      </a:cubicBezTo>
                      <a:cubicBezTo>
                        <a:pt x="96" y="621"/>
                        <a:pt x="96" y="621"/>
                        <a:pt x="96" y="621"/>
                      </a:cubicBezTo>
                      <a:cubicBezTo>
                        <a:pt x="94" y="623"/>
                        <a:pt x="94" y="623"/>
                        <a:pt x="94" y="623"/>
                      </a:cubicBezTo>
                      <a:cubicBezTo>
                        <a:pt x="93" y="621"/>
                        <a:pt x="92" y="620"/>
                        <a:pt x="91" y="618"/>
                      </a:cubicBezTo>
                      <a:cubicBezTo>
                        <a:pt x="93" y="616"/>
                        <a:pt x="93" y="616"/>
                        <a:pt x="93" y="616"/>
                      </a:cubicBezTo>
                      <a:cubicBezTo>
                        <a:pt x="93" y="616"/>
                        <a:pt x="93" y="616"/>
                        <a:pt x="93" y="616"/>
                      </a:cubicBezTo>
                      <a:cubicBezTo>
                        <a:pt x="90" y="617"/>
                        <a:pt x="90" y="617"/>
                        <a:pt x="90" y="617"/>
                      </a:cubicBezTo>
                      <a:cubicBezTo>
                        <a:pt x="89" y="616"/>
                        <a:pt x="88" y="614"/>
                        <a:pt x="87" y="613"/>
                      </a:cubicBezTo>
                      <a:cubicBezTo>
                        <a:pt x="89" y="611"/>
                        <a:pt x="89" y="611"/>
                        <a:pt x="89" y="611"/>
                      </a:cubicBezTo>
                      <a:cubicBezTo>
                        <a:pt x="89" y="610"/>
                        <a:pt x="89" y="610"/>
                        <a:pt x="89" y="610"/>
                      </a:cubicBezTo>
                      <a:cubicBezTo>
                        <a:pt x="86" y="612"/>
                        <a:pt x="86" y="612"/>
                        <a:pt x="86" y="612"/>
                      </a:cubicBezTo>
                      <a:cubicBezTo>
                        <a:pt x="85" y="611"/>
                        <a:pt x="84" y="609"/>
                        <a:pt x="83" y="607"/>
                      </a:cubicBezTo>
                      <a:cubicBezTo>
                        <a:pt x="85" y="606"/>
                        <a:pt x="85" y="606"/>
                        <a:pt x="85" y="606"/>
                      </a:cubicBezTo>
                      <a:cubicBezTo>
                        <a:pt x="85" y="605"/>
                        <a:pt x="85" y="605"/>
                        <a:pt x="85" y="605"/>
                      </a:cubicBezTo>
                      <a:cubicBezTo>
                        <a:pt x="83" y="607"/>
                        <a:pt x="83" y="607"/>
                        <a:pt x="83" y="607"/>
                      </a:cubicBezTo>
                      <a:cubicBezTo>
                        <a:pt x="81" y="605"/>
                        <a:pt x="80" y="604"/>
                        <a:pt x="79" y="602"/>
                      </a:cubicBezTo>
                      <a:cubicBezTo>
                        <a:pt x="82" y="600"/>
                        <a:pt x="82" y="600"/>
                        <a:pt x="82" y="600"/>
                      </a:cubicBezTo>
                      <a:cubicBezTo>
                        <a:pt x="81" y="600"/>
                        <a:pt x="81" y="600"/>
                        <a:pt x="81" y="600"/>
                      </a:cubicBezTo>
                      <a:cubicBezTo>
                        <a:pt x="79" y="601"/>
                        <a:pt x="79" y="601"/>
                        <a:pt x="79" y="601"/>
                      </a:cubicBezTo>
                      <a:cubicBezTo>
                        <a:pt x="78" y="600"/>
                        <a:pt x="77" y="598"/>
                        <a:pt x="76" y="597"/>
                      </a:cubicBezTo>
                      <a:cubicBezTo>
                        <a:pt x="78" y="595"/>
                        <a:pt x="78" y="595"/>
                        <a:pt x="78" y="595"/>
                      </a:cubicBezTo>
                      <a:cubicBezTo>
                        <a:pt x="78" y="594"/>
                        <a:pt x="78" y="594"/>
                        <a:pt x="78" y="594"/>
                      </a:cubicBezTo>
                      <a:cubicBezTo>
                        <a:pt x="75" y="596"/>
                        <a:pt x="75" y="596"/>
                        <a:pt x="75" y="596"/>
                      </a:cubicBezTo>
                      <a:cubicBezTo>
                        <a:pt x="74" y="594"/>
                        <a:pt x="73" y="593"/>
                        <a:pt x="72" y="591"/>
                      </a:cubicBezTo>
                      <a:cubicBezTo>
                        <a:pt x="75" y="590"/>
                        <a:pt x="75" y="590"/>
                        <a:pt x="75" y="590"/>
                      </a:cubicBezTo>
                      <a:cubicBezTo>
                        <a:pt x="74" y="589"/>
                        <a:pt x="74" y="589"/>
                        <a:pt x="74" y="589"/>
                      </a:cubicBezTo>
                      <a:cubicBezTo>
                        <a:pt x="72" y="590"/>
                        <a:pt x="72" y="590"/>
                        <a:pt x="72" y="590"/>
                      </a:cubicBezTo>
                      <a:cubicBezTo>
                        <a:pt x="71" y="589"/>
                        <a:pt x="70" y="587"/>
                        <a:pt x="69" y="585"/>
                      </a:cubicBezTo>
                      <a:cubicBezTo>
                        <a:pt x="71" y="584"/>
                        <a:pt x="71" y="584"/>
                        <a:pt x="71" y="584"/>
                      </a:cubicBezTo>
                      <a:cubicBezTo>
                        <a:pt x="71" y="583"/>
                        <a:pt x="71" y="583"/>
                        <a:pt x="71" y="583"/>
                      </a:cubicBezTo>
                      <a:cubicBezTo>
                        <a:pt x="68" y="585"/>
                        <a:pt x="68" y="585"/>
                        <a:pt x="68" y="585"/>
                      </a:cubicBezTo>
                      <a:cubicBezTo>
                        <a:pt x="67" y="583"/>
                        <a:pt x="66" y="582"/>
                        <a:pt x="66" y="580"/>
                      </a:cubicBezTo>
                      <a:cubicBezTo>
                        <a:pt x="70" y="578"/>
                        <a:pt x="70" y="578"/>
                        <a:pt x="70" y="578"/>
                      </a:cubicBezTo>
                      <a:cubicBezTo>
                        <a:pt x="70" y="577"/>
                        <a:pt x="70" y="577"/>
                        <a:pt x="70" y="577"/>
                      </a:cubicBezTo>
                      <a:cubicBezTo>
                        <a:pt x="77" y="573"/>
                        <a:pt x="77" y="573"/>
                        <a:pt x="77" y="573"/>
                      </a:cubicBezTo>
                      <a:cubicBezTo>
                        <a:pt x="76" y="573"/>
                        <a:pt x="76" y="573"/>
                        <a:pt x="76" y="573"/>
                      </a:cubicBezTo>
                      <a:cubicBezTo>
                        <a:pt x="70" y="576"/>
                        <a:pt x="70" y="576"/>
                        <a:pt x="70" y="576"/>
                      </a:cubicBezTo>
                      <a:cubicBezTo>
                        <a:pt x="69" y="576"/>
                        <a:pt x="69" y="576"/>
                        <a:pt x="69" y="576"/>
                      </a:cubicBezTo>
                      <a:cubicBezTo>
                        <a:pt x="65" y="579"/>
                        <a:pt x="65" y="579"/>
                        <a:pt x="65" y="579"/>
                      </a:cubicBezTo>
                      <a:cubicBezTo>
                        <a:pt x="64" y="577"/>
                        <a:pt x="63" y="576"/>
                        <a:pt x="62" y="574"/>
                      </a:cubicBezTo>
                      <a:cubicBezTo>
                        <a:pt x="65" y="573"/>
                        <a:pt x="65" y="573"/>
                        <a:pt x="65" y="573"/>
                      </a:cubicBezTo>
                      <a:cubicBezTo>
                        <a:pt x="64" y="572"/>
                        <a:pt x="64" y="572"/>
                        <a:pt x="64" y="572"/>
                      </a:cubicBezTo>
                      <a:cubicBezTo>
                        <a:pt x="62" y="573"/>
                        <a:pt x="62" y="573"/>
                        <a:pt x="62" y="573"/>
                      </a:cubicBezTo>
                      <a:cubicBezTo>
                        <a:pt x="61" y="572"/>
                        <a:pt x="60" y="570"/>
                        <a:pt x="59" y="568"/>
                      </a:cubicBezTo>
                      <a:cubicBezTo>
                        <a:pt x="61" y="567"/>
                        <a:pt x="61" y="567"/>
                        <a:pt x="61" y="567"/>
                      </a:cubicBezTo>
                      <a:cubicBezTo>
                        <a:pt x="61" y="566"/>
                        <a:pt x="61" y="566"/>
                        <a:pt x="61" y="566"/>
                      </a:cubicBezTo>
                      <a:cubicBezTo>
                        <a:pt x="59" y="568"/>
                        <a:pt x="59" y="568"/>
                        <a:pt x="59" y="568"/>
                      </a:cubicBezTo>
                      <a:cubicBezTo>
                        <a:pt x="58" y="566"/>
                        <a:pt x="57" y="564"/>
                        <a:pt x="56" y="562"/>
                      </a:cubicBezTo>
                      <a:cubicBezTo>
                        <a:pt x="58" y="561"/>
                        <a:pt x="58" y="561"/>
                        <a:pt x="58" y="561"/>
                      </a:cubicBezTo>
                      <a:cubicBezTo>
                        <a:pt x="58" y="560"/>
                        <a:pt x="58" y="560"/>
                        <a:pt x="58" y="560"/>
                      </a:cubicBezTo>
                      <a:cubicBezTo>
                        <a:pt x="55" y="562"/>
                        <a:pt x="55" y="562"/>
                        <a:pt x="55" y="562"/>
                      </a:cubicBezTo>
                      <a:cubicBezTo>
                        <a:pt x="55" y="560"/>
                        <a:pt x="54" y="558"/>
                        <a:pt x="53" y="557"/>
                      </a:cubicBezTo>
                      <a:cubicBezTo>
                        <a:pt x="56" y="555"/>
                        <a:pt x="56" y="555"/>
                        <a:pt x="56" y="555"/>
                      </a:cubicBezTo>
                      <a:cubicBezTo>
                        <a:pt x="55" y="555"/>
                        <a:pt x="55" y="555"/>
                        <a:pt x="55" y="555"/>
                      </a:cubicBezTo>
                      <a:cubicBezTo>
                        <a:pt x="53" y="556"/>
                        <a:pt x="53" y="556"/>
                        <a:pt x="53" y="556"/>
                      </a:cubicBezTo>
                      <a:cubicBezTo>
                        <a:pt x="52" y="554"/>
                        <a:pt x="51" y="552"/>
                        <a:pt x="50" y="551"/>
                      </a:cubicBezTo>
                      <a:cubicBezTo>
                        <a:pt x="53" y="549"/>
                        <a:pt x="53" y="549"/>
                        <a:pt x="53" y="549"/>
                      </a:cubicBezTo>
                      <a:cubicBezTo>
                        <a:pt x="52" y="549"/>
                        <a:pt x="52" y="549"/>
                        <a:pt x="52" y="549"/>
                      </a:cubicBezTo>
                      <a:cubicBezTo>
                        <a:pt x="50" y="550"/>
                        <a:pt x="50" y="550"/>
                        <a:pt x="50" y="550"/>
                      </a:cubicBezTo>
                      <a:cubicBezTo>
                        <a:pt x="49" y="548"/>
                        <a:pt x="48" y="546"/>
                        <a:pt x="47" y="545"/>
                      </a:cubicBezTo>
                      <a:cubicBezTo>
                        <a:pt x="50" y="544"/>
                        <a:pt x="50" y="544"/>
                        <a:pt x="50" y="544"/>
                      </a:cubicBezTo>
                      <a:cubicBezTo>
                        <a:pt x="50" y="543"/>
                        <a:pt x="50" y="543"/>
                        <a:pt x="50" y="543"/>
                      </a:cubicBezTo>
                      <a:cubicBezTo>
                        <a:pt x="47" y="544"/>
                        <a:pt x="47" y="544"/>
                        <a:pt x="47" y="544"/>
                      </a:cubicBezTo>
                      <a:cubicBezTo>
                        <a:pt x="46" y="542"/>
                        <a:pt x="45" y="540"/>
                        <a:pt x="45" y="539"/>
                      </a:cubicBezTo>
                      <a:cubicBezTo>
                        <a:pt x="47" y="538"/>
                        <a:pt x="47" y="538"/>
                        <a:pt x="47" y="538"/>
                      </a:cubicBezTo>
                      <a:cubicBezTo>
                        <a:pt x="47" y="537"/>
                        <a:pt x="47" y="537"/>
                        <a:pt x="47" y="537"/>
                      </a:cubicBezTo>
                      <a:cubicBezTo>
                        <a:pt x="44" y="538"/>
                        <a:pt x="44" y="538"/>
                        <a:pt x="44" y="538"/>
                      </a:cubicBezTo>
                      <a:cubicBezTo>
                        <a:pt x="44" y="536"/>
                        <a:pt x="43" y="534"/>
                        <a:pt x="42" y="533"/>
                      </a:cubicBezTo>
                      <a:cubicBezTo>
                        <a:pt x="45" y="532"/>
                        <a:pt x="45" y="532"/>
                        <a:pt x="45" y="532"/>
                      </a:cubicBezTo>
                      <a:cubicBezTo>
                        <a:pt x="45" y="531"/>
                        <a:pt x="45" y="531"/>
                        <a:pt x="45" y="531"/>
                      </a:cubicBezTo>
                      <a:cubicBezTo>
                        <a:pt x="42" y="532"/>
                        <a:pt x="42" y="532"/>
                        <a:pt x="42" y="532"/>
                      </a:cubicBezTo>
                      <a:cubicBezTo>
                        <a:pt x="41" y="530"/>
                        <a:pt x="40" y="528"/>
                        <a:pt x="40" y="527"/>
                      </a:cubicBezTo>
                      <a:cubicBezTo>
                        <a:pt x="43" y="525"/>
                        <a:pt x="43" y="525"/>
                        <a:pt x="43" y="525"/>
                      </a:cubicBezTo>
                      <a:cubicBezTo>
                        <a:pt x="42" y="525"/>
                        <a:pt x="42" y="525"/>
                        <a:pt x="42" y="525"/>
                      </a:cubicBezTo>
                      <a:cubicBezTo>
                        <a:pt x="39" y="526"/>
                        <a:pt x="39" y="526"/>
                        <a:pt x="39" y="526"/>
                      </a:cubicBezTo>
                      <a:cubicBezTo>
                        <a:pt x="39" y="524"/>
                        <a:pt x="38" y="523"/>
                        <a:pt x="38" y="521"/>
                      </a:cubicBezTo>
                      <a:cubicBezTo>
                        <a:pt x="43" y="519"/>
                        <a:pt x="43" y="519"/>
                        <a:pt x="43" y="519"/>
                      </a:cubicBezTo>
                      <a:cubicBezTo>
                        <a:pt x="43" y="518"/>
                        <a:pt x="43" y="518"/>
                        <a:pt x="43" y="518"/>
                      </a:cubicBezTo>
                      <a:cubicBezTo>
                        <a:pt x="50" y="516"/>
                        <a:pt x="50" y="516"/>
                        <a:pt x="50" y="516"/>
                      </a:cubicBezTo>
                      <a:cubicBezTo>
                        <a:pt x="50" y="515"/>
                        <a:pt x="50" y="515"/>
                        <a:pt x="50" y="515"/>
                      </a:cubicBezTo>
                      <a:cubicBezTo>
                        <a:pt x="42" y="518"/>
                        <a:pt x="42" y="518"/>
                        <a:pt x="42" y="518"/>
                      </a:cubicBezTo>
                      <a:cubicBezTo>
                        <a:pt x="42" y="517"/>
                        <a:pt x="42" y="517"/>
                        <a:pt x="42" y="517"/>
                      </a:cubicBezTo>
                      <a:cubicBezTo>
                        <a:pt x="37" y="519"/>
                        <a:pt x="37" y="519"/>
                        <a:pt x="37" y="519"/>
                      </a:cubicBezTo>
                      <a:cubicBezTo>
                        <a:pt x="36" y="518"/>
                        <a:pt x="36" y="516"/>
                        <a:pt x="35" y="514"/>
                      </a:cubicBezTo>
                      <a:cubicBezTo>
                        <a:pt x="38" y="513"/>
                        <a:pt x="38" y="513"/>
                        <a:pt x="38" y="513"/>
                      </a:cubicBezTo>
                      <a:cubicBezTo>
                        <a:pt x="38" y="512"/>
                        <a:pt x="38" y="512"/>
                        <a:pt x="38" y="512"/>
                      </a:cubicBezTo>
                      <a:cubicBezTo>
                        <a:pt x="35" y="513"/>
                        <a:pt x="35" y="513"/>
                        <a:pt x="35" y="513"/>
                      </a:cubicBezTo>
                      <a:cubicBezTo>
                        <a:pt x="34" y="512"/>
                        <a:pt x="34" y="510"/>
                        <a:pt x="33" y="508"/>
                      </a:cubicBezTo>
                      <a:cubicBezTo>
                        <a:pt x="36" y="507"/>
                        <a:pt x="36" y="507"/>
                        <a:pt x="36" y="507"/>
                      </a:cubicBezTo>
                      <a:cubicBezTo>
                        <a:pt x="36" y="506"/>
                        <a:pt x="36" y="506"/>
                        <a:pt x="36" y="506"/>
                      </a:cubicBezTo>
                      <a:cubicBezTo>
                        <a:pt x="33" y="507"/>
                        <a:pt x="33" y="507"/>
                        <a:pt x="33" y="507"/>
                      </a:cubicBezTo>
                      <a:cubicBezTo>
                        <a:pt x="32" y="505"/>
                        <a:pt x="32" y="504"/>
                        <a:pt x="31" y="502"/>
                      </a:cubicBezTo>
                      <a:cubicBezTo>
                        <a:pt x="34" y="501"/>
                        <a:pt x="34" y="501"/>
                        <a:pt x="34" y="501"/>
                      </a:cubicBezTo>
                      <a:cubicBezTo>
                        <a:pt x="34" y="500"/>
                        <a:pt x="34" y="500"/>
                        <a:pt x="34" y="500"/>
                      </a:cubicBezTo>
                      <a:cubicBezTo>
                        <a:pt x="31" y="501"/>
                        <a:pt x="31" y="501"/>
                        <a:pt x="31" y="501"/>
                      </a:cubicBezTo>
                      <a:cubicBezTo>
                        <a:pt x="30" y="499"/>
                        <a:pt x="30" y="497"/>
                        <a:pt x="29" y="495"/>
                      </a:cubicBezTo>
                      <a:cubicBezTo>
                        <a:pt x="32" y="495"/>
                        <a:pt x="32" y="495"/>
                        <a:pt x="32" y="495"/>
                      </a:cubicBezTo>
                      <a:cubicBezTo>
                        <a:pt x="32" y="494"/>
                        <a:pt x="32" y="494"/>
                        <a:pt x="32" y="494"/>
                      </a:cubicBezTo>
                      <a:cubicBezTo>
                        <a:pt x="29" y="495"/>
                        <a:pt x="29" y="495"/>
                        <a:pt x="29" y="495"/>
                      </a:cubicBezTo>
                      <a:cubicBezTo>
                        <a:pt x="28" y="493"/>
                        <a:pt x="28" y="491"/>
                        <a:pt x="28" y="489"/>
                      </a:cubicBezTo>
                      <a:cubicBezTo>
                        <a:pt x="30" y="488"/>
                        <a:pt x="30" y="488"/>
                        <a:pt x="30" y="488"/>
                      </a:cubicBezTo>
                      <a:cubicBezTo>
                        <a:pt x="30" y="488"/>
                        <a:pt x="30" y="488"/>
                        <a:pt x="30" y="488"/>
                      </a:cubicBezTo>
                      <a:cubicBezTo>
                        <a:pt x="27" y="488"/>
                        <a:pt x="27" y="488"/>
                        <a:pt x="27" y="488"/>
                      </a:cubicBezTo>
                      <a:cubicBezTo>
                        <a:pt x="27" y="486"/>
                        <a:pt x="26" y="485"/>
                        <a:pt x="26" y="483"/>
                      </a:cubicBezTo>
                      <a:cubicBezTo>
                        <a:pt x="29" y="482"/>
                        <a:pt x="29" y="482"/>
                        <a:pt x="29" y="482"/>
                      </a:cubicBezTo>
                      <a:cubicBezTo>
                        <a:pt x="29" y="481"/>
                        <a:pt x="29" y="481"/>
                        <a:pt x="29" y="481"/>
                      </a:cubicBezTo>
                      <a:cubicBezTo>
                        <a:pt x="26" y="482"/>
                        <a:pt x="26" y="482"/>
                        <a:pt x="26" y="482"/>
                      </a:cubicBezTo>
                      <a:cubicBezTo>
                        <a:pt x="25" y="480"/>
                        <a:pt x="25" y="478"/>
                        <a:pt x="24" y="476"/>
                      </a:cubicBezTo>
                      <a:cubicBezTo>
                        <a:pt x="27" y="476"/>
                        <a:pt x="27" y="476"/>
                        <a:pt x="27" y="476"/>
                      </a:cubicBezTo>
                      <a:cubicBezTo>
                        <a:pt x="27" y="475"/>
                        <a:pt x="27" y="475"/>
                        <a:pt x="27" y="475"/>
                      </a:cubicBezTo>
                      <a:cubicBezTo>
                        <a:pt x="24" y="476"/>
                        <a:pt x="24" y="476"/>
                        <a:pt x="24" y="476"/>
                      </a:cubicBezTo>
                      <a:cubicBezTo>
                        <a:pt x="24" y="474"/>
                        <a:pt x="23" y="472"/>
                        <a:pt x="23" y="470"/>
                      </a:cubicBezTo>
                      <a:cubicBezTo>
                        <a:pt x="26" y="469"/>
                        <a:pt x="26" y="469"/>
                        <a:pt x="26" y="469"/>
                      </a:cubicBezTo>
                      <a:cubicBezTo>
                        <a:pt x="26" y="468"/>
                        <a:pt x="26" y="468"/>
                        <a:pt x="26" y="468"/>
                      </a:cubicBezTo>
                      <a:cubicBezTo>
                        <a:pt x="23" y="469"/>
                        <a:pt x="23" y="469"/>
                        <a:pt x="23" y="469"/>
                      </a:cubicBezTo>
                      <a:cubicBezTo>
                        <a:pt x="22" y="467"/>
                        <a:pt x="22" y="465"/>
                        <a:pt x="22" y="463"/>
                      </a:cubicBezTo>
                      <a:cubicBezTo>
                        <a:pt x="25" y="463"/>
                        <a:pt x="25" y="463"/>
                        <a:pt x="25" y="463"/>
                      </a:cubicBezTo>
                      <a:cubicBezTo>
                        <a:pt x="24" y="462"/>
                        <a:pt x="24" y="462"/>
                        <a:pt x="24" y="462"/>
                      </a:cubicBezTo>
                      <a:cubicBezTo>
                        <a:pt x="21" y="463"/>
                        <a:pt x="21" y="463"/>
                        <a:pt x="21" y="463"/>
                      </a:cubicBezTo>
                      <a:cubicBezTo>
                        <a:pt x="21" y="461"/>
                        <a:pt x="21" y="459"/>
                        <a:pt x="20" y="457"/>
                      </a:cubicBezTo>
                      <a:cubicBezTo>
                        <a:pt x="26" y="457"/>
                        <a:pt x="26" y="457"/>
                        <a:pt x="26" y="457"/>
                      </a:cubicBezTo>
                      <a:cubicBezTo>
                        <a:pt x="26" y="456"/>
                        <a:pt x="26" y="456"/>
                        <a:pt x="26" y="456"/>
                      </a:cubicBezTo>
                      <a:cubicBezTo>
                        <a:pt x="33" y="455"/>
                        <a:pt x="33" y="455"/>
                        <a:pt x="33" y="455"/>
                      </a:cubicBezTo>
                      <a:cubicBezTo>
                        <a:pt x="33" y="454"/>
                        <a:pt x="33" y="454"/>
                        <a:pt x="33" y="454"/>
                      </a:cubicBezTo>
                      <a:cubicBezTo>
                        <a:pt x="26" y="455"/>
                        <a:pt x="26" y="455"/>
                        <a:pt x="26" y="455"/>
                      </a:cubicBezTo>
                      <a:cubicBezTo>
                        <a:pt x="26" y="455"/>
                        <a:pt x="26" y="455"/>
                        <a:pt x="26" y="455"/>
                      </a:cubicBezTo>
                      <a:cubicBezTo>
                        <a:pt x="20" y="456"/>
                        <a:pt x="20" y="456"/>
                        <a:pt x="20" y="456"/>
                      </a:cubicBezTo>
                      <a:cubicBezTo>
                        <a:pt x="20" y="454"/>
                        <a:pt x="20" y="452"/>
                        <a:pt x="19" y="450"/>
                      </a:cubicBezTo>
                      <a:cubicBezTo>
                        <a:pt x="22" y="450"/>
                        <a:pt x="22" y="450"/>
                        <a:pt x="22" y="450"/>
                      </a:cubicBezTo>
                      <a:cubicBezTo>
                        <a:pt x="22" y="449"/>
                        <a:pt x="22" y="449"/>
                        <a:pt x="22" y="449"/>
                      </a:cubicBezTo>
                      <a:cubicBezTo>
                        <a:pt x="19" y="450"/>
                        <a:pt x="19" y="450"/>
                        <a:pt x="19" y="450"/>
                      </a:cubicBezTo>
                      <a:cubicBezTo>
                        <a:pt x="19" y="448"/>
                        <a:pt x="19" y="446"/>
                        <a:pt x="18" y="444"/>
                      </a:cubicBezTo>
                      <a:cubicBezTo>
                        <a:pt x="21" y="444"/>
                        <a:pt x="21" y="444"/>
                        <a:pt x="21" y="444"/>
                      </a:cubicBezTo>
                      <a:cubicBezTo>
                        <a:pt x="21" y="443"/>
                        <a:pt x="21" y="443"/>
                        <a:pt x="21" y="443"/>
                      </a:cubicBezTo>
                      <a:cubicBezTo>
                        <a:pt x="18" y="443"/>
                        <a:pt x="18" y="443"/>
                        <a:pt x="18" y="443"/>
                      </a:cubicBezTo>
                      <a:cubicBezTo>
                        <a:pt x="18" y="441"/>
                        <a:pt x="18" y="439"/>
                        <a:pt x="17" y="437"/>
                      </a:cubicBezTo>
                      <a:cubicBezTo>
                        <a:pt x="20" y="437"/>
                        <a:pt x="20" y="437"/>
                        <a:pt x="20" y="437"/>
                      </a:cubicBezTo>
                      <a:cubicBezTo>
                        <a:pt x="20" y="436"/>
                        <a:pt x="20" y="436"/>
                        <a:pt x="20" y="436"/>
                      </a:cubicBezTo>
                      <a:cubicBezTo>
                        <a:pt x="17" y="437"/>
                        <a:pt x="17" y="437"/>
                        <a:pt x="17" y="437"/>
                      </a:cubicBezTo>
                      <a:cubicBezTo>
                        <a:pt x="17" y="435"/>
                        <a:pt x="17" y="433"/>
                        <a:pt x="17" y="431"/>
                      </a:cubicBezTo>
                      <a:cubicBezTo>
                        <a:pt x="20" y="431"/>
                        <a:pt x="20" y="431"/>
                        <a:pt x="20" y="431"/>
                      </a:cubicBezTo>
                      <a:cubicBezTo>
                        <a:pt x="20" y="430"/>
                        <a:pt x="20" y="430"/>
                        <a:pt x="20" y="430"/>
                      </a:cubicBezTo>
                      <a:cubicBezTo>
                        <a:pt x="17" y="430"/>
                        <a:pt x="17" y="430"/>
                        <a:pt x="17" y="430"/>
                      </a:cubicBezTo>
                      <a:cubicBezTo>
                        <a:pt x="16" y="428"/>
                        <a:pt x="16" y="426"/>
                        <a:pt x="16" y="424"/>
                      </a:cubicBezTo>
                      <a:cubicBezTo>
                        <a:pt x="19" y="424"/>
                        <a:pt x="19" y="424"/>
                        <a:pt x="19" y="424"/>
                      </a:cubicBezTo>
                      <a:cubicBezTo>
                        <a:pt x="19" y="423"/>
                        <a:pt x="19" y="423"/>
                        <a:pt x="19" y="423"/>
                      </a:cubicBezTo>
                      <a:cubicBezTo>
                        <a:pt x="16" y="424"/>
                        <a:pt x="16" y="424"/>
                        <a:pt x="16" y="424"/>
                      </a:cubicBezTo>
                      <a:cubicBezTo>
                        <a:pt x="16" y="422"/>
                        <a:pt x="16" y="420"/>
                        <a:pt x="16" y="418"/>
                      </a:cubicBezTo>
                      <a:cubicBezTo>
                        <a:pt x="19" y="418"/>
                        <a:pt x="19" y="418"/>
                        <a:pt x="19" y="418"/>
                      </a:cubicBezTo>
                      <a:cubicBezTo>
                        <a:pt x="18" y="417"/>
                        <a:pt x="18" y="417"/>
                        <a:pt x="18" y="417"/>
                      </a:cubicBezTo>
                      <a:cubicBezTo>
                        <a:pt x="16" y="417"/>
                        <a:pt x="16" y="417"/>
                        <a:pt x="16" y="417"/>
                      </a:cubicBezTo>
                      <a:cubicBezTo>
                        <a:pt x="15" y="415"/>
                        <a:pt x="15" y="413"/>
                        <a:pt x="15" y="411"/>
                      </a:cubicBezTo>
                      <a:cubicBezTo>
                        <a:pt x="18" y="411"/>
                        <a:pt x="18" y="411"/>
                        <a:pt x="18" y="411"/>
                      </a:cubicBezTo>
                      <a:cubicBezTo>
                        <a:pt x="18" y="410"/>
                        <a:pt x="18" y="410"/>
                        <a:pt x="18" y="410"/>
                      </a:cubicBezTo>
                      <a:cubicBezTo>
                        <a:pt x="15" y="410"/>
                        <a:pt x="15" y="410"/>
                        <a:pt x="15" y="410"/>
                      </a:cubicBezTo>
                      <a:cubicBezTo>
                        <a:pt x="15" y="409"/>
                        <a:pt x="15" y="407"/>
                        <a:pt x="15" y="405"/>
                      </a:cubicBezTo>
                      <a:cubicBezTo>
                        <a:pt x="18" y="405"/>
                        <a:pt x="18" y="405"/>
                        <a:pt x="18" y="405"/>
                      </a:cubicBezTo>
                      <a:cubicBezTo>
                        <a:pt x="18" y="404"/>
                        <a:pt x="18" y="404"/>
                        <a:pt x="18" y="404"/>
                      </a:cubicBezTo>
                      <a:cubicBezTo>
                        <a:pt x="15" y="404"/>
                        <a:pt x="15" y="404"/>
                        <a:pt x="15" y="404"/>
                      </a:cubicBezTo>
                      <a:cubicBezTo>
                        <a:pt x="15" y="402"/>
                        <a:pt x="15" y="400"/>
                        <a:pt x="15" y="398"/>
                      </a:cubicBezTo>
                      <a:cubicBezTo>
                        <a:pt x="18" y="398"/>
                        <a:pt x="18" y="398"/>
                        <a:pt x="18" y="398"/>
                      </a:cubicBezTo>
                      <a:cubicBezTo>
                        <a:pt x="18" y="397"/>
                        <a:pt x="18" y="397"/>
                        <a:pt x="18" y="397"/>
                      </a:cubicBezTo>
                      <a:cubicBezTo>
                        <a:pt x="15" y="397"/>
                        <a:pt x="15" y="397"/>
                        <a:pt x="15" y="397"/>
                      </a:cubicBezTo>
                      <a:cubicBezTo>
                        <a:pt x="15" y="396"/>
                        <a:pt x="15" y="394"/>
                        <a:pt x="15" y="392"/>
                      </a:cubicBezTo>
                      <a:cubicBezTo>
                        <a:pt x="20" y="392"/>
                        <a:pt x="20" y="392"/>
                        <a:pt x="20" y="392"/>
                      </a:cubicBezTo>
                      <a:cubicBezTo>
                        <a:pt x="20" y="392"/>
                        <a:pt x="20" y="392"/>
                        <a:pt x="20" y="392"/>
                      </a:cubicBezTo>
                      <a:cubicBezTo>
                        <a:pt x="28" y="392"/>
                        <a:pt x="28" y="392"/>
                        <a:pt x="28" y="392"/>
                      </a:cubicBezTo>
                      <a:cubicBezTo>
                        <a:pt x="28" y="391"/>
                        <a:pt x="28" y="391"/>
                        <a:pt x="28" y="391"/>
                      </a:cubicBezTo>
                      <a:cubicBezTo>
                        <a:pt x="20" y="391"/>
                        <a:pt x="20" y="391"/>
                        <a:pt x="20" y="391"/>
                      </a:cubicBezTo>
                      <a:cubicBezTo>
                        <a:pt x="20" y="390"/>
                        <a:pt x="20" y="390"/>
                        <a:pt x="20" y="390"/>
                      </a:cubicBezTo>
                      <a:cubicBezTo>
                        <a:pt x="15" y="390"/>
                        <a:pt x="15" y="390"/>
                        <a:pt x="15" y="390"/>
                      </a:cubicBezTo>
                      <a:cubicBezTo>
                        <a:pt x="15" y="389"/>
                        <a:pt x="15" y="387"/>
                        <a:pt x="15" y="385"/>
                      </a:cubicBezTo>
                      <a:cubicBezTo>
                        <a:pt x="18" y="385"/>
                        <a:pt x="18" y="385"/>
                        <a:pt x="18" y="385"/>
                      </a:cubicBezTo>
                      <a:cubicBezTo>
                        <a:pt x="18" y="384"/>
                        <a:pt x="18" y="384"/>
                        <a:pt x="18" y="384"/>
                      </a:cubicBezTo>
                      <a:cubicBezTo>
                        <a:pt x="15" y="384"/>
                        <a:pt x="15" y="384"/>
                        <a:pt x="15" y="384"/>
                      </a:cubicBezTo>
                      <a:cubicBezTo>
                        <a:pt x="15" y="382"/>
                        <a:pt x="15" y="380"/>
                        <a:pt x="15" y="378"/>
                      </a:cubicBezTo>
                      <a:cubicBezTo>
                        <a:pt x="18" y="379"/>
                        <a:pt x="18" y="379"/>
                        <a:pt x="18" y="379"/>
                      </a:cubicBezTo>
                      <a:cubicBezTo>
                        <a:pt x="18" y="378"/>
                        <a:pt x="18" y="378"/>
                        <a:pt x="18" y="378"/>
                      </a:cubicBezTo>
                      <a:cubicBezTo>
                        <a:pt x="15" y="378"/>
                        <a:pt x="15" y="378"/>
                        <a:pt x="15" y="378"/>
                      </a:cubicBezTo>
                      <a:cubicBezTo>
                        <a:pt x="15" y="376"/>
                        <a:pt x="15" y="374"/>
                        <a:pt x="15" y="372"/>
                      </a:cubicBezTo>
                      <a:cubicBezTo>
                        <a:pt x="18" y="372"/>
                        <a:pt x="18" y="372"/>
                        <a:pt x="18" y="372"/>
                      </a:cubicBezTo>
                      <a:cubicBezTo>
                        <a:pt x="18" y="371"/>
                        <a:pt x="18" y="371"/>
                        <a:pt x="18" y="371"/>
                      </a:cubicBezTo>
                      <a:cubicBezTo>
                        <a:pt x="15" y="371"/>
                        <a:pt x="15" y="371"/>
                        <a:pt x="15" y="371"/>
                      </a:cubicBezTo>
                      <a:cubicBezTo>
                        <a:pt x="15" y="369"/>
                        <a:pt x="15" y="367"/>
                        <a:pt x="16" y="365"/>
                      </a:cubicBezTo>
                      <a:cubicBezTo>
                        <a:pt x="18" y="366"/>
                        <a:pt x="18" y="366"/>
                        <a:pt x="18" y="366"/>
                      </a:cubicBezTo>
                      <a:cubicBezTo>
                        <a:pt x="19" y="365"/>
                        <a:pt x="19" y="365"/>
                        <a:pt x="19" y="365"/>
                      </a:cubicBezTo>
                      <a:cubicBezTo>
                        <a:pt x="16" y="365"/>
                        <a:pt x="16" y="365"/>
                        <a:pt x="16" y="365"/>
                      </a:cubicBezTo>
                      <a:cubicBezTo>
                        <a:pt x="16" y="363"/>
                        <a:pt x="16" y="361"/>
                        <a:pt x="16" y="359"/>
                      </a:cubicBezTo>
                      <a:cubicBezTo>
                        <a:pt x="19" y="359"/>
                        <a:pt x="19" y="359"/>
                        <a:pt x="19" y="359"/>
                      </a:cubicBezTo>
                      <a:cubicBezTo>
                        <a:pt x="19" y="358"/>
                        <a:pt x="19" y="358"/>
                        <a:pt x="19" y="358"/>
                      </a:cubicBezTo>
                      <a:cubicBezTo>
                        <a:pt x="16" y="358"/>
                        <a:pt x="16" y="358"/>
                        <a:pt x="16" y="358"/>
                      </a:cubicBezTo>
                      <a:cubicBezTo>
                        <a:pt x="16" y="356"/>
                        <a:pt x="16" y="354"/>
                        <a:pt x="17" y="352"/>
                      </a:cubicBezTo>
                      <a:cubicBezTo>
                        <a:pt x="20" y="353"/>
                        <a:pt x="20" y="353"/>
                        <a:pt x="20" y="353"/>
                      </a:cubicBezTo>
                      <a:cubicBezTo>
                        <a:pt x="20" y="352"/>
                        <a:pt x="20" y="352"/>
                        <a:pt x="20" y="352"/>
                      </a:cubicBezTo>
                      <a:cubicBezTo>
                        <a:pt x="17" y="351"/>
                        <a:pt x="17" y="351"/>
                        <a:pt x="17" y="351"/>
                      </a:cubicBezTo>
                      <a:cubicBezTo>
                        <a:pt x="17" y="350"/>
                        <a:pt x="17" y="348"/>
                        <a:pt x="17" y="346"/>
                      </a:cubicBezTo>
                      <a:cubicBezTo>
                        <a:pt x="20" y="346"/>
                        <a:pt x="20" y="346"/>
                        <a:pt x="20" y="346"/>
                      </a:cubicBezTo>
                      <a:cubicBezTo>
                        <a:pt x="20" y="345"/>
                        <a:pt x="20" y="345"/>
                        <a:pt x="20" y="345"/>
                      </a:cubicBezTo>
                      <a:cubicBezTo>
                        <a:pt x="17" y="345"/>
                        <a:pt x="17" y="345"/>
                        <a:pt x="17" y="345"/>
                      </a:cubicBezTo>
                      <a:cubicBezTo>
                        <a:pt x="18" y="343"/>
                        <a:pt x="18" y="341"/>
                        <a:pt x="18" y="339"/>
                      </a:cubicBezTo>
                      <a:cubicBezTo>
                        <a:pt x="21" y="340"/>
                        <a:pt x="21" y="340"/>
                        <a:pt x="21" y="340"/>
                      </a:cubicBezTo>
                      <a:cubicBezTo>
                        <a:pt x="21" y="339"/>
                        <a:pt x="21" y="339"/>
                        <a:pt x="21" y="339"/>
                      </a:cubicBezTo>
                      <a:cubicBezTo>
                        <a:pt x="18" y="338"/>
                        <a:pt x="18" y="338"/>
                        <a:pt x="18" y="338"/>
                      </a:cubicBezTo>
                      <a:cubicBezTo>
                        <a:pt x="19" y="336"/>
                        <a:pt x="19" y="335"/>
                        <a:pt x="19" y="333"/>
                      </a:cubicBezTo>
                      <a:cubicBezTo>
                        <a:pt x="22" y="333"/>
                        <a:pt x="22" y="333"/>
                        <a:pt x="22" y="333"/>
                      </a:cubicBezTo>
                      <a:cubicBezTo>
                        <a:pt x="22" y="332"/>
                        <a:pt x="22" y="332"/>
                        <a:pt x="22" y="332"/>
                      </a:cubicBezTo>
                      <a:cubicBezTo>
                        <a:pt x="19" y="332"/>
                        <a:pt x="19" y="332"/>
                        <a:pt x="19" y="332"/>
                      </a:cubicBezTo>
                      <a:cubicBezTo>
                        <a:pt x="20" y="330"/>
                        <a:pt x="20" y="328"/>
                        <a:pt x="20" y="327"/>
                      </a:cubicBezTo>
                      <a:cubicBezTo>
                        <a:pt x="26" y="328"/>
                        <a:pt x="26" y="328"/>
                        <a:pt x="26" y="328"/>
                      </a:cubicBezTo>
                      <a:cubicBezTo>
                        <a:pt x="26" y="327"/>
                        <a:pt x="26" y="327"/>
                        <a:pt x="26" y="327"/>
                      </a:cubicBezTo>
                      <a:cubicBezTo>
                        <a:pt x="33" y="328"/>
                        <a:pt x="33" y="328"/>
                        <a:pt x="33" y="328"/>
                      </a:cubicBezTo>
                      <a:cubicBezTo>
                        <a:pt x="33" y="328"/>
                        <a:pt x="33" y="328"/>
                        <a:pt x="33" y="328"/>
                      </a:cubicBezTo>
                      <a:cubicBezTo>
                        <a:pt x="26" y="326"/>
                        <a:pt x="26" y="326"/>
                        <a:pt x="26" y="326"/>
                      </a:cubicBezTo>
                      <a:cubicBezTo>
                        <a:pt x="26" y="326"/>
                        <a:pt x="26" y="326"/>
                        <a:pt x="26" y="326"/>
                      </a:cubicBezTo>
                      <a:cubicBezTo>
                        <a:pt x="20" y="325"/>
                        <a:pt x="20" y="325"/>
                        <a:pt x="20" y="325"/>
                      </a:cubicBezTo>
                      <a:cubicBezTo>
                        <a:pt x="21" y="323"/>
                        <a:pt x="21" y="321"/>
                        <a:pt x="21" y="320"/>
                      </a:cubicBezTo>
                      <a:cubicBezTo>
                        <a:pt x="24" y="320"/>
                        <a:pt x="24" y="320"/>
                        <a:pt x="24" y="320"/>
                      </a:cubicBezTo>
                      <a:cubicBezTo>
                        <a:pt x="25" y="320"/>
                        <a:pt x="25" y="320"/>
                        <a:pt x="25" y="320"/>
                      </a:cubicBezTo>
                      <a:cubicBezTo>
                        <a:pt x="22" y="319"/>
                        <a:pt x="22" y="319"/>
                        <a:pt x="22" y="319"/>
                      </a:cubicBezTo>
                      <a:cubicBezTo>
                        <a:pt x="22" y="317"/>
                        <a:pt x="22" y="315"/>
                        <a:pt x="23" y="313"/>
                      </a:cubicBezTo>
                      <a:cubicBezTo>
                        <a:pt x="26" y="314"/>
                        <a:pt x="26" y="314"/>
                        <a:pt x="26" y="314"/>
                      </a:cubicBezTo>
                      <a:cubicBezTo>
                        <a:pt x="26" y="313"/>
                        <a:pt x="26" y="313"/>
                        <a:pt x="26" y="313"/>
                      </a:cubicBezTo>
                      <a:cubicBezTo>
                        <a:pt x="23" y="312"/>
                        <a:pt x="23" y="312"/>
                        <a:pt x="23" y="312"/>
                      </a:cubicBezTo>
                      <a:cubicBezTo>
                        <a:pt x="23" y="311"/>
                        <a:pt x="24" y="309"/>
                        <a:pt x="24" y="307"/>
                      </a:cubicBezTo>
                      <a:cubicBezTo>
                        <a:pt x="27" y="308"/>
                        <a:pt x="27" y="308"/>
                        <a:pt x="27" y="308"/>
                      </a:cubicBezTo>
                      <a:cubicBezTo>
                        <a:pt x="27" y="307"/>
                        <a:pt x="27" y="307"/>
                        <a:pt x="27" y="307"/>
                      </a:cubicBezTo>
                      <a:cubicBezTo>
                        <a:pt x="24" y="306"/>
                        <a:pt x="24" y="306"/>
                        <a:pt x="24" y="306"/>
                      </a:cubicBezTo>
                      <a:cubicBezTo>
                        <a:pt x="25" y="304"/>
                        <a:pt x="25" y="302"/>
                        <a:pt x="26" y="300"/>
                      </a:cubicBezTo>
                      <a:cubicBezTo>
                        <a:pt x="29" y="301"/>
                        <a:pt x="29" y="301"/>
                        <a:pt x="29" y="301"/>
                      </a:cubicBezTo>
                      <a:cubicBezTo>
                        <a:pt x="29" y="300"/>
                        <a:pt x="29" y="300"/>
                        <a:pt x="29" y="300"/>
                      </a:cubicBezTo>
                      <a:cubicBezTo>
                        <a:pt x="26" y="300"/>
                        <a:pt x="26" y="300"/>
                        <a:pt x="26" y="300"/>
                      </a:cubicBezTo>
                      <a:cubicBezTo>
                        <a:pt x="26" y="298"/>
                        <a:pt x="27" y="296"/>
                        <a:pt x="27" y="294"/>
                      </a:cubicBezTo>
                      <a:cubicBezTo>
                        <a:pt x="30" y="295"/>
                        <a:pt x="30" y="295"/>
                        <a:pt x="30" y="295"/>
                      </a:cubicBezTo>
                      <a:cubicBezTo>
                        <a:pt x="30" y="294"/>
                        <a:pt x="30" y="294"/>
                        <a:pt x="30" y="294"/>
                      </a:cubicBezTo>
                      <a:cubicBezTo>
                        <a:pt x="28" y="293"/>
                        <a:pt x="28" y="293"/>
                        <a:pt x="28" y="293"/>
                      </a:cubicBezTo>
                      <a:cubicBezTo>
                        <a:pt x="28" y="291"/>
                        <a:pt x="28" y="290"/>
                        <a:pt x="29" y="288"/>
                      </a:cubicBezTo>
                      <a:cubicBezTo>
                        <a:pt x="32" y="289"/>
                        <a:pt x="32" y="289"/>
                        <a:pt x="32" y="289"/>
                      </a:cubicBezTo>
                      <a:cubicBezTo>
                        <a:pt x="32" y="288"/>
                        <a:pt x="32" y="288"/>
                        <a:pt x="32" y="288"/>
                      </a:cubicBezTo>
                      <a:cubicBezTo>
                        <a:pt x="29" y="287"/>
                        <a:pt x="29" y="287"/>
                        <a:pt x="29" y="287"/>
                      </a:cubicBezTo>
                      <a:cubicBezTo>
                        <a:pt x="30" y="285"/>
                        <a:pt x="30" y="283"/>
                        <a:pt x="31" y="281"/>
                      </a:cubicBezTo>
                      <a:cubicBezTo>
                        <a:pt x="34" y="282"/>
                        <a:pt x="34" y="282"/>
                        <a:pt x="34" y="282"/>
                      </a:cubicBezTo>
                      <a:cubicBezTo>
                        <a:pt x="34" y="282"/>
                        <a:pt x="34" y="282"/>
                        <a:pt x="34" y="282"/>
                      </a:cubicBezTo>
                      <a:cubicBezTo>
                        <a:pt x="31" y="281"/>
                        <a:pt x="31" y="281"/>
                        <a:pt x="31" y="281"/>
                      </a:cubicBezTo>
                      <a:cubicBezTo>
                        <a:pt x="32" y="279"/>
                        <a:pt x="32" y="277"/>
                        <a:pt x="33" y="275"/>
                      </a:cubicBezTo>
                      <a:cubicBezTo>
                        <a:pt x="36" y="276"/>
                        <a:pt x="36" y="276"/>
                        <a:pt x="36" y="276"/>
                      </a:cubicBezTo>
                      <a:cubicBezTo>
                        <a:pt x="36" y="275"/>
                        <a:pt x="36" y="275"/>
                        <a:pt x="36" y="275"/>
                      </a:cubicBezTo>
                      <a:cubicBezTo>
                        <a:pt x="33" y="274"/>
                        <a:pt x="33" y="274"/>
                        <a:pt x="33" y="274"/>
                      </a:cubicBezTo>
                      <a:cubicBezTo>
                        <a:pt x="34" y="273"/>
                        <a:pt x="34" y="271"/>
                        <a:pt x="35" y="269"/>
                      </a:cubicBezTo>
                      <a:cubicBezTo>
                        <a:pt x="38" y="270"/>
                        <a:pt x="38" y="270"/>
                        <a:pt x="38" y="270"/>
                      </a:cubicBezTo>
                      <a:cubicBezTo>
                        <a:pt x="38" y="269"/>
                        <a:pt x="38" y="269"/>
                        <a:pt x="38" y="269"/>
                      </a:cubicBezTo>
                      <a:cubicBezTo>
                        <a:pt x="35" y="268"/>
                        <a:pt x="35" y="268"/>
                        <a:pt x="35" y="268"/>
                      </a:cubicBezTo>
                      <a:cubicBezTo>
                        <a:pt x="36" y="267"/>
                        <a:pt x="36" y="265"/>
                        <a:pt x="37" y="263"/>
                      </a:cubicBezTo>
                      <a:cubicBezTo>
                        <a:pt x="42" y="265"/>
                        <a:pt x="42" y="265"/>
                        <a:pt x="42" y="265"/>
                      </a:cubicBezTo>
                      <a:cubicBezTo>
                        <a:pt x="42" y="265"/>
                        <a:pt x="42" y="265"/>
                        <a:pt x="42" y="265"/>
                      </a:cubicBezTo>
                      <a:cubicBezTo>
                        <a:pt x="50" y="267"/>
                        <a:pt x="50" y="267"/>
                        <a:pt x="50" y="267"/>
                      </a:cubicBezTo>
                      <a:cubicBezTo>
                        <a:pt x="50" y="267"/>
                        <a:pt x="50" y="267"/>
                        <a:pt x="50" y="267"/>
                      </a:cubicBezTo>
                      <a:cubicBezTo>
                        <a:pt x="43" y="264"/>
                        <a:pt x="43" y="264"/>
                        <a:pt x="43" y="264"/>
                      </a:cubicBezTo>
                      <a:cubicBezTo>
                        <a:pt x="43" y="263"/>
                        <a:pt x="43" y="263"/>
                        <a:pt x="43" y="263"/>
                      </a:cubicBezTo>
                      <a:cubicBezTo>
                        <a:pt x="38" y="262"/>
                        <a:pt x="38" y="262"/>
                        <a:pt x="38" y="262"/>
                      </a:cubicBezTo>
                      <a:cubicBezTo>
                        <a:pt x="38" y="260"/>
                        <a:pt x="39" y="258"/>
                        <a:pt x="39" y="257"/>
                      </a:cubicBezTo>
                      <a:cubicBezTo>
                        <a:pt x="42" y="258"/>
                        <a:pt x="42" y="258"/>
                        <a:pt x="42" y="258"/>
                      </a:cubicBezTo>
                      <a:cubicBezTo>
                        <a:pt x="43" y="257"/>
                        <a:pt x="43" y="257"/>
                        <a:pt x="43" y="257"/>
                      </a:cubicBezTo>
                      <a:cubicBezTo>
                        <a:pt x="40" y="256"/>
                        <a:pt x="40" y="256"/>
                        <a:pt x="40" y="256"/>
                      </a:cubicBezTo>
                      <a:cubicBezTo>
                        <a:pt x="40" y="254"/>
                        <a:pt x="41" y="252"/>
                        <a:pt x="42" y="250"/>
                      </a:cubicBezTo>
                      <a:cubicBezTo>
                        <a:pt x="45" y="252"/>
                        <a:pt x="45" y="252"/>
                        <a:pt x="45" y="252"/>
                      </a:cubicBezTo>
                      <a:cubicBezTo>
                        <a:pt x="45" y="251"/>
                        <a:pt x="45" y="251"/>
                        <a:pt x="45" y="251"/>
                      </a:cubicBezTo>
                      <a:cubicBezTo>
                        <a:pt x="42" y="250"/>
                        <a:pt x="42" y="250"/>
                        <a:pt x="42" y="250"/>
                      </a:cubicBezTo>
                      <a:cubicBezTo>
                        <a:pt x="43" y="248"/>
                        <a:pt x="44" y="246"/>
                        <a:pt x="44" y="244"/>
                      </a:cubicBezTo>
                      <a:cubicBezTo>
                        <a:pt x="47" y="246"/>
                        <a:pt x="47" y="246"/>
                        <a:pt x="47" y="246"/>
                      </a:cubicBezTo>
                      <a:cubicBezTo>
                        <a:pt x="47" y="245"/>
                        <a:pt x="47" y="245"/>
                        <a:pt x="47" y="245"/>
                      </a:cubicBezTo>
                      <a:cubicBezTo>
                        <a:pt x="45" y="244"/>
                        <a:pt x="45" y="244"/>
                        <a:pt x="45" y="244"/>
                      </a:cubicBezTo>
                      <a:cubicBezTo>
                        <a:pt x="45" y="242"/>
                        <a:pt x="46" y="240"/>
                        <a:pt x="47" y="238"/>
                      </a:cubicBezTo>
                      <a:cubicBezTo>
                        <a:pt x="50" y="240"/>
                        <a:pt x="50" y="240"/>
                        <a:pt x="50" y="240"/>
                      </a:cubicBezTo>
                      <a:cubicBezTo>
                        <a:pt x="50" y="239"/>
                        <a:pt x="50" y="239"/>
                        <a:pt x="50" y="239"/>
                      </a:cubicBezTo>
                      <a:cubicBezTo>
                        <a:pt x="47" y="238"/>
                        <a:pt x="47" y="238"/>
                        <a:pt x="47" y="238"/>
                      </a:cubicBezTo>
                      <a:cubicBezTo>
                        <a:pt x="48" y="236"/>
                        <a:pt x="49" y="234"/>
                        <a:pt x="50" y="232"/>
                      </a:cubicBezTo>
                      <a:cubicBezTo>
                        <a:pt x="52" y="234"/>
                        <a:pt x="52" y="234"/>
                        <a:pt x="52" y="234"/>
                      </a:cubicBezTo>
                      <a:cubicBezTo>
                        <a:pt x="53" y="233"/>
                        <a:pt x="53" y="233"/>
                        <a:pt x="53" y="233"/>
                      </a:cubicBezTo>
                      <a:cubicBezTo>
                        <a:pt x="50" y="232"/>
                        <a:pt x="50" y="232"/>
                        <a:pt x="50" y="232"/>
                      </a:cubicBezTo>
                      <a:cubicBezTo>
                        <a:pt x="51" y="230"/>
                        <a:pt x="52" y="228"/>
                        <a:pt x="53" y="226"/>
                      </a:cubicBezTo>
                      <a:cubicBezTo>
                        <a:pt x="55" y="228"/>
                        <a:pt x="55" y="228"/>
                        <a:pt x="55" y="228"/>
                      </a:cubicBezTo>
                      <a:cubicBezTo>
                        <a:pt x="56" y="227"/>
                        <a:pt x="56" y="227"/>
                        <a:pt x="56" y="227"/>
                      </a:cubicBezTo>
                      <a:cubicBezTo>
                        <a:pt x="53" y="226"/>
                        <a:pt x="53" y="226"/>
                        <a:pt x="53" y="226"/>
                      </a:cubicBezTo>
                      <a:cubicBezTo>
                        <a:pt x="54" y="224"/>
                        <a:pt x="55" y="222"/>
                        <a:pt x="55" y="221"/>
                      </a:cubicBezTo>
                      <a:cubicBezTo>
                        <a:pt x="58" y="222"/>
                        <a:pt x="58" y="222"/>
                        <a:pt x="58" y="222"/>
                      </a:cubicBezTo>
                      <a:cubicBezTo>
                        <a:pt x="58" y="221"/>
                        <a:pt x="58" y="221"/>
                        <a:pt x="58" y="221"/>
                      </a:cubicBezTo>
                      <a:cubicBezTo>
                        <a:pt x="56" y="220"/>
                        <a:pt x="56" y="220"/>
                        <a:pt x="56" y="220"/>
                      </a:cubicBezTo>
                      <a:cubicBezTo>
                        <a:pt x="57" y="218"/>
                        <a:pt x="58" y="216"/>
                        <a:pt x="59" y="215"/>
                      </a:cubicBezTo>
                      <a:cubicBezTo>
                        <a:pt x="61" y="216"/>
                        <a:pt x="61" y="216"/>
                        <a:pt x="61" y="216"/>
                      </a:cubicBezTo>
                      <a:cubicBezTo>
                        <a:pt x="61" y="215"/>
                        <a:pt x="61" y="215"/>
                        <a:pt x="61" y="215"/>
                      </a:cubicBezTo>
                      <a:cubicBezTo>
                        <a:pt x="59" y="214"/>
                        <a:pt x="59" y="214"/>
                        <a:pt x="59" y="214"/>
                      </a:cubicBezTo>
                      <a:cubicBezTo>
                        <a:pt x="60" y="212"/>
                        <a:pt x="61" y="211"/>
                        <a:pt x="62" y="209"/>
                      </a:cubicBezTo>
                      <a:cubicBezTo>
                        <a:pt x="64" y="210"/>
                        <a:pt x="64" y="210"/>
                        <a:pt x="64" y="210"/>
                      </a:cubicBezTo>
                      <a:cubicBezTo>
                        <a:pt x="65" y="210"/>
                        <a:pt x="65" y="210"/>
                        <a:pt x="65" y="210"/>
                      </a:cubicBezTo>
                      <a:cubicBezTo>
                        <a:pt x="62" y="208"/>
                        <a:pt x="62" y="208"/>
                        <a:pt x="62" y="208"/>
                      </a:cubicBezTo>
                      <a:cubicBezTo>
                        <a:pt x="63" y="207"/>
                        <a:pt x="64" y="205"/>
                        <a:pt x="65" y="204"/>
                      </a:cubicBezTo>
                      <a:cubicBezTo>
                        <a:pt x="69" y="206"/>
                        <a:pt x="69" y="206"/>
                        <a:pt x="69" y="206"/>
                      </a:cubicBezTo>
                      <a:cubicBezTo>
                        <a:pt x="70" y="206"/>
                        <a:pt x="70" y="206"/>
                        <a:pt x="70" y="206"/>
                      </a:cubicBezTo>
                      <a:cubicBezTo>
                        <a:pt x="76" y="210"/>
                        <a:pt x="76" y="210"/>
                        <a:pt x="76" y="210"/>
                      </a:cubicBezTo>
                      <a:cubicBezTo>
                        <a:pt x="77" y="209"/>
                        <a:pt x="77" y="209"/>
                        <a:pt x="77" y="209"/>
                      </a:cubicBezTo>
                      <a:cubicBezTo>
                        <a:pt x="70" y="205"/>
                        <a:pt x="70" y="205"/>
                        <a:pt x="70" y="205"/>
                      </a:cubicBezTo>
                      <a:cubicBezTo>
                        <a:pt x="70" y="205"/>
                        <a:pt x="70" y="205"/>
                        <a:pt x="70" y="205"/>
                      </a:cubicBezTo>
                      <a:cubicBezTo>
                        <a:pt x="66" y="202"/>
                        <a:pt x="66" y="202"/>
                        <a:pt x="66" y="202"/>
                      </a:cubicBezTo>
                      <a:cubicBezTo>
                        <a:pt x="66" y="201"/>
                        <a:pt x="67" y="199"/>
                        <a:pt x="68" y="198"/>
                      </a:cubicBezTo>
                      <a:cubicBezTo>
                        <a:pt x="71" y="199"/>
                        <a:pt x="71" y="199"/>
                        <a:pt x="71" y="199"/>
                      </a:cubicBezTo>
                      <a:cubicBezTo>
                        <a:pt x="71" y="198"/>
                        <a:pt x="71" y="198"/>
                        <a:pt x="71" y="198"/>
                      </a:cubicBezTo>
                      <a:cubicBezTo>
                        <a:pt x="69" y="197"/>
                        <a:pt x="69" y="197"/>
                        <a:pt x="69" y="197"/>
                      </a:cubicBezTo>
                      <a:cubicBezTo>
                        <a:pt x="70" y="195"/>
                        <a:pt x="71" y="194"/>
                        <a:pt x="72" y="192"/>
                      </a:cubicBezTo>
                      <a:cubicBezTo>
                        <a:pt x="74" y="194"/>
                        <a:pt x="74" y="194"/>
                        <a:pt x="74" y="194"/>
                      </a:cubicBezTo>
                      <a:cubicBezTo>
                        <a:pt x="75" y="193"/>
                        <a:pt x="75" y="193"/>
                        <a:pt x="75" y="193"/>
                      </a:cubicBezTo>
                      <a:cubicBezTo>
                        <a:pt x="72" y="191"/>
                        <a:pt x="72" y="191"/>
                        <a:pt x="72" y="191"/>
                      </a:cubicBezTo>
                      <a:cubicBezTo>
                        <a:pt x="73" y="190"/>
                        <a:pt x="74" y="188"/>
                        <a:pt x="75" y="186"/>
                      </a:cubicBezTo>
                      <a:cubicBezTo>
                        <a:pt x="78" y="188"/>
                        <a:pt x="78" y="188"/>
                        <a:pt x="78" y="188"/>
                      </a:cubicBezTo>
                      <a:cubicBezTo>
                        <a:pt x="78" y="187"/>
                        <a:pt x="78" y="187"/>
                        <a:pt x="78" y="187"/>
                      </a:cubicBezTo>
                      <a:cubicBezTo>
                        <a:pt x="76" y="186"/>
                        <a:pt x="76" y="186"/>
                        <a:pt x="76" y="186"/>
                      </a:cubicBezTo>
                      <a:cubicBezTo>
                        <a:pt x="77" y="184"/>
                        <a:pt x="78" y="183"/>
                        <a:pt x="79" y="181"/>
                      </a:cubicBezTo>
                      <a:cubicBezTo>
                        <a:pt x="81" y="183"/>
                        <a:pt x="81" y="183"/>
                        <a:pt x="81" y="183"/>
                      </a:cubicBezTo>
                      <a:cubicBezTo>
                        <a:pt x="82" y="182"/>
                        <a:pt x="82" y="182"/>
                        <a:pt x="82" y="182"/>
                      </a:cubicBezTo>
                      <a:cubicBezTo>
                        <a:pt x="79" y="180"/>
                        <a:pt x="79" y="180"/>
                        <a:pt x="79" y="180"/>
                      </a:cubicBezTo>
                      <a:cubicBezTo>
                        <a:pt x="80" y="179"/>
                        <a:pt x="81" y="177"/>
                        <a:pt x="83" y="176"/>
                      </a:cubicBezTo>
                      <a:cubicBezTo>
                        <a:pt x="85" y="177"/>
                        <a:pt x="85" y="177"/>
                        <a:pt x="85" y="177"/>
                      </a:cubicBezTo>
                      <a:cubicBezTo>
                        <a:pt x="85" y="177"/>
                        <a:pt x="85" y="177"/>
                        <a:pt x="85" y="177"/>
                      </a:cubicBezTo>
                      <a:cubicBezTo>
                        <a:pt x="83" y="175"/>
                        <a:pt x="83" y="175"/>
                        <a:pt x="83" y="175"/>
                      </a:cubicBezTo>
                      <a:cubicBezTo>
                        <a:pt x="84" y="173"/>
                        <a:pt x="85" y="172"/>
                        <a:pt x="86" y="170"/>
                      </a:cubicBezTo>
                      <a:cubicBezTo>
                        <a:pt x="89" y="172"/>
                        <a:pt x="89" y="172"/>
                        <a:pt x="89" y="172"/>
                      </a:cubicBezTo>
                      <a:cubicBezTo>
                        <a:pt x="89" y="171"/>
                        <a:pt x="89" y="171"/>
                        <a:pt x="89" y="171"/>
                      </a:cubicBezTo>
                      <a:cubicBezTo>
                        <a:pt x="87" y="170"/>
                        <a:pt x="87" y="170"/>
                        <a:pt x="87" y="170"/>
                      </a:cubicBezTo>
                      <a:cubicBezTo>
                        <a:pt x="88" y="168"/>
                        <a:pt x="89" y="166"/>
                        <a:pt x="90" y="165"/>
                      </a:cubicBezTo>
                      <a:cubicBezTo>
                        <a:pt x="93" y="167"/>
                        <a:pt x="93" y="167"/>
                        <a:pt x="93" y="167"/>
                      </a:cubicBezTo>
                      <a:cubicBezTo>
                        <a:pt x="93" y="166"/>
                        <a:pt x="93" y="166"/>
                        <a:pt x="93" y="166"/>
                      </a:cubicBezTo>
                      <a:cubicBezTo>
                        <a:pt x="91" y="164"/>
                        <a:pt x="91" y="164"/>
                        <a:pt x="91" y="164"/>
                      </a:cubicBezTo>
                      <a:cubicBezTo>
                        <a:pt x="92" y="163"/>
                        <a:pt x="93" y="161"/>
                        <a:pt x="94" y="160"/>
                      </a:cubicBezTo>
                      <a:cubicBezTo>
                        <a:pt x="96" y="161"/>
                        <a:pt x="96" y="161"/>
                        <a:pt x="96" y="161"/>
                      </a:cubicBezTo>
                      <a:cubicBezTo>
                        <a:pt x="97" y="161"/>
                        <a:pt x="97" y="161"/>
                        <a:pt x="97" y="161"/>
                      </a:cubicBezTo>
                      <a:cubicBezTo>
                        <a:pt x="95" y="159"/>
                        <a:pt x="95" y="159"/>
                        <a:pt x="95" y="159"/>
                      </a:cubicBezTo>
                      <a:cubicBezTo>
                        <a:pt x="96" y="158"/>
                        <a:pt x="97" y="156"/>
                        <a:pt x="98" y="155"/>
                      </a:cubicBezTo>
                      <a:cubicBezTo>
                        <a:pt x="101" y="156"/>
                        <a:pt x="101" y="156"/>
                        <a:pt x="101" y="156"/>
                      </a:cubicBezTo>
                      <a:cubicBezTo>
                        <a:pt x="101" y="156"/>
                        <a:pt x="101" y="156"/>
                        <a:pt x="101" y="156"/>
                      </a:cubicBezTo>
                      <a:cubicBezTo>
                        <a:pt x="99" y="154"/>
                        <a:pt x="99" y="154"/>
                        <a:pt x="99" y="154"/>
                      </a:cubicBezTo>
                      <a:cubicBezTo>
                        <a:pt x="100" y="153"/>
                        <a:pt x="101" y="151"/>
                        <a:pt x="102" y="150"/>
                      </a:cubicBezTo>
                      <a:cubicBezTo>
                        <a:pt x="106" y="153"/>
                        <a:pt x="106" y="153"/>
                        <a:pt x="106" y="153"/>
                      </a:cubicBezTo>
                      <a:cubicBezTo>
                        <a:pt x="107" y="153"/>
                        <a:pt x="107" y="153"/>
                        <a:pt x="107" y="153"/>
                      </a:cubicBezTo>
                      <a:cubicBezTo>
                        <a:pt x="113" y="158"/>
                        <a:pt x="113" y="158"/>
                        <a:pt x="113" y="158"/>
                      </a:cubicBezTo>
                      <a:cubicBezTo>
                        <a:pt x="113" y="157"/>
                        <a:pt x="113" y="157"/>
                        <a:pt x="113" y="157"/>
                      </a:cubicBezTo>
                      <a:cubicBezTo>
                        <a:pt x="107" y="152"/>
                        <a:pt x="107" y="152"/>
                        <a:pt x="107" y="152"/>
                      </a:cubicBezTo>
                      <a:cubicBezTo>
                        <a:pt x="107" y="152"/>
                        <a:pt x="107" y="152"/>
                        <a:pt x="107" y="152"/>
                      </a:cubicBezTo>
                      <a:cubicBezTo>
                        <a:pt x="103" y="149"/>
                        <a:pt x="103" y="149"/>
                        <a:pt x="103" y="149"/>
                      </a:cubicBezTo>
                      <a:cubicBezTo>
                        <a:pt x="104" y="147"/>
                        <a:pt x="106" y="146"/>
                        <a:pt x="107" y="144"/>
                      </a:cubicBezTo>
                      <a:cubicBezTo>
                        <a:pt x="109" y="146"/>
                        <a:pt x="109" y="146"/>
                        <a:pt x="109" y="146"/>
                      </a:cubicBezTo>
                      <a:cubicBezTo>
                        <a:pt x="109" y="146"/>
                        <a:pt x="109" y="146"/>
                        <a:pt x="109" y="146"/>
                      </a:cubicBezTo>
                      <a:cubicBezTo>
                        <a:pt x="107" y="144"/>
                        <a:pt x="107" y="144"/>
                        <a:pt x="107" y="144"/>
                      </a:cubicBezTo>
                      <a:cubicBezTo>
                        <a:pt x="109" y="142"/>
                        <a:pt x="110" y="141"/>
                        <a:pt x="111" y="140"/>
                      </a:cubicBezTo>
                      <a:cubicBezTo>
                        <a:pt x="113" y="141"/>
                        <a:pt x="113" y="141"/>
                        <a:pt x="113" y="141"/>
                      </a:cubicBezTo>
                      <a:cubicBezTo>
                        <a:pt x="114" y="141"/>
                        <a:pt x="114" y="141"/>
                        <a:pt x="114" y="141"/>
                      </a:cubicBezTo>
                      <a:cubicBezTo>
                        <a:pt x="112" y="139"/>
                        <a:pt x="112" y="139"/>
                        <a:pt x="112" y="139"/>
                      </a:cubicBezTo>
                      <a:cubicBezTo>
                        <a:pt x="113" y="138"/>
                        <a:pt x="114" y="136"/>
                        <a:pt x="116" y="135"/>
                      </a:cubicBezTo>
                      <a:cubicBezTo>
                        <a:pt x="118" y="137"/>
                        <a:pt x="118" y="137"/>
                        <a:pt x="118" y="137"/>
                      </a:cubicBezTo>
                      <a:cubicBezTo>
                        <a:pt x="118" y="136"/>
                        <a:pt x="118" y="136"/>
                        <a:pt x="118" y="136"/>
                      </a:cubicBezTo>
                      <a:cubicBezTo>
                        <a:pt x="116" y="134"/>
                        <a:pt x="116" y="134"/>
                        <a:pt x="116" y="134"/>
                      </a:cubicBezTo>
                      <a:cubicBezTo>
                        <a:pt x="117" y="133"/>
                        <a:pt x="119" y="131"/>
                        <a:pt x="120" y="130"/>
                      </a:cubicBezTo>
                      <a:cubicBezTo>
                        <a:pt x="122" y="132"/>
                        <a:pt x="122" y="132"/>
                        <a:pt x="122" y="132"/>
                      </a:cubicBezTo>
                      <a:cubicBezTo>
                        <a:pt x="123" y="131"/>
                        <a:pt x="123" y="131"/>
                        <a:pt x="123" y="131"/>
                      </a:cubicBezTo>
                      <a:cubicBezTo>
                        <a:pt x="121" y="129"/>
                        <a:pt x="121" y="129"/>
                        <a:pt x="121" y="129"/>
                      </a:cubicBezTo>
                      <a:cubicBezTo>
                        <a:pt x="122" y="128"/>
                        <a:pt x="123" y="127"/>
                        <a:pt x="125" y="125"/>
                      </a:cubicBezTo>
                      <a:cubicBezTo>
                        <a:pt x="127" y="127"/>
                        <a:pt x="127" y="127"/>
                        <a:pt x="127" y="127"/>
                      </a:cubicBezTo>
                      <a:cubicBezTo>
                        <a:pt x="127" y="127"/>
                        <a:pt x="127" y="127"/>
                        <a:pt x="127" y="127"/>
                      </a:cubicBezTo>
                      <a:cubicBezTo>
                        <a:pt x="125" y="125"/>
                        <a:pt x="125" y="125"/>
                        <a:pt x="125" y="125"/>
                      </a:cubicBezTo>
                      <a:cubicBezTo>
                        <a:pt x="127" y="123"/>
                        <a:pt x="128" y="122"/>
                        <a:pt x="129" y="121"/>
                      </a:cubicBezTo>
                      <a:cubicBezTo>
                        <a:pt x="131" y="123"/>
                        <a:pt x="131" y="123"/>
                        <a:pt x="131" y="123"/>
                      </a:cubicBezTo>
                      <a:cubicBezTo>
                        <a:pt x="132" y="122"/>
                        <a:pt x="132" y="122"/>
                        <a:pt x="132" y="122"/>
                      </a:cubicBezTo>
                      <a:cubicBezTo>
                        <a:pt x="130" y="120"/>
                        <a:pt x="130" y="120"/>
                        <a:pt x="130" y="120"/>
                      </a:cubicBezTo>
                      <a:cubicBezTo>
                        <a:pt x="131" y="119"/>
                        <a:pt x="133" y="117"/>
                        <a:pt x="134" y="116"/>
                      </a:cubicBezTo>
                      <a:cubicBezTo>
                        <a:pt x="136" y="118"/>
                        <a:pt x="136" y="118"/>
                        <a:pt x="136" y="118"/>
                      </a:cubicBezTo>
                      <a:cubicBezTo>
                        <a:pt x="137" y="118"/>
                        <a:pt x="137" y="118"/>
                        <a:pt x="137" y="118"/>
                      </a:cubicBezTo>
                      <a:cubicBezTo>
                        <a:pt x="135" y="116"/>
                        <a:pt x="135" y="116"/>
                        <a:pt x="135" y="116"/>
                      </a:cubicBezTo>
                      <a:cubicBezTo>
                        <a:pt x="136" y="114"/>
                        <a:pt x="137" y="113"/>
                        <a:pt x="139" y="112"/>
                      </a:cubicBezTo>
                      <a:cubicBezTo>
                        <a:pt x="141" y="114"/>
                        <a:pt x="141" y="114"/>
                        <a:pt x="141" y="114"/>
                      </a:cubicBezTo>
                      <a:cubicBezTo>
                        <a:pt x="141" y="113"/>
                        <a:pt x="141" y="113"/>
                        <a:pt x="141" y="113"/>
                      </a:cubicBezTo>
                      <a:cubicBezTo>
                        <a:pt x="139" y="111"/>
                        <a:pt x="139" y="111"/>
                        <a:pt x="139" y="111"/>
                      </a:cubicBezTo>
                      <a:cubicBezTo>
                        <a:pt x="141" y="110"/>
                        <a:pt x="142" y="109"/>
                        <a:pt x="144" y="107"/>
                      </a:cubicBezTo>
                      <a:cubicBezTo>
                        <a:pt x="146" y="109"/>
                        <a:pt x="146" y="109"/>
                        <a:pt x="146" y="109"/>
                      </a:cubicBezTo>
                      <a:cubicBezTo>
                        <a:pt x="146" y="109"/>
                        <a:pt x="146" y="109"/>
                        <a:pt x="146" y="109"/>
                      </a:cubicBezTo>
                      <a:cubicBezTo>
                        <a:pt x="144" y="107"/>
                        <a:pt x="144" y="107"/>
                        <a:pt x="144" y="107"/>
                      </a:cubicBezTo>
                      <a:cubicBezTo>
                        <a:pt x="146" y="106"/>
                        <a:pt x="147" y="105"/>
                        <a:pt x="148" y="103"/>
                      </a:cubicBezTo>
                      <a:cubicBezTo>
                        <a:pt x="152" y="107"/>
                        <a:pt x="152" y="107"/>
                        <a:pt x="152" y="107"/>
                      </a:cubicBezTo>
                      <a:cubicBezTo>
                        <a:pt x="152" y="107"/>
                        <a:pt x="152" y="107"/>
                        <a:pt x="152" y="107"/>
                      </a:cubicBezTo>
                      <a:cubicBezTo>
                        <a:pt x="157" y="113"/>
                        <a:pt x="157" y="113"/>
                        <a:pt x="157" y="113"/>
                      </a:cubicBezTo>
                      <a:cubicBezTo>
                        <a:pt x="158" y="113"/>
                        <a:pt x="158" y="113"/>
                        <a:pt x="158" y="113"/>
                      </a:cubicBezTo>
                      <a:cubicBezTo>
                        <a:pt x="153" y="107"/>
                        <a:pt x="153" y="107"/>
                        <a:pt x="153" y="107"/>
                      </a:cubicBezTo>
                      <a:cubicBezTo>
                        <a:pt x="153" y="106"/>
                        <a:pt x="153" y="106"/>
                        <a:pt x="153" y="106"/>
                      </a:cubicBezTo>
                      <a:cubicBezTo>
                        <a:pt x="150" y="102"/>
                        <a:pt x="150" y="102"/>
                        <a:pt x="150" y="102"/>
                      </a:cubicBezTo>
                      <a:cubicBezTo>
                        <a:pt x="151" y="101"/>
                        <a:pt x="153" y="100"/>
                        <a:pt x="154" y="99"/>
                      </a:cubicBezTo>
                      <a:cubicBezTo>
                        <a:pt x="156" y="101"/>
                        <a:pt x="156" y="101"/>
                        <a:pt x="156" y="101"/>
                      </a:cubicBezTo>
                      <a:cubicBezTo>
                        <a:pt x="156" y="101"/>
                        <a:pt x="156" y="101"/>
                        <a:pt x="156" y="101"/>
                      </a:cubicBezTo>
                      <a:cubicBezTo>
                        <a:pt x="154" y="98"/>
                        <a:pt x="154" y="98"/>
                        <a:pt x="154" y="98"/>
                      </a:cubicBezTo>
                      <a:cubicBezTo>
                        <a:pt x="156" y="97"/>
                        <a:pt x="157" y="96"/>
                        <a:pt x="159" y="95"/>
                      </a:cubicBezTo>
                      <a:cubicBezTo>
                        <a:pt x="161" y="97"/>
                        <a:pt x="161" y="97"/>
                        <a:pt x="161" y="97"/>
                      </a:cubicBezTo>
                      <a:cubicBezTo>
                        <a:pt x="161" y="97"/>
                        <a:pt x="161" y="97"/>
                        <a:pt x="161" y="97"/>
                      </a:cubicBezTo>
                      <a:cubicBezTo>
                        <a:pt x="160" y="94"/>
                        <a:pt x="160" y="94"/>
                        <a:pt x="160" y="94"/>
                      </a:cubicBezTo>
                      <a:cubicBezTo>
                        <a:pt x="161" y="93"/>
                        <a:pt x="163" y="92"/>
                        <a:pt x="164" y="91"/>
                      </a:cubicBezTo>
                      <a:cubicBezTo>
                        <a:pt x="166" y="93"/>
                        <a:pt x="166" y="93"/>
                        <a:pt x="166" y="93"/>
                      </a:cubicBezTo>
                      <a:cubicBezTo>
                        <a:pt x="167" y="93"/>
                        <a:pt x="167" y="93"/>
                        <a:pt x="167" y="93"/>
                      </a:cubicBezTo>
                      <a:cubicBezTo>
                        <a:pt x="165" y="90"/>
                        <a:pt x="165" y="90"/>
                        <a:pt x="165" y="90"/>
                      </a:cubicBezTo>
                      <a:cubicBezTo>
                        <a:pt x="166" y="89"/>
                        <a:pt x="168" y="88"/>
                        <a:pt x="169" y="87"/>
                      </a:cubicBezTo>
                      <a:cubicBezTo>
                        <a:pt x="171" y="89"/>
                        <a:pt x="171" y="89"/>
                        <a:pt x="171" y="89"/>
                      </a:cubicBezTo>
                      <a:cubicBezTo>
                        <a:pt x="172" y="89"/>
                        <a:pt x="172" y="89"/>
                        <a:pt x="172" y="89"/>
                      </a:cubicBezTo>
                      <a:cubicBezTo>
                        <a:pt x="170" y="86"/>
                        <a:pt x="170" y="86"/>
                        <a:pt x="170" y="86"/>
                      </a:cubicBezTo>
                      <a:cubicBezTo>
                        <a:pt x="172" y="85"/>
                        <a:pt x="173" y="84"/>
                        <a:pt x="175" y="83"/>
                      </a:cubicBezTo>
                      <a:cubicBezTo>
                        <a:pt x="176" y="85"/>
                        <a:pt x="176" y="85"/>
                        <a:pt x="176" y="85"/>
                      </a:cubicBezTo>
                      <a:cubicBezTo>
                        <a:pt x="177" y="85"/>
                        <a:pt x="177" y="85"/>
                        <a:pt x="177" y="85"/>
                      </a:cubicBezTo>
                      <a:cubicBezTo>
                        <a:pt x="175" y="83"/>
                        <a:pt x="175" y="83"/>
                        <a:pt x="175" y="83"/>
                      </a:cubicBezTo>
                      <a:cubicBezTo>
                        <a:pt x="177" y="81"/>
                        <a:pt x="179" y="80"/>
                        <a:pt x="180" y="79"/>
                      </a:cubicBezTo>
                      <a:cubicBezTo>
                        <a:pt x="182" y="82"/>
                        <a:pt x="182" y="82"/>
                        <a:pt x="182" y="82"/>
                      </a:cubicBezTo>
                      <a:cubicBezTo>
                        <a:pt x="182" y="81"/>
                        <a:pt x="182" y="81"/>
                        <a:pt x="182" y="81"/>
                      </a:cubicBezTo>
                      <a:cubicBezTo>
                        <a:pt x="181" y="79"/>
                        <a:pt x="181" y="79"/>
                        <a:pt x="181" y="79"/>
                      </a:cubicBezTo>
                      <a:cubicBezTo>
                        <a:pt x="182" y="78"/>
                        <a:pt x="184" y="77"/>
                        <a:pt x="186" y="76"/>
                      </a:cubicBezTo>
                      <a:cubicBezTo>
                        <a:pt x="187" y="78"/>
                        <a:pt x="187" y="78"/>
                        <a:pt x="187" y="78"/>
                      </a:cubicBezTo>
                      <a:cubicBezTo>
                        <a:pt x="188" y="78"/>
                        <a:pt x="188" y="78"/>
                        <a:pt x="188" y="78"/>
                      </a:cubicBezTo>
                      <a:cubicBezTo>
                        <a:pt x="186" y="75"/>
                        <a:pt x="186" y="75"/>
                        <a:pt x="186" y="75"/>
                      </a:cubicBezTo>
                      <a:cubicBezTo>
                        <a:pt x="188" y="74"/>
                        <a:pt x="190" y="73"/>
                        <a:pt x="191" y="72"/>
                      </a:cubicBezTo>
                      <a:cubicBezTo>
                        <a:pt x="193" y="75"/>
                        <a:pt x="193" y="75"/>
                        <a:pt x="193" y="75"/>
                      </a:cubicBezTo>
                      <a:cubicBezTo>
                        <a:pt x="193" y="74"/>
                        <a:pt x="193" y="74"/>
                        <a:pt x="193" y="74"/>
                      </a:cubicBezTo>
                      <a:cubicBezTo>
                        <a:pt x="192" y="72"/>
                        <a:pt x="192" y="72"/>
                        <a:pt x="192" y="72"/>
                      </a:cubicBezTo>
                      <a:cubicBezTo>
                        <a:pt x="193" y="71"/>
                        <a:pt x="195" y="70"/>
                        <a:pt x="197" y="69"/>
                      </a:cubicBezTo>
                      <a:cubicBezTo>
                        <a:pt x="198" y="71"/>
                        <a:pt x="198" y="71"/>
                        <a:pt x="198" y="71"/>
                      </a:cubicBezTo>
                      <a:cubicBezTo>
                        <a:pt x="199" y="71"/>
                        <a:pt x="199" y="71"/>
                        <a:pt x="199" y="71"/>
                      </a:cubicBezTo>
                      <a:cubicBezTo>
                        <a:pt x="197" y="68"/>
                        <a:pt x="197" y="68"/>
                        <a:pt x="197" y="68"/>
                      </a:cubicBezTo>
                      <a:cubicBezTo>
                        <a:pt x="199" y="67"/>
                        <a:pt x="200" y="66"/>
                        <a:pt x="202" y="66"/>
                      </a:cubicBezTo>
                      <a:cubicBezTo>
                        <a:pt x="205" y="70"/>
                        <a:pt x="205" y="70"/>
                        <a:pt x="205" y="70"/>
                      </a:cubicBezTo>
                      <a:cubicBezTo>
                        <a:pt x="205" y="70"/>
                        <a:pt x="205" y="70"/>
                        <a:pt x="205" y="70"/>
                      </a:cubicBezTo>
                      <a:cubicBezTo>
                        <a:pt x="209" y="77"/>
                        <a:pt x="209" y="77"/>
                        <a:pt x="209" y="77"/>
                      </a:cubicBezTo>
                      <a:cubicBezTo>
                        <a:pt x="210" y="76"/>
                        <a:pt x="210" y="76"/>
                        <a:pt x="210" y="76"/>
                      </a:cubicBezTo>
                      <a:cubicBezTo>
                        <a:pt x="206" y="70"/>
                        <a:pt x="206" y="70"/>
                        <a:pt x="206" y="70"/>
                      </a:cubicBezTo>
                      <a:cubicBezTo>
                        <a:pt x="206" y="69"/>
                        <a:pt x="206" y="69"/>
                        <a:pt x="206" y="69"/>
                      </a:cubicBezTo>
                      <a:cubicBezTo>
                        <a:pt x="204" y="65"/>
                        <a:pt x="204" y="65"/>
                        <a:pt x="204" y="65"/>
                      </a:cubicBezTo>
                      <a:cubicBezTo>
                        <a:pt x="205" y="64"/>
                        <a:pt x="207" y="63"/>
                        <a:pt x="208" y="62"/>
                      </a:cubicBezTo>
                      <a:cubicBezTo>
                        <a:pt x="210" y="65"/>
                        <a:pt x="210" y="65"/>
                        <a:pt x="210" y="65"/>
                      </a:cubicBezTo>
                      <a:cubicBezTo>
                        <a:pt x="210" y="64"/>
                        <a:pt x="210" y="64"/>
                        <a:pt x="210" y="64"/>
                      </a:cubicBezTo>
                      <a:cubicBezTo>
                        <a:pt x="209" y="62"/>
                        <a:pt x="209" y="62"/>
                        <a:pt x="209" y="62"/>
                      </a:cubicBezTo>
                      <a:cubicBezTo>
                        <a:pt x="210" y="61"/>
                        <a:pt x="212" y="60"/>
                        <a:pt x="214" y="59"/>
                      </a:cubicBezTo>
                      <a:cubicBezTo>
                        <a:pt x="215" y="61"/>
                        <a:pt x="215" y="61"/>
                        <a:pt x="215" y="61"/>
                      </a:cubicBezTo>
                      <a:cubicBezTo>
                        <a:pt x="216" y="61"/>
                        <a:pt x="216" y="61"/>
                        <a:pt x="216" y="61"/>
                      </a:cubicBezTo>
                      <a:cubicBezTo>
                        <a:pt x="215" y="59"/>
                        <a:pt x="215" y="59"/>
                        <a:pt x="215" y="59"/>
                      </a:cubicBezTo>
                      <a:cubicBezTo>
                        <a:pt x="216" y="58"/>
                        <a:pt x="218" y="57"/>
                        <a:pt x="220" y="56"/>
                      </a:cubicBezTo>
                      <a:cubicBezTo>
                        <a:pt x="221" y="58"/>
                        <a:pt x="221" y="58"/>
                        <a:pt x="221" y="58"/>
                      </a:cubicBezTo>
                      <a:cubicBezTo>
                        <a:pt x="222" y="58"/>
                        <a:pt x="222" y="58"/>
                        <a:pt x="222" y="58"/>
                      </a:cubicBezTo>
                      <a:cubicBezTo>
                        <a:pt x="220" y="55"/>
                        <a:pt x="220" y="55"/>
                        <a:pt x="220" y="55"/>
                      </a:cubicBezTo>
                      <a:cubicBezTo>
                        <a:pt x="222" y="55"/>
                        <a:pt x="224" y="54"/>
                        <a:pt x="226" y="53"/>
                      </a:cubicBezTo>
                      <a:cubicBezTo>
                        <a:pt x="227" y="56"/>
                        <a:pt x="227" y="56"/>
                        <a:pt x="227" y="56"/>
                      </a:cubicBezTo>
                      <a:cubicBezTo>
                        <a:pt x="228" y="55"/>
                        <a:pt x="228" y="55"/>
                        <a:pt x="228" y="55"/>
                      </a:cubicBezTo>
                      <a:cubicBezTo>
                        <a:pt x="226" y="53"/>
                        <a:pt x="226" y="53"/>
                        <a:pt x="226" y="53"/>
                      </a:cubicBezTo>
                      <a:cubicBezTo>
                        <a:pt x="228" y="52"/>
                        <a:pt x="230" y="51"/>
                        <a:pt x="231" y="50"/>
                      </a:cubicBezTo>
                      <a:cubicBezTo>
                        <a:pt x="233" y="53"/>
                        <a:pt x="233" y="53"/>
                        <a:pt x="233" y="53"/>
                      </a:cubicBezTo>
                      <a:cubicBezTo>
                        <a:pt x="233" y="52"/>
                        <a:pt x="233" y="52"/>
                        <a:pt x="233" y="52"/>
                      </a:cubicBezTo>
                      <a:cubicBezTo>
                        <a:pt x="232" y="50"/>
                        <a:pt x="232" y="50"/>
                        <a:pt x="232" y="50"/>
                      </a:cubicBezTo>
                      <a:cubicBezTo>
                        <a:pt x="234" y="49"/>
                        <a:pt x="236" y="48"/>
                        <a:pt x="237" y="47"/>
                      </a:cubicBezTo>
                      <a:cubicBezTo>
                        <a:pt x="239" y="50"/>
                        <a:pt x="239" y="50"/>
                        <a:pt x="239" y="50"/>
                      </a:cubicBezTo>
                      <a:cubicBezTo>
                        <a:pt x="239" y="50"/>
                        <a:pt x="239" y="50"/>
                        <a:pt x="239" y="50"/>
                      </a:cubicBezTo>
                      <a:cubicBezTo>
                        <a:pt x="238" y="47"/>
                        <a:pt x="238" y="47"/>
                        <a:pt x="238" y="47"/>
                      </a:cubicBezTo>
                      <a:cubicBezTo>
                        <a:pt x="240" y="46"/>
                        <a:pt x="242" y="45"/>
                        <a:pt x="243" y="45"/>
                      </a:cubicBezTo>
                      <a:cubicBezTo>
                        <a:pt x="245" y="47"/>
                        <a:pt x="245" y="47"/>
                        <a:pt x="245" y="47"/>
                      </a:cubicBezTo>
                      <a:cubicBezTo>
                        <a:pt x="245" y="47"/>
                        <a:pt x="245" y="47"/>
                        <a:pt x="245" y="47"/>
                      </a:cubicBezTo>
                      <a:cubicBezTo>
                        <a:pt x="244" y="44"/>
                        <a:pt x="244" y="44"/>
                        <a:pt x="244" y="44"/>
                      </a:cubicBezTo>
                      <a:cubicBezTo>
                        <a:pt x="246" y="44"/>
                        <a:pt x="248" y="43"/>
                        <a:pt x="250" y="42"/>
                      </a:cubicBezTo>
                      <a:cubicBezTo>
                        <a:pt x="251" y="45"/>
                        <a:pt x="251" y="45"/>
                        <a:pt x="251" y="45"/>
                      </a:cubicBezTo>
                      <a:cubicBezTo>
                        <a:pt x="251" y="45"/>
                        <a:pt x="251" y="45"/>
                        <a:pt x="251" y="45"/>
                      </a:cubicBezTo>
                      <a:cubicBezTo>
                        <a:pt x="250" y="42"/>
                        <a:pt x="250" y="42"/>
                        <a:pt x="250" y="42"/>
                      </a:cubicBezTo>
                      <a:cubicBezTo>
                        <a:pt x="252" y="41"/>
                        <a:pt x="254" y="40"/>
                        <a:pt x="256" y="40"/>
                      </a:cubicBezTo>
                      <a:cubicBezTo>
                        <a:pt x="257" y="43"/>
                        <a:pt x="257" y="43"/>
                        <a:pt x="257" y="43"/>
                      </a:cubicBezTo>
                      <a:cubicBezTo>
                        <a:pt x="257" y="42"/>
                        <a:pt x="257" y="42"/>
                        <a:pt x="257" y="42"/>
                      </a:cubicBezTo>
                      <a:cubicBezTo>
                        <a:pt x="256" y="39"/>
                        <a:pt x="256" y="39"/>
                        <a:pt x="256" y="39"/>
                      </a:cubicBezTo>
                      <a:cubicBezTo>
                        <a:pt x="258" y="39"/>
                        <a:pt x="260" y="38"/>
                        <a:pt x="261" y="38"/>
                      </a:cubicBezTo>
                      <a:cubicBezTo>
                        <a:pt x="263" y="43"/>
                        <a:pt x="263" y="43"/>
                        <a:pt x="263" y="43"/>
                      </a:cubicBezTo>
                      <a:cubicBezTo>
                        <a:pt x="264" y="43"/>
                        <a:pt x="264" y="43"/>
                        <a:pt x="264" y="43"/>
                      </a:cubicBezTo>
                      <a:cubicBezTo>
                        <a:pt x="266" y="50"/>
                        <a:pt x="266" y="50"/>
                        <a:pt x="266" y="50"/>
                      </a:cubicBezTo>
                      <a:cubicBezTo>
                        <a:pt x="267" y="50"/>
                        <a:pt x="267" y="50"/>
                        <a:pt x="267" y="50"/>
                      </a:cubicBezTo>
                      <a:cubicBezTo>
                        <a:pt x="264" y="42"/>
                        <a:pt x="264" y="42"/>
                        <a:pt x="264" y="42"/>
                      </a:cubicBezTo>
                      <a:cubicBezTo>
                        <a:pt x="265" y="42"/>
                        <a:pt x="265" y="42"/>
                        <a:pt x="265" y="42"/>
                      </a:cubicBezTo>
                      <a:cubicBezTo>
                        <a:pt x="263" y="37"/>
                        <a:pt x="263" y="37"/>
                        <a:pt x="263" y="37"/>
                      </a:cubicBezTo>
                      <a:cubicBezTo>
                        <a:pt x="265" y="36"/>
                        <a:pt x="266" y="36"/>
                        <a:pt x="268" y="35"/>
                      </a:cubicBezTo>
                      <a:cubicBezTo>
                        <a:pt x="269" y="38"/>
                        <a:pt x="269" y="38"/>
                        <a:pt x="269" y="38"/>
                      </a:cubicBezTo>
                      <a:cubicBezTo>
                        <a:pt x="270" y="38"/>
                        <a:pt x="270" y="38"/>
                        <a:pt x="270" y="38"/>
                      </a:cubicBezTo>
                      <a:cubicBezTo>
                        <a:pt x="269" y="35"/>
                        <a:pt x="269" y="35"/>
                        <a:pt x="269" y="35"/>
                      </a:cubicBezTo>
                      <a:cubicBezTo>
                        <a:pt x="271" y="34"/>
                        <a:pt x="272" y="34"/>
                        <a:pt x="274" y="33"/>
                      </a:cubicBezTo>
                      <a:cubicBezTo>
                        <a:pt x="275" y="36"/>
                        <a:pt x="275" y="36"/>
                        <a:pt x="275" y="36"/>
                      </a:cubicBezTo>
                      <a:cubicBezTo>
                        <a:pt x="276" y="36"/>
                        <a:pt x="276" y="36"/>
                        <a:pt x="276" y="36"/>
                      </a:cubicBezTo>
                      <a:cubicBezTo>
                        <a:pt x="275" y="33"/>
                        <a:pt x="275" y="33"/>
                        <a:pt x="275" y="33"/>
                      </a:cubicBezTo>
                      <a:cubicBezTo>
                        <a:pt x="277" y="32"/>
                        <a:pt x="279" y="32"/>
                        <a:pt x="280" y="31"/>
                      </a:cubicBezTo>
                      <a:cubicBezTo>
                        <a:pt x="281" y="34"/>
                        <a:pt x="281" y="34"/>
                        <a:pt x="281" y="34"/>
                      </a:cubicBezTo>
                      <a:cubicBezTo>
                        <a:pt x="282" y="34"/>
                        <a:pt x="282" y="34"/>
                        <a:pt x="282" y="34"/>
                      </a:cubicBezTo>
                      <a:cubicBezTo>
                        <a:pt x="281" y="31"/>
                        <a:pt x="281" y="31"/>
                        <a:pt x="281" y="31"/>
                      </a:cubicBezTo>
                      <a:cubicBezTo>
                        <a:pt x="283" y="30"/>
                        <a:pt x="285" y="30"/>
                        <a:pt x="287" y="29"/>
                      </a:cubicBezTo>
                      <a:cubicBezTo>
                        <a:pt x="288" y="32"/>
                        <a:pt x="288" y="32"/>
                        <a:pt x="288" y="32"/>
                      </a:cubicBezTo>
                      <a:cubicBezTo>
                        <a:pt x="288" y="32"/>
                        <a:pt x="288" y="32"/>
                        <a:pt x="288" y="32"/>
                      </a:cubicBezTo>
                      <a:cubicBezTo>
                        <a:pt x="287" y="29"/>
                        <a:pt x="287" y="29"/>
                        <a:pt x="287" y="29"/>
                      </a:cubicBezTo>
                      <a:cubicBezTo>
                        <a:pt x="289" y="28"/>
                        <a:pt x="291" y="28"/>
                        <a:pt x="293" y="27"/>
                      </a:cubicBezTo>
                      <a:cubicBezTo>
                        <a:pt x="294" y="30"/>
                        <a:pt x="294" y="30"/>
                        <a:pt x="294" y="30"/>
                      </a:cubicBezTo>
                      <a:cubicBezTo>
                        <a:pt x="295" y="30"/>
                        <a:pt x="295" y="30"/>
                        <a:pt x="295" y="30"/>
                      </a:cubicBezTo>
                      <a:cubicBezTo>
                        <a:pt x="295" y="30"/>
                        <a:pt x="295" y="30"/>
                        <a:pt x="295" y="30"/>
                      </a:cubicBezTo>
                      <a:cubicBezTo>
                        <a:pt x="294" y="27"/>
                        <a:pt x="294" y="27"/>
                        <a:pt x="294" y="27"/>
                      </a:cubicBezTo>
                      <a:cubicBezTo>
                        <a:pt x="296" y="27"/>
                        <a:pt x="298" y="26"/>
                        <a:pt x="299" y="26"/>
                      </a:cubicBezTo>
                      <a:cubicBezTo>
                        <a:pt x="300" y="29"/>
                        <a:pt x="300" y="29"/>
                        <a:pt x="300" y="29"/>
                      </a:cubicBezTo>
                      <a:cubicBezTo>
                        <a:pt x="301" y="29"/>
                        <a:pt x="301" y="29"/>
                        <a:pt x="301" y="29"/>
                      </a:cubicBezTo>
                      <a:cubicBezTo>
                        <a:pt x="300" y="26"/>
                        <a:pt x="300" y="26"/>
                        <a:pt x="300" y="26"/>
                      </a:cubicBezTo>
                      <a:cubicBezTo>
                        <a:pt x="302" y="25"/>
                        <a:pt x="304" y="25"/>
                        <a:pt x="306" y="24"/>
                      </a:cubicBezTo>
                      <a:cubicBezTo>
                        <a:pt x="306" y="27"/>
                        <a:pt x="306" y="27"/>
                        <a:pt x="306" y="27"/>
                      </a:cubicBezTo>
                      <a:cubicBezTo>
                        <a:pt x="307" y="27"/>
                        <a:pt x="307" y="27"/>
                        <a:pt x="307" y="27"/>
                      </a:cubicBezTo>
                      <a:cubicBezTo>
                        <a:pt x="307" y="27"/>
                        <a:pt x="307" y="27"/>
                        <a:pt x="307" y="27"/>
                      </a:cubicBezTo>
                      <a:cubicBezTo>
                        <a:pt x="307" y="24"/>
                        <a:pt x="307" y="24"/>
                        <a:pt x="307" y="24"/>
                      </a:cubicBezTo>
                      <a:cubicBezTo>
                        <a:pt x="308" y="24"/>
                        <a:pt x="310" y="23"/>
                        <a:pt x="312" y="23"/>
                      </a:cubicBezTo>
                      <a:cubicBezTo>
                        <a:pt x="313" y="26"/>
                        <a:pt x="313" y="26"/>
                        <a:pt x="313" y="26"/>
                      </a:cubicBezTo>
                      <a:cubicBezTo>
                        <a:pt x="314" y="26"/>
                        <a:pt x="314" y="26"/>
                        <a:pt x="314" y="26"/>
                      </a:cubicBezTo>
                      <a:cubicBezTo>
                        <a:pt x="313" y="23"/>
                        <a:pt x="313" y="23"/>
                        <a:pt x="313" y="23"/>
                      </a:cubicBezTo>
                      <a:cubicBezTo>
                        <a:pt x="315" y="22"/>
                        <a:pt x="317" y="22"/>
                        <a:pt x="319" y="22"/>
                      </a:cubicBezTo>
                      <a:cubicBezTo>
                        <a:pt x="319" y="24"/>
                        <a:pt x="319" y="24"/>
                        <a:pt x="319" y="24"/>
                      </a:cubicBezTo>
                      <a:cubicBezTo>
                        <a:pt x="320" y="24"/>
                        <a:pt x="320" y="24"/>
                        <a:pt x="320" y="24"/>
                      </a:cubicBezTo>
                      <a:cubicBezTo>
                        <a:pt x="319" y="21"/>
                        <a:pt x="319" y="21"/>
                        <a:pt x="319" y="21"/>
                      </a:cubicBezTo>
                      <a:cubicBezTo>
                        <a:pt x="321" y="21"/>
                        <a:pt x="323" y="21"/>
                        <a:pt x="325" y="20"/>
                      </a:cubicBezTo>
                      <a:cubicBezTo>
                        <a:pt x="326" y="26"/>
                        <a:pt x="326" y="26"/>
                        <a:pt x="326" y="26"/>
                      </a:cubicBezTo>
                      <a:cubicBezTo>
                        <a:pt x="326" y="26"/>
                        <a:pt x="326" y="26"/>
                        <a:pt x="326" y="26"/>
                      </a:cubicBezTo>
                      <a:cubicBezTo>
                        <a:pt x="327" y="33"/>
                        <a:pt x="327" y="33"/>
                        <a:pt x="327" y="33"/>
                      </a:cubicBezTo>
                      <a:cubicBezTo>
                        <a:pt x="328" y="33"/>
                        <a:pt x="328" y="33"/>
                        <a:pt x="328" y="33"/>
                      </a:cubicBezTo>
                      <a:cubicBezTo>
                        <a:pt x="327" y="26"/>
                        <a:pt x="327" y="26"/>
                        <a:pt x="327" y="26"/>
                      </a:cubicBezTo>
                      <a:cubicBezTo>
                        <a:pt x="327" y="26"/>
                        <a:pt x="327" y="26"/>
                        <a:pt x="327" y="26"/>
                      </a:cubicBezTo>
                      <a:cubicBezTo>
                        <a:pt x="326" y="20"/>
                        <a:pt x="326" y="20"/>
                        <a:pt x="326" y="20"/>
                      </a:cubicBezTo>
                      <a:cubicBezTo>
                        <a:pt x="328" y="20"/>
                        <a:pt x="330" y="19"/>
                        <a:pt x="332" y="19"/>
                      </a:cubicBezTo>
                      <a:cubicBezTo>
                        <a:pt x="332" y="22"/>
                        <a:pt x="332" y="22"/>
                        <a:pt x="332" y="22"/>
                      </a:cubicBezTo>
                      <a:cubicBezTo>
                        <a:pt x="333" y="22"/>
                        <a:pt x="333" y="22"/>
                        <a:pt x="333" y="22"/>
                      </a:cubicBezTo>
                      <a:cubicBezTo>
                        <a:pt x="332" y="19"/>
                        <a:pt x="332" y="19"/>
                        <a:pt x="332" y="19"/>
                      </a:cubicBezTo>
                      <a:cubicBezTo>
                        <a:pt x="334" y="19"/>
                        <a:pt x="336" y="19"/>
                        <a:pt x="338" y="18"/>
                      </a:cubicBezTo>
                      <a:cubicBezTo>
                        <a:pt x="338" y="21"/>
                        <a:pt x="338" y="21"/>
                        <a:pt x="338" y="21"/>
                      </a:cubicBezTo>
                      <a:cubicBezTo>
                        <a:pt x="339" y="21"/>
                        <a:pt x="339" y="21"/>
                        <a:pt x="339" y="21"/>
                      </a:cubicBezTo>
                      <a:cubicBezTo>
                        <a:pt x="339" y="18"/>
                        <a:pt x="339" y="18"/>
                        <a:pt x="339" y="18"/>
                      </a:cubicBezTo>
                      <a:cubicBezTo>
                        <a:pt x="341" y="18"/>
                        <a:pt x="343" y="18"/>
                        <a:pt x="345" y="17"/>
                      </a:cubicBezTo>
                      <a:cubicBezTo>
                        <a:pt x="345" y="20"/>
                        <a:pt x="345" y="20"/>
                        <a:pt x="345" y="20"/>
                      </a:cubicBezTo>
                      <a:cubicBezTo>
                        <a:pt x="346" y="20"/>
                        <a:pt x="346" y="20"/>
                        <a:pt x="346" y="20"/>
                      </a:cubicBezTo>
                      <a:cubicBezTo>
                        <a:pt x="345" y="17"/>
                        <a:pt x="345" y="17"/>
                        <a:pt x="345" y="17"/>
                      </a:cubicBezTo>
                      <a:cubicBezTo>
                        <a:pt x="347" y="17"/>
                        <a:pt x="349" y="17"/>
                        <a:pt x="351" y="17"/>
                      </a:cubicBezTo>
                      <a:cubicBezTo>
                        <a:pt x="351" y="20"/>
                        <a:pt x="351" y="20"/>
                        <a:pt x="351" y="20"/>
                      </a:cubicBezTo>
                      <a:cubicBezTo>
                        <a:pt x="352" y="20"/>
                        <a:pt x="352" y="20"/>
                        <a:pt x="352" y="20"/>
                      </a:cubicBezTo>
                      <a:cubicBezTo>
                        <a:pt x="352" y="20"/>
                        <a:pt x="352" y="20"/>
                        <a:pt x="352" y="20"/>
                      </a:cubicBezTo>
                      <a:cubicBezTo>
                        <a:pt x="352" y="17"/>
                        <a:pt x="352" y="17"/>
                        <a:pt x="352" y="17"/>
                      </a:cubicBezTo>
                      <a:cubicBezTo>
                        <a:pt x="354" y="16"/>
                        <a:pt x="356" y="16"/>
                        <a:pt x="358" y="16"/>
                      </a:cubicBezTo>
                      <a:cubicBezTo>
                        <a:pt x="358" y="19"/>
                        <a:pt x="358" y="19"/>
                        <a:pt x="358" y="19"/>
                      </a:cubicBezTo>
                      <a:cubicBezTo>
                        <a:pt x="359" y="19"/>
                        <a:pt x="359" y="19"/>
                        <a:pt x="359" y="19"/>
                      </a:cubicBezTo>
                      <a:cubicBezTo>
                        <a:pt x="359" y="19"/>
                        <a:pt x="359" y="19"/>
                        <a:pt x="359" y="19"/>
                      </a:cubicBezTo>
                      <a:cubicBezTo>
                        <a:pt x="359" y="19"/>
                        <a:pt x="359" y="19"/>
                        <a:pt x="359" y="19"/>
                      </a:cubicBezTo>
                      <a:cubicBezTo>
                        <a:pt x="358" y="16"/>
                        <a:pt x="358" y="16"/>
                        <a:pt x="358" y="16"/>
                      </a:cubicBezTo>
                      <a:cubicBezTo>
                        <a:pt x="360" y="16"/>
                        <a:pt x="362" y="16"/>
                        <a:pt x="364" y="15"/>
                      </a:cubicBezTo>
                      <a:cubicBezTo>
                        <a:pt x="364" y="18"/>
                        <a:pt x="364" y="18"/>
                        <a:pt x="364" y="18"/>
                      </a:cubicBezTo>
                      <a:cubicBezTo>
                        <a:pt x="365" y="18"/>
                        <a:pt x="365" y="18"/>
                        <a:pt x="365" y="18"/>
                      </a:cubicBezTo>
                      <a:cubicBezTo>
                        <a:pt x="365" y="18"/>
                        <a:pt x="365" y="18"/>
                        <a:pt x="365" y="18"/>
                      </a:cubicBezTo>
                      <a:cubicBezTo>
                        <a:pt x="365" y="15"/>
                        <a:pt x="365" y="15"/>
                        <a:pt x="365" y="15"/>
                      </a:cubicBezTo>
                      <a:cubicBezTo>
                        <a:pt x="367" y="15"/>
                        <a:pt x="369" y="15"/>
                        <a:pt x="371" y="15"/>
                      </a:cubicBezTo>
                      <a:cubicBezTo>
                        <a:pt x="371" y="18"/>
                        <a:pt x="371" y="18"/>
                        <a:pt x="371" y="18"/>
                      </a:cubicBezTo>
                      <a:cubicBezTo>
                        <a:pt x="372" y="18"/>
                        <a:pt x="372" y="18"/>
                        <a:pt x="372" y="18"/>
                      </a:cubicBezTo>
                      <a:cubicBezTo>
                        <a:pt x="372" y="15"/>
                        <a:pt x="372" y="15"/>
                        <a:pt x="372" y="15"/>
                      </a:cubicBezTo>
                      <a:cubicBezTo>
                        <a:pt x="373" y="15"/>
                        <a:pt x="375" y="15"/>
                        <a:pt x="377" y="15"/>
                      </a:cubicBezTo>
                      <a:cubicBezTo>
                        <a:pt x="377" y="18"/>
                        <a:pt x="377" y="18"/>
                        <a:pt x="377" y="18"/>
                      </a:cubicBezTo>
                      <a:cubicBezTo>
                        <a:pt x="378" y="18"/>
                        <a:pt x="378" y="18"/>
                        <a:pt x="378" y="18"/>
                      </a:cubicBezTo>
                      <a:cubicBezTo>
                        <a:pt x="378" y="15"/>
                        <a:pt x="378" y="15"/>
                        <a:pt x="378" y="15"/>
                      </a:cubicBezTo>
                      <a:cubicBezTo>
                        <a:pt x="380" y="15"/>
                        <a:pt x="382" y="15"/>
                        <a:pt x="384" y="15"/>
                      </a:cubicBezTo>
                      <a:cubicBezTo>
                        <a:pt x="384" y="18"/>
                        <a:pt x="384" y="18"/>
                        <a:pt x="384" y="18"/>
                      </a:cubicBezTo>
                      <a:cubicBezTo>
                        <a:pt x="385" y="18"/>
                        <a:pt x="385" y="18"/>
                        <a:pt x="385" y="18"/>
                      </a:cubicBezTo>
                      <a:cubicBezTo>
                        <a:pt x="385" y="15"/>
                        <a:pt x="385" y="15"/>
                        <a:pt x="385" y="15"/>
                      </a:cubicBezTo>
                      <a:cubicBezTo>
                        <a:pt x="386" y="15"/>
                        <a:pt x="388" y="15"/>
                        <a:pt x="390" y="15"/>
                      </a:cubicBezTo>
                      <a:cubicBezTo>
                        <a:pt x="390" y="20"/>
                        <a:pt x="390" y="20"/>
                        <a:pt x="390" y="20"/>
                      </a:cubicBezTo>
                      <a:cubicBezTo>
                        <a:pt x="390" y="20"/>
                        <a:pt x="390" y="20"/>
                        <a:pt x="390" y="20"/>
                      </a:cubicBezTo>
                      <a:cubicBezTo>
                        <a:pt x="390" y="28"/>
                        <a:pt x="390" y="28"/>
                        <a:pt x="390" y="28"/>
                      </a:cubicBezTo>
                      <a:cubicBezTo>
                        <a:pt x="391" y="28"/>
                        <a:pt x="391" y="28"/>
                        <a:pt x="391" y="28"/>
                      </a:cubicBezTo>
                      <a:cubicBezTo>
                        <a:pt x="391" y="20"/>
                        <a:pt x="391" y="20"/>
                        <a:pt x="391" y="20"/>
                      </a:cubicBezTo>
                      <a:cubicBezTo>
                        <a:pt x="392" y="20"/>
                        <a:pt x="392" y="20"/>
                        <a:pt x="392" y="20"/>
                      </a:cubicBezTo>
                      <a:cubicBezTo>
                        <a:pt x="392" y="15"/>
                        <a:pt x="392" y="15"/>
                        <a:pt x="392" y="15"/>
                      </a:cubicBezTo>
                      <a:cubicBezTo>
                        <a:pt x="393" y="15"/>
                        <a:pt x="395" y="15"/>
                        <a:pt x="397" y="15"/>
                      </a:cubicBezTo>
                      <a:cubicBezTo>
                        <a:pt x="397" y="18"/>
                        <a:pt x="397" y="18"/>
                        <a:pt x="397" y="18"/>
                      </a:cubicBezTo>
                      <a:cubicBezTo>
                        <a:pt x="398" y="18"/>
                        <a:pt x="398" y="18"/>
                        <a:pt x="398" y="18"/>
                      </a:cubicBezTo>
                      <a:cubicBezTo>
                        <a:pt x="398" y="15"/>
                        <a:pt x="398" y="15"/>
                        <a:pt x="398" y="15"/>
                      </a:cubicBezTo>
                      <a:cubicBezTo>
                        <a:pt x="400" y="15"/>
                        <a:pt x="402" y="15"/>
                        <a:pt x="404" y="15"/>
                      </a:cubicBezTo>
                      <a:cubicBezTo>
                        <a:pt x="403" y="18"/>
                        <a:pt x="403" y="18"/>
                        <a:pt x="403" y="18"/>
                      </a:cubicBezTo>
                      <a:cubicBezTo>
                        <a:pt x="404" y="18"/>
                        <a:pt x="404" y="18"/>
                        <a:pt x="404" y="18"/>
                      </a:cubicBezTo>
                      <a:cubicBezTo>
                        <a:pt x="404" y="15"/>
                        <a:pt x="404" y="15"/>
                        <a:pt x="404" y="15"/>
                      </a:cubicBezTo>
                      <a:cubicBezTo>
                        <a:pt x="406" y="15"/>
                        <a:pt x="408" y="15"/>
                        <a:pt x="410" y="15"/>
                      </a:cubicBezTo>
                      <a:cubicBezTo>
                        <a:pt x="410" y="18"/>
                        <a:pt x="410" y="18"/>
                        <a:pt x="410" y="18"/>
                      </a:cubicBezTo>
                      <a:cubicBezTo>
                        <a:pt x="411" y="18"/>
                        <a:pt x="411" y="18"/>
                        <a:pt x="411" y="18"/>
                      </a:cubicBezTo>
                      <a:cubicBezTo>
                        <a:pt x="411" y="15"/>
                        <a:pt x="411" y="15"/>
                        <a:pt x="411" y="15"/>
                      </a:cubicBezTo>
                      <a:cubicBezTo>
                        <a:pt x="413" y="15"/>
                        <a:pt x="415" y="15"/>
                        <a:pt x="417" y="15"/>
                      </a:cubicBezTo>
                      <a:cubicBezTo>
                        <a:pt x="416" y="18"/>
                        <a:pt x="416" y="18"/>
                        <a:pt x="416" y="18"/>
                      </a:cubicBezTo>
                      <a:cubicBezTo>
                        <a:pt x="417" y="18"/>
                        <a:pt x="417" y="18"/>
                        <a:pt x="417" y="18"/>
                      </a:cubicBezTo>
                      <a:cubicBezTo>
                        <a:pt x="417" y="15"/>
                        <a:pt x="417" y="15"/>
                        <a:pt x="417" y="15"/>
                      </a:cubicBezTo>
                      <a:cubicBezTo>
                        <a:pt x="419" y="16"/>
                        <a:pt x="421" y="16"/>
                        <a:pt x="423" y="16"/>
                      </a:cubicBezTo>
                      <a:cubicBezTo>
                        <a:pt x="423" y="19"/>
                        <a:pt x="423" y="19"/>
                        <a:pt x="423" y="19"/>
                      </a:cubicBezTo>
                      <a:cubicBezTo>
                        <a:pt x="424" y="19"/>
                        <a:pt x="424" y="19"/>
                        <a:pt x="424" y="19"/>
                      </a:cubicBezTo>
                      <a:cubicBezTo>
                        <a:pt x="424" y="16"/>
                        <a:pt x="424" y="16"/>
                        <a:pt x="424" y="16"/>
                      </a:cubicBezTo>
                      <a:cubicBezTo>
                        <a:pt x="426" y="16"/>
                        <a:pt x="428" y="16"/>
                        <a:pt x="430" y="17"/>
                      </a:cubicBezTo>
                      <a:cubicBezTo>
                        <a:pt x="429" y="20"/>
                        <a:pt x="429" y="20"/>
                        <a:pt x="429" y="20"/>
                      </a:cubicBezTo>
                      <a:cubicBezTo>
                        <a:pt x="430" y="20"/>
                        <a:pt x="430" y="20"/>
                        <a:pt x="430" y="20"/>
                      </a:cubicBezTo>
                      <a:cubicBezTo>
                        <a:pt x="431" y="17"/>
                        <a:pt x="431" y="17"/>
                        <a:pt x="431" y="17"/>
                      </a:cubicBezTo>
                      <a:cubicBezTo>
                        <a:pt x="432" y="17"/>
                        <a:pt x="434" y="17"/>
                        <a:pt x="436" y="17"/>
                      </a:cubicBezTo>
                      <a:cubicBezTo>
                        <a:pt x="436" y="20"/>
                        <a:pt x="436" y="20"/>
                        <a:pt x="436" y="20"/>
                      </a:cubicBezTo>
                      <a:cubicBezTo>
                        <a:pt x="437" y="20"/>
                        <a:pt x="437" y="20"/>
                        <a:pt x="437" y="20"/>
                      </a:cubicBezTo>
                      <a:cubicBezTo>
                        <a:pt x="437" y="17"/>
                        <a:pt x="437" y="17"/>
                        <a:pt x="437" y="17"/>
                      </a:cubicBezTo>
                      <a:cubicBezTo>
                        <a:pt x="439" y="18"/>
                        <a:pt x="441" y="18"/>
                        <a:pt x="443" y="18"/>
                      </a:cubicBezTo>
                      <a:cubicBezTo>
                        <a:pt x="442" y="21"/>
                        <a:pt x="442" y="21"/>
                        <a:pt x="442" y="21"/>
                      </a:cubicBezTo>
                      <a:cubicBezTo>
                        <a:pt x="443" y="21"/>
                        <a:pt x="443" y="21"/>
                        <a:pt x="443" y="21"/>
                      </a:cubicBezTo>
                      <a:cubicBezTo>
                        <a:pt x="444" y="18"/>
                        <a:pt x="444" y="18"/>
                        <a:pt x="444" y="18"/>
                      </a:cubicBezTo>
                      <a:cubicBezTo>
                        <a:pt x="445" y="19"/>
                        <a:pt x="447" y="19"/>
                        <a:pt x="449" y="19"/>
                      </a:cubicBezTo>
                      <a:cubicBezTo>
                        <a:pt x="449" y="22"/>
                        <a:pt x="449" y="22"/>
                        <a:pt x="449" y="22"/>
                      </a:cubicBezTo>
                      <a:cubicBezTo>
                        <a:pt x="450" y="22"/>
                        <a:pt x="450" y="22"/>
                        <a:pt x="450" y="22"/>
                      </a:cubicBezTo>
                      <a:cubicBezTo>
                        <a:pt x="450" y="19"/>
                        <a:pt x="450" y="19"/>
                        <a:pt x="450" y="19"/>
                      </a:cubicBezTo>
                      <a:cubicBezTo>
                        <a:pt x="452" y="20"/>
                        <a:pt x="454" y="20"/>
                        <a:pt x="455" y="20"/>
                      </a:cubicBezTo>
                      <a:cubicBezTo>
                        <a:pt x="454" y="26"/>
                        <a:pt x="454" y="26"/>
                        <a:pt x="454" y="26"/>
                      </a:cubicBezTo>
                      <a:cubicBezTo>
                        <a:pt x="455" y="26"/>
                        <a:pt x="455" y="26"/>
                        <a:pt x="455" y="26"/>
                      </a:cubicBezTo>
                      <a:cubicBezTo>
                        <a:pt x="453" y="33"/>
                        <a:pt x="453" y="33"/>
                        <a:pt x="453" y="33"/>
                      </a:cubicBezTo>
                      <a:cubicBezTo>
                        <a:pt x="454" y="33"/>
                        <a:pt x="454" y="33"/>
                        <a:pt x="454" y="33"/>
                      </a:cubicBezTo>
                      <a:cubicBezTo>
                        <a:pt x="456" y="26"/>
                        <a:pt x="456" y="26"/>
                        <a:pt x="456" y="26"/>
                      </a:cubicBezTo>
                      <a:cubicBezTo>
                        <a:pt x="456" y="26"/>
                        <a:pt x="456" y="26"/>
                        <a:pt x="456" y="26"/>
                      </a:cubicBezTo>
                      <a:cubicBezTo>
                        <a:pt x="457" y="20"/>
                        <a:pt x="457" y="20"/>
                        <a:pt x="457" y="20"/>
                      </a:cubicBezTo>
                      <a:cubicBezTo>
                        <a:pt x="459" y="21"/>
                        <a:pt x="460" y="21"/>
                        <a:pt x="462" y="21"/>
                      </a:cubicBezTo>
                      <a:cubicBezTo>
                        <a:pt x="462" y="24"/>
                        <a:pt x="462" y="24"/>
                        <a:pt x="462" y="24"/>
                      </a:cubicBezTo>
                      <a:cubicBezTo>
                        <a:pt x="462" y="24"/>
                        <a:pt x="462" y="24"/>
                        <a:pt x="462" y="24"/>
                      </a:cubicBezTo>
                      <a:cubicBezTo>
                        <a:pt x="463" y="22"/>
                        <a:pt x="463" y="22"/>
                        <a:pt x="463" y="22"/>
                      </a:cubicBezTo>
                      <a:cubicBezTo>
                        <a:pt x="465" y="22"/>
                        <a:pt x="467" y="22"/>
                        <a:pt x="469" y="23"/>
                      </a:cubicBezTo>
                      <a:cubicBezTo>
                        <a:pt x="468" y="26"/>
                        <a:pt x="468" y="26"/>
                        <a:pt x="468" y="26"/>
                      </a:cubicBezTo>
                      <a:cubicBezTo>
                        <a:pt x="469" y="26"/>
                        <a:pt x="469" y="26"/>
                        <a:pt x="469" y="26"/>
                      </a:cubicBezTo>
                      <a:cubicBezTo>
                        <a:pt x="469" y="23"/>
                        <a:pt x="469" y="23"/>
                        <a:pt x="469" y="23"/>
                      </a:cubicBezTo>
                      <a:cubicBezTo>
                        <a:pt x="471" y="23"/>
                        <a:pt x="473" y="24"/>
                        <a:pt x="475" y="24"/>
                      </a:cubicBezTo>
                      <a:cubicBezTo>
                        <a:pt x="474" y="27"/>
                        <a:pt x="474" y="27"/>
                        <a:pt x="474" y="27"/>
                      </a:cubicBezTo>
                      <a:cubicBezTo>
                        <a:pt x="475" y="27"/>
                        <a:pt x="475" y="27"/>
                        <a:pt x="475" y="27"/>
                      </a:cubicBezTo>
                      <a:cubicBezTo>
                        <a:pt x="476" y="24"/>
                        <a:pt x="476" y="24"/>
                        <a:pt x="476" y="24"/>
                      </a:cubicBezTo>
                      <a:cubicBezTo>
                        <a:pt x="478" y="25"/>
                        <a:pt x="480" y="25"/>
                        <a:pt x="481" y="26"/>
                      </a:cubicBezTo>
                      <a:cubicBezTo>
                        <a:pt x="481" y="29"/>
                        <a:pt x="481" y="29"/>
                        <a:pt x="481" y="29"/>
                      </a:cubicBezTo>
                      <a:cubicBezTo>
                        <a:pt x="481" y="29"/>
                        <a:pt x="481" y="29"/>
                        <a:pt x="481" y="29"/>
                      </a:cubicBezTo>
                      <a:cubicBezTo>
                        <a:pt x="482" y="26"/>
                        <a:pt x="482" y="26"/>
                        <a:pt x="482" y="26"/>
                      </a:cubicBezTo>
                      <a:cubicBezTo>
                        <a:pt x="484" y="26"/>
                        <a:pt x="486" y="27"/>
                        <a:pt x="488" y="27"/>
                      </a:cubicBezTo>
                      <a:cubicBezTo>
                        <a:pt x="487" y="30"/>
                        <a:pt x="487" y="30"/>
                        <a:pt x="487" y="30"/>
                      </a:cubicBezTo>
                      <a:cubicBezTo>
                        <a:pt x="488" y="30"/>
                        <a:pt x="488" y="30"/>
                        <a:pt x="488" y="30"/>
                      </a:cubicBezTo>
                      <a:cubicBezTo>
                        <a:pt x="489" y="27"/>
                        <a:pt x="489" y="27"/>
                        <a:pt x="489" y="27"/>
                      </a:cubicBezTo>
                      <a:cubicBezTo>
                        <a:pt x="490" y="28"/>
                        <a:pt x="492" y="28"/>
                        <a:pt x="494" y="29"/>
                      </a:cubicBezTo>
                      <a:cubicBezTo>
                        <a:pt x="493" y="32"/>
                        <a:pt x="493" y="32"/>
                        <a:pt x="493" y="32"/>
                      </a:cubicBezTo>
                      <a:cubicBezTo>
                        <a:pt x="494" y="32"/>
                        <a:pt x="494" y="32"/>
                        <a:pt x="494" y="32"/>
                      </a:cubicBezTo>
                      <a:cubicBezTo>
                        <a:pt x="495" y="29"/>
                        <a:pt x="495" y="29"/>
                        <a:pt x="495" y="29"/>
                      </a:cubicBezTo>
                      <a:cubicBezTo>
                        <a:pt x="497" y="30"/>
                        <a:pt x="499" y="30"/>
                        <a:pt x="500" y="31"/>
                      </a:cubicBezTo>
                      <a:cubicBezTo>
                        <a:pt x="500" y="34"/>
                        <a:pt x="500" y="34"/>
                        <a:pt x="500" y="34"/>
                      </a:cubicBezTo>
                      <a:cubicBezTo>
                        <a:pt x="500" y="34"/>
                        <a:pt x="500" y="34"/>
                        <a:pt x="500" y="34"/>
                      </a:cubicBezTo>
                      <a:cubicBezTo>
                        <a:pt x="501" y="31"/>
                        <a:pt x="501" y="31"/>
                        <a:pt x="501" y="31"/>
                      </a:cubicBezTo>
                      <a:cubicBezTo>
                        <a:pt x="503" y="32"/>
                        <a:pt x="505" y="32"/>
                        <a:pt x="507" y="33"/>
                      </a:cubicBezTo>
                      <a:cubicBezTo>
                        <a:pt x="506" y="36"/>
                        <a:pt x="506" y="36"/>
                        <a:pt x="506" y="36"/>
                      </a:cubicBezTo>
                      <a:cubicBezTo>
                        <a:pt x="507" y="36"/>
                        <a:pt x="507" y="36"/>
                        <a:pt x="507" y="36"/>
                      </a:cubicBezTo>
                      <a:cubicBezTo>
                        <a:pt x="507" y="33"/>
                        <a:pt x="507" y="33"/>
                        <a:pt x="507" y="33"/>
                      </a:cubicBezTo>
                      <a:cubicBezTo>
                        <a:pt x="509" y="34"/>
                        <a:pt x="511" y="34"/>
                        <a:pt x="513" y="35"/>
                      </a:cubicBezTo>
                      <a:cubicBezTo>
                        <a:pt x="512" y="38"/>
                        <a:pt x="512" y="38"/>
                        <a:pt x="512" y="38"/>
                      </a:cubicBezTo>
                      <a:cubicBezTo>
                        <a:pt x="513" y="38"/>
                        <a:pt x="513" y="38"/>
                        <a:pt x="513" y="38"/>
                      </a:cubicBezTo>
                      <a:cubicBezTo>
                        <a:pt x="514" y="35"/>
                        <a:pt x="514" y="35"/>
                        <a:pt x="514" y="35"/>
                      </a:cubicBezTo>
                      <a:cubicBezTo>
                        <a:pt x="515" y="36"/>
                        <a:pt x="517" y="36"/>
                        <a:pt x="519" y="37"/>
                      </a:cubicBezTo>
                      <a:cubicBezTo>
                        <a:pt x="517" y="42"/>
                        <a:pt x="517" y="42"/>
                        <a:pt x="517" y="42"/>
                      </a:cubicBezTo>
                      <a:cubicBezTo>
                        <a:pt x="517" y="42"/>
                        <a:pt x="517" y="42"/>
                        <a:pt x="517" y="42"/>
                      </a:cubicBezTo>
                      <a:cubicBezTo>
                        <a:pt x="515" y="50"/>
                        <a:pt x="515" y="50"/>
                        <a:pt x="515" y="50"/>
                      </a:cubicBezTo>
                      <a:cubicBezTo>
                        <a:pt x="515" y="50"/>
                        <a:pt x="515" y="50"/>
                        <a:pt x="515" y="50"/>
                      </a:cubicBezTo>
                      <a:cubicBezTo>
                        <a:pt x="518" y="43"/>
                        <a:pt x="518" y="43"/>
                        <a:pt x="518" y="43"/>
                      </a:cubicBezTo>
                      <a:cubicBezTo>
                        <a:pt x="518" y="43"/>
                        <a:pt x="518" y="43"/>
                        <a:pt x="518" y="43"/>
                      </a:cubicBezTo>
                      <a:cubicBezTo>
                        <a:pt x="520" y="38"/>
                        <a:pt x="520" y="38"/>
                        <a:pt x="520" y="38"/>
                      </a:cubicBezTo>
                      <a:cubicBezTo>
                        <a:pt x="522" y="38"/>
                        <a:pt x="524" y="39"/>
                        <a:pt x="525" y="39"/>
                      </a:cubicBezTo>
                      <a:cubicBezTo>
                        <a:pt x="524" y="42"/>
                        <a:pt x="524" y="42"/>
                        <a:pt x="524" y="42"/>
                      </a:cubicBezTo>
                      <a:cubicBezTo>
                        <a:pt x="525" y="43"/>
                        <a:pt x="525" y="43"/>
                        <a:pt x="525" y="43"/>
                      </a:cubicBezTo>
                      <a:cubicBezTo>
                        <a:pt x="526" y="40"/>
                        <a:pt x="526" y="40"/>
                        <a:pt x="526" y="40"/>
                      </a:cubicBezTo>
                      <a:cubicBezTo>
                        <a:pt x="528" y="40"/>
                        <a:pt x="530" y="41"/>
                        <a:pt x="531" y="42"/>
                      </a:cubicBezTo>
                      <a:cubicBezTo>
                        <a:pt x="530" y="45"/>
                        <a:pt x="530" y="45"/>
                        <a:pt x="530" y="45"/>
                      </a:cubicBezTo>
                      <a:cubicBezTo>
                        <a:pt x="531" y="45"/>
                        <a:pt x="531" y="45"/>
                        <a:pt x="531" y="45"/>
                      </a:cubicBezTo>
                      <a:cubicBezTo>
                        <a:pt x="532" y="42"/>
                        <a:pt x="532" y="42"/>
                        <a:pt x="532" y="42"/>
                      </a:cubicBezTo>
                      <a:cubicBezTo>
                        <a:pt x="534" y="43"/>
                        <a:pt x="536" y="44"/>
                        <a:pt x="537" y="44"/>
                      </a:cubicBezTo>
                      <a:cubicBezTo>
                        <a:pt x="536" y="47"/>
                        <a:pt x="536" y="47"/>
                        <a:pt x="536" y="47"/>
                      </a:cubicBezTo>
                      <a:cubicBezTo>
                        <a:pt x="537" y="47"/>
                        <a:pt x="537" y="47"/>
                        <a:pt x="537" y="47"/>
                      </a:cubicBezTo>
                      <a:cubicBezTo>
                        <a:pt x="538" y="45"/>
                        <a:pt x="538" y="45"/>
                        <a:pt x="538" y="45"/>
                      </a:cubicBezTo>
                      <a:cubicBezTo>
                        <a:pt x="540" y="45"/>
                        <a:pt x="542" y="46"/>
                        <a:pt x="543" y="47"/>
                      </a:cubicBezTo>
                      <a:cubicBezTo>
                        <a:pt x="542" y="50"/>
                        <a:pt x="542" y="50"/>
                        <a:pt x="542" y="50"/>
                      </a:cubicBezTo>
                      <a:cubicBezTo>
                        <a:pt x="543" y="50"/>
                        <a:pt x="543" y="50"/>
                        <a:pt x="543" y="50"/>
                      </a:cubicBezTo>
                      <a:cubicBezTo>
                        <a:pt x="544" y="47"/>
                        <a:pt x="544" y="47"/>
                        <a:pt x="544" y="47"/>
                      </a:cubicBezTo>
                      <a:cubicBezTo>
                        <a:pt x="546" y="48"/>
                        <a:pt x="548" y="49"/>
                        <a:pt x="549" y="50"/>
                      </a:cubicBezTo>
                      <a:cubicBezTo>
                        <a:pt x="548" y="52"/>
                        <a:pt x="548" y="52"/>
                        <a:pt x="548" y="52"/>
                      </a:cubicBezTo>
                      <a:cubicBezTo>
                        <a:pt x="549" y="53"/>
                        <a:pt x="549" y="53"/>
                        <a:pt x="549" y="53"/>
                      </a:cubicBezTo>
                      <a:cubicBezTo>
                        <a:pt x="550" y="50"/>
                        <a:pt x="550" y="50"/>
                        <a:pt x="550" y="50"/>
                      </a:cubicBezTo>
                      <a:cubicBezTo>
                        <a:pt x="552" y="51"/>
                        <a:pt x="554" y="52"/>
                        <a:pt x="555" y="53"/>
                      </a:cubicBezTo>
                      <a:cubicBezTo>
                        <a:pt x="554" y="55"/>
                        <a:pt x="554" y="55"/>
                        <a:pt x="554" y="55"/>
                      </a:cubicBezTo>
                      <a:cubicBezTo>
                        <a:pt x="555" y="56"/>
                        <a:pt x="555" y="56"/>
                        <a:pt x="555" y="56"/>
                      </a:cubicBezTo>
                      <a:cubicBezTo>
                        <a:pt x="556" y="53"/>
                        <a:pt x="556" y="53"/>
                        <a:pt x="556" y="53"/>
                      </a:cubicBezTo>
                      <a:cubicBezTo>
                        <a:pt x="558" y="54"/>
                        <a:pt x="560" y="55"/>
                        <a:pt x="561" y="55"/>
                      </a:cubicBezTo>
                      <a:cubicBezTo>
                        <a:pt x="560" y="58"/>
                        <a:pt x="560" y="58"/>
                        <a:pt x="560" y="58"/>
                      </a:cubicBezTo>
                      <a:cubicBezTo>
                        <a:pt x="561" y="58"/>
                        <a:pt x="561" y="58"/>
                        <a:pt x="561" y="58"/>
                      </a:cubicBezTo>
                      <a:cubicBezTo>
                        <a:pt x="562" y="56"/>
                        <a:pt x="562" y="56"/>
                        <a:pt x="562" y="56"/>
                      </a:cubicBezTo>
                      <a:cubicBezTo>
                        <a:pt x="564" y="57"/>
                        <a:pt x="565" y="58"/>
                        <a:pt x="567" y="59"/>
                      </a:cubicBezTo>
                      <a:cubicBezTo>
                        <a:pt x="566" y="61"/>
                        <a:pt x="566" y="61"/>
                        <a:pt x="566" y="61"/>
                      </a:cubicBezTo>
                      <a:cubicBezTo>
                        <a:pt x="566" y="61"/>
                        <a:pt x="566" y="61"/>
                        <a:pt x="566" y="61"/>
                      </a:cubicBezTo>
                      <a:cubicBezTo>
                        <a:pt x="568" y="59"/>
                        <a:pt x="568" y="59"/>
                        <a:pt x="568" y="59"/>
                      </a:cubicBezTo>
                      <a:cubicBezTo>
                        <a:pt x="569" y="60"/>
                        <a:pt x="571" y="61"/>
                        <a:pt x="573" y="62"/>
                      </a:cubicBezTo>
                      <a:cubicBezTo>
                        <a:pt x="571" y="64"/>
                        <a:pt x="571" y="64"/>
                        <a:pt x="571" y="64"/>
                      </a:cubicBezTo>
                      <a:cubicBezTo>
                        <a:pt x="572" y="65"/>
                        <a:pt x="572" y="65"/>
                        <a:pt x="572" y="65"/>
                      </a:cubicBezTo>
                      <a:cubicBezTo>
                        <a:pt x="574" y="62"/>
                        <a:pt x="574" y="62"/>
                        <a:pt x="574" y="62"/>
                      </a:cubicBezTo>
                      <a:cubicBezTo>
                        <a:pt x="575" y="63"/>
                        <a:pt x="577" y="64"/>
                        <a:pt x="578" y="65"/>
                      </a:cubicBezTo>
                      <a:cubicBezTo>
                        <a:pt x="575" y="69"/>
                        <a:pt x="575" y="69"/>
                        <a:pt x="575" y="69"/>
                      </a:cubicBezTo>
                      <a:cubicBezTo>
                        <a:pt x="576" y="70"/>
                        <a:pt x="576" y="70"/>
                        <a:pt x="576" y="70"/>
                      </a:cubicBezTo>
                      <a:cubicBezTo>
                        <a:pt x="572" y="76"/>
                        <a:pt x="572" y="76"/>
                        <a:pt x="572" y="76"/>
                      </a:cubicBezTo>
                      <a:cubicBezTo>
                        <a:pt x="573" y="77"/>
                        <a:pt x="573" y="77"/>
                        <a:pt x="573" y="77"/>
                      </a:cubicBezTo>
                      <a:cubicBezTo>
                        <a:pt x="576" y="70"/>
                        <a:pt x="576" y="70"/>
                        <a:pt x="576" y="70"/>
                      </a:cubicBezTo>
                      <a:cubicBezTo>
                        <a:pt x="577" y="70"/>
                        <a:pt x="577" y="70"/>
                        <a:pt x="577" y="70"/>
                      </a:cubicBezTo>
                      <a:cubicBezTo>
                        <a:pt x="580" y="66"/>
                        <a:pt x="580" y="66"/>
                        <a:pt x="580" y="66"/>
                      </a:cubicBezTo>
                      <a:cubicBezTo>
                        <a:pt x="581" y="66"/>
                        <a:pt x="583" y="67"/>
                        <a:pt x="584" y="68"/>
                      </a:cubicBezTo>
                      <a:cubicBezTo>
                        <a:pt x="583" y="71"/>
                        <a:pt x="583" y="71"/>
                        <a:pt x="583" y="71"/>
                      </a:cubicBezTo>
                      <a:cubicBezTo>
                        <a:pt x="583" y="71"/>
                        <a:pt x="583" y="71"/>
                        <a:pt x="583" y="71"/>
                      </a:cubicBezTo>
                      <a:cubicBezTo>
                        <a:pt x="585" y="69"/>
                        <a:pt x="585" y="69"/>
                        <a:pt x="585" y="69"/>
                      </a:cubicBezTo>
                      <a:cubicBezTo>
                        <a:pt x="587" y="70"/>
                        <a:pt x="588" y="71"/>
                        <a:pt x="590" y="72"/>
                      </a:cubicBezTo>
                      <a:cubicBezTo>
                        <a:pt x="588" y="74"/>
                        <a:pt x="588" y="74"/>
                        <a:pt x="588" y="74"/>
                      </a:cubicBezTo>
                      <a:cubicBezTo>
                        <a:pt x="589" y="75"/>
                        <a:pt x="589" y="75"/>
                        <a:pt x="589" y="75"/>
                      </a:cubicBezTo>
                      <a:cubicBezTo>
                        <a:pt x="590" y="72"/>
                        <a:pt x="590" y="72"/>
                        <a:pt x="590" y="72"/>
                      </a:cubicBezTo>
                      <a:cubicBezTo>
                        <a:pt x="592" y="73"/>
                        <a:pt x="594" y="74"/>
                        <a:pt x="595" y="75"/>
                      </a:cubicBezTo>
                      <a:cubicBezTo>
                        <a:pt x="594" y="78"/>
                        <a:pt x="594" y="78"/>
                        <a:pt x="594" y="78"/>
                      </a:cubicBezTo>
                      <a:cubicBezTo>
                        <a:pt x="594" y="78"/>
                        <a:pt x="594" y="78"/>
                        <a:pt x="594" y="78"/>
                      </a:cubicBezTo>
                      <a:cubicBezTo>
                        <a:pt x="596" y="76"/>
                        <a:pt x="596" y="76"/>
                        <a:pt x="596" y="76"/>
                      </a:cubicBezTo>
                      <a:cubicBezTo>
                        <a:pt x="598" y="77"/>
                        <a:pt x="599" y="78"/>
                        <a:pt x="601" y="79"/>
                      </a:cubicBezTo>
                      <a:cubicBezTo>
                        <a:pt x="599" y="81"/>
                        <a:pt x="599" y="81"/>
                        <a:pt x="599" y="81"/>
                      </a:cubicBezTo>
                      <a:cubicBezTo>
                        <a:pt x="600" y="82"/>
                        <a:pt x="600" y="82"/>
                        <a:pt x="600" y="82"/>
                      </a:cubicBezTo>
                      <a:cubicBezTo>
                        <a:pt x="601" y="79"/>
                        <a:pt x="601" y="79"/>
                        <a:pt x="601" y="79"/>
                      </a:cubicBezTo>
                      <a:cubicBezTo>
                        <a:pt x="603" y="80"/>
                        <a:pt x="605" y="81"/>
                        <a:pt x="606" y="83"/>
                      </a:cubicBezTo>
                      <a:cubicBezTo>
                        <a:pt x="605" y="85"/>
                        <a:pt x="605" y="85"/>
                        <a:pt x="605" y="85"/>
                      </a:cubicBezTo>
                      <a:cubicBezTo>
                        <a:pt x="605" y="85"/>
                        <a:pt x="605" y="85"/>
                        <a:pt x="605" y="85"/>
                      </a:cubicBezTo>
                      <a:cubicBezTo>
                        <a:pt x="607" y="83"/>
                        <a:pt x="607" y="83"/>
                        <a:pt x="607" y="83"/>
                      </a:cubicBezTo>
                      <a:cubicBezTo>
                        <a:pt x="608" y="84"/>
                        <a:pt x="610" y="85"/>
                        <a:pt x="612" y="86"/>
                      </a:cubicBezTo>
                      <a:cubicBezTo>
                        <a:pt x="610" y="89"/>
                        <a:pt x="610" y="89"/>
                        <a:pt x="610" y="89"/>
                      </a:cubicBezTo>
                      <a:cubicBezTo>
                        <a:pt x="611" y="89"/>
                        <a:pt x="611" y="89"/>
                        <a:pt x="611" y="89"/>
                      </a:cubicBezTo>
                      <a:cubicBezTo>
                        <a:pt x="612" y="87"/>
                        <a:pt x="612" y="87"/>
                        <a:pt x="612" y="87"/>
                      </a:cubicBezTo>
                      <a:cubicBezTo>
                        <a:pt x="614" y="88"/>
                        <a:pt x="615" y="89"/>
                        <a:pt x="617" y="90"/>
                      </a:cubicBezTo>
                      <a:cubicBezTo>
                        <a:pt x="615" y="93"/>
                        <a:pt x="615" y="93"/>
                        <a:pt x="615" y="93"/>
                      </a:cubicBezTo>
                      <a:cubicBezTo>
                        <a:pt x="616" y="93"/>
                        <a:pt x="616" y="93"/>
                        <a:pt x="616" y="93"/>
                      </a:cubicBezTo>
                      <a:cubicBezTo>
                        <a:pt x="617" y="91"/>
                        <a:pt x="617" y="91"/>
                        <a:pt x="617" y="91"/>
                      </a:cubicBezTo>
                      <a:cubicBezTo>
                        <a:pt x="619" y="92"/>
                        <a:pt x="621" y="93"/>
                        <a:pt x="622" y="94"/>
                      </a:cubicBezTo>
                      <a:cubicBezTo>
                        <a:pt x="620" y="97"/>
                        <a:pt x="620" y="97"/>
                        <a:pt x="620" y="97"/>
                      </a:cubicBezTo>
                      <a:cubicBezTo>
                        <a:pt x="621" y="97"/>
                        <a:pt x="621" y="97"/>
                        <a:pt x="621" y="97"/>
                      </a:cubicBezTo>
                      <a:cubicBezTo>
                        <a:pt x="623" y="95"/>
                        <a:pt x="623" y="95"/>
                        <a:pt x="623" y="95"/>
                      </a:cubicBezTo>
                      <a:cubicBezTo>
                        <a:pt x="624" y="96"/>
                        <a:pt x="626" y="97"/>
                        <a:pt x="627" y="98"/>
                      </a:cubicBezTo>
                      <a:cubicBezTo>
                        <a:pt x="625" y="101"/>
                        <a:pt x="625" y="101"/>
                        <a:pt x="625" y="101"/>
                      </a:cubicBezTo>
                      <a:cubicBezTo>
                        <a:pt x="626" y="101"/>
                        <a:pt x="626" y="101"/>
                        <a:pt x="626" y="101"/>
                      </a:cubicBezTo>
                      <a:cubicBezTo>
                        <a:pt x="628" y="99"/>
                        <a:pt x="628" y="99"/>
                        <a:pt x="628" y="99"/>
                      </a:cubicBezTo>
                      <a:cubicBezTo>
                        <a:pt x="629" y="100"/>
                        <a:pt x="630" y="101"/>
                        <a:pt x="632" y="102"/>
                      </a:cubicBezTo>
                      <a:cubicBezTo>
                        <a:pt x="628" y="106"/>
                        <a:pt x="628" y="106"/>
                        <a:pt x="628" y="106"/>
                      </a:cubicBezTo>
                      <a:cubicBezTo>
                        <a:pt x="629" y="107"/>
                        <a:pt x="629" y="107"/>
                        <a:pt x="629" y="107"/>
                      </a:cubicBezTo>
                      <a:cubicBezTo>
                        <a:pt x="624" y="113"/>
                        <a:pt x="624" y="113"/>
                        <a:pt x="624" y="113"/>
                      </a:cubicBezTo>
                      <a:cubicBezTo>
                        <a:pt x="624" y="113"/>
                        <a:pt x="624" y="113"/>
                        <a:pt x="624" y="113"/>
                      </a:cubicBezTo>
                      <a:cubicBezTo>
                        <a:pt x="629" y="107"/>
                        <a:pt x="629" y="107"/>
                        <a:pt x="629" y="107"/>
                      </a:cubicBezTo>
                      <a:cubicBezTo>
                        <a:pt x="630" y="107"/>
                        <a:pt x="630" y="107"/>
                        <a:pt x="630" y="107"/>
                      </a:cubicBezTo>
                      <a:cubicBezTo>
                        <a:pt x="633" y="103"/>
                        <a:pt x="633" y="103"/>
                        <a:pt x="633" y="103"/>
                      </a:cubicBezTo>
                      <a:cubicBezTo>
                        <a:pt x="635" y="105"/>
                        <a:pt x="636" y="106"/>
                        <a:pt x="637" y="107"/>
                      </a:cubicBezTo>
                      <a:cubicBezTo>
                        <a:pt x="635" y="109"/>
                        <a:pt x="635" y="109"/>
                        <a:pt x="635" y="109"/>
                      </a:cubicBezTo>
                      <a:cubicBezTo>
                        <a:pt x="636" y="109"/>
                        <a:pt x="636" y="109"/>
                        <a:pt x="636" y="109"/>
                      </a:cubicBezTo>
                      <a:cubicBezTo>
                        <a:pt x="638" y="107"/>
                        <a:pt x="638" y="107"/>
                        <a:pt x="638" y="107"/>
                      </a:cubicBezTo>
                      <a:cubicBezTo>
                        <a:pt x="639" y="109"/>
                        <a:pt x="641" y="110"/>
                        <a:pt x="642" y="111"/>
                      </a:cubicBezTo>
                      <a:cubicBezTo>
                        <a:pt x="640" y="113"/>
                        <a:pt x="640" y="113"/>
                        <a:pt x="640" y="113"/>
                      </a:cubicBezTo>
                      <a:cubicBezTo>
                        <a:pt x="641" y="114"/>
                        <a:pt x="641" y="114"/>
                        <a:pt x="641" y="114"/>
                      </a:cubicBezTo>
                      <a:cubicBezTo>
                        <a:pt x="643" y="112"/>
                        <a:pt x="643" y="112"/>
                        <a:pt x="643" y="112"/>
                      </a:cubicBezTo>
                      <a:cubicBezTo>
                        <a:pt x="644" y="113"/>
                        <a:pt x="646" y="114"/>
                        <a:pt x="647" y="116"/>
                      </a:cubicBezTo>
                      <a:cubicBezTo>
                        <a:pt x="645" y="118"/>
                        <a:pt x="645" y="118"/>
                        <a:pt x="645" y="118"/>
                      </a:cubicBezTo>
                      <a:cubicBezTo>
                        <a:pt x="646" y="118"/>
                        <a:pt x="646" y="118"/>
                        <a:pt x="646" y="118"/>
                      </a:cubicBezTo>
                      <a:cubicBezTo>
                        <a:pt x="648" y="116"/>
                        <a:pt x="648" y="116"/>
                        <a:pt x="648" y="116"/>
                      </a:cubicBezTo>
                      <a:cubicBezTo>
                        <a:pt x="649" y="117"/>
                        <a:pt x="650" y="119"/>
                        <a:pt x="652" y="120"/>
                      </a:cubicBezTo>
                      <a:cubicBezTo>
                        <a:pt x="650" y="122"/>
                        <a:pt x="650" y="122"/>
                        <a:pt x="650" y="122"/>
                      </a:cubicBezTo>
                      <a:cubicBezTo>
                        <a:pt x="650" y="123"/>
                        <a:pt x="650" y="123"/>
                        <a:pt x="650" y="123"/>
                      </a:cubicBezTo>
                      <a:cubicBezTo>
                        <a:pt x="652" y="121"/>
                        <a:pt x="652" y="121"/>
                        <a:pt x="652" y="121"/>
                      </a:cubicBezTo>
                      <a:cubicBezTo>
                        <a:pt x="654" y="122"/>
                        <a:pt x="655" y="123"/>
                        <a:pt x="656" y="125"/>
                      </a:cubicBezTo>
                      <a:cubicBezTo>
                        <a:pt x="654" y="127"/>
                        <a:pt x="654" y="127"/>
                        <a:pt x="654" y="127"/>
                      </a:cubicBezTo>
                      <a:cubicBezTo>
                        <a:pt x="655" y="127"/>
                        <a:pt x="655" y="127"/>
                        <a:pt x="655" y="127"/>
                      </a:cubicBezTo>
                      <a:cubicBezTo>
                        <a:pt x="657" y="125"/>
                        <a:pt x="657" y="125"/>
                        <a:pt x="657" y="125"/>
                      </a:cubicBezTo>
                      <a:cubicBezTo>
                        <a:pt x="658" y="127"/>
                        <a:pt x="660" y="128"/>
                        <a:pt x="661" y="129"/>
                      </a:cubicBezTo>
                      <a:cubicBezTo>
                        <a:pt x="659" y="131"/>
                        <a:pt x="659" y="131"/>
                        <a:pt x="659" y="131"/>
                      </a:cubicBezTo>
                      <a:cubicBezTo>
                        <a:pt x="660" y="132"/>
                        <a:pt x="660" y="132"/>
                        <a:pt x="660" y="132"/>
                      </a:cubicBezTo>
                      <a:cubicBezTo>
                        <a:pt x="662" y="130"/>
                        <a:pt x="662" y="130"/>
                        <a:pt x="662" y="130"/>
                      </a:cubicBezTo>
                      <a:cubicBezTo>
                        <a:pt x="663" y="131"/>
                        <a:pt x="664" y="133"/>
                        <a:pt x="666" y="134"/>
                      </a:cubicBezTo>
                      <a:cubicBezTo>
                        <a:pt x="664" y="136"/>
                        <a:pt x="664" y="136"/>
                        <a:pt x="664" y="136"/>
                      </a:cubicBezTo>
                      <a:cubicBezTo>
                        <a:pt x="664" y="137"/>
                        <a:pt x="664" y="137"/>
                        <a:pt x="664" y="137"/>
                      </a:cubicBezTo>
                      <a:cubicBezTo>
                        <a:pt x="666" y="135"/>
                        <a:pt x="666" y="135"/>
                        <a:pt x="666" y="135"/>
                      </a:cubicBezTo>
                      <a:cubicBezTo>
                        <a:pt x="667" y="136"/>
                        <a:pt x="669" y="138"/>
                        <a:pt x="670" y="139"/>
                      </a:cubicBezTo>
                      <a:cubicBezTo>
                        <a:pt x="668" y="141"/>
                        <a:pt x="668" y="141"/>
                        <a:pt x="668" y="141"/>
                      </a:cubicBezTo>
                      <a:cubicBezTo>
                        <a:pt x="668" y="141"/>
                        <a:pt x="668" y="141"/>
                        <a:pt x="668" y="141"/>
                      </a:cubicBezTo>
                      <a:cubicBezTo>
                        <a:pt x="671" y="140"/>
                        <a:pt x="671" y="140"/>
                        <a:pt x="671" y="140"/>
                      </a:cubicBezTo>
                      <a:cubicBezTo>
                        <a:pt x="672" y="141"/>
                        <a:pt x="673" y="142"/>
                        <a:pt x="674" y="144"/>
                      </a:cubicBezTo>
                      <a:cubicBezTo>
                        <a:pt x="672" y="146"/>
                        <a:pt x="672" y="146"/>
                        <a:pt x="672" y="146"/>
                      </a:cubicBezTo>
                      <a:cubicBezTo>
                        <a:pt x="673" y="146"/>
                        <a:pt x="673" y="146"/>
                        <a:pt x="673" y="146"/>
                      </a:cubicBezTo>
                      <a:cubicBezTo>
                        <a:pt x="675" y="145"/>
                        <a:pt x="675" y="145"/>
                        <a:pt x="675" y="145"/>
                      </a:cubicBezTo>
                      <a:cubicBezTo>
                        <a:pt x="676" y="146"/>
                        <a:pt x="677" y="147"/>
                        <a:pt x="678" y="148"/>
                      </a:cubicBezTo>
                      <a:cubicBezTo>
                        <a:pt x="674" y="152"/>
                        <a:pt x="674" y="152"/>
                        <a:pt x="674" y="152"/>
                      </a:cubicBezTo>
                      <a:cubicBezTo>
                        <a:pt x="675" y="152"/>
                        <a:pt x="675" y="152"/>
                        <a:pt x="675" y="152"/>
                      </a:cubicBezTo>
                      <a:cubicBezTo>
                        <a:pt x="669" y="157"/>
                        <a:pt x="669" y="157"/>
                        <a:pt x="669" y="157"/>
                      </a:cubicBezTo>
                      <a:cubicBezTo>
                        <a:pt x="669" y="158"/>
                        <a:pt x="669" y="158"/>
                        <a:pt x="669" y="158"/>
                      </a:cubicBezTo>
                      <a:cubicBezTo>
                        <a:pt x="675" y="153"/>
                        <a:pt x="675" y="153"/>
                        <a:pt x="675" y="153"/>
                      </a:cubicBezTo>
                      <a:cubicBezTo>
                        <a:pt x="675" y="153"/>
                        <a:pt x="675" y="153"/>
                        <a:pt x="675" y="153"/>
                      </a:cubicBezTo>
                      <a:cubicBezTo>
                        <a:pt x="679" y="150"/>
                        <a:pt x="679" y="150"/>
                        <a:pt x="679" y="150"/>
                      </a:cubicBezTo>
                      <a:cubicBezTo>
                        <a:pt x="681" y="151"/>
                        <a:pt x="682" y="153"/>
                        <a:pt x="683" y="154"/>
                      </a:cubicBezTo>
                      <a:cubicBezTo>
                        <a:pt x="681" y="156"/>
                        <a:pt x="681" y="156"/>
                        <a:pt x="681" y="156"/>
                      </a:cubicBezTo>
                      <a:cubicBezTo>
                        <a:pt x="681" y="156"/>
                        <a:pt x="681" y="156"/>
                        <a:pt x="681" y="156"/>
                      </a:cubicBezTo>
                      <a:cubicBezTo>
                        <a:pt x="683" y="155"/>
                        <a:pt x="683" y="155"/>
                        <a:pt x="683" y="155"/>
                      </a:cubicBezTo>
                      <a:cubicBezTo>
                        <a:pt x="684" y="156"/>
                        <a:pt x="686" y="158"/>
                        <a:pt x="687" y="159"/>
                      </a:cubicBezTo>
                      <a:cubicBezTo>
                        <a:pt x="685" y="161"/>
                        <a:pt x="685" y="161"/>
                        <a:pt x="685" y="161"/>
                      </a:cubicBezTo>
                      <a:cubicBezTo>
                        <a:pt x="685" y="161"/>
                        <a:pt x="685" y="161"/>
                        <a:pt x="685" y="161"/>
                      </a:cubicBezTo>
                      <a:cubicBezTo>
                        <a:pt x="687" y="160"/>
                        <a:pt x="687" y="160"/>
                        <a:pt x="687" y="160"/>
                      </a:cubicBezTo>
                      <a:cubicBezTo>
                        <a:pt x="689" y="161"/>
                        <a:pt x="690" y="163"/>
                        <a:pt x="691" y="164"/>
                      </a:cubicBezTo>
                      <a:cubicBezTo>
                        <a:pt x="689" y="166"/>
                        <a:pt x="689" y="166"/>
                        <a:pt x="689" y="166"/>
                      </a:cubicBezTo>
                      <a:cubicBezTo>
                        <a:pt x="689" y="167"/>
                        <a:pt x="689" y="167"/>
                        <a:pt x="689" y="167"/>
                      </a:cubicBezTo>
                      <a:cubicBezTo>
                        <a:pt x="691" y="165"/>
                        <a:pt x="691" y="165"/>
                        <a:pt x="691" y="165"/>
                      </a:cubicBezTo>
                      <a:cubicBezTo>
                        <a:pt x="693" y="166"/>
                        <a:pt x="694" y="168"/>
                        <a:pt x="695" y="170"/>
                      </a:cubicBezTo>
                      <a:cubicBezTo>
                        <a:pt x="693" y="171"/>
                        <a:pt x="693" y="171"/>
                        <a:pt x="693" y="171"/>
                      </a:cubicBezTo>
                      <a:cubicBezTo>
                        <a:pt x="693" y="172"/>
                        <a:pt x="693" y="172"/>
                        <a:pt x="693" y="172"/>
                      </a:cubicBezTo>
                      <a:cubicBezTo>
                        <a:pt x="695" y="170"/>
                        <a:pt x="695" y="170"/>
                        <a:pt x="695" y="170"/>
                      </a:cubicBezTo>
                      <a:cubicBezTo>
                        <a:pt x="696" y="172"/>
                        <a:pt x="698" y="173"/>
                        <a:pt x="699" y="175"/>
                      </a:cubicBezTo>
                      <a:cubicBezTo>
                        <a:pt x="696" y="177"/>
                        <a:pt x="696" y="177"/>
                        <a:pt x="696" y="177"/>
                      </a:cubicBezTo>
                      <a:cubicBezTo>
                        <a:pt x="697" y="177"/>
                        <a:pt x="697" y="177"/>
                        <a:pt x="697" y="177"/>
                      </a:cubicBezTo>
                      <a:cubicBezTo>
                        <a:pt x="699" y="176"/>
                        <a:pt x="699" y="176"/>
                        <a:pt x="699" y="176"/>
                      </a:cubicBezTo>
                      <a:cubicBezTo>
                        <a:pt x="700" y="177"/>
                        <a:pt x="701" y="179"/>
                        <a:pt x="702" y="180"/>
                      </a:cubicBezTo>
                      <a:cubicBezTo>
                        <a:pt x="700" y="182"/>
                        <a:pt x="700" y="182"/>
                        <a:pt x="700" y="182"/>
                      </a:cubicBezTo>
                      <a:cubicBezTo>
                        <a:pt x="700" y="183"/>
                        <a:pt x="700" y="183"/>
                        <a:pt x="700" y="183"/>
                      </a:cubicBezTo>
                      <a:cubicBezTo>
                        <a:pt x="703" y="181"/>
                        <a:pt x="703" y="181"/>
                        <a:pt x="703" y="181"/>
                      </a:cubicBezTo>
                      <a:cubicBezTo>
                        <a:pt x="704" y="183"/>
                        <a:pt x="705" y="184"/>
                        <a:pt x="706" y="186"/>
                      </a:cubicBezTo>
                      <a:cubicBezTo>
                        <a:pt x="704" y="187"/>
                        <a:pt x="704" y="187"/>
                        <a:pt x="704" y="187"/>
                      </a:cubicBezTo>
                      <a:cubicBezTo>
                        <a:pt x="704" y="188"/>
                        <a:pt x="704" y="188"/>
                        <a:pt x="704" y="188"/>
                      </a:cubicBezTo>
                      <a:cubicBezTo>
                        <a:pt x="706" y="186"/>
                        <a:pt x="706" y="186"/>
                        <a:pt x="706" y="186"/>
                      </a:cubicBezTo>
                      <a:cubicBezTo>
                        <a:pt x="707" y="188"/>
                        <a:pt x="709" y="190"/>
                        <a:pt x="710" y="191"/>
                      </a:cubicBezTo>
                      <a:cubicBezTo>
                        <a:pt x="707" y="193"/>
                        <a:pt x="707" y="193"/>
                        <a:pt x="707" y="193"/>
                      </a:cubicBezTo>
                      <a:cubicBezTo>
                        <a:pt x="708" y="194"/>
                        <a:pt x="708" y="194"/>
                        <a:pt x="708" y="194"/>
                      </a:cubicBezTo>
                      <a:cubicBezTo>
                        <a:pt x="710" y="192"/>
                        <a:pt x="710" y="192"/>
                        <a:pt x="710" y="192"/>
                      </a:cubicBezTo>
                      <a:cubicBezTo>
                        <a:pt x="711" y="194"/>
                        <a:pt x="712" y="195"/>
                        <a:pt x="713" y="197"/>
                      </a:cubicBezTo>
                      <a:cubicBezTo>
                        <a:pt x="711" y="198"/>
                        <a:pt x="711" y="198"/>
                        <a:pt x="711" y="198"/>
                      </a:cubicBezTo>
                      <a:cubicBezTo>
                        <a:pt x="711" y="199"/>
                        <a:pt x="711" y="199"/>
                        <a:pt x="711" y="199"/>
                      </a:cubicBezTo>
                      <a:cubicBezTo>
                        <a:pt x="713" y="198"/>
                        <a:pt x="713" y="198"/>
                        <a:pt x="713" y="198"/>
                      </a:cubicBezTo>
                      <a:cubicBezTo>
                        <a:pt x="714" y="199"/>
                        <a:pt x="715" y="201"/>
                        <a:pt x="716" y="202"/>
                      </a:cubicBezTo>
                      <a:cubicBezTo>
                        <a:pt x="711" y="205"/>
                        <a:pt x="711" y="205"/>
                        <a:pt x="711" y="205"/>
                      </a:cubicBezTo>
                      <a:cubicBezTo>
                        <a:pt x="712" y="205"/>
                        <a:pt x="712" y="205"/>
                        <a:pt x="712" y="205"/>
                      </a:cubicBezTo>
                      <a:cubicBezTo>
                        <a:pt x="705" y="209"/>
                        <a:pt x="705" y="209"/>
                        <a:pt x="705" y="209"/>
                      </a:cubicBezTo>
                      <a:cubicBezTo>
                        <a:pt x="705" y="210"/>
                        <a:pt x="705" y="210"/>
                        <a:pt x="705" y="210"/>
                      </a:cubicBezTo>
                      <a:cubicBezTo>
                        <a:pt x="712" y="206"/>
                        <a:pt x="712" y="206"/>
                        <a:pt x="712" y="206"/>
                      </a:cubicBezTo>
                      <a:cubicBezTo>
                        <a:pt x="712" y="206"/>
                        <a:pt x="712" y="206"/>
                        <a:pt x="712" y="206"/>
                      </a:cubicBezTo>
                      <a:cubicBezTo>
                        <a:pt x="717" y="204"/>
                        <a:pt x="717" y="204"/>
                        <a:pt x="717" y="204"/>
                      </a:cubicBezTo>
                      <a:cubicBezTo>
                        <a:pt x="718" y="205"/>
                        <a:pt x="719" y="207"/>
                        <a:pt x="720" y="208"/>
                      </a:cubicBezTo>
                      <a:cubicBezTo>
                        <a:pt x="717" y="210"/>
                        <a:pt x="717" y="210"/>
                        <a:pt x="717" y="210"/>
                      </a:cubicBezTo>
                      <a:cubicBezTo>
                        <a:pt x="717" y="210"/>
                        <a:pt x="717" y="210"/>
                        <a:pt x="717" y="210"/>
                      </a:cubicBezTo>
                      <a:cubicBezTo>
                        <a:pt x="720" y="209"/>
                        <a:pt x="720" y="209"/>
                        <a:pt x="720" y="209"/>
                      </a:cubicBezTo>
                      <a:cubicBezTo>
                        <a:pt x="721" y="211"/>
                        <a:pt x="722" y="212"/>
                        <a:pt x="723" y="214"/>
                      </a:cubicBezTo>
                      <a:cubicBezTo>
                        <a:pt x="720" y="215"/>
                        <a:pt x="720" y="215"/>
                        <a:pt x="720" y="215"/>
                      </a:cubicBezTo>
                      <a:cubicBezTo>
                        <a:pt x="721" y="216"/>
                        <a:pt x="721" y="216"/>
                        <a:pt x="721" y="216"/>
                      </a:cubicBezTo>
                      <a:cubicBezTo>
                        <a:pt x="723" y="215"/>
                        <a:pt x="723" y="215"/>
                        <a:pt x="723" y="215"/>
                      </a:cubicBezTo>
                      <a:cubicBezTo>
                        <a:pt x="724" y="216"/>
                        <a:pt x="725" y="218"/>
                        <a:pt x="726" y="220"/>
                      </a:cubicBezTo>
                      <a:cubicBezTo>
                        <a:pt x="723" y="221"/>
                        <a:pt x="723" y="221"/>
                        <a:pt x="723" y="221"/>
                      </a:cubicBezTo>
                      <a:cubicBezTo>
                        <a:pt x="724" y="222"/>
                        <a:pt x="724" y="222"/>
                        <a:pt x="724" y="222"/>
                      </a:cubicBezTo>
                      <a:cubicBezTo>
                        <a:pt x="726" y="221"/>
                        <a:pt x="726" y="221"/>
                        <a:pt x="726" y="221"/>
                      </a:cubicBezTo>
                      <a:cubicBezTo>
                        <a:pt x="727" y="222"/>
                        <a:pt x="728" y="224"/>
                        <a:pt x="729" y="226"/>
                      </a:cubicBezTo>
                      <a:cubicBezTo>
                        <a:pt x="726" y="227"/>
                        <a:pt x="726" y="227"/>
                        <a:pt x="726" y="227"/>
                      </a:cubicBezTo>
                      <a:cubicBezTo>
                        <a:pt x="726" y="228"/>
                        <a:pt x="726" y="228"/>
                        <a:pt x="726" y="228"/>
                      </a:cubicBezTo>
                      <a:cubicBezTo>
                        <a:pt x="729" y="226"/>
                        <a:pt x="729" y="226"/>
                        <a:pt x="729" y="226"/>
                      </a:cubicBezTo>
                      <a:cubicBezTo>
                        <a:pt x="730" y="228"/>
                        <a:pt x="731" y="230"/>
                        <a:pt x="732" y="232"/>
                      </a:cubicBezTo>
                      <a:cubicBezTo>
                        <a:pt x="729" y="233"/>
                        <a:pt x="729" y="233"/>
                        <a:pt x="729" y="233"/>
                      </a:cubicBezTo>
                      <a:cubicBezTo>
                        <a:pt x="729" y="234"/>
                        <a:pt x="729" y="234"/>
                        <a:pt x="729" y="234"/>
                      </a:cubicBezTo>
                      <a:cubicBezTo>
                        <a:pt x="732" y="232"/>
                        <a:pt x="732" y="232"/>
                        <a:pt x="732" y="232"/>
                      </a:cubicBezTo>
                      <a:cubicBezTo>
                        <a:pt x="733" y="234"/>
                        <a:pt x="734" y="236"/>
                        <a:pt x="734" y="238"/>
                      </a:cubicBezTo>
                      <a:cubicBezTo>
                        <a:pt x="732" y="239"/>
                        <a:pt x="732" y="239"/>
                        <a:pt x="732" y="239"/>
                      </a:cubicBezTo>
                      <a:cubicBezTo>
                        <a:pt x="732" y="240"/>
                        <a:pt x="732" y="240"/>
                        <a:pt x="732" y="240"/>
                      </a:cubicBezTo>
                      <a:cubicBezTo>
                        <a:pt x="735" y="238"/>
                        <a:pt x="735" y="238"/>
                        <a:pt x="735" y="238"/>
                      </a:cubicBezTo>
                      <a:cubicBezTo>
                        <a:pt x="735" y="240"/>
                        <a:pt x="736" y="242"/>
                        <a:pt x="737" y="244"/>
                      </a:cubicBezTo>
                      <a:cubicBezTo>
                        <a:pt x="734" y="245"/>
                        <a:pt x="734" y="245"/>
                        <a:pt x="734" y="245"/>
                      </a:cubicBezTo>
                      <a:cubicBezTo>
                        <a:pt x="735" y="246"/>
                        <a:pt x="735" y="246"/>
                        <a:pt x="735" y="246"/>
                      </a:cubicBezTo>
                      <a:cubicBezTo>
                        <a:pt x="737" y="244"/>
                        <a:pt x="737" y="244"/>
                        <a:pt x="737" y="244"/>
                      </a:cubicBezTo>
                      <a:cubicBezTo>
                        <a:pt x="738" y="246"/>
                        <a:pt x="739" y="248"/>
                        <a:pt x="739" y="250"/>
                      </a:cubicBezTo>
                      <a:cubicBezTo>
                        <a:pt x="737" y="251"/>
                        <a:pt x="737" y="251"/>
                        <a:pt x="737" y="251"/>
                      </a:cubicBezTo>
                      <a:cubicBezTo>
                        <a:pt x="737" y="252"/>
                        <a:pt x="737" y="252"/>
                        <a:pt x="737" y="252"/>
                      </a:cubicBezTo>
                      <a:cubicBezTo>
                        <a:pt x="740" y="250"/>
                        <a:pt x="740" y="250"/>
                        <a:pt x="740" y="250"/>
                      </a:cubicBezTo>
                      <a:cubicBezTo>
                        <a:pt x="740" y="252"/>
                        <a:pt x="741" y="254"/>
                        <a:pt x="742" y="256"/>
                      </a:cubicBezTo>
                      <a:cubicBezTo>
                        <a:pt x="739" y="257"/>
                        <a:pt x="739" y="257"/>
                        <a:pt x="739" y="257"/>
                      </a:cubicBezTo>
                      <a:cubicBezTo>
                        <a:pt x="739" y="258"/>
                        <a:pt x="739" y="258"/>
                        <a:pt x="739" y="258"/>
                      </a:cubicBezTo>
                      <a:cubicBezTo>
                        <a:pt x="742" y="257"/>
                        <a:pt x="742" y="257"/>
                        <a:pt x="742" y="257"/>
                      </a:cubicBezTo>
                      <a:cubicBezTo>
                        <a:pt x="743" y="258"/>
                        <a:pt x="743" y="260"/>
                        <a:pt x="744" y="262"/>
                      </a:cubicBezTo>
                      <a:cubicBezTo>
                        <a:pt x="739" y="263"/>
                        <a:pt x="739" y="263"/>
                        <a:pt x="739" y="263"/>
                      </a:cubicBezTo>
                      <a:cubicBezTo>
                        <a:pt x="739" y="264"/>
                        <a:pt x="739" y="264"/>
                        <a:pt x="739" y="264"/>
                      </a:cubicBezTo>
                      <a:cubicBezTo>
                        <a:pt x="732" y="267"/>
                        <a:pt x="732" y="267"/>
                        <a:pt x="732" y="267"/>
                      </a:cubicBezTo>
                      <a:cubicBezTo>
                        <a:pt x="732" y="267"/>
                        <a:pt x="732" y="267"/>
                        <a:pt x="732" y="267"/>
                      </a:cubicBezTo>
                      <a:cubicBezTo>
                        <a:pt x="739" y="265"/>
                        <a:pt x="739" y="265"/>
                        <a:pt x="739" y="265"/>
                      </a:cubicBezTo>
                      <a:cubicBezTo>
                        <a:pt x="739" y="265"/>
                        <a:pt x="739" y="265"/>
                        <a:pt x="739" y="265"/>
                      </a:cubicBezTo>
                      <a:cubicBezTo>
                        <a:pt x="745" y="263"/>
                        <a:pt x="745" y="263"/>
                        <a:pt x="745" y="263"/>
                      </a:cubicBezTo>
                      <a:cubicBezTo>
                        <a:pt x="745" y="265"/>
                        <a:pt x="746" y="267"/>
                        <a:pt x="746" y="268"/>
                      </a:cubicBezTo>
                      <a:cubicBezTo>
                        <a:pt x="744" y="269"/>
                        <a:pt x="744" y="269"/>
                        <a:pt x="744" y="269"/>
                      </a:cubicBezTo>
                      <a:cubicBezTo>
                        <a:pt x="744" y="270"/>
                        <a:pt x="744" y="270"/>
                        <a:pt x="744" y="270"/>
                      </a:cubicBezTo>
                      <a:cubicBezTo>
                        <a:pt x="747" y="269"/>
                        <a:pt x="747" y="269"/>
                        <a:pt x="747" y="269"/>
                      </a:cubicBezTo>
                      <a:cubicBezTo>
                        <a:pt x="747" y="271"/>
                        <a:pt x="748" y="273"/>
                        <a:pt x="748" y="274"/>
                      </a:cubicBezTo>
                      <a:cubicBezTo>
                        <a:pt x="746" y="275"/>
                        <a:pt x="746" y="275"/>
                        <a:pt x="746" y="275"/>
                      </a:cubicBezTo>
                      <a:cubicBezTo>
                        <a:pt x="746" y="276"/>
                        <a:pt x="746" y="276"/>
                        <a:pt x="746" y="276"/>
                      </a:cubicBezTo>
                      <a:cubicBezTo>
                        <a:pt x="749" y="275"/>
                        <a:pt x="749" y="275"/>
                        <a:pt x="749" y="275"/>
                      </a:cubicBezTo>
                      <a:cubicBezTo>
                        <a:pt x="749" y="277"/>
                        <a:pt x="750" y="279"/>
                        <a:pt x="750" y="281"/>
                      </a:cubicBezTo>
                      <a:cubicBezTo>
                        <a:pt x="748" y="282"/>
                        <a:pt x="748" y="282"/>
                        <a:pt x="748" y="282"/>
                      </a:cubicBezTo>
                      <a:cubicBezTo>
                        <a:pt x="748" y="282"/>
                        <a:pt x="748" y="282"/>
                        <a:pt x="748" y="282"/>
                      </a:cubicBezTo>
                      <a:cubicBezTo>
                        <a:pt x="751" y="281"/>
                        <a:pt x="751" y="281"/>
                        <a:pt x="751" y="281"/>
                      </a:cubicBezTo>
                      <a:cubicBezTo>
                        <a:pt x="751" y="283"/>
                        <a:pt x="752" y="285"/>
                        <a:pt x="752" y="287"/>
                      </a:cubicBezTo>
                      <a:cubicBezTo>
                        <a:pt x="749" y="288"/>
                        <a:pt x="749" y="288"/>
                        <a:pt x="749" y="288"/>
                      </a:cubicBezTo>
                      <a:cubicBezTo>
                        <a:pt x="750" y="289"/>
                        <a:pt x="750" y="289"/>
                        <a:pt x="750" y="289"/>
                      </a:cubicBezTo>
                      <a:cubicBezTo>
                        <a:pt x="753" y="288"/>
                        <a:pt x="753" y="288"/>
                        <a:pt x="753" y="288"/>
                      </a:cubicBezTo>
                      <a:cubicBezTo>
                        <a:pt x="753" y="290"/>
                        <a:pt x="754" y="291"/>
                        <a:pt x="754" y="293"/>
                      </a:cubicBezTo>
                      <a:cubicBezTo>
                        <a:pt x="751" y="294"/>
                        <a:pt x="751" y="294"/>
                        <a:pt x="751" y="294"/>
                      </a:cubicBezTo>
                      <a:cubicBezTo>
                        <a:pt x="751" y="295"/>
                        <a:pt x="751" y="295"/>
                        <a:pt x="751" y="295"/>
                      </a:cubicBezTo>
                      <a:cubicBezTo>
                        <a:pt x="754" y="294"/>
                        <a:pt x="754" y="294"/>
                        <a:pt x="754" y="294"/>
                      </a:cubicBezTo>
                      <a:cubicBezTo>
                        <a:pt x="755" y="296"/>
                        <a:pt x="755" y="298"/>
                        <a:pt x="756" y="300"/>
                      </a:cubicBezTo>
                      <a:cubicBezTo>
                        <a:pt x="753" y="300"/>
                        <a:pt x="753" y="300"/>
                        <a:pt x="753" y="300"/>
                      </a:cubicBezTo>
                      <a:cubicBezTo>
                        <a:pt x="753" y="301"/>
                        <a:pt x="753" y="301"/>
                        <a:pt x="753" y="301"/>
                      </a:cubicBezTo>
                      <a:cubicBezTo>
                        <a:pt x="756" y="300"/>
                        <a:pt x="756" y="300"/>
                        <a:pt x="756" y="300"/>
                      </a:cubicBezTo>
                      <a:cubicBezTo>
                        <a:pt x="756" y="302"/>
                        <a:pt x="757" y="304"/>
                        <a:pt x="757" y="306"/>
                      </a:cubicBezTo>
                      <a:cubicBezTo>
                        <a:pt x="754" y="307"/>
                        <a:pt x="754" y="307"/>
                        <a:pt x="754" y="307"/>
                      </a:cubicBezTo>
                      <a:cubicBezTo>
                        <a:pt x="755" y="308"/>
                        <a:pt x="755" y="308"/>
                        <a:pt x="755" y="308"/>
                      </a:cubicBezTo>
                      <a:cubicBezTo>
                        <a:pt x="758" y="307"/>
                        <a:pt x="758" y="307"/>
                        <a:pt x="758" y="307"/>
                      </a:cubicBezTo>
                      <a:cubicBezTo>
                        <a:pt x="758" y="309"/>
                        <a:pt x="758" y="311"/>
                        <a:pt x="759" y="313"/>
                      </a:cubicBezTo>
                      <a:cubicBezTo>
                        <a:pt x="756" y="313"/>
                        <a:pt x="756" y="313"/>
                        <a:pt x="756" y="313"/>
                      </a:cubicBezTo>
                      <a:cubicBezTo>
                        <a:pt x="756" y="314"/>
                        <a:pt x="756" y="314"/>
                        <a:pt x="756" y="314"/>
                      </a:cubicBezTo>
                      <a:cubicBezTo>
                        <a:pt x="759" y="313"/>
                        <a:pt x="759" y="313"/>
                        <a:pt x="759" y="313"/>
                      </a:cubicBezTo>
                      <a:cubicBezTo>
                        <a:pt x="759" y="315"/>
                        <a:pt x="760" y="317"/>
                        <a:pt x="760" y="319"/>
                      </a:cubicBezTo>
                      <a:cubicBezTo>
                        <a:pt x="757" y="320"/>
                        <a:pt x="757" y="320"/>
                        <a:pt x="757" y="320"/>
                      </a:cubicBezTo>
                      <a:cubicBezTo>
                        <a:pt x="757" y="320"/>
                        <a:pt x="757" y="320"/>
                        <a:pt x="757" y="320"/>
                      </a:cubicBezTo>
                      <a:cubicBezTo>
                        <a:pt x="760" y="320"/>
                        <a:pt x="760" y="320"/>
                        <a:pt x="760" y="320"/>
                      </a:cubicBezTo>
                      <a:cubicBezTo>
                        <a:pt x="761" y="321"/>
                        <a:pt x="761" y="323"/>
                        <a:pt x="761" y="325"/>
                      </a:cubicBezTo>
                      <a:cubicBezTo>
                        <a:pt x="756" y="326"/>
                        <a:pt x="756" y="326"/>
                        <a:pt x="756" y="326"/>
                      </a:cubicBezTo>
                      <a:cubicBezTo>
                        <a:pt x="756" y="326"/>
                        <a:pt x="756" y="326"/>
                        <a:pt x="756" y="326"/>
                      </a:cubicBezTo>
                      <a:cubicBezTo>
                        <a:pt x="748" y="328"/>
                        <a:pt x="748" y="328"/>
                        <a:pt x="748" y="328"/>
                      </a:cubicBezTo>
                      <a:cubicBezTo>
                        <a:pt x="748" y="328"/>
                        <a:pt x="748" y="328"/>
                        <a:pt x="748" y="328"/>
                      </a:cubicBezTo>
                      <a:cubicBezTo>
                        <a:pt x="756" y="327"/>
                        <a:pt x="756" y="327"/>
                        <a:pt x="756" y="327"/>
                      </a:cubicBezTo>
                      <a:cubicBezTo>
                        <a:pt x="756" y="328"/>
                        <a:pt x="756" y="328"/>
                        <a:pt x="756" y="328"/>
                      </a:cubicBezTo>
                      <a:cubicBezTo>
                        <a:pt x="761" y="327"/>
                        <a:pt x="761" y="327"/>
                        <a:pt x="761" y="327"/>
                      </a:cubicBezTo>
                      <a:cubicBezTo>
                        <a:pt x="762" y="328"/>
                        <a:pt x="762" y="330"/>
                        <a:pt x="762" y="332"/>
                      </a:cubicBezTo>
                      <a:cubicBezTo>
                        <a:pt x="759" y="332"/>
                        <a:pt x="759" y="332"/>
                        <a:pt x="759" y="332"/>
                      </a:cubicBezTo>
                      <a:cubicBezTo>
                        <a:pt x="759" y="333"/>
                        <a:pt x="759" y="333"/>
                        <a:pt x="759" y="333"/>
                      </a:cubicBezTo>
                      <a:cubicBezTo>
                        <a:pt x="762" y="333"/>
                        <a:pt x="762" y="333"/>
                        <a:pt x="762" y="333"/>
                      </a:cubicBezTo>
                      <a:cubicBezTo>
                        <a:pt x="763" y="335"/>
                        <a:pt x="763" y="336"/>
                        <a:pt x="763" y="338"/>
                      </a:cubicBezTo>
                      <a:cubicBezTo>
                        <a:pt x="760" y="339"/>
                        <a:pt x="760" y="339"/>
                        <a:pt x="760" y="339"/>
                      </a:cubicBezTo>
                      <a:cubicBezTo>
                        <a:pt x="760" y="340"/>
                        <a:pt x="760" y="340"/>
                        <a:pt x="760" y="340"/>
                      </a:cubicBezTo>
                      <a:cubicBezTo>
                        <a:pt x="763" y="339"/>
                        <a:pt x="763" y="339"/>
                        <a:pt x="763" y="339"/>
                      </a:cubicBezTo>
                      <a:cubicBezTo>
                        <a:pt x="764" y="341"/>
                        <a:pt x="764" y="343"/>
                        <a:pt x="764" y="345"/>
                      </a:cubicBezTo>
                      <a:cubicBezTo>
                        <a:pt x="761" y="345"/>
                        <a:pt x="761" y="345"/>
                        <a:pt x="761" y="345"/>
                      </a:cubicBezTo>
                      <a:cubicBezTo>
                        <a:pt x="761" y="346"/>
                        <a:pt x="761" y="346"/>
                        <a:pt x="761" y="346"/>
                      </a:cubicBezTo>
                      <a:cubicBezTo>
                        <a:pt x="764" y="346"/>
                        <a:pt x="764" y="346"/>
                        <a:pt x="764" y="346"/>
                      </a:cubicBezTo>
                      <a:cubicBezTo>
                        <a:pt x="765" y="348"/>
                        <a:pt x="765" y="350"/>
                        <a:pt x="765" y="351"/>
                      </a:cubicBezTo>
                      <a:cubicBezTo>
                        <a:pt x="762" y="352"/>
                        <a:pt x="762" y="352"/>
                        <a:pt x="762" y="352"/>
                      </a:cubicBezTo>
                      <a:cubicBezTo>
                        <a:pt x="762" y="353"/>
                        <a:pt x="762" y="353"/>
                        <a:pt x="762" y="353"/>
                      </a:cubicBezTo>
                      <a:cubicBezTo>
                        <a:pt x="765" y="352"/>
                        <a:pt x="765" y="352"/>
                        <a:pt x="765" y="352"/>
                      </a:cubicBezTo>
                      <a:cubicBezTo>
                        <a:pt x="765" y="354"/>
                        <a:pt x="765" y="356"/>
                        <a:pt x="766" y="358"/>
                      </a:cubicBezTo>
                      <a:cubicBezTo>
                        <a:pt x="763" y="358"/>
                        <a:pt x="763" y="358"/>
                        <a:pt x="763" y="358"/>
                      </a:cubicBezTo>
                      <a:cubicBezTo>
                        <a:pt x="763" y="359"/>
                        <a:pt x="763" y="359"/>
                        <a:pt x="763" y="359"/>
                      </a:cubicBezTo>
                      <a:cubicBezTo>
                        <a:pt x="766" y="359"/>
                        <a:pt x="766" y="359"/>
                        <a:pt x="766" y="359"/>
                      </a:cubicBezTo>
                      <a:cubicBezTo>
                        <a:pt x="766" y="361"/>
                        <a:pt x="766" y="363"/>
                        <a:pt x="766" y="365"/>
                      </a:cubicBezTo>
                      <a:cubicBezTo>
                        <a:pt x="763" y="365"/>
                        <a:pt x="763" y="365"/>
                        <a:pt x="763" y="365"/>
                      </a:cubicBezTo>
                      <a:cubicBezTo>
                        <a:pt x="763" y="366"/>
                        <a:pt x="763" y="366"/>
                        <a:pt x="763" y="366"/>
                      </a:cubicBezTo>
                      <a:cubicBezTo>
                        <a:pt x="766" y="365"/>
                        <a:pt x="766" y="365"/>
                        <a:pt x="766" y="365"/>
                      </a:cubicBezTo>
                      <a:cubicBezTo>
                        <a:pt x="766" y="367"/>
                        <a:pt x="766" y="369"/>
                        <a:pt x="766" y="371"/>
                      </a:cubicBezTo>
                      <a:cubicBezTo>
                        <a:pt x="763" y="371"/>
                        <a:pt x="763" y="371"/>
                        <a:pt x="763" y="371"/>
                      </a:cubicBezTo>
                      <a:cubicBezTo>
                        <a:pt x="764" y="372"/>
                        <a:pt x="764" y="372"/>
                        <a:pt x="764" y="372"/>
                      </a:cubicBezTo>
                      <a:cubicBezTo>
                        <a:pt x="767" y="372"/>
                        <a:pt x="767" y="372"/>
                        <a:pt x="767" y="372"/>
                      </a:cubicBezTo>
                      <a:cubicBezTo>
                        <a:pt x="767" y="374"/>
                        <a:pt x="767" y="376"/>
                        <a:pt x="767" y="378"/>
                      </a:cubicBezTo>
                      <a:cubicBezTo>
                        <a:pt x="764" y="378"/>
                        <a:pt x="764" y="378"/>
                        <a:pt x="764" y="378"/>
                      </a:cubicBezTo>
                      <a:cubicBezTo>
                        <a:pt x="764" y="379"/>
                        <a:pt x="764" y="379"/>
                        <a:pt x="764" y="379"/>
                      </a:cubicBezTo>
                      <a:cubicBezTo>
                        <a:pt x="767" y="378"/>
                        <a:pt x="767" y="378"/>
                        <a:pt x="767" y="378"/>
                      </a:cubicBezTo>
                      <a:cubicBezTo>
                        <a:pt x="767" y="380"/>
                        <a:pt x="767" y="382"/>
                        <a:pt x="767" y="384"/>
                      </a:cubicBezTo>
                      <a:cubicBezTo>
                        <a:pt x="764" y="384"/>
                        <a:pt x="764" y="384"/>
                        <a:pt x="764" y="384"/>
                      </a:cubicBezTo>
                      <a:cubicBezTo>
                        <a:pt x="764" y="385"/>
                        <a:pt x="764" y="385"/>
                        <a:pt x="764" y="385"/>
                      </a:cubicBezTo>
                      <a:cubicBezTo>
                        <a:pt x="767" y="385"/>
                        <a:pt x="767" y="385"/>
                        <a:pt x="767" y="385"/>
                      </a:cubicBezTo>
                      <a:cubicBezTo>
                        <a:pt x="767" y="387"/>
                        <a:pt x="767" y="389"/>
                        <a:pt x="767" y="390"/>
                      </a:cubicBezTo>
                      <a:cubicBezTo>
                        <a:pt x="762" y="390"/>
                        <a:pt x="762" y="390"/>
                        <a:pt x="762" y="390"/>
                      </a:cubicBezTo>
                      <a:cubicBezTo>
                        <a:pt x="762" y="391"/>
                        <a:pt x="762" y="391"/>
                        <a:pt x="762" y="391"/>
                      </a:cubicBezTo>
                      <a:cubicBezTo>
                        <a:pt x="754" y="391"/>
                        <a:pt x="754" y="391"/>
                        <a:pt x="754" y="391"/>
                      </a:cubicBezTo>
                      <a:cubicBezTo>
                        <a:pt x="754" y="392"/>
                        <a:pt x="754" y="392"/>
                        <a:pt x="754" y="392"/>
                      </a:cubicBezTo>
                      <a:cubicBezTo>
                        <a:pt x="762" y="392"/>
                        <a:pt x="762" y="392"/>
                        <a:pt x="762" y="392"/>
                      </a:cubicBezTo>
                      <a:cubicBezTo>
                        <a:pt x="762" y="392"/>
                        <a:pt x="762" y="392"/>
                        <a:pt x="762" y="392"/>
                      </a:cubicBezTo>
                      <a:cubicBezTo>
                        <a:pt x="767" y="392"/>
                        <a:pt x="767" y="392"/>
                        <a:pt x="767" y="392"/>
                      </a:cubicBezTo>
                      <a:cubicBezTo>
                        <a:pt x="767" y="394"/>
                        <a:pt x="767" y="396"/>
                        <a:pt x="767" y="397"/>
                      </a:cubicBezTo>
                      <a:close/>
                    </a:path>
                  </a:pathLst>
                </a:custGeom>
                <a:solidFill>
                  <a:srgbClr val="01AAE5"/>
                </a:solidFill>
                <a:ln>
                  <a:noFill/>
                </a:ln>
                <a:extLst/>
              </p:spPr>
              <p:txBody>
                <a:bodyPr/>
                <a:lstStyle/>
                <a:p>
                  <a:pPr eaLnBrk="1" hangingPunct="1">
                    <a:defRPr/>
                  </a:pPr>
                  <a:endParaRPr lang="zh-CN" altLang="en-US" sz="1050"/>
                </a:p>
              </p:txBody>
            </p:sp>
          </p:grpSp>
        </p:grpSp>
      </p:grpSp>
      <p:grpSp>
        <p:nvGrpSpPr>
          <p:cNvPr id="21" name="组合 2255"/>
          <p:cNvGrpSpPr/>
          <p:nvPr/>
        </p:nvGrpSpPr>
        <p:grpSpPr>
          <a:xfrm flipH="1">
            <a:off x="8905899" y="1366610"/>
            <a:ext cx="1872208" cy="2686545"/>
            <a:chOff x="1201043" y="1413570"/>
            <a:chExt cx="1584176" cy="1928560"/>
          </a:xfrm>
        </p:grpSpPr>
        <p:sp>
          <p:nvSpPr>
            <p:cNvPr id="4468" name="Freeform 17"/>
            <p:cNvSpPr>
              <a:spLocks/>
            </p:cNvSpPr>
            <p:nvPr/>
          </p:nvSpPr>
          <p:spPr bwMode="auto">
            <a:xfrm>
              <a:off x="1201043" y="1602605"/>
              <a:ext cx="1584176" cy="1739525"/>
            </a:xfrm>
            <a:custGeom>
              <a:avLst/>
              <a:gdLst>
                <a:gd name="T0" fmla="*/ 0 w 554"/>
                <a:gd name="T1" fmla="*/ 0 h 851"/>
                <a:gd name="T2" fmla="*/ 0 w 554"/>
                <a:gd name="T3" fmla="*/ 851 h 851"/>
                <a:gd name="T4" fmla="*/ 554 w 554"/>
                <a:gd name="T5" fmla="*/ 780 h 851"/>
                <a:gd name="T6" fmla="*/ 554 w 554"/>
                <a:gd name="T7" fmla="*/ 71 h 851"/>
                <a:gd name="T8" fmla="*/ 389 w 554"/>
                <a:gd name="T9" fmla="*/ 50 h 851"/>
                <a:gd name="T10" fmla="*/ 277 w 554"/>
                <a:gd name="T11" fmla="*/ 146 h 851"/>
                <a:gd name="T12" fmla="*/ 161 w 554"/>
                <a:gd name="T13" fmla="*/ 21 h 851"/>
                <a:gd name="T14" fmla="*/ 0 w 554"/>
                <a:gd name="T15" fmla="*/ 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851">
                  <a:moveTo>
                    <a:pt x="0" y="0"/>
                  </a:moveTo>
                  <a:cubicBezTo>
                    <a:pt x="0" y="726"/>
                    <a:pt x="0" y="851"/>
                    <a:pt x="0" y="851"/>
                  </a:cubicBezTo>
                  <a:cubicBezTo>
                    <a:pt x="554" y="780"/>
                    <a:pt x="554" y="780"/>
                    <a:pt x="554" y="780"/>
                  </a:cubicBezTo>
                  <a:cubicBezTo>
                    <a:pt x="554" y="196"/>
                    <a:pt x="554" y="71"/>
                    <a:pt x="554" y="71"/>
                  </a:cubicBezTo>
                  <a:cubicBezTo>
                    <a:pt x="389" y="50"/>
                    <a:pt x="389" y="50"/>
                    <a:pt x="389" y="50"/>
                  </a:cubicBezTo>
                  <a:cubicBezTo>
                    <a:pt x="377" y="105"/>
                    <a:pt x="331" y="146"/>
                    <a:pt x="277" y="146"/>
                  </a:cubicBezTo>
                  <a:cubicBezTo>
                    <a:pt x="213" y="146"/>
                    <a:pt x="161" y="90"/>
                    <a:pt x="161" y="21"/>
                  </a:cubicBezTo>
                  <a:cubicBezTo>
                    <a:pt x="0" y="0"/>
                    <a:pt x="0" y="0"/>
                    <a:pt x="0" y="0"/>
                  </a:cubicBezTo>
                </a:path>
              </a:pathLst>
            </a:custGeom>
            <a:solidFill>
              <a:srgbClr val="0070C0">
                <a:alpha val="40000"/>
              </a:srgbClr>
            </a:solidFill>
            <a:ln w="1270" cap="flat">
              <a:noFill/>
              <a:prstDash val="solid"/>
              <a:bevel/>
            </a:ln>
            <a:effectLst/>
            <a:extLst/>
          </p:spPr>
          <p:txBody>
            <a:bodyPr lIns="0" tIns="0" rIns="0" bIns="0" anchor="ctr"/>
            <a:lstStyle/>
            <a:p>
              <a:pPr algn="ctr" defTabSz="826472" eaLnBrk="1" hangingPunct="1">
                <a:defRPr/>
              </a:pPr>
              <a:endParaRPr lang="zh-CN" altLang="en-US" sz="1200">
                <a:solidFill>
                  <a:schemeClr val="bg1"/>
                </a:solidFill>
                <a:effectLst>
                  <a:outerShdw blurRad="38100" dist="38100" dir="2700000" algn="tl">
                    <a:srgbClr val="000000">
                      <a:alpha val="43137"/>
                    </a:srgbClr>
                  </a:outerShdw>
                </a:effectLst>
              </a:endParaRPr>
            </a:p>
          </p:txBody>
        </p:sp>
        <p:grpSp>
          <p:nvGrpSpPr>
            <p:cNvPr id="23" name="组合 11"/>
            <p:cNvGrpSpPr>
              <a:grpSpLocks/>
            </p:cNvGrpSpPr>
            <p:nvPr/>
          </p:nvGrpSpPr>
          <p:grpSpPr bwMode="auto">
            <a:xfrm>
              <a:off x="1689862" y="1413570"/>
              <a:ext cx="591426" cy="565318"/>
              <a:chOff x="15841663" y="2584450"/>
              <a:chExt cx="2933700" cy="2936875"/>
            </a:xfrm>
          </p:grpSpPr>
          <p:grpSp>
            <p:nvGrpSpPr>
              <p:cNvPr id="25" name="Group 1310"/>
              <p:cNvGrpSpPr>
                <a:grpSpLocks/>
              </p:cNvGrpSpPr>
              <p:nvPr/>
            </p:nvGrpSpPr>
            <p:grpSpPr bwMode="auto">
              <a:xfrm>
                <a:off x="17581563" y="2936875"/>
                <a:ext cx="869950" cy="1055688"/>
                <a:chOff x="11075" y="1850"/>
                <a:chExt cx="548" cy="665"/>
              </a:xfrm>
            </p:grpSpPr>
            <p:sp>
              <p:nvSpPr>
                <p:cNvPr id="5371" name="Freeform 1110"/>
                <p:cNvSpPr>
                  <a:spLocks/>
                </p:cNvSpPr>
                <p:nvPr/>
              </p:nvSpPr>
              <p:spPr bwMode="auto">
                <a:xfrm>
                  <a:off x="11530" y="2203"/>
                  <a:ext cx="8" cy="9"/>
                </a:xfrm>
                <a:custGeom>
                  <a:avLst/>
                  <a:gdLst>
                    <a:gd name="T0" fmla="*/ 0 w 5"/>
                    <a:gd name="T1" fmla="*/ 4 h 4"/>
                    <a:gd name="T2" fmla="*/ 5 w 5"/>
                    <a:gd name="T3" fmla="*/ 2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2"/>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72" name="Freeform 1111"/>
                <p:cNvSpPr>
                  <a:spLocks/>
                </p:cNvSpPr>
                <p:nvPr/>
              </p:nvSpPr>
              <p:spPr bwMode="auto">
                <a:xfrm>
                  <a:off x="11521" y="2194"/>
                  <a:ext cx="8" cy="9"/>
                </a:xfrm>
                <a:custGeom>
                  <a:avLst/>
                  <a:gdLst>
                    <a:gd name="T0" fmla="*/ 2 w 7"/>
                    <a:gd name="T1" fmla="*/ 2 h 2"/>
                    <a:gd name="T2" fmla="*/ 7 w 7"/>
                    <a:gd name="T3" fmla="*/ 0 h 2"/>
                    <a:gd name="T4" fmla="*/ 7 w 7"/>
                    <a:gd name="T5" fmla="*/ 0 h 2"/>
                    <a:gd name="T6" fmla="*/ 0 w 7"/>
                    <a:gd name="T7" fmla="*/ 2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lnTo>
                        <a:pt x="7" y="0"/>
                      </a:lnTo>
                      <a:lnTo>
                        <a:pt x="7" y="0"/>
                      </a:lnTo>
                      <a:lnTo>
                        <a:pt x="0" y="2"/>
                      </a:lnTo>
                      <a:lnTo>
                        <a:pt x="2" y="2"/>
                      </a:lnTo>
                      <a:close/>
                    </a:path>
                  </a:pathLst>
                </a:custGeom>
                <a:solidFill>
                  <a:srgbClr val="01AAE5"/>
                </a:solidFill>
                <a:ln>
                  <a:noFill/>
                </a:ln>
                <a:extLst/>
              </p:spPr>
              <p:txBody>
                <a:bodyPr/>
                <a:lstStyle/>
                <a:p>
                  <a:pPr eaLnBrk="1" hangingPunct="1">
                    <a:defRPr/>
                  </a:pPr>
                  <a:endParaRPr lang="zh-CN" altLang="en-US" sz="1050"/>
                </a:p>
              </p:txBody>
            </p:sp>
            <p:sp>
              <p:nvSpPr>
                <p:cNvPr id="5373" name="Freeform 1112"/>
                <p:cNvSpPr>
                  <a:spLocks/>
                </p:cNvSpPr>
                <p:nvPr/>
              </p:nvSpPr>
              <p:spPr bwMode="auto">
                <a:xfrm>
                  <a:off x="11521" y="2203"/>
                  <a:ext cx="17" cy="0"/>
                </a:xfrm>
                <a:custGeom>
                  <a:avLst/>
                  <a:gdLst>
                    <a:gd name="T0" fmla="*/ 0 w 7"/>
                    <a:gd name="T1" fmla="*/ 5 h 5"/>
                    <a:gd name="T2" fmla="*/ 7 w 7"/>
                    <a:gd name="T3" fmla="*/ 0 h 5"/>
                    <a:gd name="T4" fmla="*/ 5 w 7"/>
                    <a:gd name="T5" fmla="*/ 0 h 5"/>
                    <a:gd name="T6" fmla="*/ 0 w 7"/>
                    <a:gd name="T7" fmla="*/ 3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74" name="Freeform 1113"/>
                <p:cNvSpPr>
                  <a:spLocks/>
                </p:cNvSpPr>
                <p:nvPr/>
              </p:nvSpPr>
              <p:spPr bwMode="auto">
                <a:xfrm>
                  <a:off x="11538" y="2212"/>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375" name="Freeform 1114"/>
                <p:cNvSpPr>
                  <a:spLocks/>
                </p:cNvSpPr>
                <p:nvPr/>
              </p:nvSpPr>
              <p:spPr bwMode="auto">
                <a:xfrm>
                  <a:off x="11521" y="2194"/>
                  <a:ext cx="8" cy="0"/>
                </a:xfrm>
                <a:custGeom>
                  <a:avLst/>
                  <a:gdLst>
                    <a:gd name="T0" fmla="*/ 0 w 4"/>
                    <a:gd name="T1" fmla="*/ 5 h 5"/>
                    <a:gd name="T2" fmla="*/ 4 w 4"/>
                    <a:gd name="T3" fmla="*/ 2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76" name="Freeform 1115"/>
                <p:cNvSpPr>
                  <a:spLocks/>
                </p:cNvSpPr>
                <p:nvPr/>
              </p:nvSpPr>
              <p:spPr bwMode="auto">
                <a:xfrm>
                  <a:off x="11538" y="2212"/>
                  <a:ext cx="0" cy="0"/>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77" name="Freeform 1116"/>
                <p:cNvSpPr>
                  <a:spLocks/>
                </p:cNvSpPr>
                <p:nvPr/>
              </p:nvSpPr>
              <p:spPr bwMode="auto">
                <a:xfrm>
                  <a:off x="11530" y="2212"/>
                  <a:ext cx="8" cy="0"/>
                </a:xfrm>
                <a:custGeom>
                  <a:avLst/>
                  <a:gdLst>
                    <a:gd name="T0" fmla="*/ 0 w 7"/>
                    <a:gd name="T1" fmla="*/ 4 h 4"/>
                    <a:gd name="T2" fmla="*/ 7 w 7"/>
                    <a:gd name="T3" fmla="*/ 0 h 4"/>
                    <a:gd name="T4" fmla="*/ 7 w 7"/>
                    <a:gd name="T5" fmla="*/ 0 h 4"/>
                    <a:gd name="T6" fmla="*/ 0 w 7"/>
                    <a:gd name="T7" fmla="*/ 2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7" y="0"/>
                      </a:lnTo>
                      <a:lnTo>
                        <a:pt x="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78" name="Freeform 1117"/>
                <p:cNvSpPr>
                  <a:spLocks/>
                </p:cNvSpPr>
                <p:nvPr/>
              </p:nvSpPr>
              <p:spPr bwMode="auto">
                <a:xfrm>
                  <a:off x="11505" y="2159"/>
                  <a:ext cx="8" cy="9"/>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79" name="Freeform 1118"/>
                <p:cNvSpPr>
                  <a:spLocks/>
                </p:cNvSpPr>
                <p:nvPr/>
              </p:nvSpPr>
              <p:spPr bwMode="auto">
                <a:xfrm>
                  <a:off x="11505" y="2168"/>
                  <a:ext cx="17" cy="9"/>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5380" name="Freeform 1119"/>
                <p:cNvSpPr>
                  <a:spLocks/>
                </p:cNvSpPr>
                <p:nvPr/>
              </p:nvSpPr>
              <p:spPr bwMode="auto">
                <a:xfrm>
                  <a:off x="11513" y="2168"/>
                  <a:ext cx="8" cy="9"/>
                </a:xfrm>
                <a:custGeom>
                  <a:avLst/>
                  <a:gdLst>
                    <a:gd name="T0" fmla="*/ 0 w 7"/>
                    <a:gd name="T1" fmla="*/ 5 h 5"/>
                    <a:gd name="T2" fmla="*/ 7 w 7"/>
                    <a:gd name="T3" fmla="*/ 0 h 5"/>
                    <a:gd name="T4" fmla="*/ 5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81" name="Freeform 1120"/>
                <p:cNvSpPr>
                  <a:spLocks/>
                </p:cNvSpPr>
                <p:nvPr/>
              </p:nvSpPr>
              <p:spPr bwMode="auto">
                <a:xfrm>
                  <a:off x="11513" y="2177"/>
                  <a:ext cx="8" cy="0"/>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82" name="Freeform 1121"/>
                <p:cNvSpPr>
                  <a:spLocks/>
                </p:cNvSpPr>
                <p:nvPr/>
              </p:nvSpPr>
              <p:spPr bwMode="auto">
                <a:xfrm>
                  <a:off x="11521" y="2177"/>
                  <a:ext cx="0"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383" name="Freeform 1122"/>
                <p:cNvSpPr>
                  <a:spLocks/>
                </p:cNvSpPr>
                <p:nvPr/>
              </p:nvSpPr>
              <p:spPr bwMode="auto">
                <a:xfrm>
                  <a:off x="11505" y="2168"/>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384" name="Freeform 1123"/>
                <p:cNvSpPr>
                  <a:spLocks/>
                </p:cNvSpPr>
                <p:nvPr/>
              </p:nvSpPr>
              <p:spPr bwMode="auto">
                <a:xfrm>
                  <a:off x="11521" y="2177"/>
                  <a:ext cx="0" cy="9"/>
                </a:xfrm>
                <a:custGeom>
                  <a:avLst/>
                  <a:gdLst>
                    <a:gd name="T0" fmla="*/ 0 w 8"/>
                    <a:gd name="T1" fmla="*/ 4 h 4"/>
                    <a:gd name="T2" fmla="*/ 8 w 8"/>
                    <a:gd name="T3" fmla="*/ 2 h 4"/>
                    <a:gd name="T4" fmla="*/ 8 w 8"/>
                    <a:gd name="T5" fmla="*/ 0 h 4"/>
                    <a:gd name="T6" fmla="*/ 0 w 8"/>
                    <a:gd name="T7" fmla="*/ 4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lnTo>
                        <a:pt x="8" y="2"/>
                      </a:lnTo>
                      <a:lnTo>
                        <a:pt x="8"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85" name="Freeform 1124"/>
                <p:cNvSpPr>
                  <a:spLocks/>
                </p:cNvSpPr>
                <p:nvPr/>
              </p:nvSpPr>
              <p:spPr bwMode="auto">
                <a:xfrm>
                  <a:off x="11521" y="2186"/>
                  <a:ext cx="0" cy="0"/>
                </a:xfrm>
                <a:custGeom>
                  <a:avLst/>
                  <a:gdLst>
                    <a:gd name="T0" fmla="*/ 0 w 7"/>
                    <a:gd name="T1" fmla="*/ 3 h 3"/>
                    <a:gd name="T2" fmla="*/ 7 w 7"/>
                    <a:gd name="T3" fmla="*/ 0 h 3"/>
                    <a:gd name="T4" fmla="*/ 5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5386" name="Freeform 1125"/>
                <p:cNvSpPr>
                  <a:spLocks/>
                </p:cNvSpPr>
                <p:nvPr/>
              </p:nvSpPr>
              <p:spPr bwMode="auto">
                <a:xfrm>
                  <a:off x="11521" y="2186"/>
                  <a:ext cx="0" cy="9"/>
                </a:xfrm>
                <a:custGeom>
                  <a:avLst/>
                  <a:gdLst>
                    <a:gd name="T0" fmla="*/ 0 w 5"/>
                    <a:gd name="T1" fmla="*/ 4 h 4"/>
                    <a:gd name="T2" fmla="*/ 5 w 5"/>
                    <a:gd name="T3" fmla="*/ 0 h 4"/>
                    <a:gd name="T4" fmla="*/ 5 w 5"/>
                    <a:gd name="T5" fmla="*/ 0 h 4"/>
                    <a:gd name="T6" fmla="*/ 0 w 5"/>
                    <a:gd name="T7" fmla="*/ 2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87" name="Freeform 1126"/>
                <p:cNvSpPr>
                  <a:spLocks/>
                </p:cNvSpPr>
                <p:nvPr/>
              </p:nvSpPr>
              <p:spPr bwMode="auto">
                <a:xfrm>
                  <a:off x="11521" y="2177"/>
                  <a:ext cx="0" cy="9"/>
                </a:xfrm>
                <a:custGeom>
                  <a:avLst/>
                  <a:gdLst>
                    <a:gd name="T0" fmla="*/ 0 w 5"/>
                    <a:gd name="T1" fmla="*/ 5 h 5"/>
                    <a:gd name="T2" fmla="*/ 5 w 5"/>
                    <a:gd name="T3" fmla="*/ 0 h 5"/>
                    <a:gd name="T4" fmla="*/ 5 w 5"/>
                    <a:gd name="T5" fmla="*/ 0 h 5"/>
                    <a:gd name="T6" fmla="*/ 0 w 5"/>
                    <a:gd name="T7" fmla="*/ 3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88" name="Freeform 1127"/>
                <p:cNvSpPr>
                  <a:spLocks/>
                </p:cNvSpPr>
                <p:nvPr/>
              </p:nvSpPr>
              <p:spPr bwMode="auto">
                <a:xfrm>
                  <a:off x="11530" y="2212"/>
                  <a:ext cx="8" cy="0"/>
                </a:xfrm>
                <a:custGeom>
                  <a:avLst/>
                  <a:gdLst>
                    <a:gd name="T0" fmla="*/ 0 w 4"/>
                    <a:gd name="T1" fmla="*/ 3 h 3"/>
                    <a:gd name="T2" fmla="*/ 4 w 4"/>
                    <a:gd name="T3" fmla="*/ 0 h 3"/>
                    <a:gd name="T4" fmla="*/ 4 w 4"/>
                    <a:gd name="T5" fmla="*/ 0 h 3"/>
                    <a:gd name="T6" fmla="*/ 0 w 4"/>
                    <a:gd name="T7" fmla="*/ 3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lnTo>
                        <a:pt x="4" y="0"/>
                      </a:lnTo>
                      <a:lnTo>
                        <a:pt x="4"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5389" name="Freeform 1128"/>
                <p:cNvSpPr>
                  <a:spLocks/>
                </p:cNvSpPr>
                <p:nvPr/>
              </p:nvSpPr>
              <p:spPr bwMode="auto">
                <a:xfrm>
                  <a:off x="11546" y="2255"/>
                  <a:ext cx="33" cy="17"/>
                </a:xfrm>
                <a:custGeom>
                  <a:avLst/>
                  <a:gdLst>
                    <a:gd name="T0" fmla="*/ 0 w 23"/>
                    <a:gd name="T1" fmla="*/ 12 h 12"/>
                    <a:gd name="T2" fmla="*/ 23 w 23"/>
                    <a:gd name="T3" fmla="*/ 0 h 12"/>
                    <a:gd name="T4" fmla="*/ 23 w 23"/>
                    <a:gd name="T5" fmla="*/ 0 h 12"/>
                    <a:gd name="T6" fmla="*/ 0 w 23"/>
                    <a:gd name="T7" fmla="*/ 9 h 12"/>
                    <a:gd name="T8" fmla="*/ 0 w 23"/>
                    <a:gd name="T9" fmla="*/ 12 h 12"/>
                  </a:gdLst>
                  <a:ahLst/>
                  <a:cxnLst>
                    <a:cxn ang="0">
                      <a:pos x="T0" y="T1"/>
                    </a:cxn>
                    <a:cxn ang="0">
                      <a:pos x="T2" y="T3"/>
                    </a:cxn>
                    <a:cxn ang="0">
                      <a:pos x="T4" y="T5"/>
                    </a:cxn>
                    <a:cxn ang="0">
                      <a:pos x="T6" y="T7"/>
                    </a:cxn>
                    <a:cxn ang="0">
                      <a:pos x="T8" y="T9"/>
                    </a:cxn>
                  </a:cxnLst>
                  <a:rect l="0" t="0" r="r" b="b"/>
                  <a:pathLst>
                    <a:path w="23" h="12">
                      <a:moveTo>
                        <a:pt x="0" y="12"/>
                      </a:moveTo>
                      <a:lnTo>
                        <a:pt x="23" y="0"/>
                      </a:lnTo>
                      <a:lnTo>
                        <a:pt x="23"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390" name="Freeform 1129"/>
                <p:cNvSpPr>
                  <a:spLocks/>
                </p:cNvSpPr>
                <p:nvPr/>
              </p:nvSpPr>
              <p:spPr bwMode="auto">
                <a:xfrm>
                  <a:off x="11546" y="2247"/>
                  <a:ext cx="25" cy="17"/>
                </a:xfrm>
                <a:custGeom>
                  <a:avLst/>
                  <a:gdLst>
                    <a:gd name="T0" fmla="*/ 0 w 18"/>
                    <a:gd name="T1" fmla="*/ 10 h 10"/>
                    <a:gd name="T2" fmla="*/ 18 w 18"/>
                    <a:gd name="T3" fmla="*/ 0 h 10"/>
                    <a:gd name="T4" fmla="*/ 16 w 18"/>
                    <a:gd name="T5" fmla="*/ 0 h 10"/>
                    <a:gd name="T6" fmla="*/ 0 w 18"/>
                    <a:gd name="T7" fmla="*/ 7 h 10"/>
                    <a:gd name="T8" fmla="*/ 0 w 18"/>
                    <a:gd name="T9" fmla="*/ 10 h 10"/>
                  </a:gdLst>
                  <a:ahLst/>
                  <a:cxnLst>
                    <a:cxn ang="0">
                      <a:pos x="T0" y="T1"/>
                    </a:cxn>
                    <a:cxn ang="0">
                      <a:pos x="T2" y="T3"/>
                    </a:cxn>
                    <a:cxn ang="0">
                      <a:pos x="T4" y="T5"/>
                    </a:cxn>
                    <a:cxn ang="0">
                      <a:pos x="T6" y="T7"/>
                    </a:cxn>
                    <a:cxn ang="0">
                      <a:pos x="T8" y="T9"/>
                    </a:cxn>
                  </a:cxnLst>
                  <a:rect l="0" t="0" r="r" b="b"/>
                  <a:pathLst>
                    <a:path w="18" h="10">
                      <a:moveTo>
                        <a:pt x="0" y="10"/>
                      </a:moveTo>
                      <a:lnTo>
                        <a:pt x="18" y="0"/>
                      </a:lnTo>
                      <a:lnTo>
                        <a:pt x="16"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391" name="Freeform 1130"/>
                <p:cNvSpPr>
                  <a:spLocks/>
                </p:cNvSpPr>
                <p:nvPr/>
              </p:nvSpPr>
              <p:spPr bwMode="auto">
                <a:xfrm>
                  <a:off x="11546" y="2255"/>
                  <a:ext cx="25" cy="9"/>
                </a:xfrm>
                <a:custGeom>
                  <a:avLst/>
                  <a:gdLst>
                    <a:gd name="T0" fmla="*/ 0 w 21"/>
                    <a:gd name="T1" fmla="*/ 9 h 9"/>
                    <a:gd name="T2" fmla="*/ 21 w 21"/>
                    <a:gd name="T3" fmla="*/ 0 h 9"/>
                    <a:gd name="T4" fmla="*/ 21 w 21"/>
                    <a:gd name="T5" fmla="*/ 0 h 9"/>
                    <a:gd name="T6" fmla="*/ 0 w 21"/>
                    <a:gd name="T7" fmla="*/ 9 h 9"/>
                    <a:gd name="T8" fmla="*/ 0 w 21"/>
                    <a:gd name="T9" fmla="*/ 9 h 9"/>
                  </a:gdLst>
                  <a:ahLst/>
                  <a:cxnLst>
                    <a:cxn ang="0">
                      <a:pos x="T0" y="T1"/>
                    </a:cxn>
                    <a:cxn ang="0">
                      <a:pos x="T2" y="T3"/>
                    </a:cxn>
                    <a:cxn ang="0">
                      <a:pos x="T4" y="T5"/>
                    </a:cxn>
                    <a:cxn ang="0">
                      <a:pos x="T6" y="T7"/>
                    </a:cxn>
                    <a:cxn ang="0">
                      <a:pos x="T8" y="T9"/>
                    </a:cxn>
                  </a:cxnLst>
                  <a:rect l="0" t="0" r="r" b="b"/>
                  <a:pathLst>
                    <a:path w="21" h="9">
                      <a:moveTo>
                        <a:pt x="0" y="9"/>
                      </a:moveTo>
                      <a:lnTo>
                        <a:pt x="21" y="0"/>
                      </a:lnTo>
                      <a:lnTo>
                        <a:pt x="21"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392" name="Freeform 1131"/>
                <p:cNvSpPr>
                  <a:spLocks/>
                </p:cNvSpPr>
                <p:nvPr/>
              </p:nvSpPr>
              <p:spPr bwMode="auto">
                <a:xfrm>
                  <a:off x="11546" y="2247"/>
                  <a:ext cx="25" cy="9"/>
                </a:xfrm>
                <a:custGeom>
                  <a:avLst/>
                  <a:gdLst>
                    <a:gd name="T0" fmla="*/ 0 w 19"/>
                    <a:gd name="T1" fmla="*/ 7 h 7"/>
                    <a:gd name="T2" fmla="*/ 19 w 19"/>
                    <a:gd name="T3" fmla="*/ 0 h 7"/>
                    <a:gd name="T4" fmla="*/ 17 w 19"/>
                    <a:gd name="T5" fmla="*/ 0 h 7"/>
                    <a:gd name="T6" fmla="*/ 0 w 19"/>
                    <a:gd name="T7" fmla="*/ 7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393" name="Freeform 1132"/>
                <p:cNvSpPr>
                  <a:spLocks/>
                </p:cNvSpPr>
                <p:nvPr/>
              </p:nvSpPr>
              <p:spPr bwMode="auto">
                <a:xfrm>
                  <a:off x="11546" y="2264"/>
                  <a:ext cx="33" cy="9"/>
                </a:xfrm>
                <a:custGeom>
                  <a:avLst/>
                  <a:gdLst>
                    <a:gd name="T0" fmla="*/ 0 w 26"/>
                    <a:gd name="T1" fmla="*/ 12 h 12"/>
                    <a:gd name="T2" fmla="*/ 26 w 26"/>
                    <a:gd name="T3" fmla="*/ 0 h 12"/>
                    <a:gd name="T4" fmla="*/ 26 w 26"/>
                    <a:gd name="T5" fmla="*/ 0 h 12"/>
                    <a:gd name="T6" fmla="*/ 0 w 26"/>
                    <a:gd name="T7" fmla="*/ 9 h 12"/>
                    <a:gd name="T8" fmla="*/ 0 w 26"/>
                    <a:gd name="T9" fmla="*/ 12 h 12"/>
                  </a:gdLst>
                  <a:ahLst/>
                  <a:cxnLst>
                    <a:cxn ang="0">
                      <a:pos x="T0" y="T1"/>
                    </a:cxn>
                    <a:cxn ang="0">
                      <a:pos x="T2" y="T3"/>
                    </a:cxn>
                    <a:cxn ang="0">
                      <a:pos x="T4" y="T5"/>
                    </a:cxn>
                    <a:cxn ang="0">
                      <a:pos x="T6" y="T7"/>
                    </a:cxn>
                    <a:cxn ang="0">
                      <a:pos x="T8" y="T9"/>
                    </a:cxn>
                  </a:cxnLst>
                  <a:rect l="0" t="0" r="r" b="b"/>
                  <a:pathLst>
                    <a:path w="26" h="12">
                      <a:moveTo>
                        <a:pt x="0" y="12"/>
                      </a:moveTo>
                      <a:lnTo>
                        <a:pt x="26" y="0"/>
                      </a:lnTo>
                      <a:lnTo>
                        <a:pt x="26"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394" name="Freeform 1133"/>
                <p:cNvSpPr>
                  <a:spLocks/>
                </p:cNvSpPr>
                <p:nvPr/>
              </p:nvSpPr>
              <p:spPr bwMode="auto">
                <a:xfrm>
                  <a:off x="11546" y="2264"/>
                  <a:ext cx="33" cy="9"/>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395" name="Freeform 1134"/>
                <p:cNvSpPr>
                  <a:spLocks/>
                </p:cNvSpPr>
                <p:nvPr/>
              </p:nvSpPr>
              <p:spPr bwMode="auto">
                <a:xfrm>
                  <a:off x="11546" y="2255"/>
                  <a:ext cx="33" cy="17"/>
                </a:xfrm>
                <a:custGeom>
                  <a:avLst/>
                  <a:gdLst>
                    <a:gd name="T0" fmla="*/ 0 w 24"/>
                    <a:gd name="T1" fmla="*/ 12 h 12"/>
                    <a:gd name="T2" fmla="*/ 24 w 24"/>
                    <a:gd name="T3" fmla="*/ 3 h 12"/>
                    <a:gd name="T4" fmla="*/ 24 w 24"/>
                    <a:gd name="T5" fmla="*/ 0 h 12"/>
                    <a:gd name="T6" fmla="*/ 0 w 24"/>
                    <a:gd name="T7" fmla="*/ 12 h 12"/>
                    <a:gd name="T8" fmla="*/ 0 w 24"/>
                    <a:gd name="T9" fmla="*/ 12 h 12"/>
                  </a:gdLst>
                  <a:ahLst/>
                  <a:cxnLst>
                    <a:cxn ang="0">
                      <a:pos x="T0" y="T1"/>
                    </a:cxn>
                    <a:cxn ang="0">
                      <a:pos x="T2" y="T3"/>
                    </a:cxn>
                    <a:cxn ang="0">
                      <a:pos x="T4" y="T5"/>
                    </a:cxn>
                    <a:cxn ang="0">
                      <a:pos x="T6" y="T7"/>
                    </a:cxn>
                    <a:cxn ang="0">
                      <a:pos x="T8" y="T9"/>
                    </a:cxn>
                  </a:cxnLst>
                  <a:rect l="0" t="0" r="r" b="b"/>
                  <a:pathLst>
                    <a:path w="24" h="12">
                      <a:moveTo>
                        <a:pt x="0" y="12"/>
                      </a:moveTo>
                      <a:lnTo>
                        <a:pt x="24" y="3"/>
                      </a:lnTo>
                      <a:lnTo>
                        <a:pt x="24"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396" name="Freeform 1135"/>
                <p:cNvSpPr>
                  <a:spLocks/>
                </p:cNvSpPr>
                <p:nvPr/>
              </p:nvSpPr>
              <p:spPr bwMode="auto">
                <a:xfrm>
                  <a:off x="11546" y="2247"/>
                  <a:ext cx="17" cy="9"/>
                </a:xfrm>
                <a:custGeom>
                  <a:avLst/>
                  <a:gdLst>
                    <a:gd name="T0" fmla="*/ 0 w 14"/>
                    <a:gd name="T1" fmla="*/ 10 h 10"/>
                    <a:gd name="T2" fmla="*/ 14 w 14"/>
                    <a:gd name="T3" fmla="*/ 2 h 10"/>
                    <a:gd name="T4" fmla="*/ 14 w 14"/>
                    <a:gd name="T5" fmla="*/ 0 h 10"/>
                    <a:gd name="T6" fmla="*/ 0 w 14"/>
                    <a:gd name="T7" fmla="*/ 7 h 10"/>
                    <a:gd name="T8" fmla="*/ 0 w 14"/>
                    <a:gd name="T9" fmla="*/ 10 h 10"/>
                  </a:gdLst>
                  <a:ahLst/>
                  <a:cxnLst>
                    <a:cxn ang="0">
                      <a:pos x="T0" y="T1"/>
                    </a:cxn>
                    <a:cxn ang="0">
                      <a:pos x="T2" y="T3"/>
                    </a:cxn>
                    <a:cxn ang="0">
                      <a:pos x="T4" y="T5"/>
                    </a:cxn>
                    <a:cxn ang="0">
                      <a:pos x="T6" y="T7"/>
                    </a:cxn>
                    <a:cxn ang="0">
                      <a:pos x="T8" y="T9"/>
                    </a:cxn>
                  </a:cxnLst>
                  <a:rect l="0" t="0" r="r" b="b"/>
                  <a:pathLst>
                    <a:path w="14" h="10">
                      <a:moveTo>
                        <a:pt x="0" y="10"/>
                      </a:moveTo>
                      <a:lnTo>
                        <a:pt x="14" y="2"/>
                      </a:lnTo>
                      <a:lnTo>
                        <a:pt x="14"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397" name="Freeform 1136"/>
                <p:cNvSpPr>
                  <a:spLocks/>
                </p:cNvSpPr>
                <p:nvPr/>
              </p:nvSpPr>
              <p:spPr bwMode="auto">
                <a:xfrm>
                  <a:off x="11546" y="2238"/>
                  <a:ext cx="8" cy="9"/>
                </a:xfrm>
                <a:custGeom>
                  <a:avLst/>
                  <a:gdLst>
                    <a:gd name="T0" fmla="*/ 0 w 12"/>
                    <a:gd name="T1" fmla="*/ 7 h 7"/>
                    <a:gd name="T2" fmla="*/ 12 w 12"/>
                    <a:gd name="T3" fmla="*/ 0 h 7"/>
                    <a:gd name="T4" fmla="*/ 12 w 12"/>
                    <a:gd name="T5" fmla="*/ 0 h 7"/>
                    <a:gd name="T6" fmla="*/ 0 w 12"/>
                    <a:gd name="T7" fmla="*/ 5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5398" name="Freeform 1137"/>
                <p:cNvSpPr>
                  <a:spLocks/>
                </p:cNvSpPr>
                <p:nvPr/>
              </p:nvSpPr>
              <p:spPr bwMode="auto">
                <a:xfrm>
                  <a:off x="11555" y="2273"/>
                  <a:ext cx="25" cy="9"/>
                </a:xfrm>
                <a:custGeom>
                  <a:avLst/>
                  <a:gdLst>
                    <a:gd name="T0" fmla="*/ 0 w 29"/>
                    <a:gd name="T1" fmla="*/ 14 h 14"/>
                    <a:gd name="T2" fmla="*/ 29 w 29"/>
                    <a:gd name="T3" fmla="*/ 0 h 14"/>
                    <a:gd name="T4" fmla="*/ 29 w 29"/>
                    <a:gd name="T5" fmla="*/ 0 h 14"/>
                    <a:gd name="T6" fmla="*/ 0 w 29"/>
                    <a:gd name="T7" fmla="*/ 12 h 14"/>
                    <a:gd name="T8" fmla="*/ 0 w 29"/>
                    <a:gd name="T9" fmla="*/ 14 h 14"/>
                  </a:gdLst>
                  <a:ahLst/>
                  <a:cxnLst>
                    <a:cxn ang="0">
                      <a:pos x="T0" y="T1"/>
                    </a:cxn>
                    <a:cxn ang="0">
                      <a:pos x="T2" y="T3"/>
                    </a:cxn>
                    <a:cxn ang="0">
                      <a:pos x="T4" y="T5"/>
                    </a:cxn>
                    <a:cxn ang="0">
                      <a:pos x="T6" y="T7"/>
                    </a:cxn>
                    <a:cxn ang="0">
                      <a:pos x="T8" y="T9"/>
                    </a:cxn>
                  </a:cxnLst>
                  <a:rect l="0" t="0" r="r" b="b"/>
                  <a:pathLst>
                    <a:path w="29" h="14">
                      <a:moveTo>
                        <a:pt x="0" y="14"/>
                      </a:moveTo>
                      <a:lnTo>
                        <a:pt x="29" y="0"/>
                      </a:lnTo>
                      <a:lnTo>
                        <a:pt x="29"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5399" name="Freeform 1138"/>
                <p:cNvSpPr>
                  <a:spLocks/>
                </p:cNvSpPr>
                <p:nvPr/>
              </p:nvSpPr>
              <p:spPr bwMode="auto">
                <a:xfrm>
                  <a:off x="11546" y="2247"/>
                  <a:ext cx="17" cy="0"/>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00" name="Freeform 1139"/>
                <p:cNvSpPr>
                  <a:spLocks/>
                </p:cNvSpPr>
                <p:nvPr/>
              </p:nvSpPr>
              <p:spPr bwMode="auto">
                <a:xfrm>
                  <a:off x="11546" y="2229"/>
                  <a:ext cx="0" cy="0"/>
                </a:xfrm>
                <a:custGeom>
                  <a:avLst/>
                  <a:gdLst>
                    <a:gd name="T0" fmla="*/ 2 w 7"/>
                    <a:gd name="T1" fmla="*/ 4 h 4"/>
                    <a:gd name="T2" fmla="*/ 7 w 7"/>
                    <a:gd name="T3" fmla="*/ 0 h 4"/>
                    <a:gd name="T4" fmla="*/ 7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01" name="Freeform 1140"/>
                <p:cNvSpPr>
                  <a:spLocks/>
                </p:cNvSpPr>
                <p:nvPr/>
              </p:nvSpPr>
              <p:spPr bwMode="auto">
                <a:xfrm>
                  <a:off x="11538" y="2220"/>
                  <a:ext cx="8" cy="0"/>
                </a:xfrm>
                <a:custGeom>
                  <a:avLst/>
                  <a:gdLst>
                    <a:gd name="T0" fmla="*/ 0 w 7"/>
                    <a:gd name="T1" fmla="*/ 5 h 5"/>
                    <a:gd name="T2" fmla="*/ 7 w 7"/>
                    <a:gd name="T3" fmla="*/ 3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02" name="Freeform 1141"/>
                <p:cNvSpPr>
                  <a:spLocks/>
                </p:cNvSpPr>
                <p:nvPr/>
              </p:nvSpPr>
              <p:spPr bwMode="auto">
                <a:xfrm>
                  <a:off x="11546" y="2220"/>
                  <a:ext cx="0" cy="9"/>
                </a:xfrm>
                <a:custGeom>
                  <a:avLst/>
                  <a:gdLst>
                    <a:gd name="T0" fmla="*/ 0 w 5"/>
                    <a:gd name="T1" fmla="*/ 3 h 3"/>
                    <a:gd name="T2" fmla="*/ 5 w 5"/>
                    <a:gd name="T3" fmla="*/ 0 h 3"/>
                    <a:gd name="T4" fmla="*/ 5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5403" name="Freeform 1142"/>
                <p:cNvSpPr>
                  <a:spLocks/>
                </p:cNvSpPr>
                <p:nvPr/>
              </p:nvSpPr>
              <p:spPr bwMode="auto">
                <a:xfrm>
                  <a:off x="11546" y="2238"/>
                  <a:ext cx="0" cy="0"/>
                </a:xfrm>
                <a:custGeom>
                  <a:avLst/>
                  <a:gdLst>
                    <a:gd name="T0" fmla="*/ 3 w 10"/>
                    <a:gd name="T1" fmla="*/ 4 h 4"/>
                    <a:gd name="T2" fmla="*/ 10 w 10"/>
                    <a:gd name="T3" fmla="*/ 0 h 4"/>
                    <a:gd name="T4" fmla="*/ 10 w 10"/>
                    <a:gd name="T5" fmla="*/ 0 h 4"/>
                    <a:gd name="T6" fmla="*/ 0 w 10"/>
                    <a:gd name="T7" fmla="*/ 2 h 4"/>
                    <a:gd name="T8" fmla="*/ 3 w 10"/>
                    <a:gd name="T9" fmla="*/ 4 h 4"/>
                  </a:gdLst>
                  <a:ahLst/>
                  <a:cxnLst>
                    <a:cxn ang="0">
                      <a:pos x="T0" y="T1"/>
                    </a:cxn>
                    <a:cxn ang="0">
                      <a:pos x="T2" y="T3"/>
                    </a:cxn>
                    <a:cxn ang="0">
                      <a:pos x="T4" y="T5"/>
                    </a:cxn>
                    <a:cxn ang="0">
                      <a:pos x="T6" y="T7"/>
                    </a:cxn>
                    <a:cxn ang="0">
                      <a:pos x="T8" y="T9"/>
                    </a:cxn>
                  </a:cxnLst>
                  <a:rect l="0" t="0" r="r" b="b"/>
                  <a:pathLst>
                    <a:path w="10" h="4">
                      <a:moveTo>
                        <a:pt x="3" y="4"/>
                      </a:moveTo>
                      <a:lnTo>
                        <a:pt x="10" y="0"/>
                      </a:lnTo>
                      <a:lnTo>
                        <a:pt x="10" y="0"/>
                      </a:lnTo>
                      <a:lnTo>
                        <a:pt x="0" y="2"/>
                      </a:lnTo>
                      <a:lnTo>
                        <a:pt x="3" y="4"/>
                      </a:lnTo>
                      <a:close/>
                    </a:path>
                  </a:pathLst>
                </a:custGeom>
                <a:solidFill>
                  <a:srgbClr val="01AAE5"/>
                </a:solidFill>
                <a:ln>
                  <a:noFill/>
                </a:ln>
                <a:extLst/>
              </p:spPr>
              <p:txBody>
                <a:bodyPr/>
                <a:lstStyle/>
                <a:p>
                  <a:pPr eaLnBrk="1" hangingPunct="1">
                    <a:defRPr/>
                  </a:pPr>
                  <a:endParaRPr lang="zh-CN" altLang="en-US" sz="1050"/>
                </a:p>
              </p:txBody>
            </p:sp>
            <p:sp>
              <p:nvSpPr>
                <p:cNvPr id="5404" name="Freeform 1143"/>
                <p:cNvSpPr>
                  <a:spLocks/>
                </p:cNvSpPr>
                <p:nvPr/>
              </p:nvSpPr>
              <p:spPr bwMode="auto">
                <a:xfrm>
                  <a:off x="11538" y="2212"/>
                  <a:ext cx="8" cy="9"/>
                </a:xfrm>
                <a:custGeom>
                  <a:avLst/>
                  <a:gdLst>
                    <a:gd name="T0" fmla="*/ 3 w 7"/>
                    <a:gd name="T1" fmla="*/ 5 h 5"/>
                    <a:gd name="T2" fmla="*/ 7 w 7"/>
                    <a:gd name="T3" fmla="*/ 0 h 5"/>
                    <a:gd name="T4" fmla="*/ 7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7"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5405" name="Freeform 1144"/>
                <p:cNvSpPr>
                  <a:spLocks/>
                </p:cNvSpPr>
                <p:nvPr/>
              </p:nvSpPr>
              <p:spPr bwMode="auto">
                <a:xfrm>
                  <a:off x="11546" y="2238"/>
                  <a:ext cx="8" cy="9"/>
                </a:xfrm>
                <a:custGeom>
                  <a:avLst/>
                  <a:gdLst>
                    <a:gd name="T0" fmla="*/ 0 w 9"/>
                    <a:gd name="T1" fmla="*/ 5 h 5"/>
                    <a:gd name="T2" fmla="*/ 9 w 9"/>
                    <a:gd name="T3" fmla="*/ 0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0"/>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06" name="Freeform 1145"/>
                <p:cNvSpPr>
                  <a:spLocks/>
                </p:cNvSpPr>
                <p:nvPr/>
              </p:nvSpPr>
              <p:spPr bwMode="auto">
                <a:xfrm>
                  <a:off x="11546" y="2229"/>
                  <a:ext cx="0" cy="9"/>
                </a:xfrm>
                <a:custGeom>
                  <a:avLst/>
                  <a:gdLst>
                    <a:gd name="T0" fmla="*/ 0 w 8"/>
                    <a:gd name="T1" fmla="*/ 5 h 5"/>
                    <a:gd name="T2" fmla="*/ 8 w 8"/>
                    <a:gd name="T3" fmla="*/ 2 h 5"/>
                    <a:gd name="T4" fmla="*/ 8 w 8"/>
                    <a:gd name="T5" fmla="*/ 0 h 5"/>
                    <a:gd name="T6" fmla="*/ 0 w 8"/>
                    <a:gd name="T7" fmla="*/ 5 h 5"/>
                    <a:gd name="T8" fmla="*/ 0 w 8"/>
                    <a:gd name="T9" fmla="*/ 5 h 5"/>
                  </a:gdLst>
                  <a:ahLst/>
                  <a:cxnLst>
                    <a:cxn ang="0">
                      <a:pos x="T0" y="T1"/>
                    </a:cxn>
                    <a:cxn ang="0">
                      <a:pos x="T2" y="T3"/>
                    </a:cxn>
                    <a:cxn ang="0">
                      <a:pos x="T4" y="T5"/>
                    </a:cxn>
                    <a:cxn ang="0">
                      <a:pos x="T6" y="T7"/>
                    </a:cxn>
                    <a:cxn ang="0">
                      <a:pos x="T8" y="T9"/>
                    </a:cxn>
                  </a:cxnLst>
                  <a:rect l="0" t="0" r="r" b="b"/>
                  <a:pathLst>
                    <a:path w="8" h="5">
                      <a:moveTo>
                        <a:pt x="0" y="5"/>
                      </a:moveTo>
                      <a:lnTo>
                        <a:pt x="8" y="2"/>
                      </a:lnTo>
                      <a:lnTo>
                        <a:pt x="8"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07" name="Freeform 1146"/>
                <p:cNvSpPr>
                  <a:spLocks/>
                </p:cNvSpPr>
                <p:nvPr/>
              </p:nvSpPr>
              <p:spPr bwMode="auto">
                <a:xfrm>
                  <a:off x="11455" y="2090"/>
                  <a:ext cx="8"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08" name="Freeform 1147"/>
                <p:cNvSpPr>
                  <a:spLocks/>
                </p:cNvSpPr>
                <p:nvPr/>
              </p:nvSpPr>
              <p:spPr bwMode="auto">
                <a:xfrm>
                  <a:off x="11455" y="2090"/>
                  <a:ext cx="8" cy="9"/>
                </a:xfrm>
                <a:custGeom>
                  <a:avLst/>
                  <a:gdLst>
                    <a:gd name="T0" fmla="*/ 0 w 7"/>
                    <a:gd name="T1" fmla="*/ 8 h 8"/>
                    <a:gd name="T2" fmla="*/ 7 w 7"/>
                    <a:gd name="T3" fmla="*/ 0 h 8"/>
                    <a:gd name="T4" fmla="*/ 7 w 7"/>
                    <a:gd name="T5" fmla="*/ 0 h 8"/>
                    <a:gd name="T6" fmla="*/ 0 w 7"/>
                    <a:gd name="T7" fmla="*/ 8 h 8"/>
                    <a:gd name="T8" fmla="*/ 0 w 7"/>
                    <a:gd name="T9" fmla="*/ 8 h 8"/>
                  </a:gdLst>
                  <a:ahLst/>
                  <a:cxnLst>
                    <a:cxn ang="0">
                      <a:pos x="T0" y="T1"/>
                    </a:cxn>
                    <a:cxn ang="0">
                      <a:pos x="T2" y="T3"/>
                    </a:cxn>
                    <a:cxn ang="0">
                      <a:pos x="T4" y="T5"/>
                    </a:cxn>
                    <a:cxn ang="0">
                      <a:pos x="T6" y="T7"/>
                    </a:cxn>
                    <a:cxn ang="0">
                      <a:pos x="T8" y="T9"/>
                    </a:cxn>
                  </a:cxnLst>
                  <a:rect l="0" t="0" r="r" b="b"/>
                  <a:pathLst>
                    <a:path w="7" h="8">
                      <a:moveTo>
                        <a:pt x="0" y="8"/>
                      </a:moveTo>
                      <a:lnTo>
                        <a:pt x="7" y="0"/>
                      </a:lnTo>
                      <a:lnTo>
                        <a:pt x="7"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5409" name="Freeform 1148"/>
                <p:cNvSpPr>
                  <a:spLocks/>
                </p:cNvSpPr>
                <p:nvPr/>
              </p:nvSpPr>
              <p:spPr bwMode="auto">
                <a:xfrm>
                  <a:off x="11455" y="2090"/>
                  <a:ext cx="8" cy="0"/>
                </a:xfrm>
                <a:custGeom>
                  <a:avLst/>
                  <a:gdLst>
                    <a:gd name="T0" fmla="*/ 0 w 7"/>
                    <a:gd name="T1" fmla="*/ 7 h 7"/>
                    <a:gd name="T2" fmla="*/ 7 w 7"/>
                    <a:gd name="T3" fmla="*/ 0 h 7"/>
                    <a:gd name="T4" fmla="*/ 7 w 7"/>
                    <a:gd name="T5" fmla="*/ 0 h 7"/>
                    <a:gd name="T6" fmla="*/ 0 w 7"/>
                    <a:gd name="T7" fmla="*/ 5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10" name="Freeform 1149"/>
                <p:cNvSpPr>
                  <a:spLocks/>
                </p:cNvSpPr>
                <p:nvPr/>
              </p:nvSpPr>
              <p:spPr bwMode="auto">
                <a:xfrm>
                  <a:off x="11455" y="2090"/>
                  <a:ext cx="17" cy="17"/>
                </a:xfrm>
                <a:custGeom>
                  <a:avLst/>
                  <a:gdLst>
                    <a:gd name="T0" fmla="*/ 2 w 12"/>
                    <a:gd name="T1" fmla="*/ 10 h 10"/>
                    <a:gd name="T2" fmla="*/ 12 w 12"/>
                    <a:gd name="T3" fmla="*/ 0 h 10"/>
                    <a:gd name="T4" fmla="*/ 9 w 12"/>
                    <a:gd name="T5" fmla="*/ 0 h 10"/>
                    <a:gd name="T6" fmla="*/ 0 w 12"/>
                    <a:gd name="T7" fmla="*/ 7 h 10"/>
                    <a:gd name="T8" fmla="*/ 2 w 12"/>
                    <a:gd name="T9" fmla="*/ 10 h 10"/>
                  </a:gdLst>
                  <a:ahLst/>
                  <a:cxnLst>
                    <a:cxn ang="0">
                      <a:pos x="T0" y="T1"/>
                    </a:cxn>
                    <a:cxn ang="0">
                      <a:pos x="T2" y="T3"/>
                    </a:cxn>
                    <a:cxn ang="0">
                      <a:pos x="T4" y="T5"/>
                    </a:cxn>
                    <a:cxn ang="0">
                      <a:pos x="T6" y="T7"/>
                    </a:cxn>
                    <a:cxn ang="0">
                      <a:pos x="T8" y="T9"/>
                    </a:cxn>
                  </a:cxnLst>
                  <a:rect l="0" t="0" r="r" b="b"/>
                  <a:pathLst>
                    <a:path w="12" h="10">
                      <a:moveTo>
                        <a:pt x="2" y="10"/>
                      </a:moveTo>
                      <a:lnTo>
                        <a:pt x="12" y="0"/>
                      </a:lnTo>
                      <a:lnTo>
                        <a:pt x="9" y="0"/>
                      </a:lnTo>
                      <a:lnTo>
                        <a:pt x="0" y="7"/>
                      </a:lnTo>
                      <a:lnTo>
                        <a:pt x="2" y="10"/>
                      </a:lnTo>
                      <a:close/>
                    </a:path>
                  </a:pathLst>
                </a:custGeom>
                <a:solidFill>
                  <a:srgbClr val="01AAE5"/>
                </a:solidFill>
                <a:ln>
                  <a:noFill/>
                </a:ln>
                <a:extLst/>
              </p:spPr>
              <p:txBody>
                <a:bodyPr/>
                <a:lstStyle/>
                <a:p>
                  <a:pPr eaLnBrk="1" hangingPunct="1">
                    <a:defRPr/>
                  </a:pPr>
                  <a:endParaRPr lang="zh-CN" altLang="en-US" sz="1050"/>
                </a:p>
              </p:txBody>
            </p:sp>
            <p:sp>
              <p:nvSpPr>
                <p:cNvPr id="5411" name="Freeform 1150"/>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412" name="Freeform 1151"/>
                <p:cNvSpPr>
                  <a:spLocks/>
                </p:cNvSpPr>
                <p:nvPr/>
              </p:nvSpPr>
              <p:spPr bwMode="auto">
                <a:xfrm>
                  <a:off x="11463" y="2099"/>
                  <a:ext cx="17" cy="17"/>
                </a:xfrm>
                <a:custGeom>
                  <a:avLst/>
                  <a:gdLst>
                    <a:gd name="T0" fmla="*/ 2 w 16"/>
                    <a:gd name="T1" fmla="*/ 12 h 12"/>
                    <a:gd name="T2" fmla="*/ 16 w 16"/>
                    <a:gd name="T3" fmla="*/ 0 h 12"/>
                    <a:gd name="T4" fmla="*/ 14 w 16"/>
                    <a:gd name="T5" fmla="*/ 0 h 12"/>
                    <a:gd name="T6" fmla="*/ 0 w 16"/>
                    <a:gd name="T7" fmla="*/ 10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0"/>
                      </a:lnTo>
                      <a:lnTo>
                        <a:pt x="14" y="0"/>
                      </a:lnTo>
                      <a:lnTo>
                        <a:pt x="0" y="10"/>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413" name="Freeform 1152"/>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414" name="Freeform 1153"/>
                <p:cNvSpPr>
                  <a:spLocks/>
                </p:cNvSpPr>
                <p:nvPr/>
              </p:nvSpPr>
              <p:spPr bwMode="auto">
                <a:xfrm>
                  <a:off x="11447" y="2090"/>
                  <a:ext cx="8" cy="0"/>
                </a:xfrm>
                <a:custGeom>
                  <a:avLst/>
                  <a:gdLst>
                    <a:gd name="T0" fmla="*/ 2 w 7"/>
                    <a:gd name="T1" fmla="*/ 4 h 4"/>
                    <a:gd name="T2" fmla="*/ 7 w 7"/>
                    <a:gd name="T3" fmla="*/ 0 h 4"/>
                    <a:gd name="T4" fmla="*/ 7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15" name="Freeform 1154"/>
                <p:cNvSpPr>
                  <a:spLocks/>
                </p:cNvSpPr>
                <p:nvPr/>
              </p:nvSpPr>
              <p:spPr bwMode="auto">
                <a:xfrm>
                  <a:off x="11447" y="2081"/>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416" name="Freeform 1155"/>
                <p:cNvSpPr>
                  <a:spLocks/>
                </p:cNvSpPr>
                <p:nvPr/>
              </p:nvSpPr>
              <p:spPr bwMode="auto">
                <a:xfrm>
                  <a:off x="11438" y="2072"/>
                  <a:ext cx="8" cy="0"/>
                </a:xfrm>
                <a:custGeom>
                  <a:avLst/>
                  <a:gdLst>
                    <a:gd name="T0" fmla="*/ 2 w 7"/>
                    <a:gd name="T1" fmla="*/ 4 h 4"/>
                    <a:gd name="T2" fmla="*/ 7 w 7"/>
                    <a:gd name="T3" fmla="*/ 2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17" name="Freeform 1156"/>
                <p:cNvSpPr>
                  <a:spLocks/>
                </p:cNvSpPr>
                <p:nvPr/>
              </p:nvSpPr>
              <p:spPr bwMode="auto">
                <a:xfrm>
                  <a:off x="11438" y="2064"/>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418" name="Freeform 1157"/>
                <p:cNvSpPr>
                  <a:spLocks/>
                </p:cNvSpPr>
                <p:nvPr/>
              </p:nvSpPr>
              <p:spPr bwMode="auto">
                <a:xfrm>
                  <a:off x="11438" y="2064"/>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419" name="Freeform 1158"/>
                <p:cNvSpPr>
                  <a:spLocks/>
                </p:cNvSpPr>
                <p:nvPr/>
              </p:nvSpPr>
              <p:spPr bwMode="auto">
                <a:xfrm>
                  <a:off x="11430" y="2064"/>
                  <a:ext cx="8" cy="0"/>
                </a:xfrm>
                <a:custGeom>
                  <a:avLst/>
                  <a:gdLst>
                    <a:gd name="T0" fmla="*/ 2 w 7"/>
                    <a:gd name="T1" fmla="*/ 4 h 4"/>
                    <a:gd name="T2" fmla="*/ 7 w 7"/>
                    <a:gd name="T3" fmla="*/ 0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20" name="Freeform 1159"/>
                <p:cNvSpPr>
                  <a:spLocks/>
                </p:cNvSpPr>
                <p:nvPr/>
              </p:nvSpPr>
              <p:spPr bwMode="auto">
                <a:xfrm>
                  <a:off x="11447" y="2072"/>
                  <a:ext cx="0" cy="9"/>
                </a:xfrm>
                <a:custGeom>
                  <a:avLst/>
                  <a:gdLst>
                    <a:gd name="T0" fmla="*/ 3 w 8"/>
                    <a:gd name="T1" fmla="*/ 5 h 5"/>
                    <a:gd name="T2" fmla="*/ 8 w 8"/>
                    <a:gd name="T3" fmla="*/ 0 h 5"/>
                    <a:gd name="T4" fmla="*/ 5 w 8"/>
                    <a:gd name="T5" fmla="*/ 0 h 5"/>
                    <a:gd name="T6" fmla="*/ 0 w 8"/>
                    <a:gd name="T7" fmla="*/ 3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0"/>
                      </a:lnTo>
                      <a:lnTo>
                        <a:pt x="5" y="0"/>
                      </a:lnTo>
                      <a:lnTo>
                        <a:pt x="0" y="3"/>
                      </a:lnTo>
                      <a:lnTo>
                        <a:pt x="3" y="5"/>
                      </a:lnTo>
                      <a:close/>
                    </a:path>
                  </a:pathLst>
                </a:custGeom>
                <a:solidFill>
                  <a:srgbClr val="01AAE5"/>
                </a:solidFill>
                <a:ln>
                  <a:noFill/>
                </a:ln>
                <a:extLst/>
              </p:spPr>
              <p:txBody>
                <a:bodyPr/>
                <a:lstStyle/>
                <a:p>
                  <a:pPr eaLnBrk="1" hangingPunct="1">
                    <a:defRPr/>
                  </a:pPr>
                  <a:endParaRPr lang="zh-CN" altLang="en-US" sz="1050"/>
                </a:p>
              </p:txBody>
            </p:sp>
            <p:sp>
              <p:nvSpPr>
                <p:cNvPr id="5421" name="Freeform 1160"/>
                <p:cNvSpPr>
                  <a:spLocks/>
                </p:cNvSpPr>
                <p:nvPr/>
              </p:nvSpPr>
              <p:spPr bwMode="auto">
                <a:xfrm>
                  <a:off x="11447" y="2081"/>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422" name="Freeform 1161"/>
                <p:cNvSpPr>
                  <a:spLocks/>
                </p:cNvSpPr>
                <p:nvPr/>
              </p:nvSpPr>
              <p:spPr bwMode="auto">
                <a:xfrm>
                  <a:off x="11463" y="2107"/>
                  <a:ext cx="17" cy="9"/>
                </a:xfrm>
                <a:custGeom>
                  <a:avLst/>
                  <a:gdLst>
                    <a:gd name="T0" fmla="*/ 0 w 17"/>
                    <a:gd name="T1" fmla="*/ 11 h 11"/>
                    <a:gd name="T2" fmla="*/ 17 w 17"/>
                    <a:gd name="T3" fmla="*/ 0 h 11"/>
                    <a:gd name="T4" fmla="*/ 14 w 17"/>
                    <a:gd name="T5" fmla="*/ 0 h 11"/>
                    <a:gd name="T6" fmla="*/ 0 w 17"/>
                    <a:gd name="T7" fmla="*/ 11 h 11"/>
                    <a:gd name="T8" fmla="*/ 0 w 17"/>
                    <a:gd name="T9" fmla="*/ 11 h 11"/>
                  </a:gdLst>
                  <a:ahLst/>
                  <a:cxnLst>
                    <a:cxn ang="0">
                      <a:pos x="T0" y="T1"/>
                    </a:cxn>
                    <a:cxn ang="0">
                      <a:pos x="T2" y="T3"/>
                    </a:cxn>
                    <a:cxn ang="0">
                      <a:pos x="T4" y="T5"/>
                    </a:cxn>
                    <a:cxn ang="0">
                      <a:pos x="T6" y="T7"/>
                    </a:cxn>
                    <a:cxn ang="0">
                      <a:pos x="T8" y="T9"/>
                    </a:cxn>
                  </a:cxnLst>
                  <a:rect l="0" t="0" r="r" b="b"/>
                  <a:pathLst>
                    <a:path w="17" h="11">
                      <a:moveTo>
                        <a:pt x="0" y="11"/>
                      </a:moveTo>
                      <a:lnTo>
                        <a:pt x="17" y="0"/>
                      </a:lnTo>
                      <a:lnTo>
                        <a:pt x="14" y="0"/>
                      </a:lnTo>
                      <a:lnTo>
                        <a:pt x="0" y="11"/>
                      </a:lnTo>
                      <a:lnTo>
                        <a:pt x="0" y="11"/>
                      </a:lnTo>
                      <a:close/>
                    </a:path>
                  </a:pathLst>
                </a:custGeom>
                <a:solidFill>
                  <a:srgbClr val="01AAE5"/>
                </a:solidFill>
                <a:ln>
                  <a:noFill/>
                </a:ln>
                <a:extLst/>
              </p:spPr>
              <p:txBody>
                <a:bodyPr/>
                <a:lstStyle/>
                <a:p>
                  <a:pPr eaLnBrk="1" hangingPunct="1">
                    <a:defRPr/>
                  </a:pPr>
                  <a:endParaRPr lang="zh-CN" altLang="en-US" sz="1050"/>
                </a:p>
              </p:txBody>
            </p:sp>
            <p:sp>
              <p:nvSpPr>
                <p:cNvPr id="5423" name="Freeform 1162"/>
                <p:cNvSpPr>
                  <a:spLocks/>
                </p:cNvSpPr>
                <p:nvPr/>
              </p:nvSpPr>
              <p:spPr bwMode="auto">
                <a:xfrm>
                  <a:off x="11447" y="2081"/>
                  <a:ext cx="0" cy="0"/>
                </a:xfrm>
                <a:custGeom>
                  <a:avLst/>
                  <a:gdLst>
                    <a:gd name="T0" fmla="*/ 2 w 7"/>
                    <a:gd name="T1" fmla="*/ 4 h 4"/>
                    <a:gd name="T2" fmla="*/ 7 w 7"/>
                    <a:gd name="T3" fmla="*/ 0 h 4"/>
                    <a:gd name="T4" fmla="*/ 5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24" name="Freeform 1163"/>
                <p:cNvSpPr>
                  <a:spLocks/>
                </p:cNvSpPr>
                <p:nvPr/>
              </p:nvSpPr>
              <p:spPr bwMode="auto">
                <a:xfrm>
                  <a:off x="11472" y="2116"/>
                  <a:ext cx="25" cy="17"/>
                </a:xfrm>
                <a:custGeom>
                  <a:avLst/>
                  <a:gdLst>
                    <a:gd name="T0" fmla="*/ 2 w 16"/>
                    <a:gd name="T1" fmla="*/ 12 h 12"/>
                    <a:gd name="T2" fmla="*/ 16 w 16"/>
                    <a:gd name="T3" fmla="*/ 3 h 12"/>
                    <a:gd name="T4" fmla="*/ 16 w 16"/>
                    <a:gd name="T5" fmla="*/ 0 h 12"/>
                    <a:gd name="T6" fmla="*/ 0 w 16"/>
                    <a:gd name="T7" fmla="*/ 12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3"/>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425" name="Freeform 1164"/>
                <p:cNvSpPr>
                  <a:spLocks/>
                </p:cNvSpPr>
                <p:nvPr/>
              </p:nvSpPr>
              <p:spPr bwMode="auto">
                <a:xfrm>
                  <a:off x="11496" y="2142"/>
                  <a:ext cx="0" cy="9"/>
                </a:xfrm>
                <a:custGeom>
                  <a:avLst/>
                  <a:gdLst>
                    <a:gd name="T0" fmla="*/ 3 w 8"/>
                    <a:gd name="T1" fmla="*/ 5 h 5"/>
                    <a:gd name="T2" fmla="*/ 8 w 8"/>
                    <a:gd name="T3" fmla="*/ 3 h 5"/>
                    <a:gd name="T4" fmla="*/ 8 w 8"/>
                    <a:gd name="T5" fmla="*/ 0 h 5"/>
                    <a:gd name="T6" fmla="*/ 0 w 8"/>
                    <a:gd name="T7" fmla="*/ 5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3"/>
                      </a:lnTo>
                      <a:lnTo>
                        <a:pt x="8"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426" name="Freeform 1165"/>
                <p:cNvSpPr>
                  <a:spLocks/>
                </p:cNvSpPr>
                <p:nvPr/>
              </p:nvSpPr>
              <p:spPr bwMode="auto">
                <a:xfrm>
                  <a:off x="11496" y="2151"/>
                  <a:ext cx="0" cy="0"/>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5427" name="Freeform 1166"/>
                <p:cNvSpPr>
                  <a:spLocks/>
                </p:cNvSpPr>
                <p:nvPr/>
              </p:nvSpPr>
              <p:spPr bwMode="auto">
                <a:xfrm>
                  <a:off x="11472" y="2107"/>
                  <a:ext cx="8" cy="9"/>
                </a:xfrm>
                <a:custGeom>
                  <a:avLst/>
                  <a:gdLst>
                    <a:gd name="T0" fmla="*/ 0 w 17"/>
                    <a:gd name="T1" fmla="*/ 12 h 12"/>
                    <a:gd name="T2" fmla="*/ 17 w 17"/>
                    <a:gd name="T3" fmla="*/ 0 h 12"/>
                    <a:gd name="T4" fmla="*/ 17 w 17"/>
                    <a:gd name="T5" fmla="*/ 0 h 12"/>
                    <a:gd name="T6" fmla="*/ 0 w 17"/>
                    <a:gd name="T7" fmla="*/ 12 h 12"/>
                    <a:gd name="T8" fmla="*/ 0 w 17"/>
                    <a:gd name="T9" fmla="*/ 12 h 12"/>
                  </a:gdLst>
                  <a:ahLst/>
                  <a:cxnLst>
                    <a:cxn ang="0">
                      <a:pos x="T0" y="T1"/>
                    </a:cxn>
                    <a:cxn ang="0">
                      <a:pos x="T2" y="T3"/>
                    </a:cxn>
                    <a:cxn ang="0">
                      <a:pos x="T4" y="T5"/>
                    </a:cxn>
                    <a:cxn ang="0">
                      <a:pos x="T6" y="T7"/>
                    </a:cxn>
                    <a:cxn ang="0">
                      <a:pos x="T8" y="T9"/>
                    </a:cxn>
                  </a:cxnLst>
                  <a:rect l="0" t="0" r="r" b="b"/>
                  <a:pathLst>
                    <a:path w="17" h="12">
                      <a:moveTo>
                        <a:pt x="0" y="12"/>
                      </a:moveTo>
                      <a:lnTo>
                        <a:pt x="17" y="0"/>
                      </a:lnTo>
                      <a:lnTo>
                        <a:pt x="1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428" name="Freeform 1167"/>
                <p:cNvSpPr>
                  <a:spLocks/>
                </p:cNvSpPr>
                <p:nvPr/>
              </p:nvSpPr>
              <p:spPr bwMode="auto">
                <a:xfrm>
                  <a:off x="11488" y="2133"/>
                  <a:ext cx="8" cy="9"/>
                </a:xfrm>
                <a:custGeom>
                  <a:avLst/>
                  <a:gdLst>
                    <a:gd name="T0" fmla="*/ 0 w 9"/>
                    <a:gd name="T1" fmla="*/ 7 h 7"/>
                    <a:gd name="T2" fmla="*/ 9 w 9"/>
                    <a:gd name="T3" fmla="*/ 3 h 7"/>
                    <a:gd name="T4" fmla="*/ 9 w 9"/>
                    <a:gd name="T5" fmla="*/ 0 h 7"/>
                    <a:gd name="T6" fmla="*/ 0 w 9"/>
                    <a:gd name="T7" fmla="*/ 7 h 7"/>
                    <a:gd name="T8" fmla="*/ 0 w 9"/>
                    <a:gd name="T9" fmla="*/ 7 h 7"/>
                  </a:gdLst>
                  <a:ahLst/>
                  <a:cxnLst>
                    <a:cxn ang="0">
                      <a:pos x="T0" y="T1"/>
                    </a:cxn>
                    <a:cxn ang="0">
                      <a:pos x="T2" y="T3"/>
                    </a:cxn>
                    <a:cxn ang="0">
                      <a:pos x="T4" y="T5"/>
                    </a:cxn>
                    <a:cxn ang="0">
                      <a:pos x="T6" y="T7"/>
                    </a:cxn>
                    <a:cxn ang="0">
                      <a:pos x="T8" y="T9"/>
                    </a:cxn>
                  </a:cxnLst>
                  <a:rect l="0" t="0" r="r" b="b"/>
                  <a:pathLst>
                    <a:path w="9" h="7">
                      <a:moveTo>
                        <a:pt x="0" y="7"/>
                      </a:moveTo>
                      <a:lnTo>
                        <a:pt x="9" y="3"/>
                      </a:lnTo>
                      <a:lnTo>
                        <a:pt x="9"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29" name="Freeform 1168"/>
                <p:cNvSpPr>
                  <a:spLocks/>
                </p:cNvSpPr>
                <p:nvPr/>
              </p:nvSpPr>
              <p:spPr bwMode="auto">
                <a:xfrm>
                  <a:off x="11496" y="2151"/>
                  <a:ext cx="8"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30" name="Freeform 1169"/>
                <p:cNvSpPr>
                  <a:spLocks/>
                </p:cNvSpPr>
                <p:nvPr/>
              </p:nvSpPr>
              <p:spPr bwMode="auto">
                <a:xfrm>
                  <a:off x="11496" y="2151"/>
                  <a:ext cx="8" cy="0"/>
                </a:xfrm>
                <a:custGeom>
                  <a:avLst/>
                  <a:gdLst>
                    <a:gd name="T0" fmla="*/ 3 w 7"/>
                    <a:gd name="T1" fmla="*/ 4 h 4"/>
                    <a:gd name="T2" fmla="*/ 7 w 7"/>
                    <a:gd name="T3" fmla="*/ 0 h 4"/>
                    <a:gd name="T4" fmla="*/ 7 w 7"/>
                    <a:gd name="T5" fmla="*/ 0 h 4"/>
                    <a:gd name="T6" fmla="*/ 0 w 7"/>
                    <a:gd name="T7" fmla="*/ 4 h 4"/>
                    <a:gd name="T8" fmla="*/ 3 w 7"/>
                    <a:gd name="T9" fmla="*/ 4 h 4"/>
                  </a:gdLst>
                  <a:ahLst/>
                  <a:cxnLst>
                    <a:cxn ang="0">
                      <a:pos x="T0" y="T1"/>
                    </a:cxn>
                    <a:cxn ang="0">
                      <a:pos x="T2" y="T3"/>
                    </a:cxn>
                    <a:cxn ang="0">
                      <a:pos x="T4" y="T5"/>
                    </a:cxn>
                    <a:cxn ang="0">
                      <a:pos x="T6" y="T7"/>
                    </a:cxn>
                    <a:cxn ang="0">
                      <a:pos x="T8" y="T9"/>
                    </a:cxn>
                  </a:cxnLst>
                  <a:rect l="0" t="0" r="r" b="b"/>
                  <a:pathLst>
                    <a:path w="7" h="4">
                      <a:moveTo>
                        <a:pt x="3" y="4"/>
                      </a:moveTo>
                      <a:lnTo>
                        <a:pt x="7" y="0"/>
                      </a:lnTo>
                      <a:lnTo>
                        <a:pt x="7" y="0"/>
                      </a:lnTo>
                      <a:lnTo>
                        <a:pt x="0" y="4"/>
                      </a:lnTo>
                      <a:lnTo>
                        <a:pt x="3" y="4"/>
                      </a:lnTo>
                      <a:close/>
                    </a:path>
                  </a:pathLst>
                </a:custGeom>
                <a:solidFill>
                  <a:srgbClr val="01AAE5"/>
                </a:solidFill>
                <a:ln>
                  <a:noFill/>
                </a:ln>
                <a:extLst/>
              </p:spPr>
              <p:txBody>
                <a:bodyPr/>
                <a:lstStyle/>
                <a:p>
                  <a:pPr eaLnBrk="1" hangingPunct="1">
                    <a:defRPr/>
                  </a:pPr>
                  <a:endParaRPr lang="zh-CN" altLang="en-US" sz="1050"/>
                </a:p>
              </p:txBody>
            </p:sp>
            <p:sp>
              <p:nvSpPr>
                <p:cNvPr id="5431" name="Freeform 1170"/>
                <p:cNvSpPr>
                  <a:spLocks/>
                </p:cNvSpPr>
                <p:nvPr/>
              </p:nvSpPr>
              <p:spPr bwMode="auto">
                <a:xfrm>
                  <a:off x="11488" y="2133"/>
                  <a:ext cx="8" cy="9"/>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32" name="Freeform 1171"/>
                <p:cNvSpPr>
                  <a:spLocks/>
                </p:cNvSpPr>
                <p:nvPr/>
              </p:nvSpPr>
              <p:spPr bwMode="auto">
                <a:xfrm>
                  <a:off x="11496" y="2151"/>
                  <a:ext cx="8" cy="0"/>
                </a:xfrm>
                <a:custGeom>
                  <a:avLst/>
                  <a:gdLst>
                    <a:gd name="T0" fmla="*/ 0 w 7"/>
                    <a:gd name="T1" fmla="*/ 5 h 5"/>
                    <a:gd name="T2" fmla="*/ 7 w 7"/>
                    <a:gd name="T3" fmla="*/ 2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33" name="Freeform 1172"/>
                <p:cNvSpPr>
                  <a:spLocks/>
                </p:cNvSpPr>
                <p:nvPr/>
              </p:nvSpPr>
              <p:spPr bwMode="auto">
                <a:xfrm>
                  <a:off x="11496" y="2142"/>
                  <a:ext cx="0" cy="9"/>
                </a:xfrm>
                <a:custGeom>
                  <a:avLst/>
                  <a:gdLst>
                    <a:gd name="T0" fmla="*/ 2 w 10"/>
                    <a:gd name="T1" fmla="*/ 5 h 5"/>
                    <a:gd name="T2" fmla="*/ 10 w 10"/>
                    <a:gd name="T3" fmla="*/ 0 h 5"/>
                    <a:gd name="T4" fmla="*/ 10 w 10"/>
                    <a:gd name="T5" fmla="*/ 0 h 5"/>
                    <a:gd name="T6" fmla="*/ 0 w 10"/>
                    <a:gd name="T7" fmla="*/ 5 h 5"/>
                    <a:gd name="T8" fmla="*/ 2 w 10"/>
                    <a:gd name="T9" fmla="*/ 5 h 5"/>
                  </a:gdLst>
                  <a:ahLst/>
                  <a:cxnLst>
                    <a:cxn ang="0">
                      <a:pos x="T0" y="T1"/>
                    </a:cxn>
                    <a:cxn ang="0">
                      <a:pos x="T2" y="T3"/>
                    </a:cxn>
                    <a:cxn ang="0">
                      <a:pos x="T4" y="T5"/>
                    </a:cxn>
                    <a:cxn ang="0">
                      <a:pos x="T6" y="T7"/>
                    </a:cxn>
                    <a:cxn ang="0">
                      <a:pos x="T8" y="T9"/>
                    </a:cxn>
                  </a:cxnLst>
                  <a:rect l="0" t="0" r="r" b="b"/>
                  <a:pathLst>
                    <a:path w="10" h="5">
                      <a:moveTo>
                        <a:pt x="2" y="5"/>
                      </a:moveTo>
                      <a:lnTo>
                        <a:pt x="10" y="0"/>
                      </a:lnTo>
                      <a:lnTo>
                        <a:pt x="10"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434" name="Freeform 1173"/>
                <p:cNvSpPr>
                  <a:spLocks/>
                </p:cNvSpPr>
                <p:nvPr/>
              </p:nvSpPr>
              <p:spPr bwMode="auto">
                <a:xfrm>
                  <a:off x="11472" y="2116"/>
                  <a:ext cx="17" cy="9"/>
                </a:xfrm>
                <a:custGeom>
                  <a:avLst/>
                  <a:gdLst>
                    <a:gd name="T0" fmla="*/ 2 w 19"/>
                    <a:gd name="T1" fmla="*/ 14 h 14"/>
                    <a:gd name="T2" fmla="*/ 19 w 19"/>
                    <a:gd name="T3" fmla="*/ 2 h 14"/>
                    <a:gd name="T4" fmla="*/ 19 w 19"/>
                    <a:gd name="T5" fmla="*/ 0 h 14"/>
                    <a:gd name="T6" fmla="*/ 0 w 19"/>
                    <a:gd name="T7" fmla="*/ 14 h 14"/>
                    <a:gd name="T8" fmla="*/ 2 w 19"/>
                    <a:gd name="T9" fmla="*/ 14 h 14"/>
                  </a:gdLst>
                  <a:ahLst/>
                  <a:cxnLst>
                    <a:cxn ang="0">
                      <a:pos x="T0" y="T1"/>
                    </a:cxn>
                    <a:cxn ang="0">
                      <a:pos x="T2" y="T3"/>
                    </a:cxn>
                    <a:cxn ang="0">
                      <a:pos x="T4" y="T5"/>
                    </a:cxn>
                    <a:cxn ang="0">
                      <a:pos x="T6" y="T7"/>
                    </a:cxn>
                    <a:cxn ang="0">
                      <a:pos x="T8" y="T9"/>
                    </a:cxn>
                  </a:cxnLst>
                  <a:rect l="0" t="0" r="r" b="b"/>
                  <a:pathLst>
                    <a:path w="19" h="14">
                      <a:moveTo>
                        <a:pt x="2" y="14"/>
                      </a:moveTo>
                      <a:lnTo>
                        <a:pt x="19" y="2"/>
                      </a:lnTo>
                      <a:lnTo>
                        <a:pt x="19" y="0"/>
                      </a:lnTo>
                      <a:lnTo>
                        <a:pt x="0"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5435" name="Freeform 1174"/>
                <p:cNvSpPr>
                  <a:spLocks/>
                </p:cNvSpPr>
                <p:nvPr/>
              </p:nvSpPr>
              <p:spPr bwMode="auto">
                <a:xfrm>
                  <a:off x="11472" y="2116"/>
                  <a:ext cx="25" cy="9"/>
                </a:xfrm>
                <a:custGeom>
                  <a:avLst/>
                  <a:gdLst>
                    <a:gd name="T0" fmla="*/ 3 w 19"/>
                    <a:gd name="T1" fmla="*/ 14 h 14"/>
                    <a:gd name="T2" fmla="*/ 19 w 19"/>
                    <a:gd name="T3" fmla="*/ 2 h 14"/>
                    <a:gd name="T4" fmla="*/ 19 w 19"/>
                    <a:gd name="T5" fmla="*/ 0 h 14"/>
                    <a:gd name="T6" fmla="*/ 0 w 19"/>
                    <a:gd name="T7" fmla="*/ 14 h 14"/>
                    <a:gd name="T8" fmla="*/ 3 w 19"/>
                    <a:gd name="T9" fmla="*/ 14 h 14"/>
                  </a:gdLst>
                  <a:ahLst/>
                  <a:cxnLst>
                    <a:cxn ang="0">
                      <a:pos x="T0" y="T1"/>
                    </a:cxn>
                    <a:cxn ang="0">
                      <a:pos x="T2" y="T3"/>
                    </a:cxn>
                    <a:cxn ang="0">
                      <a:pos x="T4" y="T5"/>
                    </a:cxn>
                    <a:cxn ang="0">
                      <a:pos x="T6" y="T7"/>
                    </a:cxn>
                    <a:cxn ang="0">
                      <a:pos x="T8" y="T9"/>
                    </a:cxn>
                  </a:cxnLst>
                  <a:rect l="0" t="0" r="r" b="b"/>
                  <a:pathLst>
                    <a:path w="19" h="14">
                      <a:moveTo>
                        <a:pt x="3" y="14"/>
                      </a:moveTo>
                      <a:lnTo>
                        <a:pt x="19" y="2"/>
                      </a:lnTo>
                      <a:lnTo>
                        <a:pt x="19"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5436" name="Freeform 1175"/>
                <p:cNvSpPr>
                  <a:spLocks/>
                </p:cNvSpPr>
                <p:nvPr/>
              </p:nvSpPr>
              <p:spPr bwMode="auto">
                <a:xfrm>
                  <a:off x="11430" y="2055"/>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437" name="Freeform 1176"/>
                <p:cNvSpPr>
                  <a:spLocks/>
                </p:cNvSpPr>
                <p:nvPr/>
              </p:nvSpPr>
              <p:spPr bwMode="auto">
                <a:xfrm>
                  <a:off x="11480" y="2125"/>
                  <a:ext cx="17" cy="17"/>
                </a:xfrm>
                <a:custGeom>
                  <a:avLst/>
                  <a:gdLst>
                    <a:gd name="T0" fmla="*/ 0 w 12"/>
                    <a:gd name="T1" fmla="*/ 10 h 10"/>
                    <a:gd name="T2" fmla="*/ 12 w 12"/>
                    <a:gd name="T3" fmla="*/ 3 h 10"/>
                    <a:gd name="T4" fmla="*/ 12 w 12"/>
                    <a:gd name="T5" fmla="*/ 0 h 10"/>
                    <a:gd name="T6" fmla="*/ 0 w 12"/>
                    <a:gd name="T7" fmla="*/ 10 h 10"/>
                    <a:gd name="T8" fmla="*/ 0 w 12"/>
                    <a:gd name="T9" fmla="*/ 10 h 10"/>
                  </a:gdLst>
                  <a:ahLst/>
                  <a:cxnLst>
                    <a:cxn ang="0">
                      <a:pos x="T0" y="T1"/>
                    </a:cxn>
                    <a:cxn ang="0">
                      <a:pos x="T2" y="T3"/>
                    </a:cxn>
                    <a:cxn ang="0">
                      <a:pos x="T4" y="T5"/>
                    </a:cxn>
                    <a:cxn ang="0">
                      <a:pos x="T6" y="T7"/>
                    </a:cxn>
                    <a:cxn ang="0">
                      <a:pos x="T8" y="T9"/>
                    </a:cxn>
                  </a:cxnLst>
                  <a:rect l="0" t="0" r="r" b="b"/>
                  <a:pathLst>
                    <a:path w="12" h="10">
                      <a:moveTo>
                        <a:pt x="0" y="10"/>
                      </a:moveTo>
                      <a:lnTo>
                        <a:pt x="12" y="3"/>
                      </a:lnTo>
                      <a:lnTo>
                        <a:pt x="12"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438" name="Freeform 1177"/>
                <p:cNvSpPr>
                  <a:spLocks/>
                </p:cNvSpPr>
                <p:nvPr/>
              </p:nvSpPr>
              <p:spPr bwMode="auto">
                <a:xfrm>
                  <a:off x="11480" y="2125"/>
                  <a:ext cx="17" cy="9"/>
                </a:xfrm>
                <a:custGeom>
                  <a:avLst/>
                  <a:gdLst>
                    <a:gd name="T0" fmla="*/ 0 w 14"/>
                    <a:gd name="T1" fmla="*/ 9 h 9"/>
                    <a:gd name="T2" fmla="*/ 14 w 14"/>
                    <a:gd name="T3" fmla="*/ 0 h 9"/>
                    <a:gd name="T4" fmla="*/ 14 w 14"/>
                    <a:gd name="T5" fmla="*/ 0 h 9"/>
                    <a:gd name="T6" fmla="*/ 0 w 14"/>
                    <a:gd name="T7" fmla="*/ 9 h 9"/>
                    <a:gd name="T8" fmla="*/ 0 w 14"/>
                    <a:gd name="T9" fmla="*/ 9 h 9"/>
                  </a:gdLst>
                  <a:ahLst/>
                  <a:cxnLst>
                    <a:cxn ang="0">
                      <a:pos x="T0" y="T1"/>
                    </a:cxn>
                    <a:cxn ang="0">
                      <a:pos x="T2" y="T3"/>
                    </a:cxn>
                    <a:cxn ang="0">
                      <a:pos x="T4" y="T5"/>
                    </a:cxn>
                    <a:cxn ang="0">
                      <a:pos x="T6" y="T7"/>
                    </a:cxn>
                    <a:cxn ang="0">
                      <a:pos x="T8" y="T9"/>
                    </a:cxn>
                  </a:cxnLst>
                  <a:rect l="0" t="0" r="r" b="b"/>
                  <a:pathLst>
                    <a:path w="14" h="9">
                      <a:moveTo>
                        <a:pt x="0" y="9"/>
                      </a:moveTo>
                      <a:lnTo>
                        <a:pt x="14" y="0"/>
                      </a:lnTo>
                      <a:lnTo>
                        <a:pt x="14"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439" name="Freeform 1178"/>
                <p:cNvSpPr>
                  <a:spLocks/>
                </p:cNvSpPr>
                <p:nvPr/>
              </p:nvSpPr>
              <p:spPr bwMode="auto">
                <a:xfrm>
                  <a:off x="11505" y="2159"/>
                  <a:ext cx="0" cy="0"/>
                </a:xfrm>
                <a:custGeom>
                  <a:avLst/>
                  <a:gdLst>
                    <a:gd name="T0" fmla="*/ 0 w 5"/>
                    <a:gd name="T1" fmla="*/ 5 h 5"/>
                    <a:gd name="T2" fmla="*/ 5 w 5"/>
                    <a:gd name="T3" fmla="*/ 0 h 5"/>
                    <a:gd name="T4" fmla="*/ 5 w 5"/>
                    <a:gd name="T5" fmla="*/ 0 h 5"/>
                    <a:gd name="T6" fmla="*/ 0 w 5"/>
                    <a:gd name="T7" fmla="*/ 2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40" name="Freeform 1179"/>
                <p:cNvSpPr>
                  <a:spLocks/>
                </p:cNvSpPr>
                <p:nvPr/>
              </p:nvSpPr>
              <p:spPr bwMode="auto">
                <a:xfrm>
                  <a:off x="11472" y="2116"/>
                  <a:ext cx="25" cy="17"/>
                </a:xfrm>
                <a:custGeom>
                  <a:avLst/>
                  <a:gdLst>
                    <a:gd name="T0" fmla="*/ 2 w 18"/>
                    <a:gd name="T1" fmla="*/ 12 h 12"/>
                    <a:gd name="T2" fmla="*/ 18 w 18"/>
                    <a:gd name="T3" fmla="*/ 0 h 12"/>
                    <a:gd name="T4" fmla="*/ 16 w 18"/>
                    <a:gd name="T5" fmla="*/ 0 h 12"/>
                    <a:gd name="T6" fmla="*/ 0 w 18"/>
                    <a:gd name="T7" fmla="*/ 12 h 12"/>
                    <a:gd name="T8" fmla="*/ 2 w 18"/>
                    <a:gd name="T9" fmla="*/ 12 h 12"/>
                  </a:gdLst>
                  <a:ahLst/>
                  <a:cxnLst>
                    <a:cxn ang="0">
                      <a:pos x="T0" y="T1"/>
                    </a:cxn>
                    <a:cxn ang="0">
                      <a:pos x="T2" y="T3"/>
                    </a:cxn>
                    <a:cxn ang="0">
                      <a:pos x="T4" y="T5"/>
                    </a:cxn>
                    <a:cxn ang="0">
                      <a:pos x="T6" y="T7"/>
                    </a:cxn>
                    <a:cxn ang="0">
                      <a:pos x="T8" y="T9"/>
                    </a:cxn>
                  </a:cxnLst>
                  <a:rect l="0" t="0" r="r" b="b"/>
                  <a:pathLst>
                    <a:path w="18" h="12">
                      <a:moveTo>
                        <a:pt x="2" y="12"/>
                      </a:moveTo>
                      <a:lnTo>
                        <a:pt x="18" y="0"/>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441" name="Freeform 1180"/>
                <p:cNvSpPr>
                  <a:spLocks/>
                </p:cNvSpPr>
                <p:nvPr/>
              </p:nvSpPr>
              <p:spPr bwMode="auto">
                <a:xfrm>
                  <a:off x="11472" y="2107"/>
                  <a:ext cx="17" cy="17"/>
                </a:xfrm>
                <a:custGeom>
                  <a:avLst/>
                  <a:gdLst>
                    <a:gd name="T0" fmla="*/ 0 w 16"/>
                    <a:gd name="T1" fmla="*/ 15 h 15"/>
                    <a:gd name="T2" fmla="*/ 16 w 16"/>
                    <a:gd name="T3" fmla="*/ 0 h 15"/>
                    <a:gd name="T4" fmla="*/ 16 w 16"/>
                    <a:gd name="T5" fmla="*/ 0 h 15"/>
                    <a:gd name="T6" fmla="*/ 0 w 16"/>
                    <a:gd name="T7" fmla="*/ 12 h 15"/>
                    <a:gd name="T8" fmla="*/ 0 w 16"/>
                    <a:gd name="T9" fmla="*/ 15 h 15"/>
                  </a:gdLst>
                  <a:ahLst/>
                  <a:cxnLst>
                    <a:cxn ang="0">
                      <a:pos x="T0" y="T1"/>
                    </a:cxn>
                    <a:cxn ang="0">
                      <a:pos x="T2" y="T3"/>
                    </a:cxn>
                    <a:cxn ang="0">
                      <a:pos x="T4" y="T5"/>
                    </a:cxn>
                    <a:cxn ang="0">
                      <a:pos x="T6" y="T7"/>
                    </a:cxn>
                    <a:cxn ang="0">
                      <a:pos x="T8" y="T9"/>
                    </a:cxn>
                  </a:cxnLst>
                  <a:rect l="0" t="0" r="r" b="b"/>
                  <a:pathLst>
                    <a:path w="16" h="15">
                      <a:moveTo>
                        <a:pt x="0" y="15"/>
                      </a:moveTo>
                      <a:lnTo>
                        <a:pt x="16" y="0"/>
                      </a:lnTo>
                      <a:lnTo>
                        <a:pt x="16" y="0"/>
                      </a:lnTo>
                      <a:lnTo>
                        <a:pt x="0" y="12"/>
                      </a:lnTo>
                      <a:lnTo>
                        <a:pt x="0" y="15"/>
                      </a:lnTo>
                      <a:close/>
                    </a:path>
                  </a:pathLst>
                </a:custGeom>
                <a:solidFill>
                  <a:srgbClr val="01AAE5"/>
                </a:solidFill>
                <a:ln>
                  <a:noFill/>
                </a:ln>
                <a:extLst/>
              </p:spPr>
              <p:txBody>
                <a:bodyPr/>
                <a:lstStyle/>
                <a:p>
                  <a:pPr eaLnBrk="1" hangingPunct="1">
                    <a:defRPr/>
                  </a:pPr>
                  <a:endParaRPr lang="zh-CN" altLang="en-US" sz="1050"/>
                </a:p>
              </p:txBody>
            </p:sp>
            <p:sp>
              <p:nvSpPr>
                <p:cNvPr id="5442" name="Freeform 1181"/>
                <p:cNvSpPr>
                  <a:spLocks/>
                </p:cNvSpPr>
                <p:nvPr/>
              </p:nvSpPr>
              <p:spPr bwMode="auto">
                <a:xfrm>
                  <a:off x="11605" y="2438"/>
                  <a:ext cx="17" cy="9"/>
                </a:xfrm>
                <a:custGeom>
                  <a:avLst/>
                  <a:gdLst>
                    <a:gd name="T0" fmla="*/ 2 w 16"/>
                    <a:gd name="T1" fmla="*/ 3 h 3"/>
                    <a:gd name="T2" fmla="*/ 16 w 16"/>
                    <a:gd name="T3" fmla="*/ 0 h 3"/>
                    <a:gd name="T4" fmla="*/ 16 w 16"/>
                    <a:gd name="T5" fmla="*/ 0 h 3"/>
                    <a:gd name="T6" fmla="*/ 0 w 16"/>
                    <a:gd name="T7" fmla="*/ 3 h 3"/>
                    <a:gd name="T8" fmla="*/ 2 w 16"/>
                    <a:gd name="T9" fmla="*/ 3 h 3"/>
                  </a:gdLst>
                  <a:ahLst/>
                  <a:cxnLst>
                    <a:cxn ang="0">
                      <a:pos x="T0" y="T1"/>
                    </a:cxn>
                    <a:cxn ang="0">
                      <a:pos x="T2" y="T3"/>
                    </a:cxn>
                    <a:cxn ang="0">
                      <a:pos x="T4" y="T5"/>
                    </a:cxn>
                    <a:cxn ang="0">
                      <a:pos x="T6" y="T7"/>
                    </a:cxn>
                    <a:cxn ang="0">
                      <a:pos x="T8" y="T9"/>
                    </a:cxn>
                  </a:cxnLst>
                  <a:rect l="0" t="0" r="r" b="b"/>
                  <a:pathLst>
                    <a:path w="16" h="3">
                      <a:moveTo>
                        <a:pt x="2" y="3"/>
                      </a:moveTo>
                      <a:lnTo>
                        <a:pt x="16" y="0"/>
                      </a:lnTo>
                      <a:lnTo>
                        <a:pt x="16"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5443" name="Freeform 1182"/>
                <p:cNvSpPr>
                  <a:spLocks/>
                </p:cNvSpPr>
                <p:nvPr/>
              </p:nvSpPr>
              <p:spPr bwMode="auto">
                <a:xfrm>
                  <a:off x="11605" y="2430"/>
                  <a:ext cx="17" cy="9"/>
                </a:xfrm>
                <a:custGeom>
                  <a:avLst/>
                  <a:gdLst>
                    <a:gd name="T0" fmla="*/ 0 w 16"/>
                    <a:gd name="T1" fmla="*/ 5 h 5"/>
                    <a:gd name="T2" fmla="*/ 16 w 16"/>
                    <a:gd name="T3" fmla="*/ 3 h 5"/>
                    <a:gd name="T4" fmla="*/ 16 w 16"/>
                    <a:gd name="T5" fmla="*/ 0 h 5"/>
                    <a:gd name="T6" fmla="*/ 0 w 16"/>
                    <a:gd name="T7" fmla="*/ 5 h 5"/>
                    <a:gd name="T8" fmla="*/ 0 w 16"/>
                    <a:gd name="T9" fmla="*/ 5 h 5"/>
                  </a:gdLst>
                  <a:ahLst/>
                  <a:cxnLst>
                    <a:cxn ang="0">
                      <a:pos x="T0" y="T1"/>
                    </a:cxn>
                    <a:cxn ang="0">
                      <a:pos x="T2" y="T3"/>
                    </a:cxn>
                    <a:cxn ang="0">
                      <a:pos x="T4" y="T5"/>
                    </a:cxn>
                    <a:cxn ang="0">
                      <a:pos x="T6" y="T7"/>
                    </a:cxn>
                    <a:cxn ang="0">
                      <a:pos x="T8" y="T9"/>
                    </a:cxn>
                  </a:cxnLst>
                  <a:rect l="0" t="0" r="r" b="b"/>
                  <a:pathLst>
                    <a:path w="16" h="5">
                      <a:moveTo>
                        <a:pt x="0" y="5"/>
                      </a:moveTo>
                      <a:lnTo>
                        <a:pt x="16" y="3"/>
                      </a:lnTo>
                      <a:lnTo>
                        <a:pt x="16"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44" name="Freeform 1183"/>
                <p:cNvSpPr>
                  <a:spLocks/>
                </p:cNvSpPr>
                <p:nvPr/>
              </p:nvSpPr>
              <p:spPr bwMode="auto">
                <a:xfrm>
                  <a:off x="11605" y="2447"/>
                  <a:ext cx="17" cy="0"/>
                </a:xfrm>
                <a:custGeom>
                  <a:avLst/>
                  <a:gdLst>
                    <a:gd name="T0" fmla="*/ 0 w 14"/>
                    <a:gd name="T1" fmla="*/ 2 h 2"/>
                    <a:gd name="T2" fmla="*/ 14 w 14"/>
                    <a:gd name="T3" fmla="*/ 0 h 2"/>
                    <a:gd name="T4" fmla="*/ 14 w 14"/>
                    <a:gd name="T5" fmla="*/ 0 h 2"/>
                    <a:gd name="T6" fmla="*/ 0 w 14"/>
                    <a:gd name="T7" fmla="*/ 0 h 2"/>
                    <a:gd name="T8" fmla="*/ 0 w 14"/>
                    <a:gd name="T9" fmla="*/ 2 h 2"/>
                  </a:gdLst>
                  <a:ahLst/>
                  <a:cxnLst>
                    <a:cxn ang="0">
                      <a:pos x="T0" y="T1"/>
                    </a:cxn>
                    <a:cxn ang="0">
                      <a:pos x="T2" y="T3"/>
                    </a:cxn>
                    <a:cxn ang="0">
                      <a:pos x="T4" y="T5"/>
                    </a:cxn>
                    <a:cxn ang="0">
                      <a:pos x="T6" y="T7"/>
                    </a:cxn>
                    <a:cxn ang="0">
                      <a:pos x="T8" y="T9"/>
                    </a:cxn>
                  </a:cxnLst>
                  <a:rect l="0" t="0" r="r" b="b"/>
                  <a:pathLst>
                    <a:path w="14" h="2">
                      <a:moveTo>
                        <a:pt x="0" y="2"/>
                      </a:moveTo>
                      <a:lnTo>
                        <a:pt x="14" y="0"/>
                      </a:lnTo>
                      <a:lnTo>
                        <a:pt x="14"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45" name="Freeform 1184"/>
                <p:cNvSpPr>
                  <a:spLocks/>
                </p:cNvSpPr>
                <p:nvPr/>
              </p:nvSpPr>
              <p:spPr bwMode="auto">
                <a:xfrm>
                  <a:off x="11605" y="2430"/>
                  <a:ext cx="17" cy="0"/>
                </a:xfrm>
                <a:custGeom>
                  <a:avLst/>
                  <a:gdLst>
                    <a:gd name="T0" fmla="*/ 0 w 16"/>
                    <a:gd name="T1" fmla="*/ 2 h 2"/>
                    <a:gd name="T2" fmla="*/ 16 w 16"/>
                    <a:gd name="T3" fmla="*/ 0 h 2"/>
                    <a:gd name="T4" fmla="*/ 16 w 16"/>
                    <a:gd name="T5" fmla="*/ 0 h 2"/>
                    <a:gd name="T6" fmla="*/ 0 w 16"/>
                    <a:gd name="T7" fmla="*/ 2 h 2"/>
                    <a:gd name="T8" fmla="*/ 0 w 16"/>
                    <a:gd name="T9" fmla="*/ 2 h 2"/>
                  </a:gdLst>
                  <a:ahLst/>
                  <a:cxnLst>
                    <a:cxn ang="0">
                      <a:pos x="T0" y="T1"/>
                    </a:cxn>
                    <a:cxn ang="0">
                      <a:pos x="T2" y="T3"/>
                    </a:cxn>
                    <a:cxn ang="0">
                      <a:pos x="T4" y="T5"/>
                    </a:cxn>
                    <a:cxn ang="0">
                      <a:pos x="T6" y="T7"/>
                    </a:cxn>
                    <a:cxn ang="0">
                      <a:pos x="T8" y="T9"/>
                    </a:cxn>
                  </a:cxnLst>
                  <a:rect l="0" t="0" r="r" b="b"/>
                  <a:pathLst>
                    <a:path w="16" h="2">
                      <a:moveTo>
                        <a:pt x="0" y="2"/>
                      </a:moveTo>
                      <a:lnTo>
                        <a:pt x="16" y="0"/>
                      </a:lnTo>
                      <a:lnTo>
                        <a:pt x="16"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46" name="Freeform 1185"/>
                <p:cNvSpPr>
                  <a:spLocks/>
                </p:cNvSpPr>
                <p:nvPr/>
              </p:nvSpPr>
              <p:spPr bwMode="auto">
                <a:xfrm>
                  <a:off x="11605" y="2447"/>
                  <a:ext cx="17" cy="9"/>
                </a:xfrm>
                <a:custGeom>
                  <a:avLst/>
                  <a:gdLst>
                    <a:gd name="T0" fmla="*/ 2 w 14"/>
                    <a:gd name="T1" fmla="*/ 3 h 3"/>
                    <a:gd name="T2" fmla="*/ 14 w 14"/>
                    <a:gd name="T3" fmla="*/ 0 h 3"/>
                    <a:gd name="T4" fmla="*/ 14 w 14"/>
                    <a:gd name="T5" fmla="*/ 0 h 3"/>
                    <a:gd name="T6" fmla="*/ 0 w 14"/>
                    <a:gd name="T7" fmla="*/ 3 h 3"/>
                    <a:gd name="T8" fmla="*/ 2 w 14"/>
                    <a:gd name="T9" fmla="*/ 3 h 3"/>
                  </a:gdLst>
                  <a:ahLst/>
                  <a:cxnLst>
                    <a:cxn ang="0">
                      <a:pos x="T0" y="T1"/>
                    </a:cxn>
                    <a:cxn ang="0">
                      <a:pos x="T2" y="T3"/>
                    </a:cxn>
                    <a:cxn ang="0">
                      <a:pos x="T4" y="T5"/>
                    </a:cxn>
                    <a:cxn ang="0">
                      <a:pos x="T6" y="T7"/>
                    </a:cxn>
                    <a:cxn ang="0">
                      <a:pos x="T8" y="T9"/>
                    </a:cxn>
                  </a:cxnLst>
                  <a:rect l="0" t="0" r="r" b="b"/>
                  <a:pathLst>
                    <a:path w="14" h="3">
                      <a:moveTo>
                        <a:pt x="2" y="3"/>
                      </a:moveTo>
                      <a:lnTo>
                        <a:pt x="14" y="0"/>
                      </a:lnTo>
                      <a:lnTo>
                        <a:pt x="14"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5447" name="Freeform 1186"/>
                <p:cNvSpPr>
                  <a:spLocks/>
                </p:cNvSpPr>
                <p:nvPr/>
              </p:nvSpPr>
              <p:spPr bwMode="auto">
                <a:xfrm>
                  <a:off x="11605" y="2430"/>
                  <a:ext cx="17" cy="0"/>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48" name="Freeform 1187"/>
                <p:cNvSpPr>
                  <a:spLocks/>
                </p:cNvSpPr>
                <p:nvPr/>
              </p:nvSpPr>
              <p:spPr bwMode="auto">
                <a:xfrm>
                  <a:off x="11605" y="2456"/>
                  <a:ext cx="17" cy="9"/>
                </a:xfrm>
                <a:custGeom>
                  <a:avLst/>
                  <a:gdLst>
                    <a:gd name="T0" fmla="*/ 3 w 12"/>
                    <a:gd name="T1" fmla="*/ 3 h 3"/>
                    <a:gd name="T2" fmla="*/ 12 w 12"/>
                    <a:gd name="T3" fmla="*/ 3 h 3"/>
                    <a:gd name="T4" fmla="*/ 12 w 12"/>
                    <a:gd name="T5" fmla="*/ 0 h 3"/>
                    <a:gd name="T6" fmla="*/ 0 w 12"/>
                    <a:gd name="T7" fmla="*/ 3 h 3"/>
                    <a:gd name="T8" fmla="*/ 3 w 12"/>
                    <a:gd name="T9" fmla="*/ 3 h 3"/>
                  </a:gdLst>
                  <a:ahLst/>
                  <a:cxnLst>
                    <a:cxn ang="0">
                      <a:pos x="T0" y="T1"/>
                    </a:cxn>
                    <a:cxn ang="0">
                      <a:pos x="T2" y="T3"/>
                    </a:cxn>
                    <a:cxn ang="0">
                      <a:pos x="T4" y="T5"/>
                    </a:cxn>
                    <a:cxn ang="0">
                      <a:pos x="T6" y="T7"/>
                    </a:cxn>
                    <a:cxn ang="0">
                      <a:pos x="T8" y="T9"/>
                    </a:cxn>
                  </a:cxnLst>
                  <a:rect l="0" t="0" r="r" b="b"/>
                  <a:pathLst>
                    <a:path w="12" h="3">
                      <a:moveTo>
                        <a:pt x="3" y="3"/>
                      </a:moveTo>
                      <a:lnTo>
                        <a:pt x="12" y="3"/>
                      </a:lnTo>
                      <a:lnTo>
                        <a:pt x="12" y="0"/>
                      </a:lnTo>
                      <a:lnTo>
                        <a:pt x="0" y="3"/>
                      </a:lnTo>
                      <a:lnTo>
                        <a:pt x="3" y="3"/>
                      </a:lnTo>
                      <a:close/>
                    </a:path>
                  </a:pathLst>
                </a:custGeom>
                <a:solidFill>
                  <a:srgbClr val="01AAE5"/>
                </a:solidFill>
                <a:ln>
                  <a:noFill/>
                </a:ln>
                <a:extLst/>
              </p:spPr>
              <p:txBody>
                <a:bodyPr/>
                <a:lstStyle/>
                <a:p>
                  <a:pPr eaLnBrk="1" hangingPunct="1">
                    <a:defRPr/>
                  </a:pPr>
                  <a:endParaRPr lang="zh-CN" altLang="en-US" sz="1050"/>
                </a:p>
              </p:txBody>
            </p:sp>
            <p:sp>
              <p:nvSpPr>
                <p:cNvPr id="5449" name="Freeform 1188"/>
                <p:cNvSpPr>
                  <a:spLocks/>
                </p:cNvSpPr>
                <p:nvPr/>
              </p:nvSpPr>
              <p:spPr bwMode="auto">
                <a:xfrm>
                  <a:off x="11605" y="2456"/>
                  <a:ext cx="17" cy="0"/>
                </a:xfrm>
                <a:custGeom>
                  <a:avLst/>
                  <a:gdLst>
                    <a:gd name="T0" fmla="*/ 0 w 12"/>
                    <a:gd name="T1" fmla="*/ 2 h 2"/>
                    <a:gd name="T2" fmla="*/ 12 w 12"/>
                    <a:gd name="T3" fmla="*/ 0 h 2"/>
                    <a:gd name="T4" fmla="*/ 12 w 12"/>
                    <a:gd name="T5" fmla="*/ 0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50" name="Freeform 1189"/>
                <p:cNvSpPr>
                  <a:spLocks/>
                </p:cNvSpPr>
                <p:nvPr/>
              </p:nvSpPr>
              <p:spPr bwMode="auto">
                <a:xfrm>
                  <a:off x="11596" y="2395"/>
                  <a:ext cx="17" cy="9"/>
                </a:xfrm>
                <a:custGeom>
                  <a:avLst/>
                  <a:gdLst>
                    <a:gd name="T0" fmla="*/ 0 w 19"/>
                    <a:gd name="T1" fmla="*/ 5 h 5"/>
                    <a:gd name="T2" fmla="*/ 19 w 19"/>
                    <a:gd name="T3" fmla="*/ 2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2"/>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1" name="Freeform 1190"/>
                <p:cNvSpPr>
                  <a:spLocks/>
                </p:cNvSpPr>
                <p:nvPr/>
              </p:nvSpPr>
              <p:spPr bwMode="auto">
                <a:xfrm>
                  <a:off x="11596" y="2403"/>
                  <a:ext cx="17" cy="9"/>
                </a:xfrm>
                <a:custGeom>
                  <a:avLst/>
                  <a:gdLst>
                    <a:gd name="T0" fmla="*/ 0 w 19"/>
                    <a:gd name="T1" fmla="*/ 4 h 4"/>
                    <a:gd name="T2" fmla="*/ 19 w 19"/>
                    <a:gd name="T3" fmla="*/ 0 h 4"/>
                    <a:gd name="T4" fmla="*/ 19 w 19"/>
                    <a:gd name="T5" fmla="*/ 0 h 4"/>
                    <a:gd name="T6" fmla="*/ 0 w 19"/>
                    <a:gd name="T7" fmla="*/ 2 h 4"/>
                    <a:gd name="T8" fmla="*/ 0 w 19"/>
                    <a:gd name="T9" fmla="*/ 4 h 4"/>
                  </a:gdLst>
                  <a:ahLst/>
                  <a:cxnLst>
                    <a:cxn ang="0">
                      <a:pos x="T0" y="T1"/>
                    </a:cxn>
                    <a:cxn ang="0">
                      <a:pos x="T2" y="T3"/>
                    </a:cxn>
                    <a:cxn ang="0">
                      <a:pos x="T4" y="T5"/>
                    </a:cxn>
                    <a:cxn ang="0">
                      <a:pos x="T6" y="T7"/>
                    </a:cxn>
                    <a:cxn ang="0">
                      <a:pos x="T8" y="T9"/>
                    </a:cxn>
                  </a:cxnLst>
                  <a:rect l="0" t="0" r="r" b="b"/>
                  <a:pathLst>
                    <a:path w="19" h="4">
                      <a:moveTo>
                        <a:pt x="0" y="4"/>
                      </a:moveTo>
                      <a:lnTo>
                        <a:pt x="19" y="0"/>
                      </a:lnTo>
                      <a:lnTo>
                        <a:pt x="19"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5452" name="Freeform 1191"/>
                <p:cNvSpPr>
                  <a:spLocks/>
                </p:cNvSpPr>
                <p:nvPr/>
              </p:nvSpPr>
              <p:spPr bwMode="auto">
                <a:xfrm>
                  <a:off x="11596" y="2403"/>
                  <a:ext cx="17" cy="9"/>
                </a:xfrm>
                <a:custGeom>
                  <a:avLst/>
                  <a:gdLst>
                    <a:gd name="T0" fmla="*/ 0 w 22"/>
                    <a:gd name="T1" fmla="*/ 5 h 5"/>
                    <a:gd name="T2" fmla="*/ 22 w 22"/>
                    <a:gd name="T3" fmla="*/ 2 h 5"/>
                    <a:gd name="T4" fmla="*/ 22 w 22"/>
                    <a:gd name="T5" fmla="*/ 0 h 5"/>
                    <a:gd name="T6" fmla="*/ 0 w 22"/>
                    <a:gd name="T7" fmla="*/ 5 h 5"/>
                    <a:gd name="T8" fmla="*/ 0 w 22"/>
                    <a:gd name="T9" fmla="*/ 5 h 5"/>
                  </a:gdLst>
                  <a:ahLst/>
                  <a:cxnLst>
                    <a:cxn ang="0">
                      <a:pos x="T0" y="T1"/>
                    </a:cxn>
                    <a:cxn ang="0">
                      <a:pos x="T2" y="T3"/>
                    </a:cxn>
                    <a:cxn ang="0">
                      <a:pos x="T4" y="T5"/>
                    </a:cxn>
                    <a:cxn ang="0">
                      <a:pos x="T6" y="T7"/>
                    </a:cxn>
                    <a:cxn ang="0">
                      <a:pos x="T8" y="T9"/>
                    </a:cxn>
                  </a:cxnLst>
                  <a:rect l="0" t="0" r="r" b="b"/>
                  <a:pathLst>
                    <a:path w="22" h="5">
                      <a:moveTo>
                        <a:pt x="0" y="5"/>
                      </a:moveTo>
                      <a:lnTo>
                        <a:pt x="22" y="2"/>
                      </a:lnTo>
                      <a:lnTo>
                        <a:pt x="2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3" name="Freeform 1192"/>
                <p:cNvSpPr>
                  <a:spLocks/>
                </p:cNvSpPr>
                <p:nvPr/>
              </p:nvSpPr>
              <p:spPr bwMode="auto">
                <a:xfrm>
                  <a:off x="11596" y="2412"/>
                  <a:ext cx="17" cy="9"/>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4" name="Freeform 1193"/>
                <p:cNvSpPr>
                  <a:spLocks/>
                </p:cNvSpPr>
                <p:nvPr/>
              </p:nvSpPr>
              <p:spPr bwMode="auto">
                <a:xfrm>
                  <a:off x="11605" y="2464"/>
                  <a:ext cx="17" cy="0"/>
                </a:xfrm>
                <a:custGeom>
                  <a:avLst/>
                  <a:gdLst>
                    <a:gd name="T0" fmla="*/ 0 w 9"/>
                    <a:gd name="T1" fmla="*/ 2 h 2"/>
                    <a:gd name="T2" fmla="*/ 9 w 9"/>
                    <a:gd name="T3" fmla="*/ 0 h 2"/>
                    <a:gd name="T4" fmla="*/ 9 w 9"/>
                    <a:gd name="T5" fmla="*/ 0 h 2"/>
                    <a:gd name="T6" fmla="*/ 0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9" y="0"/>
                      </a:lnTo>
                      <a:lnTo>
                        <a:pt x="9"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55" name="Freeform 1194"/>
                <p:cNvSpPr>
                  <a:spLocks/>
                </p:cNvSpPr>
                <p:nvPr/>
              </p:nvSpPr>
              <p:spPr bwMode="auto">
                <a:xfrm>
                  <a:off x="11605" y="2430"/>
                  <a:ext cx="17" cy="0"/>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6" name="Freeform 1195"/>
                <p:cNvSpPr>
                  <a:spLocks/>
                </p:cNvSpPr>
                <p:nvPr/>
              </p:nvSpPr>
              <p:spPr bwMode="auto">
                <a:xfrm>
                  <a:off x="11596" y="2421"/>
                  <a:ext cx="25" cy="9"/>
                </a:xfrm>
                <a:custGeom>
                  <a:avLst/>
                  <a:gdLst>
                    <a:gd name="T0" fmla="*/ 0 w 21"/>
                    <a:gd name="T1" fmla="*/ 5 h 5"/>
                    <a:gd name="T2" fmla="*/ 21 w 21"/>
                    <a:gd name="T3" fmla="*/ 3 h 5"/>
                    <a:gd name="T4" fmla="*/ 21 w 21"/>
                    <a:gd name="T5" fmla="*/ 0 h 5"/>
                    <a:gd name="T6" fmla="*/ 0 w 21"/>
                    <a:gd name="T7" fmla="*/ 5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3"/>
                      </a:lnTo>
                      <a:lnTo>
                        <a:pt x="21"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7" name="Freeform 1196"/>
                <p:cNvSpPr>
                  <a:spLocks/>
                </p:cNvSpPr>
                <p:nvPr/>
              </p:nvSpPr>
              <p:spPr bwMode="auto">
                <a:xfrm>
                  <a:off x="11596" y="2412"/>
                  <a:ext cx="17" cy="9"/>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8" name="Freeform 1197"/>
                <p:cNvSpPr>
                  <a:spLocks/>
                </p:cNvSpPr>
                <p:nvPr/>
              </p:nvSpPr>
              <p:spPr bwMode="auto">
                <a:xfrm>
                  <a:off x="11596" y="2421"/>
                  <a:ext cx="25" cy="9"/>
                </a:xfrm>
                <a:custGeom>
                  <a:avLst/>
                  <a:gdLst>
                    <a:gd name="T0" fmla="*/ 0 w 21"/>
                    <a:gd name="T1" fmla="*/ 5 h 5"/>
                    <a:gd name="T2" fmla="*/ 21 w 21"/>
                    <a:gd name="T3" fmla="*/ 0 h 5"/>
                    <a:gd name="T4" fmla="*/ 21 w 21"/>
                    <a:gd name="T5" fmla="*/ 0 h 5"/>
                    <a:gd name="T6" fmla="*/ 0 w 21"/>
                    <a:gd name="T7" fmla="*/ 2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0"/>
                      </a:lnTo>
                      <a:lnTo>
                        <a:pt x="21"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59" name="Freeform 1198"/>
                <p:cNvSpPr>
                  <a:spLocks/>
                </p:cNvSpPr>
                <p:nvPr/>
              </p:nvSpPr>
              <p:spPr bwMode="auto">
                <a:xfrm>
                  <a:off x="11613" y="2491"/>
                  <a:ext cx="8" cy="0"/>
                </a:xfrm>
                <a:custGeom>
                  <a:avLst/>
                  <a:gdLst>
                    <a:gd name="T0" fmla="*/ 0 w 7"/>
                    <a:gd name="T1" fmla="*/ 2 h 2"/>
                    <a:gd name="T2" fmla="*/ 7 w 7"/>
                    <a:gd name="T3" fmla="*/ 0 h 2"/>
                    <a:gd name="T4" fmla="*/ 7 w 7"/>
                    <a:gd name="T5" fmla="*/ 0 h 2"/>
                    <a:gd name="T6" fmla="*/ 0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60" name="Freeform 1199"/>
                <p:cNvSpPr>
                  <a:spLocks/>
                </p:cNvSpPr>
                <p:nvPr/>
              </p:nvSpPr>
              <p:spPr bwMode="auto">
                <a:xfrm>
                  <a:off x="11605" y="2464"/>
                  <a:ext cx="17" cy="0"/>
                </a:xfrm>
                <a:custGeom>
                  <a:avLst/>
                  <a:gdLst>
                    <a:gd name="T0" fmla="*/ 0 w 9"/>
                    <a:gd name="T1" fmla="*/ 3 h 3"/>
                    <a:gd name="T2" fmla="*/ 9 w 9"/>
                    <a:gd name="T3" fmla="*/ 3 h 3"/>
                    <a:gd name="T4" fmla="*/ 9 w 9"/>
                    <a:gd name="T5" fmla="*/ 0 h 3"/>
                    <a:gd name="T6" fmla="*/ 0 w 9"/>
                    <a:gd name="T7" fmla="*/ 3 h 3"/>
                    <a:gd name="T8" fmla="*/ 0 w 9"/>
                    <a:gd name="T9" fmla="*/ 3 h 3"/>
                  </a:gdLst>
                  <a:ahLst/>
                  <a:cxnLst>
                    <a:cxn ang="0">
                      <a:pos x="T0" y="T1"/>
                    </a:cxn>
                    <a:cxn ang="0">
                      <a:pos x="T2" y="T3"/>
                    </a:cxn>
                    <a:cxn ang="0">
                      <a:pos x="T4" y="T5"/>
                    </a:cxn>
                    <a:cxn ang="0">
                      <a:pos x="T6" y="T7"/>
                    </a:cxn>
                    <a:cxn ang="0">
                      <a:pos x="T8" y="T9"/>
                    </a:cxn>
                  </a:cxnLst>
                  <a:rect l="0" t="0" r="r" b="b"/>
                  <a:pathLst>
                    <a:path w="9" h="3">
                      <a:moveTo>
                        <a:pt x="0" y="3"/>
                      </a:moveTo>
                      <a:lnTo>
                        <a:pt x="9" y="3"/>
                      </a:lnTo>
                      <a:lnTo>
                        <a:pt x="9"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5461" name="Rectangle 1200"/>
                <p:cNvSpPr>
                  <a:spLocks noChangeArrowheads="1"/>
                </p:cNvSpPr>
                <p:nvPr/>
              </p:nvSpPr>
              <p:spPr bwMode="auto">
                <a:xfrm>
                  <a:off x="11613" y="2499"/>
                  <a:ext cx="8" cy="9"/>
                </a:xfrm>
                <a:prstGeom prst="rect">
                  <a:avLst/>
                </a:prstGeom>
                <a:solidFill>
                  <a:srgbClr val="01AAE5"/>
                </a:solidFill>
                <a:ln>
                  <a:noFill/>
                </a:ln>
                <a:extLst/>
              </p:spPr>
              <p:txBody>
                <a:bodyPr/>
                <a:lstStyle/>
                <a:p>
                  <a:pPr eaLnBrk="1" hangingPunct="1">
                    <a:defRPr/>
                  </a:pPr>
                  <a:endParaRPr lang="zh-CN" altLang="en-US" sz="1050"/>
                </a:p>
              </p:txBody>
            </p:sp>
            <p:sp>
              <p:nvSpPr>
                <p:cNvPr id="5462" name="Freeform 1201"/>
                <p:cNvSpPr>
                  <a:spLocks/>
                </p:cNvSpPr>
                <p:nvPr/>
              </p:nvSpPr>
              <p:spPr bwMode="auto">
                <a:xfrm>
                  <a:off x="11596" y="2395"/>
                  <a:ext cx="17" cy="0"/>
                </a:xfrm>
                <a:custGeom>
                  <a:avLst/>
                  <a:gdLst>
                    <a:gd name="T0" fmla="*/ 0 w 17"/>
                    <a:gd name="T1" fmla="*/ 4 h 4"/>
                    <a:gd name="T2" fmla="*/ 17 w 17"/>
                    <a:gd name="T3" fmla="*/ 0 h 4"/>
                    <a:gd name="T4" fmla="*/ 17 w 17"/>
                    <a:gd name="T5" fmla="*/ 0 h 4"/>
                    <a:gd name="T6" fmla="*/ 0 w 17"/>
                    <a:gd name="T7" fmla="*/ 2 h 4"/>
                    <a:gd name="T8" fmla="*/ 0 w 17"/>
                    <a:gd name="T9" fmla="*/ 4 h 4"/>
                  </a:gdLst>
                  <a:ahLst/>
                  <a:cxnLst>
                    <a:cxn ang="0">
                      <a:pos x="T0" y="T1"/>
                    </a:cxn>
                    <a:cxn ang="0">
                      <a:pos x="T2" y="T3"/>
                    </a:cxn>
                    <a:cxn ang="0">
                      <a:pos x="T4" y="T5"/>
                    </a:cxn>
                    <a:cxn ang="0">
                      <a:pos x="T6" y="T7"/>
                    </a:cxn>
                    <a:cxn ang="0">
                      <a:pos x="T8" y="T9"/>
                    </a:cxn>
                  </a:cxnLst>
                  <a:rect l="0" t="0" r="r" b="b"/>
                  <a:pathLst>
                    <a:path w="17" h="4">
                      <a:moveTo>
                        <a:pt x="0" y="4"/>
                      </a:moveTo>
                      <a:lnTo>
                        <a:pt x="17" y="0"/>
                      </a:lnTo>
                      <a:lnTo>
                        <a:pt x="1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5463" name="Rectangle 1202"/>
                <p:cNvSpPr>
                  <a:spLocks noChangeArrowheads="1"/>
                </p:cNvSpPr>
                <p:nvPr/>
              </p:nvSpPr>
              <p:spPr bwMode="auto">
                <a:xfrm>
                  <a:off x="11613" y="2508"/>
                  <a:ext cx="8" cy="0"/>
                </a:xfrm>
                <a:prstGeom prst="rect">
                  <a:avLst/>
                </a:prstGeom>
                <a:solidFill>
                  <a:srgbClr val="01AAE5"/>
                </a:solidFill>
                <a:ln>
                  <a:noFill/>
                </a:ln>
                <a:extLst/>
              </p:spPr>
              <p:txBody>
                <a:bodyPr/>
                <a:lstStyle/>
                <a:p>
                  <a:pPr eaLnBrk="1" hangingPunct="1">
                    <a:defRPr/>
                  </a:pPr>
                  <a:endParaRPr lang="zh-CN" altLang="en-US" sz="1050"/>
                </a:p>
              </p:txBody>
            </p:sp>
            <p:sp>
              <p:nvSpPr>
                <p:cNvPr id="5464" name="Rectangle 120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5465" name="Freeform 1204"/>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5466" name="Freeform 1205"/>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path>
                  </a:pathLst>
                </a:custGeom>
                <a:noFill/>
                <a:ln>
                  <a:noFill/>
                </a:ln>
                <a:extLst/>
              </p:spPr>
              <p:txBody>
                <a:bodyPr/>
                <a:lstStyle/>
                <a:p>
                  <a:pPr eaLnBrk="1" hangingPunct="1">
                    <a:defRPr/>
                  </a:pPr>
                  <a:endParaRPr lang="zh-CN" altLang="en-US" sz="1050"/>
                </a:p>
              </p:txBody>
            </p:sp>
            <p:sp>
              <p:nvSpPr>
                <p:cNvPr id="5467" name="Rectangle 1206"/>
                <p:cNvSpPr>
                  <a:spLocks noChangeArrowheads="1"/>
                </p:cNvSpPr>
                <p:nvPr/>
              </p:nvSpPr>
              <p:spPr bwMode="auto">
                <a:xfrm>
                  <a:off x="11613" y="2508"/>
                  <a:ext cx="8" cy="9"/>
                </a:xfrm>
                <a:prstGeom prst="rect">
                  <a:avLst/>
                </a:prstGeom>
                <a:solidFill>
                  <a:srgbClr val="01AAE5"/>
                </a:solidFill>
                <a:ln>
                  <a:noFill/>
                </a:ln>
                <a:extLst/>
              </p:spPr>
              <p:txBody>
                <a:bodyPr/>
                <a:lstStyle/>
                <a:p>
                  <a:pPr eaLnBrk="1" hangingPunct="1">
                    <a:defRPr/>
                  </a:pPr>
                  <a:endParaRPr lang="zh-CN" altLang="en-US" sz="1050"/>
                </a:p>
              </p:txBody>
            </p:sp>
            <p:sp>
              <p:nvSpPr>
                <p:cNvPr id="5468" name="Rectangle 1207"/>
                <p:cNvSpPr>
                  <a:spLocks noChangeArrowheads="1"/>
                </p:cNvSpPr>
                <p:nvPr/>
              </p:nvSpPr>
              <p:spPr bwMode="auto">
                <a:xfrm>
                  <a:off x="11613" y="2517"/>
                  <a:ext cx="8" cy="0"/>
                </a:xfrm>
                <a:prstGeom prst="rect">
                  <a:avLst/>
                </a:prstGeom>
                <a:solidFill>
                  <a:srgbClr val="01AAE5"/>
                </a:solidFill>
                <a:ln>
                  <a:noFill/>
                </a:ln>
                <a:extLst/>
              </p:spPr>
              <p:txBody>
                <a:bodyPr/>
                <a:lstStyle/>
                <a:p>
                  <a:pPr eaLnBrk="1" hangingPunct="1">
                    <a:defRPr/>
                  </a:pPr>
                  <a:endParaRPr lang="zh-CN" altLang="en-US" sz="1050"/>
                </a:p>
              </p:txBody>
            </p:sp>
            <p:sp>
              <p:nvSpPr>
                <p:cNvPr id="5469" name="Rectangle 1208"/>
                <p:cNvSpPr>
                  <a:spLocks noChangeArrowheads="1"/>
                </p:cNvSpPr>
                <p:nvPr/>
              </p:nvSpPr>
              <p:spPr bwMode="auto">
                <a:xfrm>
                  <a:off x="11613" y="2499"/>
                  <a:ext cx="8" cy="0"/>
                </a:xfrm>
                <a:prstGeom prst="rect">
                  <a:avLst/>
                </a:prstGeom>
                <a:solidFill>
                  <a:srgbClr val="01AAE5"/>
                </a:solidFill>
                <a:ln>
                  <a:noFill/>
                </a:ln>
                <a:extLst/>
              </p:spPr>
              <p:txBody>
                <a:bodyPr/>
                <a:lstStyle/>
                <a:p>
                  <a:pPr eaLnBrk="1" hangingPunct="1">
                    <a:defRPr/>
                  </a:pPr>
                  <a:endParaRPr lang="zh-CN" altLang="en-US" sz="1050"/>
                </a:p>
              </p:txBody>
            </p:sp>
            <p:sp>
              <p:nvSpPr>
                <p:cNvPr id="5470" name="Freeform 1209"/>
                <p:cNvSpPr>
                  <a:spLocks/>
                </p:cNvSpPr>
                <p:nvPr/>
              </p:nvSpPr>
              <p:spPr bwMode="auto">
                <a:xfrm>
                  <a:off x="11613" y="2464"/>
                  <a:ext cx="8" cy="9"/>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71" name="Freeform 1210"/>
                <p:cNvSpPr>
                  <a:spLocks/>
                </p:cNvSpPr>
                <p:nvPr/>
              </p:nvSpPr>
              <p:spPr bwMode="auto">
                <a:xfrm>
                  <a:off x="11613" y="2491"/>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5472" name="Freeform 1211"/>
                <p:cNvSpPr>
                  <a:spLocks/>
                </p:cNvSpPr>
                <p:nvPr/>
              </p:nvSpPr>
              <p:spPr bwMode="auto">
                <a:xfrm>
                  <a:off x="11613" y="2464"/>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5473" name="Freeform 1212"/>
                <p:cNvSpPr>
                  <a:spLocks/>
                </p:cNvSpPr>
                <p:nvPr/>
              </p:nvSpPr>
              <p:spPr bwMode="auto">
                <a:xfrm>
                  <a:off x="11613" y="2473"/>
                  <a:ext cx="8" cy="0"/>
                </a:xfrm>
                <a:custGeom>
                  <a:avLst/>
                  <a:gdLst>
                    <a:gd name="T0" fmla="*/ 2 w 7"/>
                    <a:gd name="T1" fmla="*/ 3 h 3"/>
                    <a:gd name="T2" fmla="*/ 7 w 7"/>
                    <a:gd name="T3" fmla="*/ 0 h 3"/>
                    <a:gd name="T4" fmla="*/ 7 w 7"/>
                    <a:gd name="T5" fmla="*/ 0 h 3"/>
                    <a:gd name="T6" fmla="*/ 0 w 7"/>
                    <a:gd name="T7" fmla="*/ 0 h 3"/>
                    <a:gd name="T8" fmla="*/ 2 w 7"/>
                    <a:gd name="T9" fmla="*/ 3 h 3"/>
                  </a:gdLst>
                  <a:ahLst/>
                  <a:cxnLst>
                    <a:cxn ang="0">
                      <a:pos x="T0" y="T1"/>
                    </a:cxn>
                    <a:cxn ang="0">
                      <a:pos x="T2" y="T3"/>
                    </a:cxn>
                    <a:cxn ang="0">
                      <a:pos x="T4" y="T5"/>
                    </a:cxn>
                    <a:cxn ang="0">
                      <a:pos x="T6" y="T7"/>
                    </a:cxn>
                    <a:cxn ang="0">
                      <a:pos x="T8" y="T9"/>
                    </a:cxn>
                  </a:cxnLst>
                  <a:rect l="0" t="0" r="r" b="b"/>
                  <a:pathLst>
                    <a:path w="7" h="3">
                      <a:moveTo>
                        <a:pt x="2" y="3"/>
                      </a:moveTo>
                      <a:lnTo>
                        <a:pt x="7" y="0"/>
                      </a:lnTo>
                      <a:lnTo>
                        <a:pt x="7" y="0"/>
                      </a:lnTo>
                      <a:lnTo>
                        <a:pt x="0" y="0"/>
                      </a:lnTo>
                      <a:lnTo>
                        <a:pt x="2" y="3"/>
                      </a:lnTo>
                      <a:close/>
                    </a:path>
                  </a:pathLst>
                </a:custGeom>
                <a:solidFill>
                  <a:srgbClr val="01AAE5"/>
                </a:solidFill>
                <a:ln>
                  <a:noFill/>
                </a:ln>
                <a:extLst/>
              </p:spPr>
              <p:txBody>
                <a:bodyPr/>
                <a:lstStyle/>
                <a:p>
                  <a:pPr eaLnBrk="1" hangingPunct="1">
                    <a:defRPr/>
                  </a:pPr>
                  <a:endParaRPr lang="zh-CN" altLang="en-US" sz="1050"/>
                </a:p>
              </p:txBody>
            </p:sp>
            <p:sp>
              <p:nvSpPr>
                <p:cNvPr id="5474" name="Rectangle 121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5475" name="Freeform 1214"/>
                <p:cNvSpPr>
                  <a:spLocks/>
                </p:cNvSpPr>
                <p:nvPr/>
              </p:nvSpPr>
              <p:spPr bwMode="auto">
                <a:xfrm>
                  <a:off x="11613" y="2473"/>
                  <a:ext cx="8" cy="9"/>
                </a:xfrm>
                <a:custGeom>
                  <a:avLst/>
                  <a:gdLst>
                    <a:gd name="T0" fmla="*/ 0 w 5"/>
                    <a:gd name="T1" fmla="*/ 2 h 2"/>
                    <a:gd name="T2" fmla="*/ 5 w 5"/>
                    <a:gd name="T3" fmla="*/ 2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2"/>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76" name="Freeform 1215"/>
                <p:cNvSpPr>
                  <a:spLocks/>
                </p:cNvSpPr>
                <p:nvPr/>
              </p:nvSpPr>
              <p:spPr bwMode="auto">
                <a:xfrm>
                  <a:off x="11613" y="2482"/>
                  <a:ext cx="8" cy="0"/>
                </a:xfrm>
                <a:custGeom>
                  <a:avLst/>
                  <a:gdLst>
                    <a:gd name="T0" fmla="*/ 0 w 5"/>
                    <a:gd name="T1" fmla="*/ 3 h 3"/>
                    <a:gd name="T2" fmla="*/ 5 w 5"/>
                    <a:gd name="T3" fmla="*/ 0 h 3"/>
                    <a:gd name="T4" fmla="*/ 5 w 5"/>
                    <a:gd name="T5" fmla="*/ 0 h 3"/>
                    <a:gd name="T6" fmla="*/ 0 w 5"/>
                    <a:gd name="T7" fmla="*/ 0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5477" name="Freeform 1216"/>
                <p:cNvSpPr>
                  <a:spLocks/>
                </p:cNvSpPr>
                <p:nvPr/>
              </p:nvSpPr>
              <p:spPr bwMode="auto">
                <a:xfrm>
                  <a:off x="11596" y="2369"/>
                  <a:ext cx="8" cy="0"/>
                </a:xfrm>
                <a:custGeom>
                  <a:avLst/>
                  <a:gdLst>
                    <a:gd name="T0" fmla="*/ 0 w 10"/>
                    <a:gd name="T1" fmla="*/ 5 h 5"/>
                    <a:gd name="T2" fmla="*/ 10 w 10"/>
                    <a:gd name="T3" fmla="*/ 0 h 5"/>
                    <a:gd name="T4" fmla="*/ 10 w 10"/>
                    <a:gd name="T5" fmla="*/ 0 h 5"/>
                    <a:gd name="T6" fmla="*/ 0 w 10"/>
                    <a:gd name="T7" fmla="*/ 3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0"/>
                      </a:lnTo>
                      <a:lnTo>
                        <a:pt x="10"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78" name="Freeform 1217"/>
                <p:cNvSpPr>
                  <a:spLocks/>
                </p:cNvSpPr>
                <p:nvPr/>
              </p:nvSpPr>
              <p:spPr bwMode="auto">
                <a:xfrm>
                  <a:off x="11571" y="2308"/>
                  <a:ext cx="25" cy="0"/>
                </a:xfrm>
                <a:custGeom>
                  <a:avLst/>
                  <a:gdLst>
                    <a:gd name="T0" fmla="*/ 0 w 24"/>
                    <a:gd name="T1" fmla="*/ 10 h 10"/>
                    <a:gd name="T2" fmla="*/ 24 w 24"/>
                    <a:gd name="T3" fmla="*/ 3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3"/>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479" name="Freeform 1218"/>
                <p:cNvSpPr>
                  <a:spLocks/>
                </p:cNvSpPr>
                <p:nvPr/>
              </p:nvSpPr>
              <p:spPr bwMode="auto">
                <a:xfrm>
                  <a:off x="11580" y="2316"/>
                  <a:ext cx="17" cy="9"/>
                </a:xfrm>
                <a:custGeom>
                  <a:avLst/>
                  <a:gdLst>
                    <a:gd name="T0" fmla="*/ 3 w 19"/>
                    <a:gd name="T1" fmla="*/ 7 h 7"/>
                    <a:gd name="T2" fmla="*/ 19 w 19"/>
                    <a:gd name="T3" fmla="*/ 2 h 7"/>
                    <a:gd name="T4" fmla="*/ 19 w 19"/>
                    <a:gd name="T5" fmla="*/ 0 h 7"/>
                    <a:gd name="T6" fmla="*/ 0 w 19"/>
                    <a:gd name="T7" fmla="*/ 7 h 7"/>
                    <a:gd name="T8" fmla="*/ 3 w 19"/>
                    <a:gd name="T9" fmla="*/ 7 h 7"/>
                  </a:gdLst>
                  <a:ahLst/>
                  <a:cxnLst>
                    <a:cxn ang="0">
                      <a:pos x="T0" y="T1"/>
                    </a:cxn>
                    <a:cxn ang="0">
                      <a:pos x="T2" y="T3"/>
                    </a:cxn>
                    <a:cxn ang="0">
                      <a:pos x="T4" y="T5"/>
                    </a:cxn>
                    <a:cxn ang="0">
                      <a:pos x="T6" y="T7"/>
                    </a:cxn>
                    <a:cxn ang="0">
                      <a:pos x="T8" y="T9"/>
                    </a:cxn>
                  </a:cxnLst>
                  <a:rect l="0" t="0" r="r" b="b"/>
                  <a:pathLst>
                    <a:path w="19" h="7">
                      <a:moveTo>
                        <a:pt x="3" y="7"/>
                      </a:moveTo>
                      <a:lnTo>
                        <a:pt x="19" y="2"/>
                      </a:lnTo>
                      <a:lnTo>
                        <a:pt x="19"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5480" name="Freeform 1219"/>
                <p:cNvSpPr>
                  <a:spLocks/>
                </p:cNvSpPr>
                <p:nvPr/>
              </p:nvSpPr>
              <p:spPr bwMode="auto">
                <a:xfrm>
                  <a:off x="11580" y="2308"/>
                  <a:ext cx="17" cy="9"/>
                </a:xfrm>
                <a:custGeom>
                  <a:avLst/>
                  <a:gdLst>
                    <a:gd name="T0" fmla="*/ 0 w 19"/>
                    <a:gd name="T1" fmla="*/ 7 h 7"/>
                    <a:gd name="T2" fmla="*/ 19 w 19"/>
                    <a:gd name="T3" fmla="*/ 0 h 7"/>
                    <a:gd name="T4" fmla="*/ 19 w 19"/>
                    <a:gd name="T5" fmla="*/ 0 h 7"/>
                    <a:gd name="T6" fmla="*/ 0 w 19"/>
                    <a:gd name="T7" fmla="*/ 4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9"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81" name="Freeform 1220"/>
                <p:cNvSpPr>
                  <a:spLocks/>
                </p:cNvSpPr>
                <p:nvPr/>
              </p:nvSpPr>
              <p:spPr bwMode="auto">
                <a:xfrm>
                  <a:off x="11571" y="2308"/>
                  <a:ext cx="25" cy="9"/>
                </a:xfrm>
                <a:custGeom>
                  <a:avLst/>
                  <a:gdLst>
                    <a:gd name="T0" fmla="*/ 0 w 21"/>
                    <a:gd name="T1" fmla="*/ 7 h 7"/>
                    <a:gd name="T2" fmla="*/ 21 w 21"/>
                    <a:gd name="T3" fmla="*/ 0 h 7"/>
                    <a:gd name="T4" fmla="*/ 21 w 21"/>
                    <a:gd name="T5" fmla="*/ 0 h 7"/>
                    <a:gd name="T6" fmla="*/ 0 w 21"/>
                    <a:gd name="T7" fmla="*/ 7 h 7"/>
                    <a:gd name="T8" fmla="*/ 0 w 21"/>
                    <a:gd name="T9" fmla="*/ 7 h 7"/>
                  </a:gdLst>
                  <a:ahLst/>
                  <a:cxnLst>
                    <a:cxn ang="0">
                      <a:pos x="T0" y="T1"/>
                    </a:cxn>
                    <a:cxn ang="0">
                      <a:pos x="T2" y="T3"/>
                    </a:cxn>
                    <a:cxn ang="0">
                      <a:pos x="T4" y="T5"/>
                    </a:cxn>
                    <a:cxn ang="0">
                      <a:pos x="T6" y="T7"/>
                    </a:cxn>
                    <a:cxn ang="0">
                      <a:pos x="T8" y="T9"/>
                    </a:cxn>
                  </a:cxnLst>
                  <a:rect l="0" t="0" r="r" b="b"/>
                  <a:pathLst>
                    <a:path w="21" h="7">
                      <a:moveTo>
                        <a:pt x="0" y="7"/>
                      </a:moveTo>
                      <a:lnTo>
                        <a:pt x="21" y="0"/>
                      </a:lnTo>
                      <a:lnTo>
                        <a:pt x="21"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82" name="Freeform 1221"/>
                <p:cNvSpPr>
                  <a:spLocks/>
                </p:cNvSpPr>
                <p:nvPr/>
              </p:nvSpPr>
              <p:spPr bwMode="auto">
                <a:xfrm>
                  <a:off x="11580" y="2316"/>
                  <a:ext cx="17" cy="9"/>
                </a:xfrm>
                <a:custGeom>
                  <a:avLst/>
                  <a:gdLst>
                    <a:gd name="T0" fmla="*/ 0 w 16"/>
                    <a:gd name="T1" fmla="*/ 4 h 4"/>
                    <a:gd name="T2" fmla="*/ 16 w 16"/>
                    <a:gd name="T3" fmla="*/ 0 h 4"/>
                    <a:gd name="T4" fmla="*/ 16 w 16"/>
                    <a:gd name="T5" fmla="*/ 0 h 4"/>
                    <a:gd name="T6" fmla="*/ 0 w 16"/>
                    <a:gd name="T7" fmla="*/ 4 h 4"/>
                    <a:gd name="T8" fmla="*/ 0 w 16"/>
                    <a:gd name="T9" fmla="*/ 4 h 4"/>
                  </a:gdLst>
                  <a:ahLst/>
                  <a:cxnLst>
                    <a:cxn ang="0">
                      <a:pos x="T0" y="T1"/>
                    </a:cxn>
                    <a:cxn ang="0">
                      <a:pos x="T2" y="T3"/>
                    </a:cxn>
                    <a:cxn ang="0">
                      <a:pos x="T4" y="T5"/>
                    </a:cxn>
                    <a:cxn ang="0">
                      <a:pos x="T6" y="T7"/>
                    </a:cxn>
                    <a:cxn ang="0">
                      <a:pos x="T8" y="T9"/>
                    </a:cxn>
                  </a:cxnLst>
                  <a:rect l="0" t="0" r="r" b="b"/>
                  <a:pathLst>
                    <a:path w="16" h="4">
                      <a:moveTo>
                        <a:pt x="0" y="4"/>
                      </a:moveTo>
                      <a:lnTo>
                        <a:pt x="16" y="0"/>
                      </a:lnTo>
                      <a:lnTo>
                        <a:pt x="16"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483" name="Freeform 1222"/>
                <p:cNvSpPr>
                  <a:spLocks/>
                </p:cNvSpPr>
                <p:nvPr/>
              </p:nvSpPr>
              <p:spPr bwMode="auto">
                <a:xfrm>
                  <a:off x="11580" y="2334"/>
                  <a:ext cx="17" cy="9"/>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84" name="Freeform 1223"/>
                <p:cNvSpPr>
                  <a:spLocks/>
                </p:cNvSpPr>
                <p:nvPr/>
              </p:nvSpPr>
              <p:spPr bwMode="auto">
                <a:xfrm>
                  <a:off x="11580" y="2325"/>
                  <a:ext cx="17" cy="9"/>
                </a:xfrm>
                <a:custGeom>
                  <a:avLst/>
                  <a:gdLst>
                    <a:gd name="T0" fmla="*/ 0 w 14"/>
                    <a:gd name="T1" fmla="*/ 7 h 7"/>
                    <a:gd name="T2" fmla="*/ 14 w 14"/>
                    <a:gd name="T3" fmla="*/ 2 h 7"/>
                    <a:gd name="T4" fmla="*/ 14 w 14"/>
                    <a:gd name="T5" fmla="*/ 0 h 7"/>
                    <a:gd name="T6" fmla="*/ 0 w 14"/>
                    <a:gd name="T7" fmla="*/ 5 h 7"/>
                    <a:gd name="T8" fmla="*/ 0 w 14"/>
                    <a:gd name="T9" fmla="*/ 7 h 7"/>
                  </a:gdLst>
                  <a:ahLst/>
                  <a:cxnLst>
                    <a:cxn ang="0">
                      <a:pos x="T0" y="T1"/>
                    </a:cxn>
                    <a:cxn ang="0">
                      <a:pos x="T2" y="T3"/>
                    </a:cxn>
                    <a:cxn ang="0">
                      <a:pos x="T4" y="T5"/>
                    </a:cxn>
                    <a:cxn ang="0">
                      <a:pos x="T6" y="T7"/>
                    </a:cxn>
                    <a:cxn ang="0">
                      <a:pos x="T8" y="T9"/>
                    </a:cxn>
                  </a:cxnLst>
                  <a:rect l="0" t="0" r="r" b="b"/>
                  <a:pathLst>
                    <a:path w="14" h="7">
                      <a:moveTo>
                        <a:pt x="0" y="7"/>
                      </a:moveTo>
                      <a:lnTo>
                        <a:pt x="14" y="2"/>
                      </a:lnTo>
                      <a:lnTo>
                        <a:pt x="14"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5485" name="Freeform 1224"/>
                <p:cNvSpPr>
                  <a:spLocks/>
                </p:cNvSpPr>
                <p:nvPr/>
              </p:nvSpPr>
              <p:spPr bwMode="auto">
                <a:xfrm>
                  <a:off x="11580" y="2325"/>
                  <a:ext cx="17" cy="9"/>
                </a:xfrm>
                <a:custGeom>
                  <a:avLst/>
                  <a:gdLst>
                    <a:gd name="T0" fmla="*/ 2 w 14"/>
                    <a:gd name="T1" fmla="*/ 4 h 4"/>
                    <a:gd name="T2" fmla="*/ 14 w 14"/>
                    <a:gd name="T3" fmla="*/ 0 h 4"/>
                    <a:gd name="T4" fmla="*/ 14 w 14"/>
                    <a:gd name="T5" fmla="*/ 0 h 4"/>
                    <a:gd name="T6" fmla="*/ 0 w 14"/>
                    <a:gd name="T7" fmla="*/ 4 h 4"/>
                    <a:gd name="T8" fmla="*/ 2 w 14"/>
                    <a:gd name="T9" fmla="*/ 4 h 4"/>
                  </a:gdLst>
                  <a:ahLst/>
                  <a:cxnLst>
                    <a:cxn ang="0">
                      <a:pos x="T0" y="T1"/>
                    </a:cxn>
                    <a:cxn ang="0">
                      <a:pos x="T2" y="T3"/>
                    </a:cxn>
                    <a:cxn ang="0">
                      <a:pos x="T4" y="T5"/>
                    </a:cxn>
                    <a:cxn ang="0">
                      <a:pos x="T6" y="T7"/>
                    </a:cxn>
                    <a:cxn ang="0">
                      <a:pos x="T8" y="T9"/>
                    </a:cxn>
                  </a:cxnLst>
                  <a:rect l="0" t="0" r="r" b="b"/>
                  <a:pathLst>
                    <a:path w="14" h="4">
                      <a:moveTo>
                        <a:pt x="2" y="4"/>
                      </a:moveTo>
                      <a:lnTo>
                        <a:pt x="14" y="0"/>
                      </a:lnTo>
                      <a:lnTo>
                        <a:pt x="14"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5486" name="Freeform 1225"/>
                <p:cNvSpPr>
                  <a:spLocks/>
                </p:cNvSpPr>
                <p:nvPr/>
              </p:nvSpPr>
              <p:spPr bwMode="auto">
                <a:xfrm>
                  <a:off x="11571" y="2308"/>
                  <a:ext cx="25" cy="0"/>
                </a:xfrm>
                <a:custGeom>
                  <a:avLst/>
                  <a:gdLst>
                    <a:gd name="T0" fmla="*/ 2 w 26"/>
                    <a:gd name="T1" fmla="*/ 9 h 9"/>
                    <a:gd name="T2" fmla="*/ 26 w 26"/>
                    <a:gd name="T3" fmla="*/ 0 h 9"/>
                    <a:gd name="T4" fmla="*/ 26 w 26"/>
                    <a:gd name="T5" fmla="*/ 0 h 9"/>
                    <a:gd name="T6" fmla="*/ 0 w 26"/>
                    <a:gd name="T7" fmla="*/ 7 h 9"/>
                    <a:gd name="T8" fmla="*/ 2 w 26"/>
                    <a:gd name="T9" fmla="*/ 9 h 9"/>
                  </a:gdLst>
                  <a:ahLst/>
                  <a:cxnLst>
                    <a:cxn ang="0">
                      <a:pos x="T0" y="T1"/>
                    </a:cxn>
                    <a:cxn ang="0">
                      <a:pos x="T2" y="T3"/>
                    </a:cxn>
                    <a:cxn ang="0">
                      <a:pos x="T4" y="T5"/>
                    </a:cxn>
                    <a:cxn ang="0">
                      <a:pos x="T6" y="T7"/>
                    </a:cxn>
                    <a:cxn ang="0">
                      <a:pos x="T8" y="T9"/>
                    </a:cxn>
                  </a:cxnLst>
                  <a:rect l="0" t="0" r="r" b="b"/>
                  <a:pathLst>
                    <a:path w="26" h="9">
                      <a:moveTo>
                        <a:pt x="2" y="9"/>
                      </a:moveTo>
                      <a:lnTo>
                        <a:pt x="26" y="0"/>
                      </a:lnTo>
                      <a:lnTo>
                        <a:pt x="26" y="0"/>
                      </a:lnTo>
                      <a:lnTo>
                        <a:pt x="0" y="7"/>
                      </a:lnTo>
                      <a:lnTo>
                        <a:pt x="2" y="9"/>
                      </a:lnTo>
                      <a:close/>
                    </a:path>
                  </a:pathLst>
                </a:custGeom>
                <a:solidFill>
                  <a:srgbClr val="01AAE5"/>
                </a:solidFill>
                <a:ln>
                  <a:noFill/>
                </a:ln>
                <a:extLst/>
              </p:spPr>
              <p:txBody>
                <a:bodyPr/>
                <a:lstStyle/>
                <a:p>
                  <a:pPr eaLnBrk="1" hangingPunct="1">
                    <a:defRPr/>
                  </a:pPr>
                  <a:endParaRPr lang="zh-CN" altLang="en-US" sz="1050"/>
                </a:p>
              </p:txBody>
            </p:sp>
            <p:sp>
              <p:nvSpPr>
                <p:cNvPr id="5487" name="Freeform 1226"/>
                <p:cNvSpPr>
                  <a:spLocks/>
                </p:cNvSpPr>
                <p:nvPr/>
              </p:nvSpPr>
              <p:spPr bwMode="auto">
                <a:xfrm>
                  <a:off x="11555" y="2273"/>
                  <a:ext cx="33" cy="17"/>
                </a:xfrm>
                <a:custGeom>
                  <a:avLst/>
                  <a:gdLst>
                    <a:gd name="T0" fmla="*/ 0 w 30"/>
                    <a:gd name="T1" fmla="*/ 14 h 14"/>
                    <a:gd name="T2" fmla="*/ 30 w 30"/>
                    <a:gd name="T3" fmla="*/ 3 h 14"/>
                    <a:gd name="T4" fmla="*/ 30 w 30"/>
                    <a:gd name="T5" fmla="*/ 0 h 14"/>
                    <a:gd name="T6" fmla="*/ 0 w 30"/>
                    <a:gd name="T7" fmla="*/ 12 h 14"/>
                    <a:gd name="T8" fmla="*/ 0 w 30"/>
                    <a:gd name="T9" fmla="*/ 14 h 14"/>
                  </a:gdLst>
                  <a:ahLst/>
                  <a:cxnLst>
                    <a:cxn ang="0">
                      <a:pos x="T0" y="T1"/>
                    </a:cxn>
                    <a:cxn ang="0">
                      <a:pos x="T2" y="T3"/>
                    </a:cxn>
                    <a:cxn ang="0">
                      <a:pos x="T4" y="T5"/>
                    </a:cxn>
                    <a:cxn ang="0">
                      <a:pos x="T6" y="T7"/>
                    </a:cxn>
                    <a:cxn ang="0">
                      <a:pos x="T8" y="T9"/>
                    </a:cxn>
                  </a:cxnLst>
                  <a:rect l="0" t="0" r="r" b="b"/>
                  <a:pathLst>
                    <a:path w="30" h="14">
                      <a:moveTo>
                        <a:pt x="0" y="14"/>
                      </a:moveTo>
                      <a:lnTo>
                        <a:pt x="30" y="3"/>
                      </a:lnTo>
                      <a:lnTo>
                        <a:pt x="3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5488" name="Freeform 1227"/>
                <p:cNvSpPr>
                  <a:spLocks/>
                </p:cNvSpPr>
                <p:nvPr/>
              </p:nvSpPr>
              <p:spPr bwMode="auto">
                <a:xfrm>
                  <a:off x="11563" y="2281"/>
                  <a:ext cx="25" cy="17"/>
                </a:xfrm>
                <a:custGeom>
                  <a:avLst/>
                  <a:gdLst>
                    <a:gd name="T0" fmla="*/ 0 w 31"/>
                    <a:gd name="T1" fmla="*/ 12 h 12"/>
                    <a:gd name="T2" fmla="*/ 31 w 31"/>
                    <a:gd name="T3" fmla="*/ 0 h 12"/>
                    <a:gd name="T4" fmla="*/ 28 w 31"/>
                    <a:gd name="T5" fmla="*/ 0 h 12"/>
                    <a:gd name="T6" fmla="*/ 0 w 31"/>
                    <a:gd name="T7" fmla="*/ 12 h 12"/>
                    <a:gd name="T8" fmla="*/ 0 w 31"/>
                    <a:gd name="T9" fmla="*/ 12 h 12"/>
                  </a:gdLst>
                  <a:ahLst/>
                  <a:cxnLst>
                    <a:cxn ang="0">
                      <a:pos x="T0" y="T1"/>
                    </a:cxn>
                    <a:cxn ang="0">
                      <a:pos x="T2" y="T3"/>
                    </a:cxn>
                    <a:cxn ang="0">
                      <a:pos x="T4" y="T5"/>
                    </a:cxn>
                    <a:cxn ang="0">
                      <a:pos x="T6" y="T7"/>
                    </a:cxn>
                    <a:cxn ang="0">
                      <a:pos x="T8" y="T9"/>
                    </a:cxn>
                  </a:cxnLst>
                  <a:rect l="0" t="0" r="r" b="b"/>
                  <a:pathLst>
                    <a:path w="31" h="12">
                      <a:moveTo>
                        <a:pt x="0" y="12"/>
                      </a:moveTo>
                      <a:lnTo>
                        <a:pt x="31"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489" name="Freeform 1228"/>
                <p:cNvSpPr>
                  <a:spLocks/>
                </p:cNvSpPr>
                <p:nvPr/>
              </p:nvSpPr>
              <p:spPr bwMode="auto">
                <a:xfrm>
                  <a:off x="11563" y="2281"/>
                  <a:ext cx="25" cy="17"/>
                </a:xfrm>
                <a:custGeom>
                  <a:avLst/>
                  <a:gdLst>
                    <a:gd name="T0" fmla="*/ 2 w 31"/>
                    <a:gd name="T1" fmla="*/ 12 h 12"/>
                    <a:gd name="T2" fmla="*/ 31 w 31"/>
                    <a:gd name="T3" fmla="*/ 3 h 12"/>
                    <a:gd name="T4" fmla="*/ 31 w 31"/>
                    <a:gd name="T5" fmla="*/ 0 h 12"/>
                    <a:gd name="T6" fmla="*/ 0 w 31"/>
                    <a:gd name="T7" fmla="*/ 12 h 12"/>
                    <a:gd name="T8" fmla="*/ 2 w 31"/>
                    <a:gd name="T9" fmla="*/ 12 h 12"/>
                  </a:gdLst>
                  <a:ahLst/>
                  <a:cxnLst>
                    <a:cxn ang="0">
                      <a:pos x="T0" y="T1"/>
                    </a:cxn>
                    <a:cxn ang="0">
                      <a:pos x="T2" y="T3"/>
                    </a:cxn>
                    <a:cxn ang="0">
                      <a:pos x="T4" y="T5"/>
                    </a:cxn>
                    <a:cxn ang="0">
                      <a:pos x="T6" y="T7"/>
                    </a:cxn>
                    <a:cxn ang="0">
                      <a:pos x="T8" y="T9"/>
                    </a:cxn>
                  </a:cxnLst>
                  <a:rect l="0" t="0" r="r" b="b"/>
                  <a:pathLst>
                    <a:path w="31" h="12">
                      <a:moveTo>
                        <a:pt x="2" y="12"/>
                      </a:moveTo>
                      <a:lnTo>
                        <a:pt x="31" y="3"/>
                      </a:lnTo>
                      <a:lnTo>
                        <a:pt x="31"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490" name="Freeform 1229"/>
                <p:cNvSpPr>
                  <a:spLocks/>
                </p:cNvSpPr>
                <p:nvPr/>
              </p:nvSpPr>
              <p:spPr bwMode="auto">
                <a:xfrm>
                  <a:off x="11555" y="2273"/>
                  <a:ext cx="33" cy="17"/>
                </a:xfrm>
                <a:custGeom>
                  <a:avLst/>
                  <a:gdLst>
                    <a:gd name="T0" fmla="*/ 0 w 30"/>
                    <a:gd name="T1" fmla="*/ 12 h 12"/>
                    <a:gd name="T2" fmla="*/ 30 w 30"/>
                    <a:gd name="T3" fmla="*/ 0 h 12"/>
                    <a:gd name="T4" fmla="*/ 28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491" name="Freeform 1230"/>
                <p:cNvSpPr>
                  <a:spLocks/>
                </p:cNvSpPr>
                <p:nvPr/>
              </p:nvSpPr>
              <p:spPr bwMode="auto">
                <a:xfrm>
                  <a:off x="11563" y="2290"/>
                  <a:ext cx="25" cy="9"/>
                </a:xfrm>
                <a:custGeom>
                  <a:avLst/>
                  <a:gdLst>
                    <a:gd name="T0" fmla="*/ 0 w 29"/>
                    <a:gd name="T1" fmla="*/ 12 h 12"/>
                    <a:gd name="T2" fmla="*/ 29 w 29"/>
                    <a:gd name="T3" fmla="*/ 0 h 12"/>
                    <a:gd name="T4" fmla="*/ 29 w 29"/>
                    <a:gd name="T5" fmla="*/ 0 h 12"/>
                    <a:gd name="T6" fmla="*/ 0 w 29"/>
                    <a:gd name="T7" fmla="*/ 9 h 12"/>
                    <a:gd name="T8" fmla="*/ 0 w 29"/>
                    <a:gd name="T9" fmla="*/ 12 h 12"/>
                  </a:gdLst>
                  <a:ahLst/>
                  <a:cxnLst>
                    <a:cxn ang="0">
                      <a:pos x="T0" y="T1"/>
                    </a:cxn>
                    <a:cxn ang="0">
                      <a:pos x="T2" y="T3"/>
                    </a:cxn>
                    <a:cxn ang="0">
                      <a:pos x="T4" y="T5"/>
                    </a:cxn>
                    <a:cxn ang="0">
                      <a:pos x="T6" y="T7"/>
                    </a:cxn>
                    <a:cxn ang="0">
                      <a:pos x="T8" y="T9"/>
                    </a:cxn>
                  </a:cxnLst>
                  <a:rect l="0" t="0" r="r" b="b"/>
                  <a:pathLst>
                    <a:path w="29" h="12">
                      <a:moveTo>
                        <a:pt x="0" y="12"/>
                      </a:moveTo>
                      <a:lnTo>
                        <a:pt x="29" y="0"/>
                      </a:lnTo>
                      <a:lnTo>
                        <a:pt x="29"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492" name="Freeform 1231"/>
                <p:cNvSpPr>
                  <a:spLocks/>
                </p:cNvSpPr>
                <p:nvPr/>
              </p:nvSpPr>
              <p:spPr bwMode="auto">
                <a:xfrm>
                  <a:off x="11571" y="2299"/>
                  <a:ext cx="17" cy="9"/>
                </a:xfrm>
                <a:custGeom>
                  <a:avLst/>
                  <a:gdLst>
                    <a:gd name="T0" fmla="*/ 0 w 24"/>
                    <a:gd name="T1" fmla="*/ 10 h 10"/>
                    <a:gd name="T2" fmla="*/ 24 w 24"/>
                    <a:gd name="T3" fmla="*/ 2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2"/>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493" name="Freeform 1232"/>
                <p:cNvSpPr>
                  <a:spLocks/>
                </p:cNvSpPr>
                <p:nvPr/>
              </p:nvSpPr>
              <p:spPr bwMode="auto">
                <a:xfrm>
                  <a:off x="11563" y="2299"/>
                  <a:ext cx="25" cy="9"/>
                </a:xfrm>
                <a:custGeom>
                  <a:avLst/>
                  <a:gdLst>
                    <a:gd name="T0" fmla="*/ 0 w 26"/>
                    <a:gd name="T1" fmla="*/ 9 h 9"/>
                    <a:gd name="T2" fmla="*/ 26 w 26"/>
                    <a:gd name="T3" fmla="*/ 0 h 9"/>
                    <a:gd name="T4" fmla="*/ 26 w 26"/>
                    <a:gd name="T5" fmla="*/ 0 h 9"/>
                    <a:gd name="T6" fmla="*/ 0 w 26"/>
                    <a:gd name="T7" fmla="*/ 9 h 9"/>
                    <a:gd name="T8" fmla="*/ 0 w 26"/>
                    <a:gd name="T9" fmla="*/ 9 h 9"/>
                  </a:gdLst>
                  <a:ahLst/>
                  <a:cxnLst>
                    <a:cxn ang="0">
                      <a:pos x="T0" y="T1"/>
                    </a:cxn>
                    <a:cxn ang="0">
                      <a:pos x="T2" y="T3"/>
                    </a:cxn>
                    <a:cxn ang="0">
                      <a:pos x="T4" y="T5"/>
                    </a:cxn>
                    <a:cxn ang="0">
                      <a:pos x="T6" y="T7"/>
                    </a:cxn>
                    <a:cxn ang="0">
                      <a:pos x="T8" y="T9"/>
                    </a:cxn>
                  </a:cxnLst>
                  <a:rect l="0" t="0" r="r" b="b"/>
                  <a:pathLst>
                    <a:path w="26" h="9">
                      <a:moveTo>
                        <a:pt x="0" y="9"/>
                      </a:moveTo>
                      <a:lnTo>
                        <a:pt x="26" y="0"/>
                      </a:lnTo>
                      <a:lnTo>
                        <a:pt x="26"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494" name="Freeform 1233"/>
                <p:cNvSpPr>
                  <a:spLocks/>
                </p:cNvSpPr>
                <p:nvPr/>
              </p:nvSpPr>
              <p:spPr bwMode="auto">
                <a:xfrm>
                  <a:off x="11580" y="2334"/>
                  <a:ext cx="17" cy="9"/>
                </a:xfrm>
                <a:custGeom>
                  <a:avLst/>
                  <a:gdLst>
                    <a:gd name="T0" fmla="*/ 0 w 9"/>
                    <a:gd name="T1" fmla="*/ 5 h 5"/>
                    <a:gd name="T2" fmla="*/ 9 w 9"/>
                    <a:gd name="T3" fmla="*/ 2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95" name="Freeform 1234"/>
                <p:cNvSpPr>
                  <a:spLocks/>
                </p:cNvSpPr>
                <p:nvPr/>
              </p:nvSpPr>
              <p:spPr bwMode="auto">
                <a:xfrm>
                  <a:off x="11588" y="2342"/>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96" name="Freeform 1235"/>
                <p:cNvSpPr>
                  <a:spLocks/>
                </p:cNvSpPr>
                <p:nvPr/>
              </p:nvSpPr>
              <p:spPr bwMode="auto">
                <a:xfrm>
                  <a:off x="11596" y="2377"/>
                  <a:ext cx="8" cy="0"/>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5497" name="Freeform 1236"/>
                <p:cNvSpPr>
                  <a:spLocks/>
                </p:cNvSpPr>
                <p:nvPr/>
              </p:nvSpPr>
              <p:spPr bwMode="auto">
                <a:xfrm>
                  <a:off x="11596" y="2369"/>
                  <a:ext cx="8" cy="9"/>
                </a:xfrm>
                <a:custGeom>
                  <a:avLst/>
                  <a:gdLst>
                    <a:gd name="T0" fmla="*/ 0 w 12"/>
                    <a:gd name="T1" fmla="*/ 2 h 2"/>
                    <a:gd name="T2" fmla="*/ 12 w 12"/>
                    <a:gd name="T3" fmla="*/ 0 h 2"/>
                    <a:gd name="T4" fmla="*/ 12 w 12"/>
                    <a:gd name="T5" fmla="*/ 0 h 2"/>
                    <a:gd name="T6" fmla="*/ 0 w 12"/>
                    <a:gd name="T7" fmla="*/ 2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498" name="Freeform 1237"/>
                <p:cNvSpPr>
                  <a:spLocks/>
                </p:cNvSpPr>
                <p:nvPr/>
              </p:nvSpPr>
              <p:spPr bwMode="auto">
                <a:xfrm>
                  <a:off x="11555" y="2273"/>
                  <a:ext cx="33" cy="9"/>
                </a:xfrm>
                <a:custGeom>
                  <a:avLst/>
                  <a:gdLst>
                    <a:gd name="T0" fmla="*/ 0 w 31"/>
                    <a:gd name="T1" fmla="*/ 14 h 14"/>
                    <a:gd name="T2" fmla="*/ 31 w 31"/>
                    <a:gd name="T3" fmla="*/ 2 h 14"/>
                    <a:gd name="T4" fmla="*/ 31 w 31"/>
                    <a:gd name="T5" fmla="*/ 0 h 14"/>
                    <a:gd name="T6" fmla="*/ 0 w 31"/>
                    <a:gd name="T7" fmla="*/ 14 h 14"/>
                    <a:gd name="T8" fmla="*/ 0 w 31"/>
                    <a:gd name="T9" fmla="*/ 14 h 14"/>
                  </a:gdLst>
                  <a:ahLst/>
                  <a:cxnLst>
                    <a:cxn ang="0">
                      <a:pos x="T0" y="T1"/>
                    </a:cxn>
                    <a:cxn ang="0">
                      <a:pos x="T2" y="T3"/>
                    </a:cxn>
                    <a:cxn ang="0">
                      <a:pos x="T4" y="T5"/>
                    </a:cxn>
                    <a:cxn ang="0">
                      <a:pos x="T6" y="T7"/>
                    </a:cxn>
                    <a:cxn ang="0">
                      <a:pos x="T8" y="T9"/>
                    </a:cxn>
                  </a:cxnLst>
                  <a:rect l="0" t="0" r="r" b="b"/>
                  <a:pathLst>
                    <a:path w="31" h="14">
                      <a:moveTo>
                        <a:pt x="0" y="14"/>
                      </a:moveTo>
                      <a:lnTo>
                        <a:pt x="31" y="2"/>
                      </a:lnTo>
                      <a:lnTo>
                        <a:pt x="31"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5499" name="Freeform 1238"/>
                <p:cNvSpPr>
                  <a:spLocks/>
                </p:cNvSpPr>
                <p:nvPr/>
              </p:nvSpPr>
              <p:spPr bwMode="auto">
                <a:xfrm>
                  <a:off x="11596" y="2377"/>
                  <a:ext cx="8" cy="9"/>
                </a:xfrm>
                <a:custGeom>
                  <a:avLst/>
                  <a:gdLst>
                    <a:gd name="T0" fmla="*/ 0 w 14"/>
                    <a:gd name="T1" fmla="*/ 4 h 4"/>
                    <a:gd name="T2" fmla="*/ 14 w 14"/>
                    <a:gd name="T3" fmla="*/ 2 h 4"/>
                    <a:gd name="T4" fmla="*/ 14 w 14"/>
                    <a:gd name="T5" fmla="*/ 0 h 4"/>
                    <a:gd name="T6" fmla="*/ 0 w 14"/>
                    <a:gd name="T7" fmla="*/ 4 h 4"/>
                    <a:gd name="T8" fmla="*/ 0 w 14"/>
                    <a:gd name="T9" fmla="*/ 4 h 4"/>
                  </a:gdLst>
                  <a:ahLst/>
                  <a:cxnLst>
                    <a:cxn ang="0">
                      <a:pos x="T0" y="T1"/>
                    </a:cxn>
                    <a:cxn ang="0">
                      <a:pos x="T2" y="T3"/>
                    </a:cxn>
                    <a:cxn ang="0">
                      <a:pos x="T4" y="T5"/>
                    </a:cxn>
                    <a:cxn ang="0">
                      <a:pos x="T6" y="T7"/>
                    </a:cxn>
                    <a:cxn ang="0">
                      <a:pos x="T8" y="T9"/>
                    </a:cxn>
                  </a:cxnLst>
                  <a:rect l="0" t="0" r="r" b="b"/>
                  <a:pathLst>
                    <a:path w="14" h="4">
                      <a:moveTo>
                        <a:pt x="0" y="4"/>
                      </a:moveTo>
                      <a:lnTo>
                        <a:pt x="14" y="2"/>
                      </a:lnTo>
                      <a:lnTo>
                        <a:pt x="1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500" name="Freeform 1239"/>
                <p:cNvSpPr>
                  <a:spLocks/>
                </p:cNvSpPr>
                <p:nvPr/>
              </p:nvSpPr>
              <p:spPr bwMode="auto">
                <a:xfrm>
                  <a:off x="11596" y="2369"/>
                  <a:ext cx="8" cy="0"/>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501" name="Freeform 1240"/>
                <p:cNvSpPr>
                  <a:spLocks/>
                </p:cNvSpPr>
                <p:nvPr/>
              </p:nvSpPr>
              <p:spPr bwMode="auto">
                <a:xfrm>
                  <a:off x="11596" y="2395"/>
                  <a:ext cx="8" cy="0"/>
                </a:xfrm>
                <a:custGeom>
                  <a:avLst/>
                  <a:gdLst>
                    <a:gd name="T0" fmla="*/ 0 w 15"/>
                    <a:gd name="T1" fmla="*/ 4 h 4"/>
                    <a:gd name="T2" fmla="*/ 15 w 15"/>
                    <a:gd name="T3" fmla="*/ 0 h 4"/>
                    <a:gd name="T4" fmla="*/ 15 w 15"/>
                    <a:gd name="T5" fmla="*/ 0 h 4"/>
                    <a:gd name="T6" fmla="*/ 0 w 15"/>
                    <a:gd name="T7" fmla="*/ 2 h 4"/>
                    <a:gd name="T8" fmla="*/ 0 w 15"/>
                    <a:gd name="T9" fmla="*/ 4 h 4"/>
                  </a:gdLst>
                  <a:ahLst/>
                  <a:cxnLst>
                    <a:cxn ang="0">
                      <a:pos x="T0" y="T1"/>
                    </a:cxn>
                    <a:cxn ang="0">
                      <a:pos x="T2" y="T3"/>
                    </a:cxn>
                    <a:cxn ang="0">
                      <a:pos x="T4" y="T5"/>
                    </a:cxn>
                    <a:cxn ang="0">
                      <a:pos x="T6" y="T7"/>
                    </a:cxn>
                    <a:cxn ang="0">
                      <a:pos x="T8" y="T9"/>
                    </a:cxn>
                  </a:cxnLst>
                  <a:rect l="0" t="0" r="r" b="b"/>
                  <a:pathLst>
                    <a:path w="15" h="4">
                      <a:moveTo>
                        <a:pt x="0" y="4"/>
                      </a:moveTo>
                      <a:lnTo>
                        <a:pt x="15" y="0"/>
                      </a:lnTo>
                      <a:lnTo>
                        <a:pt x="1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5502" name="Freeform 1241"/>
                <p:cNvSpPr>
                  <a:spLocks/>
                </p:cNvSpPr>
                <p:nvPr/>
              </p:nvSpPr>
              <p:spPr bwMode="auto">
                <a:xfrm>
                  <a:off x="11596" y="2386"/>
                  <a:ext cx="8" cy="9"/>
                </a:xfrm>
                <a:custGeom>
                  <a:avLst/>
                  <a:gdLst>
                    <a:gd name="T0" fmla="*/ 0 w 15"/>
                    <a:gd name="T1" fmla="*/ 5 h 5"/>
                    <a:gd name="T2" fmla="*/ 15 w 15"/>
                    <a:gd name="T3" fmla="*/ 2 h 5"/>
                    <a:gd name="T4" fmla="*/ 15 w 15"/>
                    <a:gd name="T5" fmla="*/ 0 h 5"/>
                    <a:gd name="T6" fmla="*/ 0 w 15"/>
                    <a:gd name="T7" fmla="*/ 5 h 5"/>
                    <a:gd name="T8" fmla="*/ 0 w 15"/>
                    <a:gd name="T9" fmla="*/ 5 h 5"/>
                  </a:gdLst>
                  <a:ahLst/>
                  <a:cxnLst>
                    <a:cxn ang="0">
                      <a:pos x="T0" y="T1"/>
                    </a:cxn>
                    <a:cxn ang="0">
                      <a:pos x="T2" y="T3"/>
                    </a:cxn>
                    <a:cxn ang="0">
                      <a:pos x="T4" y="T5"/>
                    </a:cxn>
                    <a:cxn ang="0">
                      <a:pos x="T6" y="T7"/>
                    </a:cxn>
                    <a:cxn ang="0">
                      <a:pos x="T8" y="T9"/>
                    </a:cxn>
                  </a:cxnLst>
                  <a:rect l="0" t="0" r="r" b="b"/>
                  <a:pathLst>
                    <a:path w="15" h="5">
                      <a:moveTo>
                        <a:pt x="0" y="5"/>
                      </a:moveTo>
                      <a:lnTo>
                        <a:pt x="15" y="2"/>
                      </a:lnTo>
                      <a:lnTo>
                        <a:pt x="1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03" name="Freeform 1242"/>
                <p:cNvSpPr>
                  <a:spLocks/>
                </p:cNvSpPr>
                <p:nvPr/>
              </p:nvSpPr>
              <p:spPr bwMode="auto">
                <a:xfrm>
                  <a:off x="11596" y="2386"/>
                  <a:ext cx="8" cy="0"/>
                </a:xfrm>
                <a:custGeom>
                  <a:avLst/>
                  <a:gdLst>
                    <a:gd name="T0" fmla="*/ 2 w 14"/>
                    <a:gd name="T1" fmla="*/ 5 h 5"/>
                    <a:gd name="T2" fmla="*/ 14 w 14"/>
                    <a:gd name="T3" fmla="*/ 0 h 5"/>
                    <a:gd name="T4" fmla="*/ 14 w 14"/>
                    <a:gd name="T5" fmla="*/ 0 h 5"/>
                    <a:gd name="T6" fmla="*/ 0 w 14"/>
                    <a:gd name="T7" fmla="*/ 3 h 5"/>
                    <a:gd name="T8" fmla="*/ 2 w 14"/>
                    <a:gd name="T9" fmla="*/ 5 h 5"/>
                  </a:gdLst>
                  <a:ahLst/>
                  <a:cxnLst>
                    <a:cxn ang="0">
                      <a:pos x="T0" y="T1"/>
                    </a:cxn>
                    <a:cxn ang="0">
                      <a:pos x="T2" y="T3"/>
                    </a:cxn>
                    <a:cxn ang="0">
                      <a:pos x="T4" y="T5"/>
                    </a:cxn>
                    <a:cxn ang="0">
                      <a:pos x="T6" y="T7"/>
                    </a:cxn>
                    <a:cxn ang="0">
                      <a:pos x="T8" y="T9"/>
                    </a:cxn>
                  </a:cxnLst>
                  <a:rect l="0" t="0" r="r" b="b"/>
                  <a:pathLst>
                    <a:path w="14" h="5">
                      <a:moveTo>
                        <a:pt x="2" y="5"/>
                      </a:moveTo>
                      <a:lnTo>
                        <a:pt x="14" y="0"/>
                      </a:lnTo>
                      <a:lnTo>
                        <a:pt x="14"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5504" name="Freeform 1243"/>
                <p:cNvSpPr>
                  <a:spLocks/>
                </p:cNvSpPr>
                <p:nvPr/>
              </p:nvSpPr>
              <p:spPr bwMode="auto">
                <a:xfrm>
                  <a:off x="11596" y="2369"/>
                  <a:ext cx="8" cy="0"/>
                </a:xfrm>
                <a:custGeom>
                  <a:avLst/>
                  <a:gdLst>
                    <a:gd name="T0" fmla="*/ 0 w 7"/>
                    <a:gd name="T1" fmla="*/ 3 h 3"/>
                    <a:gd name="T2" fmla="*/ 7 w 7"/>
                    <a:gd name="T3" fmla="*/ 3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3"/>
                      </a:lnTo>
                      <a:lnTo>
                        <a:pt x="7"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5505" name="Freeform 1244"/>
                <p:cNvSpPr>
                  <a:spLocks/>
                </p:cNvSpPr>
                <p:nvPr/>
              </p:nvSpPr>
              <p:spPr bwMode="auto">
                <a:xfrm>
                  <a:off x="11596" y="2395"/>
                  <a:ext cx="17" cy="0"/>
                </a:xfrm>
                <a:custGeom>
                  <a:avLst/>
                  <a:gdLst>
                    <a:gd name="T0" fmla="*/ 0 w 17"/>
                    <a:gd name="T1" fmla="*/ 5 h 5"/>
                    <a:gd name="T2" fmla="*/ 17 w 17"/>
                    <a:gd name="T3" fmla="*/ 2 h 5"/>
                    <a:gd name="T4" fmla="*/ 17 w 17"/>
                    <a:gd name="T5" fmla="*/ 0 h 5"/>
                    <a:gd name="T6" fmla="*/ 0 w 17"/>
                    <a:gd name="T7" fmla="*/ 5 h 5"/>
                    <a:gd name="T8" fmla="*/ 0 w 17"/>
                    <a:gd name="T9" fmla="*/ 5 h 5"/>
                  </a:gdLst>
                  <a:ahLst/>
                  <a:cxnLst>
                    <a:cxn ang="0">
                      <a:pos x="T0" y="T1"/>
                    </a:cxn>
                    <a:cxn ang="0">
                      <a:pos x="T2" y="T3"/>
                    </a:cxn>
                    <a:cxn ang="0">
                      <a:pos x="T4" y="T5"/>
                    </a:cxn>
                    <a:cxn ang="0">
                      <a:pos x="T6" y="T7"/>
                    </a:cxn>
                    <a:cxn ang="0">
                      <a:pos x="T8" y="T9"/>
                    </a:cxn>
                  </a:cxnLst>
                  <a:rect l="0" t="0" r="r" b="b"/>
                  <a:pathLst>
                    <a:path w="17" h="5">
                      <a:moveTo>
                        <a:pt x="0" y="5"/>
                      </a:moveTo>
                      <a:lnTo>
                        <a:pt x="17" y="2"/>
                      </a:lnTo>
                      <a:lnTo>
                        <a:pt x="17"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06" name="Freeform 1245"/>
                <p:cNvSpPr>
                  <a:spLocks/>
                </p:cNvSpPr>
                <p:nvPr/>
              </p:nvSpPr>
              <p:spPr bwMode="auto">
                <a:xfrm>
                  <a:off x="11588" y="2351"/>
                  <a:ext cx="8" cy="0"/>
                </a:xfrm>
                <a:custGeom>
                  <a:avLst/>
                  <a:gdLst>
                    <a:gd name="T0" fmla="*/ 0 w 7"/>
                    <a:gd name="T1" fmla="*/ 5 h 5"/>
                    <a:gd name="T2" fmla="*/ 7 w 7"/>
                    <a:gd name="T3" fmla="*/ 2 h 5"/>
                    <a:gd name="T4" fmla="*/ 7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07" name="Freeform 1246"/>
                <p:cNvSpPr>
                  <a:spLocks/>
                </p:cNvSpPr>
                <p:nvPr/>
              </p:nvSpPr>
              <p:spPr bwMode="auto">
                <a:xfrm>
                  <a:off x="11588" y="2342"/>
                  <a:ext cx="8" cy="0"/>
                </a:xfrm>
                <a:custGeom>
                  <a:avLst/>
                  <a:gdLst>
                    <a:gd name="T0" fmla="*/ 0 w 9"/>
                    <a:gd name="T1" fmla="*/ 5 h 5"/>
                    <a:gd name="T2" fmla="*/ 9 w 9"/>
                    <a:gd name="T3" fmla="*/ 2 h 5"/>
                    <a:gd name="T4" fmla="*/ 7 w 9"/>
                    <a:gd name="T5" fmla="*/ 0 h 5"/>
                    <a:gd name="T6" fmla="*/ 0 w 9"/>
                    <a:gd name="T7" fmla="*/ 2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08" name="Freeform 1247"/>
                <p:cNvSpPr>
                  <a:spLocks/>
                </p:cNvSpPr>
                <p:nvPr/>
              </p:nvSpPr>
              <p:spPr bwMode="auto">
                <a:xfrm>
                  <a:off x="11588" y="2334"/>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509" name="Freeform 1248"/>
                <p:cNvSpPr>
                  <a:spLocks/>
                </p:cNvSpPr>
                <p:nvPr/>
              </p:nvSpPr>
              <p:spPr bwMode="auto">
                <a:xfrm>
                  <a:off x="11588" y="2360"/>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510" name="Freeform 1249"/>
                <p:cNvSpPr>
                  <a:spLocks/>
                </p:cNvSpPr>
                <p:nvPr/>
              </p:nvSpPr>
              <p:spPr bwMode="auto">
                <a:xfrm>
                  <a:off x="11588" y="2351"/>
                  <a:ext cx="8" cy="9"/>
                </a:xfrm>
                <a:custGeom>
                  <a:avLst/>
                  <a:gdLst>
                    <a:gd name="T0" fmla="*/ 0 w 4"/>
                    <a:gd name="T1" fmla="*/ 2 h 2"/>
                    <a:gd name="T2" fmla="*/ 4 w 4"/>
                    <a:gd name="T3" fmla="*/ 0 h 2"/>
                    <a:gd name="T4" fmla="*/ 4 w 4"/>
                    <a:gd name="T5" fmla="*/ 0 h 2"/>
                    <a:gd name="T6" fmla="*/ 0 w 4"/>
                    <a:gd name="T7" fmla="*/ 2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0"/>
                      </a:lnTo>
                      <a:lnTo>
                        <a:pt x="4"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511" name="Freeform 1250"/>
                <p:cNvSpPr>
                  <a:spLocks/>
                </p:cNvSpPr>
                <p:nvPr/>
              </p:nvSpPr>
              <p:spPr bwMode="auto">
                <a:xfrm>
                  <a:off x="11588" y="2360"/>
                  <a:ext cx="8" cy="0"/>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5512" name="Freeform 1251"/>
                <p:cNvSpPr>
                  <a:spLocks/>
                </p:cNvSpPr>
                <p:nvPr/>
              </p:nvSpPr>
              <p:spPr bwMode="auto">
                <a:xfrm>
                  <a:off x="11114" y="1846"/>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13" name="Freeform 1252"/>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close/>
                    </a:path>
                  </a:pathLst>
                </a:custGeom>
                <a:solidFill>
                  <a:srgbClr val="01AAE5"/>
                </a:solidFill>
                <a:ln>
                  <a:noFill/>
                </a:ln>
                <a:extLst/>
              </p:spPr>
              <p:txBody>
                <a:bodyPr/>
                <a:lstStyle/>
                <a:p>
                  <a:pPr eaLnBrk="1" hangingPunct="1">
                    <a:defRPr/>
                  </a:pPr>
                  <a:endParaRPr lang="zh-CN" altLang="en-US" sz="1050"/>
                </a:p>
              </p:txBody>
            </p:sp>
            <p:sp>
              <p:nvSpPr>
                <p:cNvPr id="5514" name="Freeform 1253"/>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path>
                  </a:pathLst>
                </a:custGeom>
                <a:noFill/>
                <a:ln>
                  <a:noFill/>
                </a:ln>
                <a:extLst/>
              </p:spPr>
              <p:txBody>
                <a:bodyPr/>
                <a:lstStyle/>
                <a:p>
                  <a:pPr eaLnBrk="1" hangingPunct="1">
                    <a:defRPr/>
                  </a:pPr>
                  <a:endParaRPr lang="zh-CN" altLang="en-US" sz="1050"/>
                </a:p>
              </p:txBody>
            </p:sp>
            <p:sp>
              <p:nvSpPr>
                <p:cNvPr id="5515" name="Freeform 1254"/>
                <p:cNvSpPr>
                  <a:spLocks/>
                </p:cNvSpPr>
                <p:nvPr/>
              </p:nvSpPr>
              <p:spPr bwMode="auto">
                <a:xfrm>
                  <a:off x="11230" y="1898"/>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16" name="Freeform 1255"/>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517" name="Freeform 1256"/>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path>
                  </a:pathLst>
                </a:custGeom>
                <a:noFill/>
                <a:ln>
                  <a:noFill/>
                </a:ln>
                <a:extLst/>
              </p:spPr>
              <p:txBody>
                <a:bodyPr/>
                <a:lstStyle/>
                <a:p>
                  <a:pPr eaLnBrk="1" hangingPunct="1">
                    <a:defRPr/>
                  </a:pPr>
                  <a:endParaRPr lang="zh-CN" altLang="en-US" sz="1050"/>
                </a:p>
              </p:txBody>
            </p:sp>
            <p:sp>
              <p:nvSpPr>
                <p:cNvPr id="5518" name="Freeform 1257"/>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5519" name="Freeform 1258"/>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path>
                  </a:pathLst>
                </a:custGeom>
                <a:noFill/>
                <a:ln>
                  <a:noFill/>
                </a:ln>
                <a:extLst/>
              </p:spPr>
              <p:txBody>
                <a:bodyPr/>
                <a:lstStyle/>
                <a:p>
                  <a:pPr eaLnBrk="1" hangingPunct="1">
                    <a:defRPr/>
                  </a:pPr>
                  <a:endParaRPr lang="zh-CN" altLang="en-US" sz="1050"/>
                </a:p>
              </p:txBody>
            </p:sp>
            <p:sp>
              <p:nvSpPr>
                <p:cNvPr id="5520" name="Freeform 1259"/>
                <p:cNvSpPr>
                  <a:spLocks/>
                </p:cNvSpPr>
                <p:nvPr/>
              </p:nvSpPr>
              <p:spPr bwMode="auto">
                <a:xfrm>
                  <a:off x="11430" y="2055"/>
                  <a:ext cx="8" cy="9"/>
                </a:xfrm>
                <a:custGeom>
                  <a:avLst/>
                  <a:gdLst>
                    <a:gd name="T0" fmla="*/ 3 w 7"/>
                    <a:gd name="T1" fmla="*/ 5 h 5"/>
                    <a:gd name="T2" fmla="*/ 7 w 7"/>
                    <a:gd name="T3" fmla="*/ 0 h 5"/>
                    <a:gd name="T4" fmla="*/ 5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5521" name="Freeform 1260"/>
                <p:cNvSpPr>
                  <a:spLocks/>
                </p:cNvSpPr>
                <p:nvPr/>
              </p:nvSpPr>
              <p:spPr bwMode="auto">
                <a:xfrm>
                  <a:off x="11180" y="1872"/>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22" name="Freeform 1261"/>
                <p:cNvSpPr>
                  <a:spLocks/>
                </p:cNvSpPr>
                <p:nvPr/>
              </p:nvSpPr>
              <p:spPr bwMode="auto">
                <a:xfrm>
                  <a:off x="11180" y="1872"/>
                  <a:ext cx="0" cy="9"/>
                </a:xfrm>
                <a:custGeom>
                  <a:avLst/>
                  <a:gdLst>
                    <a:gd name="T0" fmla="*/ 2 w 4"/>
                    <a:gd name="T1" fmla="*/ 10 h 10"/>
                    <a:gd name="T2" fmla="*/ 4 w 4"/>
                    <a:gd name="T3" fmla="*/ 0 h 10"/>
                    <a:gd name="T4" fmla="*/ 4 w 4"/>
                    <a:gd name="T5" fmla="*/ 0 h 10"/>
                    <a:gd name="T6" fmla="*/ 0 w 4"/>
                    <a:gd name="T7" fmla="*/ 1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4" y="0"/>
                      </a:lnTo>
                      <a:lnTo>
                        <a:pt x="4" y="0"/>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5523" name="Freeform 1262"/>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524" name="Freeform 1263"/>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path>
                  </a:pathLst>
                </a:custGeom>
                <a:noFill/>
                <a:ln>
                  <a:noFill/>
                </a:ln>
                <a:extLst/>
              </p:spPr>
              <p:txBody>
                <a:bodyPr/>
                <a:lstStyle/>
                <a:p>
                  <a:pPr eaLnBrk="1" hangingPunct="1">
                    <a:defRPr/>
                  </a:pPr>
                  <a:endParaRPr lang="zh-CN" altLang="en-US" sz="1050"/>
                </a:p>
              </p:txBody>
            </p:sp>
            <p:sp>
              <p:nvSpPr>
                <p:cNvPr id="5525" name="Freeform 1264"/>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5526" name="Freeform 1265"/>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path>
                  </a:pathLst>
                </a:custGeom>
                <a:noFill/>
                <a:ln>
                  <a:noFill/>
                </a:ln>
                <a:extLst/>
              </p:spPr>
              <p:txBody>
                <a:bodyPr/>
                <a:lstStyle/>
                <a:p>
                  <a:pPr eaLnBrk="1" hangingPunct="1">
                    <a:defRPr/>
                  </a:pPr>
                  <a:endParaRPr lang="zh-CN" altLang="en-US" sz="1050"/>
                </a:p>
              </p:txBody>
            </p:sp>
            <p:sp>
              <p:nvSpPr>
                <p:cNvPr id="5527" name="Freeform 1266"/>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5528" name="Freeform 1267"/>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path>
                  </a:pathLst>
                </a:custGeom>
                <a:noFill/>
                <a:ln>
                  <a:noFill/>
                </a:ln>
                <a:extLst/>
              </p:spPr>
              <p:txBody>
                <a:bodyPr/>
                <a:lstStyle/>
                <a:p>
                  <a:pPr eaLnBrk="1" hangingPunct="1">
                    <a:defRPr/>
                  </a:pPr>
                  <a:endParaRPr lang="zh-CN" altLang="en-US" sz="1050"/>
                </a:p>
              </p:txBody>
            </p:sp>
            <p:sp>
              <p:nvSpPr>
                <p:cNvPr id="5529" name="Freeform 1268"/>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5530" name="Freeform 1269"/>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5531" name="Freeform 1270"/>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close/>
                    </a:path>
                  </a:pathLst>
                </a:custGeom>
                <a:solidFill>
                  <a:srgbClr val="01AAE5"/>
                </a:solidFill>
                <a:ln>
                  <a:noFill/>
                </a:ln>
                <a:extLst/>
              </p:spPr>
              <p:txBody>
                <a:bodyPr/>
                <a:lstStyle/>
                <a:p>
                  <a:pPr eaLnBrk="1" hangingPunct="1">
                    <a:defRPr/>
                  </a:pPr>
                  <a:endParaRPr lang="zh-CN" altLang="en-US" sz="1050"/>
                </a:p>
              </p:txBody>
            </p:sp>
            <p:sp>
              <p:nvSpPr>
                <p:cNvPr id="5532" name="Freeform 1271"/>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path>
                  </a:pathLst>
                </a:custGeom>
                <a:noFill/>
                <a:ln>
                  <a:noFill/>
                </a:ln>
                <a:extLst/>
              </p:spPr>
              <p:txBody>
                <a:bodyPr/>
                <a:lstStyle/>
                <a:p>
                  <a:pPr eaLnBrk="1" hangingPunct="1">
                    <a:defRPr/>
                  </a:pPr>
                  <a:endParaRPr lang="zh-CN" altLang="en-US" sz="1050"/>
                </a:p>
              </p:txBody>
            </p:sp>
            <p:sp>
              <p:nvSpPr>
                <p:cNvPr id="5533" name="Freeform 1272"/>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5534" name="Freeform 1273"/>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5535" name="Freeform 1274"/>
                <p:cNvSpPr>
                  <a:spLocks/>
                </p:cNvSpPr>
                <p:nvPr/>
              </p:nvSpPr>
              <p:spPr bwMode="auto">
                <a:xfrm>
                  <a:off x="11180" y="1881"/>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536" name="Freeform 1275"/>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close/>
                    </a:path>
                  </a:pathLst>
                </a:custGeom>
                <a:solidFill>
                  <a:srgbClr val="01AAE5"/>
                </a:solidFill>
                <a:ln>
                  <a:noFill/>
                </a:ln>
                <a:extLst/>
              </p:spPr>
              <p:txBody>
                <a:bodyPr/>
                <a:lstStyle/>
                <a:p>
                  <a:pPr eaLnBrk="1" hangingPunct="1">
                    <a:defRPr/>
                  </a:pPr>
                  <a:endParaRPr lang="zh-CN" altLang="en-US" sz="1050"/>
                </a:p>
              </p:txBody>
            </p:sp>
            <p:sp>
              <p:nvSpPr>
                <p:cNvPr id="5537" name="Freeform 1276"/>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path>
                  </a:pathLst>
                </a:custGeom>
                <a:noFill/>
                <a:ln>
                  <a:noFill/>
                </a:ln>
                <a:extLst/>
              </p:spPr>
              <p:txBody>
                <a:bodyPr/>
                <a:lstStyle/>
                <a:p>
                  <a:pPr eaLnBrk="1" hangingPunct="1">
                    <a:defRPr/>
                  </a:pPr>
                  <a:endParaRPr lang="zh-CN" altLang="en-US" sz="1050"/>
                </a:p>
              </p:txBody>
            </p:sp>
            <p:sp>
              <p:nvSpPr>
                <p:cNvPr id="5538" name="Freeform 1277"/>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5539" name="Freeform 1278"/>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path>
                  </a:pathLst>
                </a:custGeom>
                <a:noFill/>
                <a:ln>
                  <a:noFill/>
                </a:ln>
                <a:extLst/>
              </p:spPr>
              <p:txBody>
                <a:bodyPr/>
                <a:lstStyle/>
                <a:p>
                  <a:pPr eaLnBrk="1" hangingPunct="1">
                    <a:defRPr/>
                  </a:pPr>
                  <a:endParaRPr lang="zh-CN" altLang="en-US" sz="1050"/>
                </a:p>
              </p:txBody>
            </p:sp>
            <p:sp>
              <p:nvSpPr>
                <p:cNvPr id="5540" name="Freeform 1279"/>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5541" name="Freeform 1280"/>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5542" name="Freeform 1281"/>
                <p:cNvSpPr>
                  <a:spLocks/>
                </p:cNvSpPr>
                <p:nvPr/>
              </p:nvSpPr>
              <p:spPr bwMode="auto">
                <a:xfrm>
                  <a:off x="11197" y="1889"/>
                  <a:ext cx="0" cy="0"/>
                </a:xfrm>
                <a:custGeom>
                  <a:avLst/>
                  <a:gdLst>
                    <a:gd name="T0" fmla="*/ 3 w 5"/>
                    <a:gd name="T1" fmla="*/ 5 h 5"/>
                    <a:gd name="T2" fmla="*/ 5 w 5"/>
                    <a:gd name="T3" fmla="*/ 0 h 5"/>
                    <a:gd name="T4" fmla="*/ 3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3"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543" name="Freeform 1282"/>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44" name="Freeform 1283"/>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545" name="Freeform 1284"/>
                <p:cNvSpPr>
                  <a:spLocks/>
                </p:cNvSpPr>
                <p:nvPr/>
              </p:nvSpPr>
              <p:spPr bwMode="auto">
                <a:xfrm>
                  <a:off x="11214" y="1898"/>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546" name="Freeform 1285"/>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47" name="Freeform 1286"/>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548" name="Freeform 1287"/>
                <p:cNvSpPr>
                  <a:spLocks/>
                </p:cNvSpPr>
                <p:nvPr/>
              </p:nvSpPr>
              <p:spPr bwMode="auto">
                <a:xfrm>
                  <a:off x="11205" y="1898"/>
                  <a:ext cx="8" cy="0"/>
                </a:xfrm>
                <a:custGeom>
                  <a:avLst/>
                  <a:gdLst>
                    <a:gd name="T0" fmla="*/ 2 w 5"/>
                    <a:gd name="T1" fmla="*/ 5 h 5"/>
                    <a:gd name="T2" fmla="*/ 5 w 5"/>
                    <a:gd name="T3" fmla="*/ 0 h 5"/>
                    <a:gd name="T4" fmla="*/ 2 w 5"/>
                    <a:gd name="T5" fmla="*/ 0 h 5"/>
                    <a:gd name="T6" fmla="*/ 0 w 5"/>
                    <a:gd name="T7" fmla="*/ 5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lnTo>
                        <a:pt x="5"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549" name="Freeform 1288"/>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50" name="Freeform 1289"/>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path>
                  </a:pathLst>
                </a:custGeom>
                <a:noFill/>
                <a:ln>
                  <a:noFill/>
                </a:ln>
                <a:extLst/>
              </p:spPr>
              <p:txBody>
                <a:bodyPr/>
                <a:lstStyle/>
                <a:p>
                  <a:pPr eaLnBrk="1" hangingPunct="1">
                    <a:defRPr/>
                  </a:pPr>
                  <a:endParaRPr lang="zh-CN" altLang="en-US" sz="1050"/>
                </a:p>
              </p:txBody>
            </p:sp>
            <p:sp>
              <p:nvSpPr>
                <p:cNvPr id="5551" name="Freeform 1290"/>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52" name="Freeform 1291"/>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5553" name="Freeform 1292"/>
                <p:cNvSpPr>
                  <a:spLocks/>
                </p:cNvSpPr>
                <p:nvPr/>
              </p:nvSpPr>
              <p:spPr bwMode="auto">
                <a:xfrm>
                  <a:off x="11230" y="1898"/>
                  <a:ext cx="0" cy="9"/>
                </a:xfrm>
                <a:custGeom>
                  <a:avLst/>
                  <a:gdLst>
                    <a:gd name="T0" fmla="*/ 2 w 4"/>
                    <a:gd name="T1" fmla="*/ 5 h 5"/>
                    <a:gd name="T2" fmla="*/ 4 w 4"/>
                    <a:gd name="T3" fmla="*/ 0 h 5"/>
                    <a:gd name="T4" fmla="*/ 4 w 4"/>
                    <a:gd name="T5" fmla="*/ 0 h 5"/>
                    <a:gd name="T6" fmla="*/ 0 w 4"/>
                    <a:gd name="T7" fmla="*/ 5 h 5"/>
                    <a:gd name="T8" fmla="*/ 2 w 4"/>
                    <a:gd name="T9" fmla="*/ 5 h 5"/>
                  </a:gdLst>
                  <a:ahLst/>
                  <a:cxnLst>
                    <a:cxn ang="0">
                      <a:pos x="T0" y="T1"/>
                    </a:cxn>
                    <a:cxn ang="0">
                      <a:pos x="T2" y="T3"/>
                    </a:cxn>
                    <a:cxn ang="0">
                      <a:pos x="T4" y="T5"/>
                    </a:cxn>
                    <a:cxn ang="0">
                      <a:pos x="T6" y="T7"/>
                    </a:cxn>
                    <a:cxn ang="0">
                      <a:pos x="T8" y="T9"/>
                    </a:cxn>
                  </a:cxnLst>
                  <a:rect l="0" t="0" r="r" b="b"/>
                  <a:pathLst>
                    <a:path w="4" h="5">
                      <a:moveTo>
                        <a:pt x="2" y="5"/>
                      </a:moveTo>
                      <a:lnTo>
                        <a:pt x="4"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554" name="Freeform 1293"/>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5555" name="Freeform 1294"/>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path>
                  </a:pathLst>
                </a:custGeom>
                <a:noFill/>
                <a:ln>
                  <a:noFill/>
                </a:ln>
                <a:extLst/>
              </p:spPr>
              <p:txBody>
                <a:bodyPr/>
                <a:lstStyle/>
                <a:p>
                  <a:pPr eaLnBrk="1" hangingPunct="1">
                    <a:defRPr/>
                  </a:pPr>
                  <a:endParaRPr lang="zh-CN" altLang="en-US" sz="1050"/>
                </a:p>
              </p:txBody>
            </p:sp>
            <p:sp>
              <p:nvSpPr>
                <p:cNvPr id="5556" name="Freeform 1295"/>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557" name="Freeform 1296"/>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path>
                  </a:pathLst>
                </a:custGeom>
                <a:noFill/>
                <a:ln>
                  <a:noFill/>
                </a:ln>
                <a:extLst/>
              </p:spPr>
              <p:txBody>
                <a:bodyPr/>
                <a:lstStyle/>
                <a:p>
                  <a:pPr eaLnBrk="1" hangingPunct="1">
                    <a:defRPr/>
                  </a:pPr>
                  <a:endParaRPr lang="zh-CN" altLang="en-US" sz="1050"/>
                </a:p>
              </p:txBody>
            </p:sp>
            <p:sp>
              <p:nvSpPr>
                <p:cNvPr id="5558" name="Freeform 1297"/>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59" name="Freeform 1298"/>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5560" name="Freeform 1299"/>
                <p:cNvSpPr>
                  <a:spLocks/>
                </p:cNvSpPr>
                <p:nvPr/>
              </p:nvSpPr>
              <p:spPr bwMode="auto">
                <a:xfrm>
                  <a:off x="11197" y="1881"/>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561" name="Freeform 1300"/>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62" name="Freeform 1301"/>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563" name="Freeform 1302"/>
                <p:cNvSpPr>
                  <a:spLocks/>
                </p:cNvSpPr>
                <p:nvPr/>
              </p:nvSpPr>
              <p:spPr bwMode="auto">
                <a:xfrm>
                  <a:off x="11197"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64" name="Freeform 1303"/>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65" name="Freeform 1304"/>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path>
                  </a:pathLst>
                </a:custGeom>
                <a:noFill/>
                <a:ln>
                  <a:noFill/>
                </a:ln>
                <a:extLst/>
              </p:spPr>
              <p:txBody>
                <a:bodyPr/>
                <a:lstStyle/>
                <a:p>
                  <a:pPr eaLnBrk="1" hangingPunct="1">
                    <a:defRPr/>
                  </a:pPr>
                  <a:endParaRPr lang="zh-CN" altLang="en-US" sz="1050"/>
                </a:p>
              </p:txBody>
            </p:sp>
            <p:sp>
              <p:nvSpPr>
                <p:cNvPr id="5566" name="Freeform 1305"/>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5567" name="Freeform 1306"/>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path>
                  </a:pathLst>
                </a:custGeom>
                <a:noFill/>
                <a:ln>
                  <a:noFill/>
                </a:ln>
                <a:extLst/>
              </p:spPr>
              <p:txBody>
                <a:bodyPr/>
                <a:lstStyle/>
                <a:p>
                  <a:pPr eaLnBrk="1" hangingPunct="1">
                    <a:defRPr/>
                  </a:pPr>
                  <a:endParaRPr lang="zh-CN" altLang="en-US" sz="1050"/>
                </a:p>
              </p:txBody>
            </p:sp>
            <p:sp>
              <p:nvSpPr>
                <p:cNvPr id="5568" name="Freeform 1307"/>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569" name="Freeform 1308"/>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570" name="Freeform 1309"/>
                <p:cNvSpPr>
                  <a:spLocks/>
                </p:cNvSpPr>
                <p:nvPr/>
              </p:nvSpPr>
              <p:spPr bwMode="auto">
                <a:xfrm>
                  <a:off x="11155" y="1863"/>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close/>
                    </a:path>
                  </a:pathLst>
                </a:custGeom>
                <a:solidFill>
                  <a:srgbClr val="01AAE5"/>
                </a:solidFill>
                <a:ln>
                  <a:noFill/>
                </a:ln>
                <a:extLst/>
              </p:spPr>
              <p:txBody>
                <a:bodyPr/>
                <a:lstStyle/>
                <a:p>
                  <a:pPr eaLnBrk="1" hangingPunct="1">
                    <a:defRPr/>
                  </a:pPr>
                  <a:endParaRPr lang="zh-CN" altLang="en-US" sz="1050"/>
                </a:p>
              </p:txBody>
            </p:sp>
          </p:grpSp>
          <p:grpSp>
            <p:nvGrpSpPr>
              <p:cNvPr id="31" name="Group 1511"/>
              <p:cNvGrpSpPr>
                <a:grpSpLocks/>
              </p:cNvGrpSpPr>
              <p:nvPr/>
            </p:nvGrpSpPr>
            <p:grpSpPr bwMode="auto">
              <a:xfrm>
                <a:off x="16538576" y="2911475"/>
                <a:ext cx="1609725" cy="363538"/>
                <a:chOff x="10418" y="1834"/>
                <a:chExt cx="1014" cy="229"/>
              </a:xfrm>
            </p:grpSpPr>
            <p:sp>
              <p:nvSpPr>
                <p:cNvPr id="5171" name="Freeform 1311"/>
                <p:cNvSpPr>
                  <a:spLocks/>
                </p:cNvSpPr>
                <p:nvPr/>
              </p:nvSpPr>
              <p:spPr bwMode="auto">
                <a:xfrm>
                  <a:off x="11189" y="1881"/>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path>
                  </a:pathLst>
                </a:custGeom>
                <a:noFill/>
                <a:ln>
                  <a:noFill/>
                </a:ln>
                <a:extLst/>
              </p:spPr>
              <p:txBody>
                <a:bodyPr/>
                <a:lstStyle/>
                <a:p>
                  <a:pPr eaLnBrk="1" hangingPunct="1">
                    <a:defRPr/>
                  </a:pPr>
                  <a:endParaRPr lang="zh-CN" altLang="en-US" sz="1050"/>
                </a:p>
              </p:txBody>
            </p:sp>
            <p:sp>
              <p:nvSpPr>
                <p:cNvPr id="5172" name="Freeform 1312"/>
                <p:cNvSpPr>
                  <a:spLocks/>
                </p:cNvSpPr>
                <p:nvPr/>
              </p:nvSpPr>
              <p:spPr bwMode="auto">
                <a:xfrm>
                  <a:off x="11072" y="1881"/>
                  <a:ext cx="0" cy="9"/>
                </a:xfrm>
                <a:custGeom>
                  <a:avLst/>
                  <a:gdLst>
                    <a:gd name="T0" fmla="*/ 0 w 3"/>
                    <a:gd name="T1" fmla="*/ 5 h 5"/>
                    <a:gd name="T2" fmla="*/ 3 w 3"/>
                    <a:gd name="T3" fmla="*/ 0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173" name="Freeform 1313"/>
                <p:cNvSpPr>
                  <a:spLocks/>
                </p:cNvSpPr>
                <p:nvPr/>
              </p:nvSpPr>
              <p:spPr bwMode="auto">
                <a:xfrm>
                  <a:off x="11072"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174" name="Freeform 1314"/>
                <p:cNvSpPr>
                  <a:spLocks/>
                </p:cNvSpPr>
                <p:nvPr/>
              </p:nvSpPr>
              <p:spPr bwMode="auto">
                <a:xfrm>
                  <a:off x="11064" y="1881"/>
                  <a:ext cx="0" cy="0"/>
                </a:xfrm>
                <a:custGeom>
                  <a:avLst/>
                  <a:gdLst>
                    <a:gd name="T0" fmla="*/ 2 w 2"/>
                    <a:gd name="T1" fmla="*/ 4 h 4"/>
                    <a:gd name="T2" fmla="*/ 2 w 2"/>
                    <a:gd name="T3" fmla="*/ 0 h 4"/>
                    <a:gd name="T4" fmla="*/ 2 w 2"/>
                    <a:gd name="T5" fmla="*/ 0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2"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5175" name="Freeform 1315"/>
                <p:cNvSpPr>
                  <a:spLocks/>
                </p:cNvSpPr>
                <p:nvPr/>
              </p:nvSpPr>
              <p:spPr bwMode="auto">
                <a:xfrm>
                  <a:off x="11064"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176" name="Freeform 1316"/>
                <p:cNvSpPr>
                  <a:spLocks/>
                </p:cNvSpPr>
                <p:nvPr/>
              </p:nvSpPr>
              <p:spPr bwMode="auto">
                <a:xfrm>
                  <a:off x="11072" y="1881"/>
                  <a:ext cx="0" cy="9"/>
                </a:xfrm>
                <a:custGeom>
                  <a:avLst/>
                  <a:gdLst>
                    <a:gd name="T0" fmla="*/ 2 w 2"/>
                    <a:gd name="T1" fmla="*/ 5 h 5"/>
                    <a:gd name="T2" fmla="*/ 2 w 2"/>
                    <a:gd name="T3" fmla="*/ 0 h 5"/>
                    <a:gd name="T4" fmla="*/ 2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5177" name="Freeform 1317"/>
                <p:cNvSpPr>
                  <a:spLocks/>
                </p:cNvSpPr>
                <p:nvPr/>
              </p:nvSpPr>
              <p:spPr bwMode="auto">
                <a:xfrm>
                  <a:off x="11089"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178" name="Freeform 1318"/>
                <p:cNvSpPr>
                  <a:spLocks/>
                </p:cNvSpPr>
                <p:nvPr/>
              </p:nvSpPr>
              <p:spPr bwMode="auto">
                <a:xfrm>
                  <a:off x="11081"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179" name="Freeform 1319"/>
                <p:cNvSpPr>
                  <a:spLocks/>
                </p:cNvSpPr>
                <p:nvPr/>
              </p:nvSpPr>
              <p:spPr bwMode="auto">
                <a:xfrm>
                  <a:off x="11072"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180" name="Freeform 1320"/>
                <p:cNvSpPr>
                  <a:spLocks/>
                </p:cNvSpPr>
                <p:nvPr/>
              </p:nvSpPr>
              <p:spPr bwMode="auto">
                <a:xfrm>
                  <a:off x="11089"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181" name="Rectangle 1321"/>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5182" name="Rectangle 1322"/>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5183" name="Rectangle 1323"/>
                <p:cNvSpPr>
                  <a:spLocks noChangeArrowheads="1"/>
                </p:cNvSpPr>
                <p:nvPr/>
              </p:nvSpPr>
              <p:spPr bwMode="auto">
                <a:xfrm>
                  <a:off x="11039" y="1872"/>
                  <a:ext cx="0" cy="9"/>
                </a:xfrm>
                <a:prstGeom prst="rect">
                  <a:avLst/>
                </a:prstGeom>
                <a:solidFill>
                  <a:srgbClr val="01AAE5"/>
                </a:solidFill>
                <a:ln>
                  <a:noFill/>
                </a:ln>
                <a:extLst/>
              </p:spPr>
              <p:txBody>
                <a:bodyPr/>
                <a:lstStyle/>
                <a:p>
                  <a:pPr eaLnBrk="1" hangingPunct="1">
                    <a:defRPr/>
                  </a:pPr>
                  <a:endParaRPr lang="zh-CN" altLang="en-US" sz="1050"/>
                </a:p>
              </p:txBody>
            </p:sp>
            <p:sp>
              <p:nvSpPr>
                <p:cNvPr id="5184" name="Rectangle 1324"/>
                <p:cNvSpPr>
                  <a:spLocks noChangeArrowheads="1"/>
                </p:cNvSpPr>
                <p:nvPr/>
              </p:nvSpPr>
              <p:spPr bwMode="auto">
                <a:xfrm>
                  <a:off x="11039" y="1872"/>
                  <a:ext cx="0" cy="9"/>
                </a:xfrm>
                <a:prstGeom prst="rect">
                  <a:avLst/>
                </a:prstGeom>
                <a:noFill/>
                <a:ln>
                  <a:noFill/>
                </a:ln>
                <a:extLst/>
              </p:spPr>
              <p:txBody>
                <a:bodyPr/>
                <a:lstStyle/>
                <a:p>
                  <a:pPr eaLnBrk="1" hangingPunct="1">
                    <a:defRPr/>
                  </a:pPr>
                  <a:endParaRPr lang="zh-CN" altLang="en-US" sz="1050"/>
                </a:p>
              </p:txBody>
            </p:sp>
            <p:sp>
              <p:nvSpPr>
                <p:cNvPr id="5185" name="Freeform 1325"/>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5186" name="Freeform 1326"/>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5187" name="Rectangle 1327"/>
                <p:cNvSpPr>
                  <a:spLocks noChangeArrowheads="1"/>
                </p:cNvSpPr>
                <p:nvPr/>
              </p:nvSpPr>
              <p:spPr bwMode="auto">
                <a:xfrm>
                  <a:off x="11031" y="1872"/>
                  <a:ext cx="8" cy="9"/>
                </a:xfrm>
                <a:prstGeom prst="rect">
                  <a:avLst/>
                </a:prstGeom>
                <a:solidFill>
                  <a:srgbClr val="01AAE5"/>
                </a:solidFill>
                <a:ln>
                  <a:noFill/>
                </a:ln>
                <a:extLst/>
              </p:spPr>
              <p:txBody>
                <a:bodyPr/>
                <a:lstStyle/>
                <a:p>
                  <a:pPr eaLnBrk="1" hangingPunct="1">
                    <a:defRPr/>
                  </a:pPr>
                  <a:endParaRPr lang="zh-CN" altLang="en-US" sz="1050"/>
                </a:p>
              </p:txBody>
            </p:sp>
            <p:sp>
              <p:nvSpPr>
                <p:cNvPr id="5188" name="Rectangle 1328"/>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5189" name="Rectangle 1329"/>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5190" name="Freeform 1330"/>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close/>
                    </a:path>
                  </a:pathLst>
                </a:custGeom>
                <a:solidFill>
                  <a:srgbClr val="01AAE5"/>
                </a:solidFill>
                <a:ln>
                  <a:noFill/>
                </a:ln>
                <a:extLst/>
              </p:spPr>
              <p:txBody>
                <a:bodyPr/>
                <a:lstStyle/>
                <a:p>
                  <a:pPr eaLnBrk="1" hangingPunct="1">
                    <a:defRPr/>
                  </a:pPr>
                  <a:endParaRPr lang="zh-CN" altLang="en-US" sz="1050"/>
                </a:p>
              </p:txBody>
            </p:sp>
            <p:sp>
              <p:nvSpPr>
                <p:cNvPr id="5191" name="Freeform 1331"/>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path>
                  </a:pathLst>
                </a:custGeom>
                <a:noFill/>
                <a:ln>
                  <a:noFill/>
                </a:ln>
                <a:extLst/>
              </p:spPr>
              <p:txBody>
                <a:bodyPr/>
                <a:lstStyle/>
                <a:p>
                  <a:pPr eaLnBrk="1" hangingPunct="1">
                    <a:defRPr/>
                  </a:pPr>
                  <a:endParaRPr lang="zh-CN" altLang="en-US" sz="1050"/>
                </a:p>
              </p:txBody>
            </p:sp>
            <p:sp>
              <p:nvSpPr>
                <p:cNvPr id="5192" name="Freeform 1332"/>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5193" name="Freeform 1333"/>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5194" name="Freeform 1334"/>
                <p:cNvSpPr>
                  <a:spLocks/>
                </p:cNvSpPr>
                <p:nvPr/>
              </p:nvSpPr>
              <p:spPr bwMode="auto">
                <a:xfrm>
                  <a:off x="11056" y="1881"/>
                  <a:ext cx="8" cy="0"/>
                </a:xfrm>
                <a:custGeom>
                  <a:avLst/>
                  <a:gdLst>
                    <a:gd name="T0" fmla="*/ 0 w 3"/>
                    <a:gd name="T1" fmla="*/ 4 h 4"/>
                    <a:gd name="T2" fmla="*/ 3 w 3"/>
                    <a:gd name="T3" fmla="*/ 0 h 4"/>
                    <a:gd name="T4" fmla="*/ 0 w 3"/>
                    <a:gd name="T5" fmla="*/ 0 h 4"/>
                    <a:gd name="T6" fmla="*/ 0 w 3"/>
                    <a:gd name="T7" fmla="*/ 4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3" y="0"/>
                      </a:lnTo>
                      <a:lnTo>
                        <a:pt x="0"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195" name="Freeform 1335"/>
                <p:cNvSpPr>
                  <a:spLocks/>
                </p:cNvSpPr>
                <p:nvPr/>
              </p:nvSpPr>
              <p:spPr bwMode="auto">
                <a:xfrm>
                  <a:off x="11105" y="1881"/>
                  <a:ext cx="8"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196" name="Freeform 1336"/>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close/>
                    </a:path>
                  </a:pathLst>
                </a:custGeom>
                <a:solidFill>
                  <a:srgbClr val="01AAE5"/>
                </a:solidFill>
                <a:ln>
                  <a:noFill/>
                </a:ln>
                <a:extLst/>
              </p:spPr>
              <p:txBody>
                <a:bodyPr/>
                <a:lstStyle/>
                <a:p>
                  <a:pPr eaLnBrk="1" hangingPunct="1">
                    <a:defRPr/>
                  </a:pPr>
                  <a:endParaRPr lang="zh-CN" altLang="en-US" sz="1050"/>
                </a:p>
              </p:txBody>
            </p:sp>
            <p:sp>
              <p:nvSpPr>
                <p:cNvPr id="5197" name="Freeform 1337"/>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path>
                  </a:pathLst>
                </a:custGeom>
                <a:noFill/>
                <a:ln>
                  <a:noFill/>
                </a:ln>
                <a:extLst/>
              </p:spPr>
              <p:txBody>
                <a:bodyPr/>
                <a:lstStyle/>
                <a:p>
                  <a:pPr eaLnBrk="1" hangingPunct="1">
                    <a:defRPr/>
                  </a:pPr>
                  <a:endParaRPr lang="zh-CN" altLang="en-US" sz="1050"/>
                </a:p>
              </p:txBody>
            </p:sp>
            <p:sp>
              <p:nvSpPr>
                <p:cNvPr id="5198" name="Freeform 1338"/>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199" name="Freeform 1339"/>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path>
                  </a:pathLst>
                </a:custGeom>
                <a:noFill/>
                <a:ln>
                  <a:noFill/>
                </a:ln>
                <a:extLst/>
              </p:spPr>
              <p:txBody>
                <a:bodyPr/>
                <a:lstStyle/>
                <a:p>
                  <a:pPr eaLnBrk="1" hangingPunct="1">
                    <a:defRPr/>
                  </a:pPr>
                  <a:endParaRPr lang="zh-CN" altLang="en-US" sz="1050"/>
                </a:p>
              </p:txBody>
            </p:sp>
            <p:sp>
              <p:nvSpPr>
                <p:cNvPr id="5200" name="Freeform 1340"/>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close/>
                    </a:path>
                  </a:pathLst>
                </a:custGeom>
                <a:solidFill>
                  <a:srgbClr val="01AAE5"/>
                </a:solidFill>
                <a:ln>
                  <a:noFill/>
                </a:ln>
                <a:extLst/>
              </p:spPr>
              <p:txBody>
                <a:bodyPr/>
                <a:lstStyle/>
                <a:p>
                  <a:pPr eaLnBrk="1" hangingPunct="1">
                    <a:defRPr/>
                  </a:pPr>
                  <a:endParaRPr lang="zh-CN" altLang="en-US" sz="1050"/>
                </a:p>
              </p:txBody>
            </p:sp>
            <p:sp>
              <p:nvSpPr>
                <p:cNvPr id="5201" name="Freeform 1341"/>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path>
                  </a:pathLst>
                </a:custGeom>
                <a:noFill/>
                <a:ln>
                  <a:noFill/>
                </a:ln>
                <a:extLst/>
              </p:spPr>
              <p:txBody>
                <a:bodyPr/>
                <a:lstStyle/>
                <a:p>
                  <a:pPr eaLnBrk="1" hangingPunct="1">
                    <a:defRPr/>
                  </a:pPr>
                  <a:endParaRPr lang="zh-CN" altLang="en-US" sz="1050"/>
                </a:p>
              </p:txBody>
            </p:sp>
            <p:sp>
              <p:nvSpPr>
                <p:cNvPr id="5202" name="Freeform 1342"/>
                <p:cNvSpPr>
                  <a:spLocks/>
                </p:cNvSpPr>
                <p:nvPr/>
              </p:nvSpPr>
              <p:spPr bwMode="auto">
                <a:xfrm>
                  <a:off x="11130" y="1881"/>
                  <a:ext cx="0" cy="9"/>
                </a:xfrm>
                <a:custGeom>
                  <a:avLst/>
                  <a:gdLst>
                    <a:gd name="T0" fmla="*/ 2 w 4"/>
                    <a:gd name="T1" fmla="*/ 7 h 7"/>
                    <a:gd name="T2" fmla="*/ 4 w 4"/>
                    <a:gd name="T3" fmla="*/ 0 h 7"/>
                    <a:gd name="T4" fmla="*/ 2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203" name="Freeform 1343"/>
                <p:cNvSpPr>
                  <a:spLocks/>
                </p:cNvSpPr>
                <p:nvPr/>
              </p:nvSpPr>
              <p:spPr bwMode="auto">
                <a:xfrm>
                  <a:off x="11122" y="1881"/>
                  <a:ext cx="8" cy="9"/>
                </a:xfrm>
                <a:custGeom>
                  <a:avLst/>
                  <a:gdLst>
                    <a:gd name="T0" fmla="*/ 0 w 3"/>
                    <a:gd name="T1" fmla="*/ 8 h 8"/>
                    <a:gd name="T2" fmla="*/ 3 w 3"/>
                    <a:gd name="T3" fmla="*/ 0 h 8"/>
                    <a:gd name="T4" fmla="*/ 3 w 3"/>
                    <a:gd name="T5" fmla="*/ 0 h 8"/>
                    <a:gd name="T6" fmla="*/ 0 w 3"/>
                    <a:gd name="T7" fmla="*/ 8 h 8"/>
                    <a:gd name="T8" fmla="*/ 0 w 3"/>
                    <a:gd name="T9" fmla="*/ 8 h 8"/>
                  </a:gdLst>
                  <a:ahLst/>
                  <a:cxnLst>
                    <a:cxn ang="0">
                      <a:pos x="T0" y="T1"/>
                    </a:cxn>
                    <a:cxn ang="0">
                      <a:pos x="T2" y="T3"/>
                    </a:cxn>
                    <a:cxn ang="0">
                      <a:pos x="T4" y="T5"/>
                    </a:cxn>
                    <a:cxn ang="0">
                      <a:pos x="T6" y="T7"/>
                    </a:cxn>
                    <a:cxn ang="0">
                      <a:pos x="T8" y="T9"/>
                    </a:cxn>
                  </a:cxnLst>
                  <a:rect l="0" t="0" r="r" b="b"/>
                  <a:pathLst>
                    <a:path w="3" h="8">
                      <a:moveTo>
                        <a:pt x="0" y="8"/>
                      </a:moveTo>
                      <a:lnTo>
                        <a:pt x="3"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5204" name="Freeform 1344"/>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close/>
                    </a:path>
                  </a:pathLst>
                </a:custGeom>
                <a:solidFill>
                  <a:srgbClr val="01AAE5"/>
                </a:solidFill>
                <a:ln>
                  <a:noFill/>
                </a:ln>
                <a:extLst/>
              </p:spPr>
              <p:txBody>
                <a:bodyPr/>
                <a:lstStyle/>
                <a:p>
                  <a:pPr eaLnBrk="1" hangingPunct="1">
                    <a:defRPr/>
                  </a:pPr>
                  <a:endParaRPr lang="zh-CN" altLang="en-US" sz="1050"/>
                </a:p>
              </p:txBody>
            </p:sp>
            <p:sp>
              <p:nvSpPr>
                <p:cNvPr id="5205" name="Freeform 1345"/>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path>
                  </a:pathLst>
                </a:custGeom>
                <a:noFill/>
                <a:ln>
                  <a:noFill/>
                </a:ln>
                <a:extLst/>
              </p:spPr>
              <p:txBody>
                <a:bodyPr/>
                <a:lstStyle/>
                <a:p>
                  <a:pPr eaLnBrk="1" hangingPunct="1">
                    <a:defRPr/>
                  </a:pPr>
                  <a:endParaRPr lang="zh-CN" altLang="en-US" sz="1050"/>
                </a:p>
              </p:txBody>
            </p:sp>
            <p:sp>
              <p:nvSpPr>
                <p:cNvPr id="5206" name="Freeform 1346"/>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5207" name="Freeform 1347"/>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path>
                  </a:pathLst>
                </a:custGeom>
                <a:noFill/>
                <a:ln>
                  <a:noFill/>
                </a:ln>
                <a:extLst/>
              </p:spPr>
              <p:txBody>
                <a:bodyPr/>
                <a:lstStyle/>
                <a:p>
                  <a:pPr eaLnBrk="1" hangingPunct="1">
                    <a:defRPr/>
                  </a:pPr>
                  <a:endParaRPr lang="zh-CN" altLang="en-US" sz="1050"/>
                </a:p>
              </p:txBody>
            </p:sp>
            <p:sp>
              <p:nvSpPr>
                <p:cNvPr id="5208" name="Freeform 1348"/>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5209" name="Freeform 1349"/>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5210" name="Freeform 1350"/>
                <p:cNvSpPr>
                  <a:spLocks/>
                </p:cNvSpPr>
                <p:nvPr/>
              </p:nvSpPr>
              <p:spPr bwMode="auto">
                <a:xfrm>
                  <a:off x="11114"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211" name="Freeform 1351"/>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12" name="Freeform 1352"/>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5213" name="Freeform 1353"/>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14" name="Freeform 1354"/>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215" name="Freeform 1355"/>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216" name="Freeform 1356"/>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5217" name="Freeform 1357"/>
                <p:cNvSpPr>
                  <a:spLocks/>
                </p:cNvSpPr>
                <p:nvPr/>
              </p:nvSpPr>
              <p:spPr bwMode="auto">
                <a:xfrm>
                  <a:off x="11122" y="1881"/>
                  <a:ext cx="0" cy="9"/>
                </a:xfrm>
                <a:custGeom>
                  <a:avLst/>
                  <a:gdLst>
                    <a:gd name="T0" fmla="*/ 0 w 2"/>
                    <a:gd name="T1" fmla="*/ 8 h 8"/>
                    <a:gd name="T2" fmla="*/ 2 w 2"/>
                    <a:gd name="T3" fmla="*/ 8 h 8"/>
                    <a:gd name="T4" fmla="*/ 2 w 2"/>
                    <a:gd name="T5" fmla="*/ 0 h 8"/>
                    <a:gd name="T6" fmla="*/ 2 w 2"/>
                    <a:gd name="T7" fmla="*/ 0 h 8"/>
                    <a:gd name="T8" fmla="*/ 0 w 2"/>
                    <a:gd name="T9" fmla="*/ 8 h 8"/>
                  </a:gdLst>
                  <a:ahLst/>
                  <a:cxnLst>
                    <a:cxn ang="0">
                      <a:pos x="T0" y="T1"/>
                    </a:cxn>
                    <a:cxn ang="0">
                      <a:pos x="T2" y="T3"/>
                    </a:cxn>
                    <a:cxn ang="0">
                      <a:pos x="T4" y="T5"/>
                    </a:cxn>
                    <a:cxn ang="0">
                      <a:pos x="T6" y="T7"/>
                    </a:cxn>
                    <a:cxn ang="0">
                      <a:pos x="T8" y="T9"/>
                    </a:cxn>
                  </a:cxnLst>
                  <a:rect l="0" t="0" r="r" b="b"/>
                  <a:pathLst>
                    <a:path w="2" h="8">
                      <a:moveTo>
                        <a:pt x="0" y="8"/>
                      </a:moveTo>
                      <a:lnTo>
                        <a:pt x="2" y="8"/>
                      </a:lnTo>
                      <a:lnTo>
                        <a:pt x="2" y="0"/>
                      </a:lnTo>
                      <a:lnTo>
                        <a:pt x="2" y="0"/>
                      </a:lnTo>
                      <a:lnTo>
                        <a:pt x="0" y="8"/>
                      </a:lnTo>
                      <a:close/>
                    </a:path>
                  </a:pathLst>
                </a:custGeom>
                <a:solidFill>
                  <a:srgbClr val="01AAE5"/>
                </a:solidFill>
                <a:ln>
                  <a:noFill/>
                </a:ln>
                <a:extLst/>
              </p:spPr>
              <p:txBody>
                <a:bodyPr/>
                <a:lstStyle/>
                <a:p>
                  <a:pPr eaLnBrk="1" hangingPunct="1">
                    <a:defRPr/>
                  </a:pPr>
                  <a:endParaRPr lang="zh-CN" altLang="en-US" sz="1050"/>
                </a:p>
              </p:txBody>
            </p:sp>
            <p:sp>
              <p:nvSpPr>
                <p:cNvPr id="5218" name="Freeform 1358"/>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19" name="Freeform 1359"/>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5220" name="Freeform 1360"/>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5221" name="Freeform 1361"/>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path>
                  </a:pathLst>
                </a:custGeom>
                <a:noFill/>
                <a:ln>
                  <a:noFill/>
                </a:ln>
                <a:extLst/>
              </p:spPr>
              <p:txBody>
                <a:bodyPr/>
                <a:lstStyle/>
                <a:p>
                  <a:pPr eaLnBrk="1" hangingPunct="1">
                    <a:defRPr/>
                  </a:pPr>
                  <a:endParaRPr lang="zh-CN" altLang="en-US" sz="1050"/>
                </a:p>
              </p:txBody>
            </p:sp>
            <p:sp>
              <p:nvSpPr>
                <p:cNvPr id="5222" name="Freeform 1362"/>
                <p:cNvSpPr>
                  <a:spLocks/>
                </p:cNvSpPr>
                <p:nvPr/>
              </p:nvSpPr>
              <p:spPr bwMode="auto">
                <a:xfrm>
                  <a:off x="11105"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23" name="Freeform 1363"/>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224" name="Freeform 1364"/>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path>
                  </a:pathLst>
                </a:custGeom>
                <a:noFill/>
                <a:ln>
                  <a:noFill/>
                </a:ln>
                <a:extLst/>
              </p:spPr>
              <p:txBody>
                <a:bodyPr/>
                <a:lstStyle/>
                <a:p>
                  <a:pPr eaLnBrk="1" hangingPunct="1">
                    <a:defRPr/>
                  </a:pPr>
                  <a:endParaRPr lang="zh-CN" altLang="en-US" sz="1050"/>
                </a:p>
              </p:txBody>
            </p:sp>
            <p:sp>
              <p:nvSpPr>
                <p:cNvPr id="5225" name="Freeform 1365"/>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close/>
                    </a:path>
                  </a:pathLst>
                </a:custGeom>
                <a:solidFill>
                  <a:srgbClr val="01AAE5"/>
                </a:solidFill>
                <a:ln>
                  <a:noFill/>
                </a:ln>
                <a:extLst/>
              </p:spPr>
              <p:txBody>
                <a:bodyPr/>
                <a:lstStyle/>
                <a:p>
                  <a:pPr eaLnBrk="1" hangingPunct="1">
                    <a:defRPr/>
                  </a:pPr>
                  <a:endParaRPr lang="zh-CN" altLang="en-US" sz="1050"/>
                </a:p>
              </p:txBody>
            </p:sp>
            <p:sp>
              <p:nvSpPr>
                <p:cNvPr id="5226" name="Freeform 1366"/>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path>
                  </a:pathLst>
                </a:custGeom>
                <a:noFill/>
                <a:ln>
                  <a:noFill/>
                </a:ln>
                <a:extLst/>
              </p:spPr>
              <p:txBody>
                <a:bodyPr/>
                <a:lstStyle/>
                <a:p>
                  <a:pPr eaLnBrk="1" hangingPunct="1">
                    <a:defRPr/>
                  </a:pPr>
                  <a:endParaRPr lang="zh-CN" altLang="en-US" sz="1050"/>
                </a:p>
              </p:txBody>
            </p:sp>
            <p:sp>
              <p:nvSpPr>
                <p:cNvPr id="5227" name="Freeform 1367"/>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5228" name="Freeform 1368"/>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path>
                  </a:pathLst>
                </a:custGeom>
                <a:noFill/>
                <a:ln>
                  <a:noFill/>
                </a:ln>
                <a:extLst/>
              </p:spPr>
              <p:txBody>
                <a:bodyPr/>
                <a:lstStyle/>
                <a:p>
                  <a:pPr eaLnBrk="1" hangingPunct="1">
                    <a:defRPr/>
                  </a:pPr>
                  <a:endParaRPr lang="zh-CN" altLang="en-US" sz="1050"/>
                </a:p>
              </p:txBody>
            </p:sp>
            <p:sp>
              <p:nvSpPr>
                <p:cNvPr id="5229" name="Freeform 1369"/>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5230" name="Freeform 1370"/>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path>
                  </a:pathLst>
                </a:custGeom>
                <a:noFill/>
                <a:ln>
                  <a:noFill/>
                </a:ln>
                <a:extLst/>
              </p:spPr>
              <p:txBody>
                <a:bodyPr/>
                <a:lstStyle/>
                <a:p>
                  <a:pPr eaLnBrk="1" hangingPunct="1">
                    <a:defRPr/>
                  </a:pPr>
                  <a:endParaRPr lang="zh-CN" altLang="en-US" sz="1050"/>
                </a:p>
              </p:txBody>
            </p:sp>
            <p:sp>
              <p:nvSpPr>
                <p:cNvPr id="5231" name="Freeform 1371"/>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5232" name="Freeform 1372"/>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path>
                  </a:pathLst>
                </a:custGeom>
                <a:noFill/>
                <a:ln>
                  <a:noFill/>
                </a:ln>
                <a:extLst/>
              </p:spPr>
              <p:txBody>
                <a:bodyPr/>
                <a:lstStyle/>
                <a:p>
                  <a:pPr eaLnBrk="1" hangingPunct="1">
                    <a:defRPr/>
                  </a:pPr>
                  <a:endParaRPr lang="zh-CN" altLang="en-US" sz="1050"/>
                </a:p>
              </p:txBody>
            </p:sp>
            <p:sp>
              <p:nvSpPr>
                <p:cNvPr id="5233" name="Freeform 1373"/>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close/>
                    </a:path>
                  </a:pathLst>
                </a:custGeom>
                <a:solidFill>
                  <a:srgbClr val="01AAE5"/>
                </a:solidFill>
                <a:ln>
                  <a:noFill/>
                </a:ln>
                <a:extLst/>
              </p:spPr>
              <p:txBody>
                <a:bodyPr/>
                <a:lstStyle/>
                <a:p>
                  <a:pPr eaLnBrk="1" hangingPunct="1">
                    <a:defRPr/>
                  </a:pPr>
                  <a:endParaRPr lang="zh-CN" altLang="en-US" sz="1050"/>
                </a:p>
              </p:txBody>
            </p:sp>
            <p:sp>
              <p:nvSpPr>
                <p:cNvPr id="5234" name="Freeform 1374"/>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path>
                  </a:pathLst>
                </a:custGeom>
                <a:noFill/>
                <a:ln>
                  <a:noFill/>
                </a:ln>
                <a:extLst/>
              </p:spPr>
              <p:txBody>
                <a:bodyPr/>
                <a:lstStyle/>
                <a:p>
                  <a:pPr eaLnBrk="1" hangingPunct="1">
                    <a:defRPr/>
                  </a:pPr>
                  <a:endParaRPr lang="zh-CN" altLang="en-US" sz="1050"/>
                </a:p>
              </p:txBody>
            </p:sp>
            <p:sp>
              <p:nvSpPr>
                <p:cNvPr id="5235" name="Freeform 1375"/>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5236" name="Freeform 1376"/>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path>
                  </a:pathLst>
                </a:custGeom>
                <a:noFill/>
                <a:ln>
                  <a:noFill/>
                </a:ln>
                <a:extLst/>
              </p:spPr>
              <p:txBody>
                <a:bodyPr/>
                <a:lstStyle/>
                <a:p>
                  <a:pPr eaLnBrk="1" hangingPunct="1">
                    <a:defRPr/>
                  </a:pPr>
                  <a:endParaRPr lang="zh-CN" altLang="en-US" sz="1050"/>
                </a:p>
              </p:txBody>
            </p:sp>
            <p:sp>
              <p:nvSpPr>
                <p:cNvPr id="5237" name="Freeform 1377"/>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5238" name="Freeform 1378"/>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path>
                  </a:pathLst>
                </a:custGeom>
                <a:noFill/>
                <a:ln>
                  <a:noFill/>
                </a:ln>
                <a:extLst/>
              </p:spPr>
              <p:txBody>
                <a:bodyPr/>
                <a:lstStyle/>
                <a:p>
                  <a:pPr eaLnBrk="1" hangingPunct="1">
                    <a:defRPr/>
                  </a:pPr>
                  <a:endParaRPr lang="zh-CN" altLang="en-US" sz="1050"/>
                </a:p>
              </p:txBody>
            </p:sp>
            <p:sp>
              <p:nvSpPr>
                <p:cNvPr id="5239" name="Freeform 1379"/>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close/>
                    </a:path>
                  </a:pathLst>
                </a:custGeom>
                <a:solidFill>
                  <a:srgbClr val="01AAE5"/>
                </a:solidFill>
                <a:ln>
                  <a:noFill/>
                </a:ln>
                <a:extLst/>
              </p:spPr>
              <p:txBody>
                <a:bodyPr/>
                <a:lstStyle/>
                <a:p>
                  <a:pPr eaLnBrk="1" hangingPunct="1">
                    <a:defRPr/>
                  </a:pPr>
                  <a:endParaRPr lang="zh-CN" altLang="en-US" sz="1050"/>
                </a:p>
              </p:txBody>
            </p:sp>
            <p:sp>
              <p:nvSpPr>
                <p:cNvPr id="5240" name="Freeform 1380"/>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path>
                  </a:pathLst>
                </a:custGeom>
                <a:noFill/>
                <a:ln>
                  <a:noFill/>
                </a:ln>
                <a:extLst/>
              </p:spPr>
              <p:txBody>
                <a:bodyPr/>
                <a:lstStyle/>
                <a:p>
                  <a:pPr eaLnBrk="1" hangingPunct="1">
                    <a:defRPr/>
                  </a:pPr>
                  <a:endParaRPr lang="zh-CN" altLang="en-US" sz="1050"/>
                </a:p>
              </p:txBody>
            </p:sp>
            <p:sp>
              <p:nvSpPr>
                <p:cNvPr id="5241" name="Freeform 1381"/>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close/>
                    </a:path>
                  </a:pathLst>
                </a:custGeom>
                <a:solidFill>
                  <a:srgbClr val="01AAE5"/>
                </a:solidFill>
                <a:ln>
                  <a:noFill/>
                </a:ln>
                <a:extLst/>
              </p:spPr>
              <p:txBody>
                <a:bodyPr/>
                <a:lstStyle/>
                <a:p>
                  <a:pPr eaLnBrk="1" hangingPunct="1">
                    <a:defRPr/>
                  </a:pPr>
                  <a:endParaRPr lang="zh-CN" altLang="en-US" sz="1050"/>
                </a:p>
              </p:txBody>
            </p:sp>
            <p:sp>
              <p:nvSpPr>
                <p:cNvPr id="5242" name="Freeform 1382"/>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path>
                  </a:pathLst>
                </a:custGeom>
                <a:noFill/>
                <a:ln>
                  <a:noFill/>
                </a:ln>
                <a:extLst/>
              </p:spPr>
              <p:txBody>
                <a:bodyPr/>
                <a:lstStyle/>
                <a:p>
                  <a:pPr eaLnBrk="1" hangingPunct="1">
                    <a:defRPr/>
                  </a:pPr>
                  <a:endParaRPr lang="zh-CN" altLang="en-US" sz="1050"/>
                </a:p>
              </p:txBody>
            </p:sp>
            <p:sp>
              <p:nvSpPr>
                <p:cNvPr id="5243" name="Freeform 1383"/>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close/>
                    </a:path>
                  </a:pathLst>
                </a:custGeom>
                <a:solidFill>
                  <a:srgbClr val="01AAE5"/>
                </a:solidFill>
                <a:ln>
                  <a:noFill/>
                </a:ln>
                <a:extLst/>
              </p:spPr>
              <p:txBody>
                <a:bodyPr/>
                <a:lstStyle/>
                <a:p>
                  <a:pPr eaLnBrk="1" hangingPunct="1">
                    <a:defRPr/>
                  </a:pPr>
                  <a:endParaRPr lang="zh-CN" altLang="en-US" sz="1050"/>
                </a:p>
              </p:txBody>
            </p:sp>
            <p:sp>
              <p:nvSpPr>
                <p:cNvPr id="5244" name="Freeform 1384"/>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path>
                  </a:pathLst>
                </a:custGeom>
                <a:noFill/>
                <a:ln>
                  <a:noFill/>
                </a:ln>
                <a:extLst/>
              </p:spPr>
              <p:txBody>
                <a:bodyPr/>
                <a:lstStyle/>
                <a:p>
                  <a:pPr eaLnBrk="1" hangingPunct="1">
                    <a:defRPr/>
                  </a:pPr>
                  <a:endParaRPr lang="zh-CN" altLang="en-US" sz="1050"/>
                </a:p>
              </p:txBody>
            </p:sp>
            <p:sp>
              <p:nvSpPr>
                <p:cNvPr id="5245" name="Freeform 1385"/>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close/>
                    </a:path>
                  </a:pathLst>
                </a:custGeom>
                <a:solidFill>
                  <a:srgbClr val="01AAE5"/>
                </a:solidFill>
                <a:ln>
                  <a:noFill/>
                </a:ln>
                <a:extLst/>
              </p:spPr>
              <p:txBody>
                <a:bodyPr/>
                <a:lstStyle/>
                <a:p>
                  <a:pPr eaLnBrk="1" hangingPunct="1">
                    <a:defRPr/>
                  </a:pPr>
                  <a:endParaRPr lang="zh-CN" altLang="en-US" sz="1050"/>
                </a:p>
              </p:txBody>
            </p:sp>
            <p:sp>
              <p:nvSpPr>
                <p:cNvPr id="5246" name="Freeform 1386"/>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path>
                  </a:pathLst>
                </a:custGeom>
                <a:noFill/>
                <a:ln>
                  <a:noFill/>
                </a:ln>
                <a:extLst/>
              </p:spPr>
              <p:txBody>
                <a:bodyPr/>
                <a:lstStyle/>
                <a:p>
                  <a:pPr eaLnBrk="1" hangingPunct="1">
                    <a:defRPr/>
                  </a:pPr>
                  <a:endParaRPr lang="zh-CN" altLang="en-US" sz="1050"/>
                </a:p>
              </p:txBody>
            </p:sp>
            <p:sp>
              <p:nvSpPr>
                <p:cNvPr id="5247" name="Freeform 1387"/>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close/>
                    </a:path>
                  </a:pathLst>
                </a:custGeom>
                <a:solidFill>
                  <a:srgbClr val="01AAE5"/>
                </a:solidFill>
                <a:ln>
                  <a:noFill/>
                </a:ln>
                <a:extLst/>
              </p:spPr>
              <p:txBody>
                <a:bodyPr/>
                <a:lstStyle/>
                <a:p>
                  <a:pPr eaLnBrk="1" hangingPunct="1">
                    <a:defRPr/>
                  </a:pPr>
                  <a:endParaRPr lang="zh-CN" altLang="en-US" sz="1050"/>
                </a:p>
              </p:txBody>
            </p:sp>
            <p:sp>
              <p:nvSpPr>
                <p:cNvPr id="5248" name="Freeform 1388"/>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path>
                  </a:pathLst>
                </a:custGeom>
                <a:noFill/>
                <a:ln>
                  <a:noFill/>
                </a:ln>
                <a:extLst/>
              </p:spPr>
              <p:txBody>
                <a:bodyPr/>
                <a:lstStyle/>
                <a:p>
                  <a:pPr eaLnBrk="1" hangingPunct="1">
                    <a:defRPr/>
                  </a:pPr>
                  <a:endParaRPr lang="zh-CN" altLang="en-US" sz="1050"/>
                </a:p>
              </p:txBody>
            </p:sp>
            <p:sp>
              <p:nvSpPr>
                <p:cNvPr id="5249" name="Freeform 1389"/>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5250" name="Freeform 1390"/>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path>
                  </a:pathLst>
                </a:custGeom>
                <a:noFill/>
                <a:ln>
                  <a:noFill/>
                </a:ln>
                <a:extLst/>
              </p:spPr>
              <p:txBody>
                <a:bodyPr/>
                <a:lstStyle/>
                <a:p>
                  <a:pPr eaLnBrk="1" hangingPunct="1">
                    <a:defRPr/>
                  </a:pPr>
                  <a:endParaRPr lang="zh-CN" altLang="en-US" sz="1050"/>
                </a:p>
              </p:txBody>
            </p:sp>
            <p:sp>
              <p:nvSpPr>
                <p:cNvPr id="5251" name="Freeform 1391"/>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close/>
                    </a:path>
                  </a:pathLst>
                </a:custGeom>
                <a:solidFill>
                  <a:srgbClr val="01AAE5"/>
                </a:solidFill>
                <a:ln>
                  <a:noFill/>
                </a:ln>
                <a:extLst/>
              </p:spPr>
              <p:txBody>
                <a:bodyPr/>
                <a:lstStyle/>
                <a:p>
                  <a:pPr eaLnBrk="1" hangingPunct="1">
                    <a:defRPr/>
                  </a:pPr>
                  <a:endParaRPr lang="zh-CN" altLang="en-US" sz="1050"/>
                </a:p>
              </p:txBody>
            </p:sp>
            <p:sp>
              <p:nvSpPr>
                <p:cNvPr id="5252" name="Freeform 1392"/>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path>
                  </a:pathLst>
                </a:custGeom>
                <a:noFill/>
                <a:ln>
                  <a:noFill/>
                </a:ln>
                <a:extLst/>
              </p:spPr>
              <p:txBody>
                <a:bodyPr/>
                <a:lstStyle/>
                <a:p>
                  <a:pPr eaLnBrk="1" hangingPunct="1">
                    <a:defRPr/>
                  </a:pPr>
                  <a:endParaRPr lang="zh-CN" altLang="en-US" sz="1050"/>
                </a:p>
              </p:txBody>
            </p:sp>
            <p:sp>
              <p:nvSpPr>
                <p:cNvPr id="5253" name="Freeform 1393"/>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5254" name="Freeform 1394"/>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path>
                  </a:pathLst>
                </a:custGeom>
                <a:noFill/>
                <a:ln>
                  <a:noFill/>
                </a:ln>
                <a:extLst/>
              </p:spPr>
              <p:txBody>
                <a:bodyPr/>
                <a:lstStyle/>
                <a:p>
                  <a:pPr eaLnBrk="1" hangingPunct="1">
                    <a:defRPr/>
                  </a:pPr>
                  <a:endParaRPr lang="zh-CN" altLang="en-US" sz="1050"/>
                </a:p>
              </p:txBody>
            </p:sp>
            <p:sp>
              <p:nvSpPr>
                <p:cNvPr id="5255" name="Freeform 1395"/>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close/>
                    </a:path>
                  </a:pathLst>
                </a:custGeom>
                <a:solidFill>
                  <a:srgbClr val="01AAE5"/>
                </a:solidFill>
                <a:ln>
                  <a:noFill/>
                </a:ln>
                <a:extLst/>
              </p:spPr>
              <p:txBody>
                <a:bodyPr/>
                <a:lstStyle/>
                <a:p>
                  <a:pPr eaLnBrk="1" hangingPunct="1">
                    <a:defRPr/>
                  </a:pPr>
                  <a:endParaRPr lang="zh-CN" altLang="en-US" sz="1050"/>
                </a:p>
              </p:txBody>
            </p:sp>
            <p:sp>
              <p:nvSpPr>
                <p:cNvPr id="5256" name="Freeform 1396"/>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path>
                  </a:pathLst>
                </a:custGeom>
                <a:noFill/>
                <a:ln>
                  <a:noFill/>
                </a:ln>
                <a:extLst/>
              </p:spPr>
              <p:txBody>
                <a:bodyPr/>
                <a:lstStyle/>
                <a:p>
                  <a:pPr eaLnBrk="1" hangingPunct="1">
                    <a:defRPr/>
                  </a:pPr>
                  <a:endParaRPr lang="zh-CN" altLang="en-US" sz="1050"/>
                </a:p>
              </p:txBody>
            </p:sp>
            <p:sp>
              <p:nvSpPr>
                <p:cNvPr id="5257" name="Freeform 1397"/>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close/>
                    </a:path>
                  </a:pathLst>
                </a:custGeom>
                <a:solidFill>
                  <a:srgbClr val="01AAE5"/>
                </a:solidFill>
                <a:ln>
                  <a:noFill/>
                </a:ln>
                <a:extLst/>
              </p:spPr>
              <p:txBody>
                <a:bodyPr/>
                <a:lstStyle/>
                <a:p>
                  <a:pPr eaLnBrk="1" hangingPunct="1">
                    <a:defRPr/>
                  </a:pPr>
                  <a:endParaRPr lang="zh-CN" altLang="en-US" sz="1050"/>
                </a:p>
              </p:txBody>
            </p:sp>
            <p:sp>
              <p:nvSpPr>
                <p:cNvPr id="5258" name="Freeform 1398"/>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path>
                  </a:pathLst>
                </a:custGeom>
                <a:noFill/>
                <a:ln>
                  <a:noFill/>
                </a:ln>
                <a:extLst/>
              </p:spPr>
              <p:txBody>
                <a:bodyPr/>
                <a:lstStyle/>
                <a:p>
                  <a:pPr eaLnBrk="1" hangingPunct="1">
                    <a:defRPr/>
                  </a:pPr>
                  <a:endParaRPr lang="zh-CN" altLang="en-US" sz="1050"/>
                </a:p>
              </p:txBody>
            </p:sp>
            <p:sp>
              <p:nvSpPr>
                <p:cNvPr id="5259" name="Freeform 1399"/>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5260" name="Freeform 1400"/>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path>
                  </a:pathLst>
                </a:custGeom>
                <a:noFill/>
                <a:ln>
                  <a:noFill/>
                </a:ln>
                <a:extLst/>
              </p:spPr>
              <p:txBody>
                <a:bodyPr/>
                <a:lstStyle/>
                <a:p>
                  <a:pPr eaLnBrk="1" hangingPunct="1">
                    <a:defRPr/>
                  </a:pPr>
                  <a:endParaRPr lang="zh-CN" altLang="en-US" sz="1050"/>
                </a:p>
              </p:txBody>
            </p:sp>
            <p:sp>
              <p:nvSpPr>
                <p:cNvPr id="5261" name="Freeform 1401"/>
                <p:cNvSpPr>
                  <a:spLocks/>
                </p:cNvSpPr>
                <p:nvPr/>
              </p:nvSpPr>
              <p:spPr bwMode="auto">
                <a:xfrm>
                  <a:off x="11488" y="2046"/>
                  <a:ext cx="0" cy="0"/>
                </a:xfrm>
                <a:custGeom>
                  <a:avLst/>
                  <a:gdLst>
                    <a:gd name="T0" fmla="*/ 0 w 4"/>
                    <a:gd name="T1" fmla="*/ 4 h 4"/>
                    <a:gd name="T2" fmla="*/ 4 w 4"/>
                    <a:gd name="T3" fmla="*/ 0 h 4"/>
                    <a:gd name="T4" fmla="*/ 4 w 4"/>
                    <a:gd name="T5" fmla="*/ 0 h 4"/>
                    <a:gd name="T6" fmla="*/ 0 w 4"/>
                    <a:gd name="T7" fmla="*/ 4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0"/>
                      </a:lnTo>
                      <a:lnTo>
                        <a:pt x="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262" name="Freeform 1402"/>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63" name="Freeform 1403"/>
                <p:cNvSpPr>
                  <a:spLocks/>
                </p:cNvSpPr>
                <p:nvPr/>
              </p:nvSpPr>
              <p:spPr bwMode="auto">
                <a:xfrm>
                  <a:off x="11488" y="2046"/>
                  <a:ext cx="0" cy="9"/>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64" name="Freeform 1404"/>
                <p:cNvSpPr>
                  <a:spLocks/>
                </p:cNvSpPr>
                <p:nvPr/>
              </p:nvSpPr>
              <p:spPr bwMode="auto">
                <a:xfrm>
                  <a:off x="11480" y="2046"/>
                  <a:ext cx="0" cy="0"/>
                </a:xfrm>
                <a:custGeom>
                  <a:avLst/>
                  <a:gdLst>
                    <a:gd name="T0" fmla="*/ 0 w 5"/>
                    <a:gd name="T1" fmla="*/ 4 h 4"/>
                    <a:gd name="T2" fmla="*/ 5 w 5"/>
                    <a:gd name="T3" fmla="*/ 0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265" name="Freeform 1405"/>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66" name="Freeform 1406"/>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5267" name="Freeform 1407"/>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path>
                  </a:pathLst>
                </a:custGeom>
                <a:noFill/>
                <a:ln>
                  <a:noFill/>
                </a:ln>
                <a:extLst/>
              </p:spPr>
              <p:txBody>
                <a:bodyPr/>
                <a:lstStyle/>
                <a:p>
                  <a:pPr eaLnBrk="1" hangingPunct="1">
                    <a:defRPr/>
                  </a:pPr>
                  <a:endParaRPr lang="zh-CN" altLang="en-US" sz="1050"/>
                </a:p>
              </p:txBody>
            </p:sp>
            <p:sp>
              <p:nvSpPr>
                <p:cNvPr id="5268" name="Freeform 1408"/>
                <p:cNvSpPr>
                  <a:spLocks/>
                </p:cNvSpPr>
                <p:nvPr/>
              </p:nvSpPr>
              <p:spPr bwMode="auto">
                <a:xfrm>
                  <a:off x="11488" y="2046"/>
                  <a:ext cx="0" cy="9"/>
                </a:xfrm>
                <a:custGeom>
                  <a:avLst/>
                  <a:gdLst>
                    <a:gd name="T0" fmla="*/ 3 w 5"/>
                    <a:gd name="T1" fmla="*/ 5 h 5"/>
                    <a:gd name="T2" fmla="*/ 5 w 5"/>
                    <a:gd name="T3" fmla="*/ 3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5269" name="Freeform 1409"/>
                <p:cNvSpPr>
                  <a:spLocks/>
                </p:cNvSpPr>
                <p:nvPr/>
              </p:nvSpPr>
              <p:spPr bwMode="auto">
                <a:xfrm>
                  <a:off x="11488" y="2055"/>
                  <a:ext cx="0" cy="9"/>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01AAE5"/>
                </a:solidFill>
                <a:ln>
                  <a:noFill/>
                </a:ln>
                <a:extLst/>
              </p:spPr>
              <p:txBody>
                <a:bodyPr/>
                <a:lstStyle/>
                <a:p>
                  <a:pPr eaLnBrk="1" hangingPunct="1">
                    <a:defRPr/>
                  </a:pPr>
                  <a:endParaRPr lang="zh-CN" altLang="en-US" sz="1050"/>
                </a:p>
              </p:txBody>
            </p:sp>
            <p:sp>
              <p:nvSpPr>
                <p:cNvPr id="5270" name="Freeform 1410"/>
                <p:cNvSpPr>
                  <a:spLocks/>
                </p:cNvSpPr>
                <p:nvPr/>
              </p:nvSpPr>
              <p:spPr bwMode="auto">
                <a:xfrm>
                  <a:off x="11488" y="2055"/>
                  <a:ext cx="0" cy="9"/>
                </a:xfrm>
                <a:custGeom>
                  <a:avLst/>
                  <a:gdLst>
                    <a:gd name="T0" fmla="*/ 2 w 7"/>
                    <a:gd name="T1" fmla="*/ 5 h 5"/>
                    <a:gd name="T2" fmla="*/ 7 w 7"/>
                    <a:gd name="T3" fmla="*/ 0 h 5"/>
                    <a:gd name="T4" fmla="*/ 5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5"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5271" name="Freeform 1411"/>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72" name="Freeform 1412"/>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5273" name="Freeform 1413"/>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5274" name="Freeform 1414"/>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path>
                  </a:pathLst>
                </a:custGeom>
                <a:noFill/>
                <a:ln>
                  <a:noFill/>
                </a:ln>
                <a:extLst/>
              </p:spPr>
              <p:txBody>
                <a:bodyPr/>
                <a:lstStyle/>
                <a:p>
                  <a:pPr eaLnBrk="1" hangingPunct="1">
                    <a:defRPr/>
                  </a:pPr>
                  <a:endParaRPr lang="zh-CN" altLang="en-US" sz="1050"/>
                </a:p>
              </p:txBody>
            </p:sp>
            <p:sp>
              <p:nvSpPr>
                <p:cNvPr id="5275" name="Freeform 1415"/>
                <p:cNvSpPr>
                  <a:spLocks/>
                </p:cNvSpPr>
                <p:nvPr/>
              </p:nvSpPr>
              <p:spPr bwMode="auto">
                <a:xfrm>
                  <a:off x="11480" y="2038"/>
                  <a:ext cx="0" cy="9"/>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76" name="Freeform 1416"/>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77" name="Freeform 1417"/>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5278" name="Freeform 1418"/>
                <p:cNvSpPr>
                  <a:spLocks/>
                </p:cNvSpPr>
                <p:nvPr/>
              </p:nvSpPr>
              <p:spPr bwMode="auto">
                <a:xfrm>
                  <a:off x="11447" y="2029"/>
                  <a:ext cx="0" cy="9"/>
                </a:xfrm>
                <a:custGeom>
                  <a:avLst/>
                  <a:gdLst>
                    <a:gd name="T0" fmla="*/ 0 w 5"/>
                    <a:gd name="T1" fmla="*/ 7 h 7"/>
                    <a:gd name="T2" fmla="*/ 5 w 5"/>
                    <a:gd name="T3" fmla="*/ 2 h 7"/>
                    <a:gd name="T4" fmla="*/ 5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2"/>
                      </a:lnTo>
                      <a:lnTo>
                        <a:pt x="5"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279" name="Freeform 1419"/>
                <p:cNvSpPr>
                  <a:spLocks/>
                </p:cNvSpPr>
                <p:nvPr/>
              </p:nvSpPr>
              <p:spPr bwMode="auto">
                <a:xfrm>
                  <a:off x="11480" y="2038"/>
                  <a:ext cx="0" cy="9"/>
                </a:xfrm>
                <a:custGeom>
                  <a:avLst/>
                  <a:gdLst>
                    <a:gd name="T0" fmla="*/ 0 w 4"/>
                    <a:gd name="T1" fmla="*/ 5 h 5"/>
                    <a:gd name="T2" fmla="*/ 0 w 4"/>
                    <a:gd name="T3" fmla="*/ 5 h 5"/>
                    <a:gd name="T4" fmla="*/ 4 w 4"/>
                    <a:gd name="T5" fmla="*/ 0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5"/>
                      </a:lnTo>
                      <a:lnTo>
                        <a:pt x="4" y="0"/>
                      </a:lnTo>
                      <a:lnTo>
                        <a:pt x="4" y="0"/>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80" name="Freeform 1420"/>
                <p:cNvSpPr>
                  <a:spLocks/>
                </p:cNvSpPr>
                <p:nvPr/>
              </p:nvSpPr>
              <p:spPr bwMode="auto">
                <a:xfrm>
                  <a:off x="11447" y="2038"/>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281" name="Freeform 1421"/>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close/>
                    </a:path>
                  </a:pathLst>
                </a:custGeom>
                <a:solidFill>
                  <a:srgbClr val="01AAE5"/>
                </a:solidFill>
                <a:ln>
                  <a:noFill/>
                </a:ln>
                <a:extLst/>
              </p:spPr>
              <p:txBody>
                <a:bodyPr/>
                <a:lstStyle/>
                <a:p>
                  <a:pPr eaLnBrk="1" hangingPunct="1">
                    <a:defRPr/>
                  </a:pPr>
                  <a:endParaRPr lang="zh-CN" altLang="en-US" sz="1050"/>
                </a:p>
              </p:txBody>
            </p:sp>
            <p:sp>
              <p:nvSpPr>
                <p:cNvPr id="5282" name="Freeform 1422"/>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path>
                  </a:pathLst>
                </a:custGeom>
                <a:noFill/>
                <a:ln>
                  <a:noFill/>
                </a:ln>
                <a:extLst/>
              </p:spPr>
              <p:txBody>
                <a:bodyPr/>
                <a:lstStyle/>
                <a:p>
                  <a:pPr eaLnBrk="1" hangingPunct="1">
                    <a:defRPr/>
                  </a:pPr>
                  <a:endParaRPr lang="zh-CN" altLang="en-US" sz="1050"/>
                </a:p>
              </p:txBody>
            </p:sp>
            <p:sp>
              <p:nvSpPr>
                <p:cNvPr id="5283" name="Freeform 1423"/>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5284" name="Freeform 1424"/>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path>
                  </a:pathLst>
                </a:custGeom>
                <a:noFill/>
                <a:ln>
                  <a:noFill/>
                </a:ln>
                <a:extLst/>
              </p:spPr>
              <p:txBody>
                <a:bodyPr/>
                <a:lstStyle/>
                <a:p>
                  <a:pPr eaLnBrk="1" hangingPunct="1">
                    <a:defRPr/>
                  </a:pPr>
                  <a:endParaRPr lang="zh-CN" altLang="en-US" sz="1050"/>
                </a:p>
              </p:txBody>
            </p:sp>
            <p:sp>
              <p:nvSpPr>
                <p:cNvPr id="5285" name="Freeform 1425"/>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286" name="Freeform 1426"/>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path>
                  </a:pathLst>
                </a:custGeom>
                <a:noFill/>
                <a:ln>
                  <a:noFill/>
                </a:ln>
                <a:extLst/>
              </p:spPr>
              <p:txBody>
                <a:bodyPr/>
                <a:lstStyle/>
                <a:p>
                  <a:pPr eaLnBrk="1" hangingPunct="1">
                    <a:defRPr/>
                  </a:pPr>
                  <a:endParaRPr lang="zh-CN" altLang="en-US" sz="1050"/>
                </a:p>
              </p:txBody>
            </p:sp>
            <p:sp>
              <p:nvSpPr>
                <p:cNvPr id="5287" name="Freeform 1427"/>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5288" name="Freeform 1428"/>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path>
                  </a:pathLst>
                </a:custGeom>
                <a:noFill/>
                <a:ln>
                  <a:noFill/>
                </a:ln>
                <a:extLst/>
              </p:spPr>
              <p:txBody>
                <a:bodyPr/>
                <a:lstStyle/>
                <a:p>
                  <a:pPr eaLnBrk="1" hangingPunct="1">
                    <a:defRPr/>
                  </a:pPr>
                  <a:endParaRPr lang="zh-CN" altLang="en-US" sz="1050"/>
                </a:p>
              </p:txBody>
            </p:sp>
            <p:sp>
              <p:nvSpPr>
                <p:cNvPr id="5289" name="Freeform 1429"/>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5290" name="Freeform 1430"/>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path>
                  </a:pathLst>
                </a:custGeom>
                <a:noFill/>
                <a:ln>
                  <a:noFill/>
                </a:ln>
                <a:extLst/>
              </p:spPr>
              <p:txBody>
                <a:bodyPr/>
                <a:lstStyle/>
                <a:p>
                  <a:pPr eaLnBrk="1" hangingPunct="1">
                    <a:defRPr/>
                  </a:pPr>
                  <a:endParaRPr lang="zh-CN" altLang="en-US" sz="1050"/>
                </a:p>
              </p:txBody>
            </p:sp>
            <p:sp>
              <p:nvSpPr>
                <p:cNvPr id="5291" name="Freeform 1431"/>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5292" name="Freeform 1432"/>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path>
                  </a:pathLst>
                </a:custGeom>
                <a:noFill/>
                <a:ln>
                  <a:noFill/>
                </a:ln>
                <a:extLst/>
              </p:spPr>
              <p:txBody>
                <a:bodyPr/>
                <a:lstStyle/>
                <a:p>
                  <a:pPr eaLnBrk="1" hangingPunct="1">
                    <a:defRPr/>
                  </a:pPr>
                  <a:endParaRPr lang="zh-CN" altLang="en-US" sz="1050"/>
                </a:p>
              </p:txBody>
            </p:sp>
            <p:sp>
              <p:nvSpPr>
                <p:cNvPr id="5293" name="Freeform 1433"/>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5294" name="Freeform 1434"/>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path>
                  </a:pathLst>
                </a:custGeom>
                <a:noFill/>
                <a:ln>
                  <a:noFill/>
                </a:ln>
                <a:extLst/>
              </p:spPr>
              <p:txBody>
                <a:bodyPr/>
                <a:lstStyle/>
                <a:p>
                  <a:pPr eaLnBrk="1" hangingPunct="1">
                    <a:defRPr/>
                  </a:pPr>
                  <a:endParaRPr lang="zh-CN" altLang="en-US" sz="1050"/>
                </a:p>
              </p:txBody>
            </p:sp>
            <p:sp>
              <p:nvSpPr>
                <p:cNvPr id="5295" name="Freeform 1435"/>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5296" name="Freeform 1436"/>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path>
                  </a:pathLst>
                </a:custGeom>
                <a:noFill/>
                <a:ln>
                  <a:noFill/>
                </a:ln>
                <a:extLst/>
              </p:spPr>
              <p:txBody>
                <a:bodyPr/>
                <a:lstStyle/>
                <a:p>
                  <a:pPr eaLnBrk="1" hangingPunct="1">
                    <a:defRPr/>
                  </a:pPr>
                  <a:endParaRPr lang="zh-CN" altLang="en-US" sz="1050"/>
                </a:p>
              </p:txBody>
            </p:sp>
            <p:sp>
              <p:nvSpPr>
                <p:cNvPr id="5297" name="Freeform 1437"/>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5298" name="Freeform 1438"/>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path>
                  </a:pathLst>
                </a:custGeom>
                <a:noFill/>
                <a:ln>
                  <a:noFill/>
                </a:ln>
                <a:extLst/>
              </p:spPr>
              <p:txBody>
                <a:bodyPr/>
                <a:lstStyle/>
                <a:p>
                  <a:pPr eaLnBrk="1" hangingPunct="1">
                    <a:defRPr/>
                  </a:pPr>
                  <a:endParaRPr lang="zh-CN" altLang="en-US" sz="1050"/>
                </a:p>
              </p:txBody>
            </p:sp>
            <p:sp>
              <p:nvSpPr>
                <p:cNvPr id="5299" name="Freeform 1439"/>
                <p:cNvSpPr>
                  <a:spLocks/>
                </p:cNvSpPr>
                <p:nvPr/>
              </p:nvSpPr>
              <p:spPr bwMode="auto">
                <a:xfrm>
                  <a:off x="11289" y="1924"/>
                  <a:ext cx="0" cy="9"/>
                </a:xfrm>
                <a:custGeom>
                  <a:avLst/>
                  <a:gdLst>
                    <a:gd name="T0" fmla="*/ 0 w 2"/>
                    <a:gd name="T1" fmla="*/ 7 h 7"/>
                    <a:gd name="T2" fmla="*/ 2 w 2"/>
                    <a:gd name="T3" fmla="*/ 0 h 7"/>
                    <a:gd name="T4" fmla="*/ 2 w 2"/>
                    <a:gd name="T5" fmla="*/ 0 h 7"/>
                    <a:gd name="T6" fmla="*/ 0 w 2"/>
                    <a:gd name="T7" fmla="*/ 5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5300" name="Freeform 1440"/>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5301" name="Freeform 1441"/>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path>
                  </a:pathLst>
                </a:custGeom>
                <a:noFill/>
                <a:ln>
                  <a:noFill/>
                </a:ln>
                <a:extLst/>
              </p:spPr>
              <p:txBody>
                <a:bodyPr/>
                <a:lstStyle/>
                <a:p>
                  <a:pPr eaLnBrk="1" hangingPunct="1">
                    <a:defRPr/>
                  </a:pPr>
                  <a:endParaRPr lang="zh-CN" altLang="en-US" sz="1050"/>
                </a:p>
              </p:txBody>
            </p:sp>
            <p:sp>
              <p:nvSpPr>
                <p:cNvPr id="5302" name="Freeform 1442"/>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5303" name="Freeform 1443"/>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5304" name="Freeform 1444"/>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close/>
                    </a:path>
                  </a:pathLst>
                </a:custGeom>
                <a:solidFill>
                  <a:srgbClr val="01AAE5"/>
                </a:solidFill>
                <a:ln>
                  <a:noFill/>
                </a:ln>
                <a:extLst/>
              </p:spPr>
              <p:txBody>
                <a:bodyPr/>
                <a:lstStyle/>
                <a:p>
                  <a:pPr eaLnBrk="1" hangingPunct="1">
                    <a:defRPr/>
                  </a:pPr>
                  <a:endParaRPr lang="zh-CN" altLang="en-US" sz="1050"/>
                </a:p>
              </p:txBody>
            </p:sp>
            <p:sp>
              <p:nvSpPr>
                <p:cNvPr id="5305" name="Freeform 1445"/>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path>
                  </a:pathLst>
                </a:custGeom>
                <a:noFill/>
                <a:ln>
                  <a:noFill/>
                </a:ln>
                <a:extLst/>
              </p:spPr>
              <p:txBody>
                <a:bodyPr/>
                <a:lstStyle/>
                <a:p>
                  <a:pPr eaLnBrk="1" hangingPunct="1">
                    <a:defRPr/>
                  </a:pPr>
                  <a:endParaRPr lang="zh-CN" altLang="en-US" sz="1050"/>
                </a:p>
              </p:txBody>
            </p:sp>
            <p:sp>
              <p:nvSpPr>
                <p:cNvPr id="5306" name="Freeform 1446"/>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07" name="Freeform 1447"/>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5308" name="Freeform 1448"/>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309" name="Freeform 1449"/>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path>
                  </a:pathLst>
                </a:custGeom>
                <a:noFill/>
                <a:ln>
                  <a:noFill/>
                </a:ln>
                <a:extLst/>
              </p:spPr>
              <p:txBody>
                <a:bodyPr/>
                <a:lstStyle/>
                <a:p>
                  <a:pPr eaLnBrk="1" hangingPunct="1">
                    <a:defRPr/>
                  </a:pPr>
                  <a:endParaRPr lang="zh-CN" altLang="en-US" sz="1050"/>
                </a:p>
              </p:txBody>
            </p:sp>
            <p:sp>
              <p:nvSpPr>
                <p:cNvPr id="5310" name="Freeform 1450"/>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311" name="Freeform 1451"/>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path>
                  </a:pathLst>
                </a:custGeom>
                <a:noFill/>
                <a:ln>
                  <a:noFill/>
                </a:ln>
                <a:extLst/>
              </p:spPr>
              <p:txBody>
                <a:bodyPr/>
                <a:lstStyle/>
                <a:p>
                  <a:pPr eaLnBrk="1" hangingPunct="1">
                    <a:defRPr/>
                  </a:pPr>
                  <a:endParaRPr lang="zh-CN" altLang="en-US" sz="1050"/>
                </a:p>
              </p:txBody>
            </p:sp>
            <p:sp>
              <p:nvSpPr>
                <p:cNvPr id="5312" name="Freeform 1452"/>
                <p:cNvSpPr>
                  <a:spLocks/>
                </p:cNvSpPr>
                <p:nvPr/>
              </p:nvSpPr>
              <p:spPr bwMode="auto">
                <a:xfrm>
                  <a:off x="11289" y="1924"/>
                  <a:ext cx="8" cy="9"/>
                </a:xfrm>
                <a:custGeom>
                  <a:avLst/>
                  <a:gdLst>
                    <a:gd name="T0" fmla="*/ 0 w 5"/>
                    <a:gd name="T1" fmla="*/ 4 h 4"/>
                    <a:gd name="T2" fmla="*/ 5 w 5"/>
                    <a:gd name="T3" fmla="*/ 0 h 4"/>
                    <a:gd name="T4" fmla="*/ 3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3"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5313" name="Freeform 1453"/>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5314" name="Freeform 1454"/>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5315" name="Freeform 1455"/>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5316" name="Freeform 1456"/>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5317" name="Freeform 1457"/>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5318" name="Freeform 1458"/>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path>
                  </a:pathLst>
                </a:custGeom>
                <a:noFill/>
                <a:ln>
                  <a:noFill/>
                </a:ln>
                <a:extLst/>
              </p:spPr>
              <p:txBody>
                <a:bodyPr/>
                <a:lstStyle/>
                <a:p>
                  <a:pPr eaLnBrk="1" hangingPunct="1">
                    <a:defRPr/>
                  </a:pPr>
                  <a:endParaRPr lang="zh-CN" altLang="en-US" sz="1050"/>
                </a:p>
              </p:txBody>
            </p:sp>
            <p:sp>
              <p:nvSpPr>
                <p:cNvPr id="5319" name="Freeform 1459"/>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5320" name="Freeform 1460"/>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path>
                  </a:pathLst>
                </a:custGeom>
                <a:noFill/>
                <a:ln>
                  <a:noFill/>
                </a:ln>
                <a:extLst/>
              </p:spPr>
              <p:txBody>
                <a:bodyPr/>
                <a:lstStyle/>
                <a:p>
                  <a:pPr eaLnBrk="1" hangingPunct="1">
                    <a:defRPr/>
                  </a:pPr>
                  <a:endParaRPr lang="zh-CN" altLang="en-US" sz="1050"/>
                </a:p>
              </p:txBody>
            </p:sp>
            <p:sp>
              <p:nvSpPr>
                <p:cNvPr id="5321" name="Freeform 1461"/>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5322" name="Freeform 1462"/>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path>
                  </a:pathLst>
                </a:custGeom>
                <a:noFill/>
                <a:ln>
                  <a:noFill/>
                </a:ln>
                <a:extLst/>
              </p:spPr>
              <p:txBody>
                <a:bodyPr/>
                <a:lstStyle/>
                <a:p>
                  <a:pPr eaLnBrk="1" hangingPunct="1">
                    <a:defRPr/>
                  </a:pPr>
                  <a:endParaRPr lang="zh-CN" altLang="en-US" sz="1050"/>
                </a:p>
              </p:txBody>
            </p:sp>
            <p:sp>
              <p:nvSpPr>
                <p:cNvPr id="5323" name="Freeform 1463"/>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5324" name="Freeform 1464"/>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path>
                  </a:pathLst>
                </a:custGeom>
                <a:noFill/>
                <a:ln>
                  <a:noFill/>
                </a:ln>
                <a:extLst/>
              </p:spPr>
              <p:txBody>
                <a:bodyPr/>
                <a:lstStyle/>
                <a:p>
                  <a:pPr eaLnBrk="1" hangingPunct="1">
                    <a:defRPr/>
                  </a:pPr>
                  <a:endParaRPr lang="zh-CN" altLang="en-US" sz="1050"/>
                </a:p>
              </p:txBody>
            </p:sp>
            <p:sp>
              <p:nvSpPr>
                <p:cNvPr id="5325" name="Freeform 1465"/>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5326" name="Freeform 1466"/>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5327" name="Freeform 1467"/>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close/>
                    </a:path>
                  </a:pathLst>
                </a:custGeom>
                <a:solidFill>
                  <a:srgbClr val="01AAE5"/>
                </a:solidFill>
                <a:ln>
                  <a:noFill/>
                </a:ln>
                <a:extLst/>
              </p:spPr>
              <p:txBody>
                <a:bodyPr/>
                <a:lstStyle/>
                <a:p>
                  <a:pPr eaLnBrk="1" hangingPunct="1">
                    <a:defRPr/>
                  </a:pPr>
                  <a:endParaRPr lang="zh-CN" altLang="en-US" sz="1050"/>
                </a:p>
              </p:txBody>
            </p:sp>
            <p:sp>
              <p:nvSpPr>
                <p:cNvPr id="5328" name="Freeform 1468"/>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path>
                  </a:pathLst>
                </a:custGeom>
                <a:noFill/>
                <a:ln>
                  <a:noFill/>
                </a:ln>
                <a:extLst/>
              </p:spPr>
              <p:txBody>
                <a:bodyPr/>
                <a:lstStyle/>
                <a:p>
                  <a:pPr eaLnBrk="1" hangingPunct="1">
                    <a:defRPr/>
                  </a:pPr>
                  <a:endParaRPr lang="zh-CN" altLang="en-US" sz="1050"/>
                </a:p>
              </p:txBody>
            </p:sp>
            <p:sp>
              <p:nvSpPr>
                <p:cNvPr id="5329" name="Freeform 1469"/>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close/>
                    </a:path>
                  </a:pathLst>
                </a:custGeom>
                <a:solidFill>
                  <a:srgbClr val="01AAE5"/>
                </a:solidFill>
                <a:ln>
                  <a:noFill/>
                </a:ln>
                <a:extLst/>
              </p:spPr>
              <p:txBody>
                <a:bodyPr/>
                <a:lstStyle/>
                <a:p>
                  <a:pPr eaLnBrk="1" hangingPunct="1">
                    <a:defRPr/>
                  </a:pPr>
                  <a:endParaRPr lang="zh-CN" altLang="en-US" sz="1050"/>
                </a:p>
              </p:txBody>
            </p:sp>
            <p:sp>
              <p:nvSpPr>
                <p:cNvPr id="5330" name="Freeform 1470"/>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path>
                  </a:pathLst>
                </a:custGeom>
                <a:noFill/>
                <a:ln>
                  <a:noFill/>
                </a:ln>
                <a:extLst/>
              </p:spPr>
              <p:txBody>
                <a:bodyPr/>
                <a:lstStyle/>
                <a:p>
                  <a:pPr eaLnBrk="1" hangingPunct="1">
                    <a:defRPr/>
                  </a:pPr>
                  <a:endParaRPr lang="zh-CN" altLang="en-US" sz="1050"/>
                </a:p>
              </p:txBody>
            </p:sp>
            <p:sp>
              <p:nvSpPr>
                <p:cNvPr id="5331" name="Freeform 1471"/>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close/>
                    </a:path>
                  </a:pathLst>
                </a:custGeom>
                <a:solidFill>
                  <a:srgbClr val="01AAE5"/>
                </a:solidFill>
                <a:ln>
                  <a:noFill/>
                </a:ln>
                <a:extLst/>
              </p:spPr>
              <p:txBody>
                <a:bodyPr/>
                <a:lstStyle/>
                <a:p>
                  <a:pPr eaLnBrk="1" hangingPunct="1">
                    <a:defRPr/>
                  </a:pPr>
                  <a:endParaRPr lang="zh-CN" altLang="en-US" sz="1050"/>
                </a:p>
              </p:txBody>
            </p:sp>
            <p:sp>
              <p:nvSpPr>
                <p:cNvPr id="5332" name="Freeform 1472"/>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path>
                  </a:pathLst>
                </a:custGeom>
                <a:noFill/>
                <a:ln>
                  <a:noFill/>
                </a:ln>
                <a:extLst/>
              </p:spPr>
              <p:txBody>
                <a:bodyPr/>
                <a:lstStyle/>
                <a:p>
                  <a:pPr eaLnBrk="1" hangingPunct="1">
                    <a:defRPr/>
                  </a:pPr>
                  <a:endParaRPr lang="zh-CN" altLang="en-US" sz="1050"/>
                </a:p>
              </p:txBody>
            </p:sp>
            <p:sp>
              <p:nvSpPr>
                <p:cNvPr id="5333" name="Freeform 1473"/>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5334" name="Freeform 1474"/>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5335" name="Freeform 1475"/>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close/>
                    </a:path>
                  </a:pathLst>
                </a:custGeom>
                <a:solidFill>
                  <a:srgbClr val="01AAE5"/>
                </a:solidFill>
                <a:ln>
                  <a:noFill/>
                </a:ln>
                <a:extLst/>
              </p:spPr>
              <p:txBody>
                <a:bodyPr/>
                <a:lstStyle/>
                <a:p>
                  <a:pPr eaLnBrk="1" hangingPunct="1">
                    <a:defRPr/>
                  </a:pPr>
                  <a:endParaRPr lang="zh-CN" altLang="en-US" sz="1050"/>
                </a:p>
              </p:txBody>
            </p:sp>
            <p:sp>
              <p:nvSpPr>
                <p:cNvPr id="5336" name="Freeform 1476"/>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path>
                  </a:pathLst>
                </a:custGeom>
                <a:noFill/>
                <a:ln>
                  <a:noFill/>
                </a:ln>
                <a:extLst/>
              </p:spPr>
              <p:txBody>
                <a:bodyPr/>
                <a:lstStyle/>
                <a:p>
                  <a:pPr eaLnBrk="1" hangingPunct="1">
                    <a:defRPr/>
                  </a:pPr>
                  <a:endParaRPr lang="zh-CN" altLang="en-US" sz="1050"/>
                </a:p>
              </p:txBody>
            </p:sp>
            <p:sp>
              <p:nvSpPr>
                <p:cNvPr id="5337" name="Freeform 1477"/>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close/>
                    </a:path>
                  </a:pathLst>
                </a:custGeom>
                <a:solidFill>
                  <a:srgbClr val="01AAE5"/>
                </a:solidFill>
                <a:ln>
                  <a:noFill/>
                </a:ln>
                <a:extLst/>
              </p:spPr>
              <p:txBody>
                <a:bodyPr/>
                <a:lstStyle/>
                <a:p>
                  <a:pPr eaLnBrk="1" hangingPunct="1">
                    <a:defRPr/>
                  </a:pPr>
                  <a:endParaRPr lang="zh-CN" altLang="en-US" sz="1050"/>
                </a:p>
              </p:txBody>
            </p:sp>
            <p:sp>
              <p:nvSpPr>
                <p:cNvPr id="5338" name="Freeform 1478"/>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path>
                  </a:pathLst>
                </a:custGeom>
                <a:noFill/>
                <a:ln>
                  <a:noFill/>
                </a:ln>
                <a:extLst/>
              </p:spPr>
              <p:txBody>
                <a:bodyPr/>
                <a:lstStyle/>
                <a:p>
                  <a:pPr eaLnBrk="1" hangingPunct="1">
                    <a:defRPr/>
                  </a:pPr>
                  <a:endParaRPr lang="zh-CN" altLang="en-US" sz="1050"/>
                </a:p>
              </p:txBody>
            </p:sp>
            <p:sp>
              <p:nvSpPr>
                <p:cNvPr id="5339" name="Freeform 1479"/>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close/>
                    </a:path>
                  </a:pathLst>
                </a:custGeom>
                <a:solidFill>
                  <a:srgbClr val="01AAE5"/>
                </a:solidFill>
                <a:ln>
                  <a:noFill/>
                </a:ln>
                <a:extLst/>
              </p:spPr>
              <p:txBody>
                <a:bodyPr/>
                <a:lstStyle/>
                <a:p>
                  <a:pPr eaLnBrk="1" hangingPunct="1">
                    <a:defRPr/>
                  </a:pPr>
                  <a:endParaRPr lang="zh-CN" altLang="en-US" sz="1050"/>
                </a:p>
              </p:txBody>
            </p:sp>
            <p:sp>
              <p:nvSpPr>
                <p:cNvPr id="5340" name="Freeform 1480"/>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path>
                  </a:pathLst>
                </a:custGeom>
                <a:noFill/>
                <a:ln>
                  <a:noFill/>
                </a:ln>
                <a:extLst/>
              </p:spPr>
              <p:txBody>
                <a:bodyPr/>
                <a:lstStyle/>
                <a:p>
                  <a:pPr eaLnBrk="1" hangingPunct="1">
                    <a:defRPr/>
                  </a:pPr>
                  <a:endParaRPr lang="zh-CN" altLang="en-US" sz="1050"/>
                </a:p>
              </p:txBody>
            </p:sp>
            <p:sp>
              <p:nvSpPr>
                <p:cNvPr id="5341" name="Freeform 1481"/>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5342" name="Freeform 1482"/>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path>
                  </a:pathLst>
                </a:custGeom>
                <a:noFill/>
                <a:ln>
                  <a:noFill/>
                </a:ln>
                <a:extLst/>
              </p:spPr>
              <p:txBody>
                <a:bodyPr/>
                <a:lstStyle/>
                <a:p>
                  <a:pPr eaLnBrk="1" hangingPunct="1">
                    <a:defRPr/>
                  </a:pPr>
                  <a:endParaRPr lang="zh-CN" altLang="en-US" sz="1050"/>
                </a:p>
              </p:txBody>
            </p:sp>
            <p:sp>
              <p:nvSpPr>
                <p:cNvPr id="5343" name="Freeform 1483"/>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close/>
                    </a:path>
                  </a:pathLst>
                </a:custGeom>
                <a:solidFill>
                  <a:srgbClr val="01AAE5"/>
                </a:solidFill>
                <a:ln>
                  <a:noFill/>
                </a:ln>
                <a:extLst/>
              </p:spPr>
              <p:txBody>
                <a:bodyPr/>
                <a:lstStyle/>
                <a:p>
                  <a:pPr eaLnBrk="1" hangingPunct="1">
                    <a:defRPr/>
                  </a:pPr>
                  <a:endParaRPr lang="zh-CN" altLang="en-US" sz="1050"/>
                </a:p>
              </p:txBody>
            </p:sp>
            <p:sp>
              <p:nvSpPr>
                <p:cNvPr id="5344" name="Freeform 1484"/>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path>
                  </a:pathLst>
                </a:custGeom>
                <a:noFill/>
                <a:ln>
                  <a:noFill/>
                </a:ln>
                <a:extLst/>
              </p:spPr>
              <p:txBody>
                <a:bodyPr/>
                <a:lstStyle/>
                <a:p>
                  <a:pPr eaLnBrk="1" hangingPunct="1">
                    <a:defRPr/>
                  </a:pPr>
                  <a:endParaRPr lang="zh-CN" altLang="en-US" sz="1050"/>
                </a:p>
              </p:txBody>
            </p:sp>
            <p:sp>
              <p:nvSpPr>
                <p:cNvPr id="5345" name="Freeform 1485"/>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5346" name="Freeform 1486"/>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path>
                  </a:pathLst>
                </a:custGeom>
                <a:noFill/>
                <a:ln>
                  <a:noFill/>
                </a:ln>
                <a:extLst/>
              </p:spPr>
              <p:txBody>
                <a:bodyPr/>
                <a:lstStyle/>
                <a:p>
                  <a:pPr eaLnBrk="1" hangingPunct="1">
                    <a:defRPr/>
                  </a:pPr>
                  <a:endParaRPr lang="zh-CN" altLang="en-US" sz="1050"/>
                </a:p>
              </p:txBody>
            </p:sp>
            <p:sp>
              <p:nvSpPr>
                <p:cNvPr id="5347" name="Freeform 1487"/>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close/>
                    </a:path>
                  </a:pathLst>
                </a:custGeom>
                <a:solidFill>
                  <a:srgbClr val="01AAE5"/>
                </a:solidFill>
                <a:ln>
                  <a:noFill/>
                </a:ln>
                <a:extLst/>
              </p:spPr>
              <p:txBody>
                <a:bodyPr/>
                <a:lstStyle/>
                <a:p>
                  <a:pPr eaLnBrk="1" hangingPunct="1">
                    <a:defRPr/>
                  </a:pPr>
                  <a:endParaRPr lang="zh-CN" altLang="en-US" sz="1050"/>
                </a:p>
              </p:txBody>
            </p:sp>
            <p:sp>
              <p:nvSpPr>
                <p:cNvPr id="5348" name="Freeform 1488"/>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path>
                  </a:pathLst>
                </a:custGeom>
                <a:noFill/>
                <a:ln>
                  <a:noFill/>
                </a:ln>
                <a:extLst/>
              </p:spPr>
              <p:txBody>
                <a:bodyPr/>
                <a:lstStyle/>
                <a:p>
                  <a:pPr eaLnBrk="1" hangingPunct="1">
                    <a:defRPr/>
                  </a:pPr>
                  <a:endParaRPr lang="zh-CN" altLang="en-US" sz="1050"/>
                </a:p>
              </p:txBody>
            </p:sp>
            <p:sp>
              <p:nvSpPr>
                <p:cNvPr id="5349" name="Freeform 1489"/>
                <p:cNvSpPr>
                  <a:spLocks/>
                </p:cNvSpPr>
                <p:nvPr/>
              </p:nvSpPr>
              <p:spPr bwMode="auto">
                <a:xfrm>
                  <a:off x="10506" y="1977"/>
                  <a:ext cx="8" cy="9"/>
                </a:xfrm>
                <a:custGeom>
                  <a:avLst/>
                  <a:gdLst>
                    <a:gd name="T0" fmla="*/ 7 w 7"/>
                    <a:gd name="T1" fmla="*/ 7 h 7"/>
                    <a:gd name="T2" fmla="*/ 3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50" name="Freeform 1490"/>
                <p:cNvSpPr>
                  <a:spLocks/>
                </p:cNvSpPr>
                <p:nvPr/>
              </p:nvSpPr>
              <p:spPr bwMode="auto">
                <a:xfrm>
                  <a:off x="10506" y="1985"/>
                  <a:ext cx="0" cy="0"/>
                </a:xfrm>
                <a:custGeom>
                  <a:avLst/>
                  <a:gdLst>
                    <a:gd name="T0" fmla="*/ 5 w 5"/>
                    <a:gd name="T1" fmla="*/ 8 h 8"/>
                    <a:gd name="T2" fmla="*/ 0 w 5"/>
                    <a:gd name="T3" fmla="*/ 0 h 8"/>
                    <a:gd name="T4" fmla="*/ 0 w 5"/>
                    <a:gd name="T5" fmla="*/ 0 h 8"/>
                    <a:gd name="T6" fmla="*/ 5 w 5"/>
                    <a:gd name="T7" fmla="*/ 8 h 8"/>
                    <a:gd name="T8" fmla="*/ 5 w 5"/>
                    <a:gd name="T9" fmla="*/ 8 h 8"/>
                  </a:gdLst>
                  <a:ahLst/>
                  <a:cxnLst>
                    <a:cxn ang="0">
                      <a:pos x="T0" y="T1"/>
                    </a:cxn>
                    <a:cxn ang="0">
                      <a:pos x="T2" y="T3"/>
                    </a:cxn>
                    <a:cxn ang="0">
                      <a:pos x="T4" y="T5"/>
                    </a:cxn>
                    <a:cxn ang="0">
                      <a:pos x="T6" y="T7"/>
                    </a:cxn>
                    <a:cxn ang="0">
                      <a:pos x="T8" y="T9"/>
                    </a:cxn>
                  </a:cxnLst>
                  <a:rect l="0" t="0" r="r" b="b"/>
                  <a:pathLst>
                    <a:path w="5" h="8">
                      <a:moveTo>
                        <a:pt x="5" y="8"/>
                      </a:moveTo>
                      <a:lnTo>
                        <a:pt x="0" y="0"/>
                      </a:lnTo>
                      <a:lnTo>
                        <a:pt x="0" y="0"/>
                      </a:lnTo>
                      <a:lnTo>
                        <a:pt x="5" y="8"/>
                      </a:lnTo>
                      <a:lnTo>
                        <a:pt x="5" y="8"/>
                      </a:lnTo>
                      <a:close/>
                    </a:path>
                  </a:pathLst>
                </a:custGeom>
                <a:solidFill>
                  <a:srgbClr val="01AAE5"/>
                </a:solidFill>
                <a:ln>
                  <a:noFill/>
                </a:ln>
                <a:extLst/>
              </p:spPr>
              <p:txBody>
                <a:bodyPr/>
                <a:lstStyle/>
                <a:p>
                  <a:pPr eaLnBrk="1" hangingPunct="1">
                    <a:defRPr/>
                  </a:pPr>
                  <a:endParaRPr lang="zh-CN" altLang="en-US" sz="1050"/>
                </a:p>
              </p:txBody>
            </p:sp>
            <p:sp>
              <p:nvSpPr>
                <p:cNvPr id="5351" name="Freeform 1491"/>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close/>
                    </a:path>
                  </a:pathLst>
                </a:custGeom>
                <a:solidFill>
                  <a:srgbClr val="01AAE5"/>
                </a:solidFill>
                <a:ln>
                  <a:noFill/>
                </a:ln>
                <a:extLst/>
              </p:spPr>
              <p:txBody>
                <a:bodyPr/>
                <a:lstStyle/>
                <a:p>
                  <a:pPr eaLnBrk="1" hangingPunct="1">
                    <a:defRPr/>
                  </a:pPr>
                  <a:endParaRPr lang="zh-CN" altLang="en-US" sz="1050"/>
                </a:p>
              </p:txBody>
            </p:sp>
            <p:sp>
              <p:nvSpPr>
                <p:cNvPr id="5352" name="Freeform 1492"/>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path>
                  </a:pathLst>
                </a:custGeom>
                <a:noFill/>
                <a:ln>
                  <a:noFill/>
                </a:ln>
                <a:extLst/>
              </p:spPr>
              <p:txBody>
                <a:bodyPr/>
                <a:lstStyle/>
                <a:p>
                  <a:pPr eaLnBrk="1" hangingPunct="1">
                    <a:defRPr/>
                  </a:pPr>
                  <a:endParaRPr lang="zh-CN" altLang="en-US" sz="1050"/>
                </a:p>
              </p:txBody>
            </p:sp>
            <p:sp>
              <p:nvSpPr>
                <p:cNvPr id="5353" name="Freeform 1493"/>
                <p:cNvSpPr>
                  <a:spLocks/>
                </p:cNvSpPr>
                <p:nvPr/>
              </p:nvSpPr>
              <p:spPr bwMode="auto">
                <a:xfrm>
                  <a:off x="10531" y="1959"/>
                  <a:ext cx="0" cy="9"/>
                </a:xfrm>
                <a:custGeom>
                  <a:avLst/>
                  <a:gdLst>
                    <a:gd name="T0" fmla="*/ 7 w 7"/>
                    <a:gd name="T1" fmla="*/ 7 h 7"/>
                    <a:gd name="T2" fmla="*/ 2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2"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54" name="Freeform 1494"/>
                <p:cNvSpPr>
                  <a:spLocks/>
                </p:cNvSpPr>
                <p:nvPr/>
              </p:nvSpPr>
              <p:spPr bwMode="auto">
                <a:xfrm>
                  <a:off x="10498" y="1985"/>
                  <a:ext cx="8" cy="0"/>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55" name="Freeform 1495"/>
                <p:cNvSpPr>
                  <a:spLocks/>
                </p:cNvSpPr>
                <p:nvPr/>
              </p:nvSpPr>
              <p:spPr bwMode="auto">
                <a:xfrm>
                  <a:off x="10523" y="1968"/>
                  <a:ext cx="8" cy="9"/>
                </a:xfrm>
                <a:custGeom>
                  <a:avLst/>
                  <a:gdLst>
                    <a:gd name="T0" fmla="*/ 4 w 4"/>
                    <a:gd name="T1" fmla="*/ 7 h 9"/>
                    <a:gd name="T2" fmla="*/ 0 w 4"/>
                    <a:gd name="T3" fmla="*/ 0 h 9"/>
                    <a:gd name="T4" fmla="*/ 0 w 4"/>
                    <a:gd name="T5" fmla="*/ 2 h 9"/>
                    <a:gd name="T6" fmla="*/ 4 w 4"/>
                    <a:gd name="T7" fmla="*/ 9 h 9"/>
                    <a:gd name="T8" fmla="*/ 4 w 4"/>
                    <a:gd name="T9" fmla="*/ 7 h 9"/>
                  </a:gdLst>
                  <a:ahLst/>
                  <a:cxnLst>
                    <a:cxn ang="0">
                      <a:pos x="T0" y="T1"/>
                    </a:cxn>
                    <a:cxn ang="0">
                      <a:pos x="T2" y="T3"/>
                    </a:cxn>
                    <a:cxn ang="0">
                      <a:pos x="T4" y="T5"/>
                    </a:cxn>
                    <a:cxn ang="0">
                      <a:pos x="T6" y="T7"/>
                    </a:cxn>
                    <a:cxn ang="0">
                      <a:pos x="T8" y="T9"/>
                    </a:cxn>
                  </a:cxnLst>
                  <a:rect l="0" t="0" r="r" b="b"/>
                  <a:pathLst>
                    <a:path w="4" h="9">
                      <a:moveTo>
                        <a:pt x="4" y="7"/>
                      </a:moveTo>
                      <a:lnTo>
                        <a:pt x="0" y="0"/>
                      </a:lnTo>
                      <a:lnTo>
                        <a:pt x="0" y="2"/>
                      </a:lnTo>
                      <a:lnTo>
                        <a:pt x="4" y="9"/>
                      </a:lnTo>
                      <a:lnTo>
                        <a:pt x="4" y="7"/>
                      </a:lnTo>
                      <a:close/>
                    </a:path>
                  </a:pathLst>
                </a:custGeom>
                <a:solidFill>
                  <a:srgbClr val="01AAE5"/>
                </a:solidFill>
                <a:ln>
                  <a:noFill/>
                </a:ln>
                <a:extLst/>
              </p:spPr>
              <p:txBody>
                <a:bodyPr/>
                <a:lstStyle/>
                <a:p>
                  <a:pPr eaLnBrk="1" hangingPunct="1">
                    <a:defRPr/>
                  </a:pPr>
                  <a:endParaRPr lang="zh-CN" altLang="en-US" sz="1050"/>
                </a:p>
              </p:txBody>
            </p:sp>
            <p:sp>
              <p:nvSpPr>
                <p:cNvPr id="5356" name="Freeform 1496"/>
                <p:cNvSpPr>
                  <a:spLocks/>
                </p:cNvSpPr>
                <p:nvPr/>
              </p:nvSpPr>
              <p:spPr bwMode="auto">
                <a:xfrm>
                  <a:off x="10523" y="1968"/>
                  <a:ext cx="0"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5357" name="Freeform 1497"/>
                <p:cNvSpPr>
                  <a:spLocks/>
                </p:cNvSpPr>
                <p:nvPr/>
              </p:nvSpPr>
              <p:spPr bwMode="auto">
                <a:xfrm>
                  <a:off x="10457" y="2011"/>
                  <a:ext cx="8" cy="9"/>
                </a:xfrm>
                <a:custGeom>
                  <a:avLst/>
                  <a:gdLst>
                    <a:gd name="T0" fmla="*/ 8 w 8"/>
                    <a:gd name="T1" fmla="*/ 7 h 7"/>
                    <a:gd name="T2" fmla="*/ 3 w 8"/>
                    <a:gd name="T3" fmla="*/ 0 h 7"/>
                    <a:gd name="T4" fmla="*/ 0 w 8"/>
                    <a:gd name="T5" fmla="*/ 0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3" y="0"/>
                      </a:lnTo>
                      <a:lnTo>
                        <a:pt x="0" y="0"/>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5358" name="Freeform 1498"/>
                <p:cNvSpPr>
                  <a:spLocks/>
                </p:cNvSpPr>
                <p:nvPr/>
              </p:nvSpPr>
              <p:spPr bwMode="auto">
                <a:xfrm>
                  <a:off x="10473" y="2011"/>
                  <a:ext cx="0" cy="0"/>
                </a:xfrm>
                <a:custGeom>
                  <a:avLst/>
                  <a:gdLst>
                    <a:gd name="T0" fmla="*/ 7 w 7"/>
                    <a:gd name="T1" fmla="*/ 7 h 7"/>
                    <a:gd name="T2" fmla="*/ 0 w 7"/>
                    <a:gd name="T3" fmla="*/ 0 h 7"/>
                    <a:gd name="T4" fmla="*/ 0 w 7"/>
                    <a:gd name="T5" fmla="*/ 2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2"/>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59" name="Freeform 1499"/>
                <p:cNvSpPr>
                  <a:spLocks/>
                </p:cNvSpPr>
                <p:nvPr/>
              </p:nvSpPr>
              <p:spPr bwMode="auto">
                <a:xfrm>
                  <a:off x="10473" y="2011"/>
                  <a:ext cx="0" cy="0"/>
                </a:xfrm>
                <a:custGeom>
                  <a:avLst/>
                  <a:gdLst>
                    <a:gd name="T0" fmla="*/ 7 w 7"/>
                    <a:gd name="T1" fmla="*/ 8 h 8"/>
                    <a:gd name="T2" fmla="*/ 3 w 7"/>
                    <a:gd name="T3" fmla="*/ 0 h 8"/>
                    <a:gd name="T4" fmla="*/ 0 w 7"/>
                    <a:gd name="T5" fmla="*/ 0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3" y="0"/>
                      </a:lnTo>
                      <a:lnTo>
                        <a:pt x="0" y="0"/>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5360" name="Freeform 1500"/>
                <p:cNvSpPr>
                  <a:spLocks/>
                </p:cNvSpPr>
                <p:nvPr/>
              </p:nvSpPr>
              <p:spPr bwMode="auto">
                <a:xfrm>
                  <a:off x="10482" y="2003"/>
                  <a:ext cx="0" cy="9"/>
                </a:xfrm>
                <a:custGeom>
                  <a:avLst/>
                  <a:gdLst>
                    <a:gd name="T0" fmla="*/ 7 w 7"/>
                    <a:gd name="T1" fmla="*/ 7 h 9"/>
                    <a:gd name="T2" fmla="*/ 0 w 7"/>
                    <a:gd name="T3" fmla="*/ 0 h 9"/>
                    <a:gd name="T4" fmla="*/ 0 w 7"/>
                    <a:gd name="T5" fmla="*/ 2 h 9"/>
                    <a:gd name="T6" fmla="*/ 5 w 7"/>
                    <a:gd name="T7" fmla="*/ 9 h 9"/>
                    <a:gd name="T8" fmla="*/ 7 w 7"/>
                    <a:gd name="T9" fmla="*/ 7 h 9"/>
                  </a:gdLst>
                  <a:ahLst/>
                  <a:cxnLst>
                    <a:cxn ang="0">
                      <a:pos x="T0" y="T1"/>
                    </a:cxn>
                    <a:cxn ang="0">
                      <a:pos x="T2" y="T3"/>
                    </a:cxn>
                    <a:cxn ang="0">
                      <a:pos x="T4" y="T5"/>
                    </a:cxn>
                    <a:cxn ang="0">
                      <a:pos x="T6" y="T7"/>
                    </a:cxn>
                    <a:cxn ang="0">
                      <a:pos x="T8" y="T9"/>
                    </a:cxn>
                  </a:cxnLst>
                  <a:rect l="0" t="0" r="r" b="b"/>
                  <a:pathLst>
                    <a:path w="7" h="9">
                      <a:moveTo>
                        <a:pt x="7" y="7"/>
                      </a:moveTo>
                      <a:lnTo>
                        <a:pt x="0" y="0"/>
                      </a:lnTo>
                      <a:lnTo>
                        <a:pt x="0" y="2"/>
                      </a:lnTo>
                      <a:lnTo>
                        <a:pt x="5" y="9"/>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61" name="Freeform 1501"/>
                <p:cNvSpPr>
                  <a:spLocks/>
                </p:cNvSpPr>
                <p:nvPr/>
              </p:nvSpPr>
              <p:spPr bwMode="auto">
                <a:xfrm>
                  <a:off x="10482" y="2003"/>
                  <a:ext cx="0" cy="9"/>
                </a:xfrm>
                <a:custGeom>
                  <a:avLst/>
                  <a:gdLst>
                    <a:gd name="T0" fmla="*/ 4 w 4"/>
                    <a:gd name="T1" fmla="*/ 7 h 7"/>
                    <a:gd name="T2" fmla="*/ 0 w 4"/>
                    <a:gd name="T3" fmla="*/ 0 h 7"/>
                    <a:gd name="T4" fmla="*/ 0 w 4"/>
                    <a:gd name="T5" fmla="*/ 0 h 7"/>
                    <a:gd name="T6" fmla="*/ 4 w 4"/>
                    <a:gd name="T7" fmla="*/ 7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0" y="0"/>
                      </a:lnTo>
                      <a:lnTo>
                        <a:pt x="0" y="0"/>
                      </a:lnTo>
                      <a:lnTo>
                        <a:pt x="4" y="7"/>
                      </a:lnTo>
                      <a:lnTo>
                        <a:pt x="4" y="7"/>
                      </a:lnTo>
                      <a:close/>
                    </a:path>
                  </a:pathLst>
                </a:custGeom>
                <a:solidFill>
                  <a:srgbClr val="01AAE5"/>
                </a:solidFill>
                <a:ln>
                  <a:noFill/>
                </a:ln>
                <a:extLst/>
              </p:spPr>
              <p:txBody>
                <a:bodyPr/>
                <a:lstStyle/>
                <a:p>
                  <a:pPr eaLnBrk="1" hangingPunct="1">
                    <a:defRPr/>
                  </a:pPr>
                  <a:endParaRPr lang="zh-CN" altLang="en-US" sz="1050"/>
                </a:p>
              </p:txBody>
            </p:sp>
            <p:sp>
              <p:nvSpPr>
                <p:cNvPr id="5362" name="Freeform 1502"/>
                <p:cNvSpPr>
                  <a:spLocks/>
                </p:cNvSpPr>
                <p:nvPr/>
              </p:nvSpPr>
              <p:spPr bwMode="auto">
                <a:xfrm>
                  <a:off x="10465" y="2011"/>
                  <a:ext cx="8" cy="9"/>
                </a:xfrm>
                <a:custGeom>
                  <a:avLst/>
                  <a:gdLst>
                    <a:gd name="T0" fmla="*/ 7 w 7"/>
                    <a:gd name="T1" fmla="*/ 4 h 7"/>
                    <a:gd name="T2" fmla="*/ 0 w 7"/>
                    <a:gd name="T3" fmla="*/ 0 h 7"/>
                    <a:gd name="T4" fmla="*/ 0 w 7"/>
                    <a:gd name="T5" fmla="*/ 0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5363" name="Freeform 1503"/>
                <p:cNvSpPr>
                  <a:spLocks/>
                </p:cNvSpPr>
                <p:nvPr/>
              </p:nvSpPr>
              <p:spPr bwMode="auto">
                <a:xfrm>
                  <a:off x="10490" y="1994"/>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64" name="Freeform 1504"/>
                <p:cNvSpPr>
                  <a:spLocks/>
                </p:cNvSpPr>
                <p:nvPr/>
              </p:nvSpPr>
              <p:spPr bwMode="auto">
                <a:xfrm>
                  <a:off x="10490" y="1985"/>
                  <a:ext cx="8"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5365" name="Freeform 1505"/>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66" name="Freeform 1506"/>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path>
                  </a:pathLst>
                </a:custGeom>
                <a:noFill/>
                <a:ln>
                  <a:noFill/>
                </a:ln>
                <a:extLst/>
              </p:spPr>
              <p:txBody>
                <a:bodyPr/>
                <a:lstStyle/>
                <a:p>
                  <a:pPr eaLnBrk="1" hangingPunct="1">
                    <a:defRPr/>
                  </a:pPr>
                  <a:endParaRPr lang="zh-CN" altLang="en-US" sz="1050"/>
                </a:p>
              </p:txBody>
            </p:sp>
            <p:sp>
              <p:nvSpPr>
                <p:cNvPr id="5367" name="Freeform 1507"/>
                <p:cNvSpPr>
                  <a:spLocks/>
                </p:cNvSpPr>
                <p:nvPr/>
              </p:nvSpPr>
              <p:spPr bwMode="auto">
                <a:xfrm>
                  <a:off x="10482" y="1994"/>
                  <a:ext cx="8" cy="9"/>
                </a:xfrm>
                <a:custGeom>
                  <a:avLst/>
                  <a:gdLst>
                    <a:gd name="T0" fmla="*/ 7 w 7"/>
                    <a:gd name="T1" fmla="*/ 5 h 7"/>
                    <a:gd name="T2" fmla="*/ 2 w 7"/>
                    <a:gd name="T3" fmla="*/ 0 h 7"/>
                    <a:gd name="T4" fmla="*/ 0 w 7"/>
                    <a:gd name="T5" fmla="*/ 0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2" y="0"/>
                      </a:lnTo>
                      <a:lnTo>
                        <a:pt x="0" y="0"/>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5368" name="Freeform 1508"/>
                <p:cNvSpPr>
                  <a:spLocks/>
                </p:cNvSpPr>
                <p:nvPr/>
              </p:nvSpPr>
              <p:spPr bwMode="auto">
                <a:xfrm>
                  <a:off x="10515" y="1977"/>
                  <a:ext cx="8" cy="9"/>
                </a:xfrm>
                <a:custGeom>
                  <a:avLst/>
                  <a:gdLst>
                    <a:gd name="T0" fmla="*/ 7 w 7"/>
                    <a:gd name="T1" fmla="*/ 7 h 7"/>
                    <a:gd name="T2" fmla="*/ 0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369" name="Freeform 1509"/>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close/>
                    </a:path>
                  </a:pathLst>
                </a:custGeom>
                <a:solidFill>
                  <a:srgbClr val="01AAE5"/>
                </a:solidFill>
                <a:ln>
                  <a:noFill/>
                </a:ln>
                <a:extLst/>
              </p:spPr>
              <p:txBody>
                <a:bodyPr/>
                <a:lstStyle/>
                <a:p>
                  <a:pPr eaLnBrk="1" hangingPunct="1">
                    <a:defRPr/>
                  </a:pPr>
                  <a:endParaRPr lang="zh-CN" altLang="en-US" sz="1050"/>
                </a:p>
              </p:txBody>
            </p:sp>
            <p:sp>
              <p:nvSpPr>
                <p:cNvPr id="5370" name="Freeform 1510"/>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path>
                  </a:pathLst>
                </a:custGeom>
                <a:noFill/>
                <a:ln>
                  <a:noFill/>
                </a:ln>
                <a:extLst/>
              </p:spPr>
              <p:txBody>
                <a:bodyPr/>
                <a:lstStyle/>
                <a:p>
                  <a:pPr eaLnBrk="1" hangingPunct="1">
                    <a:defRPr/>
                  </a:pPr>
                  <a:endParaRPr lang="zh-CN" altLang="en-US" sz="1050"/>
                </a:p>
              </p:txBody>
            </p:sp>
          </p:grpSp>
          <p:grpSp>
            <p:nvGrpSpPr>
              <p:cNvPr id="32" name="Group 1712"/>
              <p:cNvGrpSpPr>
                <a:grpSpLocks/>
              </p:cNvGrpSpPr>
              <p:nvPr/>
            </p:nvGrpSpPr>
            <p:grpSpPr bwMode="auto">
              <a:xfrm>
                <a:off x="16155988" y="2903538"/>
                <a:ext cx="1154113" cy="1428750"/>
                <a:chOff x="10177" y="1829"/>
                <a:chExt cx="727" cy="900"/>
              </a:xfrm>
            </p:grpSpPr>
            <p:sp>
              <p:nvSpPr>
                <p:cNvPr id="4971" name="Freeform 1512"/>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close/>
                    </a:path>
                  </a:pathLst>
                </a:custGeom>
                <a:solidFill>
                  <a:srgbClr val="01AAE5"/>
                </a:solidFill>
                <a:ln>
                  <a:noFill/>
                </a:ln>
                <a:extLst/>
              </p:spPr>
              <p:txBody>
                <a:bodyPr/>
                <a:lstStyle/>
                <a:p>
                  <a:pPr eaLnBrk="1" hangingPunct="1">
                    <a:defRPr/>
                  </a:pPr>
                  <a:endParaRPr lang="zh-CN" altLang="en-US" sz="1050"/>
                </a:p>
              </p:txBody>
            </p:sp>
            <p:sp>
              <p:nvSpPr>
                <p:cNvPr id="4972" name="Freeform 1513"/>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path>
                  </a:pathLst>
                </a:custGeom>
                <a:noFill/>
                <a:ln>
                  <a:noFill/>
                </a:ln>
                <a:extLst/>
              </p:spPr>
              <p:txBody>
                <a:bodyPr/>
                <a:lstStyle/>
                <a:p>
                  <a:pPr eaLnBrk="1" hangingPunct="1">
                    <a:defRPr/>
                  </a:pPr>
                  <a:endParaRPr lang="zh-CN" altLang="en-US" sz="1050"/>
                </a:p>
              </p:txBody>
            </p:sp>
            <p:sp>
              <p:nvSpPr>
                <p:cNvPr id="4973" name="Freeform 1514"/>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close/>
                    </a:path>
                  </a:pathLst>
                </a:custGeom>
                <a:solidFill>
                  <a:srgbClr val="01AAE5"/>
                </a:solidFill>
                <a:ln>
                  <a:noFill/>
                </a:ln>
                <a:extLst/>
              </p:spPr>
              <p:txBody>
                <a:bodyPr/>
                <a:lstStyle/>
                <a:p>
                  <a:pPr eaLnBrk="1" hangingPunct="1">
                    <a:defRPr/>
                  </a:pPr>
                  <a:endParaRPr lang="zh-CN" altLang="en-US" sz="1050"/>
                </a:p>
              </p:txBody>
            </p:sp>
            <p:sp>
              <p:nvSpPr>
                <p:cNvPr id="4974" name="Freeform 1515"/>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path>
                  </a:pathLst>
                </a:custGeom>
                <a:noFill/>
                <a:ln>
                  <a:noFill/>
                </a:ln>
                <a:extLst/>
              </p:spPr>
              <p:txBody>
                <a:bodyPr/>
                <a:lstStyle/>
                <a:p>
                  <a:pPr eaLnBrk="1" hangingPunct="1">
                    <a:defRPr/>
                  </a:pPr>
                  <a:endParaRPr lang="zh-CN" altLang="en-US" sz="1050"/>
                </a:p>
              </p:txBody>
            </p:sp>
            <p:sp>
              <p:nvSpPr>
                <p:cNvPr id="4975" name="Freeform 1516"/>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close/>
                    </a:path>
                  </a:pathLst>
                </a:custGeom>
                <a:solidFill>
                  <a:srgbClr val="01AAE5"/>
                </a:solidFill>
                <a:ln>
                  <a:noFill/>
                </a:ln>
                <a:extLst/>
              </p:spPr>
              <p:txBody>
                <a:bodyPr/>
                <a:lstStyle/>
                <a:p>
                  <a:pPr eaLnBrk="1" hangingPunct="1">
                    <a:defRPr/>
                  </a:pPr>
                  <a:endParaRPr lang="zh-CN" altLang="en-US" sz="1050"/>
                </a:p>
              </p:txBody>
            </p:sp>
            <p:sp>
              <p:nvSpPr>
                <p:cNvPr id="4976" name="Freeform 1517"/>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path>
                  </a:pathLst>
                </a:custGeom>
                <a:noFill/>
                <a:ln>
                  <a:noFill/>
                </a:ln>
                <a:extLst/>
              </p:spPr>
              <p:txBody>
                <a:bodyPr/>
                <a:lstStyle/>
                <a:p>
                  <a:pPr eaLnBrk="1" hangingPunct="1">
                    <a:defRPr/>
                  </a:pPr>
                  <a:endParaRPr lang="zh-CN" altLang="en-US" sz="1050"/>
                </a:p>
              </p:txBody>
            </p:sp>
            <p:sp>
              <p:nvSpPr>
                <p:cNvPr id="4977" name="Freeform 1518"/>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close/>
                    </a:path>
                  </a:pathLst>
                </a:custGeom>
                <a:solidFill>
                  <a:srgbClr val="01AAE5"/>
                </a:solidFill>
                <a:ln>
                  <a:noFill/>
                </a:ln>
                <a:extLst/>
              </p:spPr>
              <p:txBody>
                <a:bodyPr/>
                <a:lstStyle/>
                <a:p>
                  <a:pPr eaLnBrk="1" hangingPunct="1">
                    <a:defRPr/>
                  </a:pPr>
                  <a:endParaRPr lang="zh-CN" altLang="en-US" sz="1050"/>
                </a:p>
              </p:txBody>
            </p:sp>
            <p:sp>
              <p:nvSpPr>
                <p:cNvPr id="4978" name="Freeform 1519"/>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path>
                  </a:pathLst>
                </a:custGeom>
                <a:noFill/>
                <a:ln>
                  <a:noFill/>
                </a:ln>
                <a:extLst/>
              </p:spPr>
              <p:txBody>
                <a:bodyPr/>
                <a:lstStyle/>
                <a:p>
                  <a:pPr eaLnBrk="1" hangingPunct="1">
                    <a:defRPr/>
                  </a:pPr>
                  <a:endParaRPr lang="zh-CN" altLang="en-US" sz="1050"/>
                </a:p>
              </p:txBody>
            </p:sp>
            <p:sp>
              <p:nvSpPr>
                <p:cNvPr id="4979" name="Freeform 1520"/>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close/>
                    </a:path>
                  </a:pathLst>
                </a:custGeom>
                <a:solidFill>
                  <a:srgbClr val="01AAE5"/>
                </a:solidFill>
                <a:ln>
                  <a:noFill/>
                </a:ln>
                <a:extLst/>
              </p:spPr>
              <p:txBody>
                <a:bodyPr/>
                <a:lstStyle/>
                <a:p>
                  <a:pPr eaLnBrk="1" hangingPunct="1">
                    <a:defRPr/>
                  </a:pPr>
                  <a:endParaRPr lang="zh-CN" altLang="en-US" sz="1050"/>
                </a:p>
              </p:txBody>
            </p:sp>
            <p:sp>
              <p:nvSpPr>
                <p:cNvPr id="4980" name="Freeform 1521"/>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path>
                  </a:pathLst>
                </a:custGeom>
                <a:noFill/>
                <a:ln>
                  <a:noFill/>
                </a:ln>
                <a:extLst/>
              </p:spPr>
              <p:txBody>
                <a:bodyPr/>
                <a:lstStyle/>
                <a:p>
                  <a:pPr eaLnBrk="1" hangingPunct="1">
                    <a:defRPr/>
                  </a:pPr>
                  <a:endParaRPr lang="zh-CN" altLang="en-US" sz="1050"/>
                </a:p>
              </p:txBody>
            </p:sp>
            <p:sp>
              <p:nvSpPr>
                <p:cNvPr id="4981" name="Freeform 1522"/>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close/>
                    </a:path>
                  </a:pathLst>
                </a:custGeom>
                <a:solidFill>
                  <a:srgbClr val="01AAE5"/>
                </a:solidFill>
                <a:ln>
                  <a:noFill/>
                </a:ln>
                <a:extLst/>
              </p:spPr>
              <p:txBody>
                <a:bodyPr/>
                <a:lstStyle/>
                <a:p>
                  <a:pPr eaLnBrk="1" hangingPunct="1">
                    <a:defRPr/>
                  </a:pPr>
                  <a:endParaRPr lang="zh-CN" altLang="en-US" sz="1050"/>
                </a:p>
              </p:txBody>
            </p:sp>
            <p:sp>
              <p:nvSpPr>
                <p:cNvPr id="4982" name="Freeform 1523"/>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path>
                  </a:pathLst>
                </a:custGeom>
                <a:noFill/>
                <a:ln>
                  <a:noFill/>
                </a:ln>
                <a:extLst/>
              </p:spPr>
              <p:txBody>
                <a:bodyPr/>
                <a:lstStyle/>
                <a:p>
                  <a:pPr eaLnBrk="1" hangingPunct="1">
                    <a:defRPr/>
                  </a:pPr>
                  <a:endParaRPr lang="zh-CN" altLang="en-US" sz="1050"/>
                </a:p>
              </p:txBody>
            </p:sp>
            <p:sp>
              <p:nvSpPr>
                <p:cNvPr id="4983" name="Freeform 1524"/>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close/>
                    </a:path>
                  </a:pathLst>
                </a:custGeom>
                <a:solidFill>
                  <a:srgbClr val="01AAE5"/>
                </a:solidFill>
                <a:ln>
                  <a:noFill/>
                </a:ln>
                <a:extLst/>
              </p:spPr>
              <p:txBody>
                <a:bodyPr/>
                <a:lstStyle/>
                <a:p>
                  <a:pPr eaLnBrk="1" hangingPunct="1">
                    <a:defRPr/>
                  </a:pPr>
                  <a:endParaRPr lang="zh-CN" altLang="en-US" sz="1050"/>
                </a:p>
              </p:txBody>
            </p:sp>
            <p:sp>
              <p:nvSpPr>
                <p:cNvPr id="4984" name="Freeform 1525"/>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path>
                  </a:pathLst>
                </a:custGeom>
                <a:noFill/>
                <a:ln>
                  <a:noFill/>
                </a:ln>
                <a:extLst/>
              </p:spPr>
              <p:txBody>
                <a:bodyPr/>
                <a:lstStyle/>
                <a:p>
                  <a:pPr eaLnBrk="1" hangingPunct="1">
                    <a:defRPr/>
                  </a:pPr>
                  <a:endParaRPr lang="zh-CN" altLang="en-US" sz="1050"/>
                </a:p>
              </p:txBody>
            </p:sp>
            <p:sp>
              <p:nvSpPr>
                <p:cNvPr id="4985" name="Freeform 1526"/>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close/>
                    </a:path>
                  </a:pathLst>
                </a:custGeom>
                <a:solidFill>
                  <a:srgbClr val="01AAE5"/>
                </a:solidFill>
                <a:ln>
                  <a:noFill/>
                </a:ln>
                <a:extLst/>
              </p:spPr>
              <p:txBody>
                <a:bodyPr/>
                <a:lstStyle/>
                <a:p>
                  <a:pPr eaLnBrk="1" hangingPunct="1">
                    <a:defRPr/>
                  </a:pPr>
                  <a:endParaRPr lang="zh-CN" altLang="en-US" sz="1050"/>
                </a:p>
              </p:txBody>
            </p:sp>
            <p:sp>
              <p:nvSpPr>
                <p:cNvPr id="4986" name="Freeform 1527"/>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path>
                  </a:pathLst>
                </a:custGeom>
                <a:noFill/>
                <a:ln>
                  <a:noFill/>
                </a:ln>
                <a:extLst/>
              </p:spPr>
              <p:txBody>
                <a:bodyPr/>
                <a:lstStyle/>
                <a:p>
                  <a:pPr eaLnBrk="1" hangingPunct="1">
                    <a:defRPr/>
                  </a:pPr>
                  <a:endParaRPr lang="zh-CN" altLang="en-US" sz="1050"/>
                </a:p>
              </p:txBody>
            </p:sp>
            <p:sp>
              <p:nvSpPr>
                <p:cNvPr id="4987" name="Freeform 1528"/>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4988" name="Freeform 1529"/>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4989" name="Freeform 1530"/>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close/>
                    </a:path>
                  </a:pathLst>
                </a:custGeom>
                <a:solidFill>
                  <a:srgbClr val="01AAE5"/>
                </a:solidFill>
                <a:ln>
                  <a:noFill/>
                </a:ln>
                <a:extLst/>
              </p:spPr>
              <p:txBody>
                <a:bodyPr/>
                <a:lstStyle/>
                <a:p>
                  <a:pPr eaLnBrk="1" hangingPunct="1">
                    <a:defRPr/>
                  </a:pPr>
                  <a:endParaRPr lang="zh-CN" altLang="en-US" sz="1050"/>
                </a:p>
              </p:txBody>
            </p:sp>
            <p:sp>
              <p:nvSpPr>
                <p:cNvPr id="4990" name="Freeform 1531"/>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path>
                  </a:pathLst>
                </a:custGeom>
                <a:noFill/>
                <a:ln>
                  <a:noFill/>
                </a:ln>
                <a:extLst/>
              </p:spPr>
              <p:txBody>
                <a:bodyPr/>
                <a:lstStyle/>
                <a:p>
                  <a:pPr eaLnBrk="1" hangingPunct="1">
                    <a:defRPr/>
                  </a:pPr>
                  <a:endParaRPr lang="zh-CN" altLang="en-US" sz="1050"/>
                </a:p>
              </p:txBody>
            </p:sp>
            <p:sp>
              <p:nvSpPr>
                <p:cNvPr id="4991" name="Freeform 1532"/>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close/>
                    </a:path>
                  </a:pathLst>
                </a:custGeom>
                <a:solidFill>
                  <a:srgbClr val="01AAE5"/>
                </a:solidFill>
                <a:ln>
                  <a:noFill/>
                </a:ln>
                <a:extLst/>
              </p:spPr>
              <p:txBody>
                <a:bodyPr/>
                <a:lstStyle/>
                <a:p>
                  <a:pPr eaLnBrk="1" hangingPunct="1">
                    <a:defRPr/>
                  </a:pPr>
                  <a:endParaRPr lang="zh-CN" altLang="en-US" sz="1050"/>
                </a:p>
              </p:txBody>
            </p:sp>
            <p:sp>
              <p:nvSpPr>
                <p:cNvPr id="4992" name="Freeform 1533"/>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path>
                  </a:pathLst>
                </a:custGeom>
                <a:noFill/>
                <a:ln>
                  <a:noFill/>
                </a:ln>
                <a:extLst/>
              </p:spPr>
              <p:txBody>
                <a:bodyPr/>
                <a:lstStyle/>
                <a:p>
                  <a:pPr eaLnBrk="1" hangingPunct="1">
                    <a:defRPr/>
                  </a:pPr>
                  <a:endParaRPr lang="zh-CN" altLang="en-US" sz="1050"/>
                </a:p>
              </p:txBody>
            </p:sp>
            <p:sp>
              <p:nvSpPr>
                <p:cNvPr id="4993" name="Freeform 1534"/>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4994" name="Freeform 1535"/>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path>
                  </a:pathLst>
                </a:custGeom>
                <a:noFill/>
                <a:ln>
                  <a:noFill/>
                </a:ln>
                <a:extLst/>
              </p:spPr>
              <p:txBody>
                <a:bodyPr/>
                <a:lstStyle/>
                <a:p>
                  <a:pPr eaLnBrk="1" hangingPunct="1">
                    <a:defRPr/>
                  </a:pPr>
                  <a:endParaRPr lang="zh-CN" altLang="en-US" sz="1050"/>
                </a:p>
              </p:txBody>
            </p:sp>
            <p:sp>
              <p:nvSpPr>
                <p:cNvPr id="4995" name="Freeform 1536"/>
                <p:cNvSpPr>
                  <a:spLocks/>
                </p:cNvSpPr>
                <p:nvPr/>
              </p:nvSpPr>
              <p:spPr bwMode="auto">
                <a:xfrm>
                  <a:off x="10540" y="1950"/>
                  <a:ext cx="8" cy="17"/>
                </a:xfrm>
                <a:custGeom>
                  <a:avLst/>
                  <a:gdLst>
                    <a:gd name="T0" fmla="*/ 5 w 5"/>
                    <a:gd name="T1" fmla="*/ 7 h 10"/>
                    <a:gd name="T2" fmla="*/ 0 w 5"/>
                    <a:gd name="T3" fmla="*/ 0 h 10"/>
                    <a:gd name="T4" fmla="*/ 0 w 5"/>
                    <a:gd name="T5" fmla="*/ 2 h 10"/>
                    <a:gd name="T6" fmla="*/ 5 w 5"/>
                    <a:gd name="T7" fmla="*/ 10 h 10"/>
                    <a:gd name="T8" fmla="*/ 5 w 5"/>
                    <a:gd name="T9" fmla="*/ 7 h 10"/>
                  </a:gdLst>
                  <a:ahLst/>
                  <a:cxnLst>
                    <a:cxn ang="0">
                      <a:pos x="T0" y="T1"/>
                    </a:cxn>
                    <a:cxn ang="0">
                      <a:pos x="T2" y="T3"/>
                    </a:cxn>
                    <a:cxn ang="0">
                      <a:pos x="T4" y="T5"/>
                    </a:cxn>
                    <a:cxn ang="0">
                      <a:pos x="T6" y="T7"/>
                    </a:cxn>
                    <a:cxn ang="0">
                      <a:pos x="T8" y="T9"/>
                    </a:cxn>
                  </a:cxnLst>
                  <a:rect l="0" t="0" r="r" b="b"/>
                  <a:pathLst>
                    <a:path w="5" h="10">
                      <a:moveTo>
                        <a:pt x="5" y="7"/>
                      </a:moveTo>
                      <a:lnTo>
                        <a:pt x="0" y="0"/>
                      </a:lnTo>
                      <a:lnTo>
                        <a:pt x="0" y="2"/>
                      </a:lnTo>
                      <a:lnTo>
                        <a:pt x="5" y="10"/>
                      </a:lnTo>
                      <a:lnTo>
                        <a:pt x="5" y="7"/>
                      </a:lnTo>
                      <a:close/>
                    </a:path>
                  </a:pathLst>
                </a:custGeom>
                <a:solidFill>
                  <a:srgbClr val="01AAE5"/>
                </a:solidFill>
                <a:ln>
                  <a:noFill/>
                </a:ln>
                <a:extLst/>
              </p:spPr>
              <p:txBody>
                <a:bodyPr/>
                <a:lstStyle/>
                <a:p>
                  <a:pPr eaLnBrk="1" hangingPunct="1">
                    <a:defRPr/>
                  </a:pPr>
                  <a:endParaRPr lang="zh-CN" altLang="en-US" sz="1050"/>
                </a:p>
              </p:txBody>
            </p:sp>
            <p:sp>
              <p:nvSpPr>
                <p:cNvPr id="4996" name="Freeform 1537"/>
                <p:cNvSpPr>
                  <a:spLocks/>
                </p:cNvSpPr>
                <p:nvPr/>
              </p:nvSpPr>
              <p:spPr bwMode="auto">
                <a:xfrm>
                  <a:off x="10548" y="1950"/>
                  <a:ext cx="8" cy="0"/>
                </a:xfrm>
                <a:custGeom>
                  <a:avLst/>
                  <a:gdLst>
                    <a:gd name="T0" fmla="*/ 7 w 7"/>
                    <a:gd name="T1" fmla="*/ 9 h 11"/>
                    <a:gd name="T2" fmla="*/ 0 w 7"/>
                    <a:gd name="T3" fmla="*/ 0 h 11"/>
                    <a:gd name="T4" fmla="*/ 0 w 7"/>
                    <a:gd name="T5" fmla="*/ 0 h 11"/>
                    <a:gd name="T6" fmla="*/ 5 w 7"/>
                    <a:gd name="T7" fmla="*/ 11 h 11"/>
                    <a:gd name="T8" fmla="*/ 7 w 7"/>
                    <a:gd name="T9" fmla="*/ 9 h 11"/>
                  </a:gdLst>
                  <a:ahLst/>
                  <a:cxnLst>
                    <a:cxn ang="0">
                      <a:pos x="T0" y="T1"/>
                    </a:cxn>
                    <a:cxn ang="0">
                      <a:pos x="T2" y="T3"/>
                    </a:cxn>
                    <a:cxn ang="0">
                      <a:pos x="T4" y="T5"/>
                    </a:cxn>
                    <a:cxn ang="0">
                      <a:pos x="T6" y="T7"/>
                    </a:cxn>
                    <a:cxn ang="0">
                      <a:pos x="T8" y="T9"/>
                    </a:cxn>
                  </a:cxnLst>
                  <a:rect l="0" t="0" r="r" b="b"/>
                  <a:pathLst>
                    <a:path w="7" h="11">
                      <a:moveTo>
                        <a:pt x="7" y="9"/>
                      </a:moveTo>
                      <a:lnTo>
                        <a:pt x="0" y="0"/>
                      </a:lnTo>
                      <a:lnTo>
                        <a:pt x="0" y="0"/>
                      </a:lnTo>
                      <a:lnTo>
                        <a:pt x="5" y="11"/>
                      </a:lnTo>
                      <a:lnTo>
                        <a:pt x="7" y="9"/>
                      </a:lnTo>
                      <a:close/>
                    </a:path>
                  </a:pathLst>
                </a:custGeom>
                <a:solidFill>
                  <a:srgbClr val="01AAE5"/>
                </a:solidFill>
                <a:ln>
                  <a:noFill/>
                </a:ln>
                <a:extLst/>
              </p:spPr>
              <p:txBody>
                <a:bodyPr/>
                <a:lstStyle/>
                <a:p>
                  <a:pPr eaLnBrk="1" hangingPunct="1">
                    <a:defRPr/>
                  </a:pPr>
                  <a:endParaRPr lang="zh-CN" altLang="en-US" sz="1050"/>
                </a:p>
              </p:txBody>
            </p:sp>
            <p:sp>
              <p:nvSpPr>
                <p:cNvPr id="4997" name="Freeform 1538"/>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998" name="Freeform 1539"/>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path>
                  </a:pathLst>
                </a:custGeom>
                <a:noFill/>
                <a:ln>
                  <a:noFill/>
                </a:ln>
                <a:extLst/>
              </p:spPr>
              <p:txBody>
                <a:bodyPr/>
                <a:lstStyle/>
                <a:p>
                  <a:pPr eaLnBrk="1" hangingPunct="1">
                    <a:defRPr/>
                  </a:pPr>
                  <a:endParaRPr lang="zh-CN" altLang="en-US" sz="1050"/>
                </a:p>
              </p:txBody>
            </p:sp>
            <p:sp>
              <p:nvSpPr>
                <p:cNvPr id="4999" name="Freeform 1540"/>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close/>
                    </a:path>
                  </a:pathLst>
                </a:custGeom>
                <a:solidFill>
                  <a:srgbClr val="01AAE5"/>
                </a:solidFill>
                <a:ln>
                  <a:noFill/>
                </a:ln>
                <a:extLst/>
              </p:spPr>
              <p:txBody>
                <a:bodyPr/>
                <a:lstStyle/>
                <a:p>
                  <a:pPr eaLnBrk="1" hangingPunct="1">
                    <a:defRPr/>
                  </a:pPr>
                  <a:endParaRPr lang="zh-CN" altLang="en-US" sz="1050"/>
                </a:p>
              </p:txBody>
            </p:sp>
            <p:sp>
              <p:nvSpPr>
                <p:cNvPr id="5000" name="Freeform 1541"/>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path>
                  </a:pathLst>
                </a:custGeom>
                <a:noFill/>
                <a:ln>
                  <a:noFill/>
                </a:ln>
                <a:extLst/>
              </p:spPr>
              <p:txBody>
                <a:bodyPr/>
                <a:lstStyle/>
                <a:p>
                  <a:pPr eaLnBrk="1" hangingPunct="1">
                    <a:defRPr/>
                  </a:pPr>
                  <a:endParaRPr lang="zh-CN" altLang="en-US" sz="1050"/>
                </a:p>
              </p:txBody>
            </p:sp>
            <p:sp>
              <p:nvSpPr>
                <p:cNvPr id="5001" name="Freeform 1542"/>
                <p:cNvSpPr>
                  <a:spLocks/>
                </p:cNvSpPr>
                <p:nvPr/>
              </p:nvSpPr>
              <p:spPr bwMode="auto">
                <a:xfrm>
                  <a:off x="10548" y="1950"/>
                  <a:ext cx="8" cy="9"/>
                </a:xfrm>
                <a:custGeom>
                  <a:avLst/>
                  <a:gdLst>
                    <a:gd name="T0" fmla="*/ 7 w 7"/>
                    <a:gd name="T1" fmla="*/ 9 h 12"/>
                    <a:gd name="T2" fmla="*/ 0 w 7"/>
                    <a:gd name="T3" fmla="*/ 0 h 12"/>
                    <a:gd name="T4" fmla="*/ 0 w 7"/>
                    <a:gd name="T5" fmla="*/ 2 h 12"/>
                    <a:gd name="T6" fmla="*/ 5 w 7"/>
                    <a:gd name="T7" fmla="*/ 12 h 12"/>
                    <a:gd name="T8" fmla="*/ 7 w 7"/>
                    <a:gd name="T9" fmla="*/ 9 h 12"/>
                  </a:gdLst>
                  <a:ahLst/>
                  <a:cxnLst>
                    <a:cxn ang="0">
                      <a:pos x="T0" y="T1"/>
                    </a:cxn>
                    <a:cxn ang="0">
                      <a:pos x="T2" y="T3"/>
                    </a:cxn>
                    <a:cxn ang="0">
                      <a:pos x="T4" y="T5"/>
                    </a:cxn>
                    <a:cxn ang="0">
                      <a:pos x="T6" y="T7"/>
                    </a:cxn>
                    <a:cxn ang="0">
                      <a:pos x="T8" y="T9"/>
                    </a:cxn>
                  </a:cxnLst>
                  <a:rect l="0" t="0" r="r" b="b"/>
                  <a:pathLst>
                    <a:path w="7" h="12">
                      <a:moveTo>
                        <a:pt x="7" y="9"/>
                      </a:moveTo>
                      <a:lnTo>
                        <a:pt x="0" y="0"/>
                      </a:lnTo>
                      <a:lnTo>
                        <a:pt x="0" y="2"/>
                      </a:lnTo>
                      <a:lnTo>
                        <a:pt x="5" y="12"/>
                      </a:lnTo>
                      <a:lnTo>
                        <a:pt x="7" y="9"/>
                      </a:lnTo>
                      <a:close/>
                    </a:path>
                  </a:pathLst>
                </a:custGeom>
                <a:solidFill>
                  <a:srgbClr val="01AAE5"/>
                </a:solidFill>
                <a:ln>
                  <a:noFill/>
                </a:ln>
                <a:extLst/>
              </p:spPr>
              <p:txBody>
                <a:bodyPr/>
                <a:lstStyle/>
                <a:p>
                  <a:pPr eaLnBrk="1" hangingPunct="1">
                    <a:defRPr/>
                  </a:pPr>
                  <a:endParaRPr lang="zh-CN" altLang="en-US" sz="1050"/>
                </a:p>
              </p:txBody>
            </p:sp>
            <p:sp>
              <p:nvSpPr>
                <p:cNvPr id="5002" name="Freeform 1543"/>
                <p:cNvSpPr>
                  <a:spLocks/>
                </p:cNvSpPr>
                <p:nvPr/>
              </p:nvSpPr>
              <p:spPr bwMode="auto">
                <a:xfrm>
                  <a:off x="10390" y="2099"/>
                  <a:ext cx="0" cy="17"/>
                </a:xfrm>
                <a:custGeom>
                  <a:avLst/>
                  <a:gdLst>
                    <a:gd name="T0" fmla="*/ 14 w 14"/>
                    <a:gd name="T1" fmla="*/ 9 h 9"/>
                    <a:gd name="T2" fmla="*/ 0 w 14"/>
                    <a:gd name="T3" fmla="*/ 0 h 9"/>
                    <a:gd name="T4" fmla="*/ 0 w 14"/>
                    <a:gd name="T5" fmla="*/ 0 h 9"/>
                    <a:gd name="T6" fmla="*/ 12 w 14"/>
                    <a:gd name="T7" fmla="*/ 9 h 9"/>
                    <a:gd name="T8" fmla="*/ 14 w 14"/>
                    <a:gd name="T9" fmla="*/ 9 h 9"/>
                  </a:gdLst>
                  <a:ahLst/>
                  <a:cxnLst>
                    <a:cxn ang="0">
                      <a:pos x="T0" y="T1"/>
                    </a:cxn>
                    <a:cxn ang="0">
                      <a:pos x="T2" y="T3"/>
                    </a:cxn>
                    <a:cxn ang="0">
                      <a:pos x="T4" y="T5"/>
                    </a:cxn>
                    <a:cxn ang="0">
                      <a:pos x="T6" y="T7"/>
                    </a:cxn>
                    <a:cxn ang="0">
                      <a:pos x="T8" y="T9"/>
                    </a:cxn>
                  </a:cxnLst>
                  <a:rect l="0" t="0" r="r" b="b"/>
                  <a:pathLst>
                    <a:path w="14" h="9">
                      <a:moveTo>
                        <a:pt x="14" y="9"/>
                      </a:moveTo>
                      <a:lnTo>
                        <a:pt x="0" y="0"/>
                      </a:lnTo>
                      <a:lnTo>
                        <a:pt x="0" y="0"/>
                      </a:lnTo>
                      <a:lnTo>
                        <a:pt x="12" y="9"/>
                      </a:lnTo>
                      <a:lnTo>
                        <a:pt x="14" y="9"/>
                      </a:lnTo>
                      <a:close/>
                    </a:path>
                  </a:pathLst>
                </a:custGeom>
                <a:solidFill>
                  <a:srgbClr val="01AAE5"/>
                </a:solidFill>
                <a:ln>
                  <a:noFill/>
                </a:ln>
                <a:extLst/>
              </p:spPr>
              <p:txBody>
                <a:bodyPr/>
                <a:lstStyle/>
                <a:p>
                  <a:pPr eaLnBrk="1" hangingPunct="1">
                    <a:defRPr/>
                  </a:pPr>
                  <a:endParaRPr lang="zh-CN" altLang="en-US" sz="1050"/>
                </a:p>
              </p:txBody>
            </p:sp>
            <p:sp>
              <p:nvSpPr>
                <p:cNvPr id="5003" name="Freeform 1544"/>
                <p:cNvSpPr>
                  <a:spLocks/>
                </p:cNvSpPr>
                <p:nvPr/>
              </p:nvSpPr>
              <p:spPr bwMode="auto">
                <a:xfrm>
                  <a:off x="10373" y="2107"/>
                  <a:ext cx="8" cy="9"/>
                </a:xfrm>
                <a:custGeom>
                  <a:avLst/>
                  <a:gdLst>
                    <a:gd name="T0" fmla="*/ 12 w 12"/>
                    <a:gd name="T1" fmla="*/ 7 h 7"/>
                    <a:gd name="T2" fmla="*/ 0 w 12"/>
                    <a:gd name="T3" fmla="*/ 0 h 7"/>
                    <a:gd name="T4" fmla="*/ 0 w 12"/>
                    <a:gd name="T5" fmla="*/ 0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0" y="0"/>
                      </a:lnTo>
                      <a:lnTo>
                        <a:pt x="0" y="0"/>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5004" name="Freeform 1545"/>
                <p:cNvSpPr>
                  <a:spLocks/>
                </p:cNvSpPr>
                <p:nvPr/>
              </p:nvSpPr>
              <p:spPr bwMode="auto">
                <a:xfrm>
                  <a:off x="10373" y="2116"/>
                  <a:ext cx="8" cy="9"/>
                </a:xfrm>
                <a:custGeom>
                  <a:avLst/>
                  <a:gdLst>
                    <a:gd name="T0" fmla="*/ 9 w 9"/>
                    <a:gd name="T1" fmla="*/ 7 h 7"/>
                    <a:gd name="T2" fmla="*/ 0 w 9"/>
                    <a:gd name="T3" fmla="*/ 0 h 7"/>
                    <a:gd name="T4" fmla="*/ 0 w 9"/>
                    <a:gd name="T5" fmla="*/ 0 h 7"/>
                    <a:gd name="T6" fmla="*/ 9 w 9"/>
                    <a:gd name="T7" fmla="*/ 7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0" y="0"/>
                      </a:lnTo>
                      <a:lnTo>
                        <a:pt x="0" y="0"/>
                      </a:lnTo>
                      <a:lnTo>
                        <a:pt x="9" y="7"/>
                      </a:lnTo>
                      <a:lnTo>
                        <a:pt x="9" y="7"/>
                      </a:lnTo>
                      <a:close/>
                    </a:path>
                  </a:pathLst>
                </a:custGeom>
                <a:solidFill>
                  <a:srgbClr val="01AAE5"/>
                </a:solidFill>
                <a:ln>
                  <a:noFill/>
                </a:ln>
                <a:extLst/>
              </p:spPr>
              <p:txBody>
                <a:bodyPr/>
                <a:lstStyle/>
                <a:p>
                  <a:pPr eaLnBrk="1" hangingPunct="1">
                    <a:defRPr/>
                  </a:pPr>
                  <a:endParaRPr lang="zh-CN" altLang="en-US" sz="1050"/>
                </a:p>
              </p:txBody>
            </p:sp>
            <p:sp>
              <p:nvSpPr>
                <p:cNvPr id="5005" name="Freeform 1546"/>
                <p:cNvSpPr>
                  <a:spLocks/>
                </p:cNvSpPr>
                <p:nvPr/>
              </p:nvSpPr>
              <p:spPr bwMode="auto">
                <a:xfrm>
                  <a:off x="10390" y="2090"/>
                  <a:ext cx="0" cy="17"/>
                </a:xfrm>
                <a:custGeom>
                  <a:avLst/>
                  <a:gdLst>
                    <a:gd name="T0" fmla="*/ 14 w 14"/>
                    <a:gd name="T1" fmla="*/ 12 h 14"/>
                    <a:gd name="T2" fmla="*/ 0 w 14"/>
                    <a:gd name="T3" fmla="*/ 0 h 14"/>
                    <a:gd name="T4" fmla="*/ 0 w 14"/>
                    <a:gd name="T5" fmla="*/ 2 h 14"/>
                    <a:gd name="T6" fmla="*/ 14 w 14"/>
                    <a:gd name="T7" fmla="*/ 14 h 14"/>
                    <a:gd name="T8" fmla="*/ 14 w 14"/>
                    <a:gd name="T9" fmla="*/ 12 h 14"/>
                  </a:gdLst>
                  <a:ahLst/>
                  <a:cxnLst>
                    <a:cxn ang="0">
                      <a:pos x="T0" y="T1"/>
                    </a:cxn>
                    <a:cxn ang="0">
                      <a:pos x="T2" y="T3"/>
                    </a:cxn>
                    <a:cxn ang="0">
                      <a:pos x="T4" y="T5"/>
                    </a:cxn>
                    <a:cxn ang="0">
                      <a:pos x="T6" y="T7"/>
                    </a:cxn>
                    <a:cxn ang="0">
                      <a:pos x="T8" y="T9"/>
                    </a:cxn>
                  </a:cxnLst>
                  <a:rect l="0" t="0" r="r" b="b"/>
                  <a:pathLst>
                    <a:path w="14" h="14">
                      <a:moveTo>
                        <a:pt x="14" y="12"/>
                      </a:moveTo>
                      <a:lnTo>
                        <a:pt x="0" y="0"/>
                      </a:lnTo>
                      <a:lnTo>
                        <a:pt x="0" y="2"/>
                      </a:lnTo>
                      <a:lnTo>
                        <a:pt x="14" y="14"/>
                      </a:lnTo>
                      <a:lnTo>
                        <a:pt x="14" y="12"/>
                      </a:lnTo>
                      <a:close/>
                    </a:path>
                  </a:pathLst>
                </a:custGeom>
                <a:solidFill>
                  <a:srgbClr val="01AAE5"/>
                </a:solidFill>
                <a:ln>
                  <a:noFill/>
                </a:ln>
                <a:extLst/>
              </p:spPr>
              <p:txBody>
                <a:bodyPr/>
                <a:lstStyle/>
                <a:p>
                  <a:pPr eaLnBrk="1" hangingPunct="1">
                    <a:defRPr/>
                  </a:pPr>
                  <a:endParaRPr lang="zh-CN" altLang="en-US" sz="1050"/>
                </a:p>
              </p:txBody>
            </p:sp>
            <p:sp>
              <p:nvSpPr>
                <p:cNvPr id="5006" name="Freeform 1547"/>
                <p:cNvSpPr>
                  <a:spLocks/>
                </p:cNvSpPr>
                <p:nvPr/>
              </p:nvSpPr>
              <p:spPr bwMode="auto">
                <a:xfrm>
                  <a:off x="10390" y="2090"/>
                  <a:ext cx="25" cy="9"/>
                </a:xfrm>
                <a:custGeom>
                  <a:avLst/>
                  <a:gdLst>
                    <a:gd name="T0" fmla="*/ 17 w 17"/>
                    <a:gd name="T1" fmla="*/ 14 h 14"/>
                    <a:gd name="T2" fmla="*/ 0 w 17"/>
                    <a:gd name="T3" fmla="*/ 0 h 14"/>
                    <a:gd name="T4" fmla="*/ 0 w 17"/>
                    <a:gd name="T5" fmla="*/ 2 h 14"/>
                    <a:gd name="T6" fmla="*/ 17 w 17"/>
                    <a:gd name="T7" fmla="*/ 14 h 14"/>
                    <a:gd name="T8" fmla="*/ 17 w 17"/>
                    <a:gd name="T9" fmla="*/ 14 h 14"/>
                  </a:gdLst>
                  <a:ahLst/>
                  <a:cxnLst>
                    <a:cxn ang="0">
                      <a:pos x="T0" y="T1"/>
                    </a:cxn>
                    <a:cxn ang="0">
                      <a:pos x="T2" y="T3"/>
                    </a:cxn>
                    <a:cxn ang="0">
                      <a:pos x="T4" y="T5"/>
                    </a:cxn>
                    <a:cxn ang="0">
                      <a:pos x="T6" y="T7"/>
                    </a:cxn>
                    <a:cxn ang="0">
                      <a:pos x="T8" y="T9"/>
                    </a:cxn>
                  </a:cxnLst>
                  <a:rect l="0" t="0" r="r" b="b"/>
                  <a:pathLst>
                    <a:path w="17" h="14">
                      <a:moveTo>
                        <a:pt x="17" y="14"/>
                      </a:moveTo>
                      <a:lnTo>
                        <a:pt x="0" y="0"/>
                      </a:lnTo>
                      <a:lnTo>
                        <a:pt x="0" y="2"/>
                      </a:lnTo>
                      <a:lnTo>
                        <a:pt x="17" y="14"/>
                      </a:lnTo>
                      <a:lnTo>
                        <a:pt x="17" y="14"/>
                      </a:lnTo>
                      <a:close/>
                    </a:path>
                  </a:pathLst>
                </a:custGeom>
                <a:solidFill>
                  <a:srgbClr val="01AAE5"/>
                </a:solidFill>
                <a:ln>
                  <a:noFill/>
                </a:ln>
                <a:extLst/>
              </p:spPr>
              <p:txBody>
                <a:bodyPr/>
                <a:lstStyle/>
                <a:p>
                  <a:pPr eaLnBrk="1" hangingPunct="1">
                    <a:defRPr/>
                  </a:pPr>
                  <a:endParaRPr lang="zh-CN" altLang="en-US" sz="1050"/>
                </a:p>
              </p:txBody>
            </p:sp>
            <p:sp>
              <p:nvSpPr>
                <p:cNvPr id="5007" name="Freeform 1548"/>
                <p:cNvSpPr>
                  <a:spLocks/>
                </p:cNvSpPr>
                <p:nvPr/>
              </p:nvSpPr>
              <p:spPr bwMode="auto">
                <a:xfrm>
                  <a:off x="10390" y="2081"/>
                  <a:ext cx="25" cy="17"/>
                </a:xfrm>
                <a:custGeom>
                  <a:avLst/>
                  <a:gdLst>
                    <a:gd name="T0" fmla="*/ 19 w 19"/>
                    <a:gd name="T1" fmla="*/ 16 h 19"/>
                    <a:gd name="T2" fmla="*/ 0 w 19"/>
                    <a:gd name="T3" fmla="*/ 0 h 19"/>
                    <a:gd name="T4" fmla="*/ 0 w 19"/>
                    <a:gd name="T5" fmla="*/ 2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2"/>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5008" name="Freeform 1549"/>
                <p:cNvSpPr>
                  <a:spLocks/>
                </p:cNvSpPr>
                <p:nvPr/>
              </p:nvSpPr>
              <p:spPr bwMode="auto">
                <a:xfrm>
                  <a:off x="10390" y="2090"/>
                  <a:ext cx="25" cy="9"/>
                </a:xfrm>
                <a:custGeom>
                  <a:avLst/>
                  <a:gdLst>
                    <a:gd name="T0" fmla="*/ 19 w 19"/>
                    <a:gd name="T1" fmla="*/ 17 h 17"/>
                    <a:gd name="T2" fmla="*/ 0 w 19"/>
                    <a:gd name="T3" fmla="*/ 0 h 17"/>
                    <a:gd name="T4" fmla="*/ 0 w 19"/>
                    <a:gd name="T5" fmla="*/ 3 h 17"/>
                    <a:gd name="T6" fmla="*/ 16 w 19"/>
                    <a:gd name="T7" fmla="*/ 17 h 17"/>
                    <a:gd name="T8" fmla="*/ 19 w 19"/>
                    <a:gd name="T9" fmla="*/ 17 h 17"/>
                  </a:gdLst>
                  <a:ahLst/>
                  <a:cxnLst>
                    <a:cxn ang="0">
                      <a:pos x="T0" y="T1"/>
                    </a:cxn>
                    <a:cxn ang="0">
                      <a:pos x="T2" y="T3"/>
                    </a:cxn>
                    <a:cxn ang="0">
                      <a:pos x="T4" y="T5"/>
                    </a:cxn>
                    <a:cxn ang="0">
                      <a:pos x="T6" y="T7"/>
                    </a:cxn>
                    <a:cxn ang="0">
                      <a:pos x="T8" y="T9"/>
                    </a:cxn>
                  </a:cxnLst>
                  <a:rect l="0" t="0" r="r" b="b"/>
                  <a:pathLst>
                    <a:path w="19" h="17">
                      <a:moveTo>
                        <a:pt x="19" y="17"/>
                      </a:moveTo>
                      <a:lnTo>
                        <a:pt x="0" y="0"/>
                      </a:lnTo>
                      <a:lnTo>
                        <a:pt x="0" y="3"/>
                      </a:lnTo>
                      <a:lnTo>
                        <a:pt x="16" y="17"/>
                      </a:lnTo>
                      <a:lnTo>
                        <a:pt x="19" y="17"/>
                      </a:lnTo>
                      <a:close/>
                    </a:path>
                  </a:pathLst>
                </a:custGeom>
                <a:solidFill>
                  <a:srgbClr val="01AAE5"/>
                </a:solidFill>
                <a:ln>
                  <a:noFill/>
                </a:ln>
                <a:extLst/>
              </p:spPr>
              <p:txBody>
                <a:bodyPr/>
                <a:lstStyle/>
                <a:p>
                  <a:pPr eaLnBrk="1" hangingPunct="1">
                    <a:defRPr/>
                  </a:pPr>
                  <a:endParaRPr lang="zh-CN" altLang="en-US" sz="1050"/>
                </a:p>
              </p:txBody>
            </p:sp>
            <p:sp>
              <p:nvSpPr>
                <p:cNvPr id="5009" name="Freeform 1550"/>
                <p:cNvSpPr>
                  <a:spLocks/>
                </p:cNvSpPr>
                <p:nvPr/>
              </p:nvSpPr>
              <p:spPr bwMode="auto">
                <a:xfrm>
                  <a:off x="10373" y="2116"/>
                  <a:ext cx="8" cy="9"/>
                </a:xfrm>
                <a:custGeom>
                  <a:avLst/>
                  <a:gdLst>
                    <a:gd name="T0" fmla="*/ 9 w 9"/>
                    <a:gd name="T1" fmla="*/ 5 h 7"/>
                    <a:gd name="T2" fmla="*/ 0 w 9"/>
                    <a:gd name="T3" fmla="*/ 0 h 7"/>
                    <a:gd name="T4" fmla="*/ 0 w 9"/>
                    <a:gd name="T5" fmla="*/ 0 h 7"/>
                    <a:gd name="T6" fmla="*/ 7 w 9"/>
                    <a:gd name="T7" fmla="*/ 7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lnTo>
                        <a:pt x="0" y="0"/>
                      </a:lnTo>
                      <a:lnTo>
                        <a:pt x="0" y="0"/>
                      </a:lnTo>
                      <a:lnTo>
                        <a:pt x="7" y="7"/>
                      </a:lnTo>
                      <a:lnTo>
                        <a:pt x="9" y="5"/>
                      </a:lnTo>
                      <a:close/>
                    </a:path>
                  </a:pathLst>
                </a:custGeom>
                <a:solidFill>
                  <a:srgbClr val="01AAE5"/>
                </a:solidFill>
                <a:ln>
                  <a:noFill/>
                </a:ln>
                <a:extLst/>
              </p:spPr>
              <p:txBody>
                <a:bodyPr/>
                <a:lstStyle/>
                <a:p>
                  <a:pPr eaLnBrk="1" hangingPunct="1">
                    <a:defRPr/>
                  </a:pPr>
                  <a:endParaRPr lang="zh-CN" altLang="en-US" sz="1050"/>
                </a:p>
              </p:txBody>
            </p:sp>
            <p:sp>
              <p:nvSpPr>
                <p:cNvPr id="5010" name="Freeform 1551"/>
                <p:cNvSpPr>
                  <a:spLocks/>
                </p:cNvSpPr>
                <p:nvPr/>
              </p:nvSpPr>
              <p:spPr bwMode="auto">
                <a:xfrm>
                  <a:off x="10365" y="2125"/>
                  <a:ext cx="8" cy="0"/>
                </a:xfrm>
                <a:custGeom>
                  <a:avLst/>
                  <a:gdLst>
                    <a:gd name="T0" fmla="*/ 7 w 7"/>
                    <a:gd name="T1" fmla="*/ 5 h 7"/>
                    <a:gd name="T2" fmla="*/ 0 w 7"/>
                    <a:gd name="T3" fmla="*/ 0 h 7"/>
                    <a:gd name="T4" fmla="*/ 0 w 7"/>
                    <a:gd name="T5" fmla="*/ 3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3"/>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5011" name="Freeform 1552"/>
                <p:cNvSpPr>
                  <a:spLocks/>
                </p:cNvSpPr>
                <p:nvPr/>
              </p:nvSpPr>
              <p:spPr bwMode="auto">
                <a:xfrm>
                  <a:off x="10365" y="2133"/>
                  <a:ext cx="0" cy="9"/>
                </a:xfrm>
                <a:custGeom>
                  <a:avLst/>
                  <a:gdLst>
                    <a:gd name="T0" fmla="*/ 8 w 8"/>
                    <a:gd name="T1" fmla="*/ 7 h 7"/>
                    <a:gd name="T2" fmla="*/ 0 w 8"/>
                    <a:gd name="T3" fmla="*/ 0 h 7"/>
                    <a:gd name="T4" fmla="*/ 0 w 8"/>
                    <a:gd name="T5" fmla="*/ 2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0" y="0"/>
                      </a:lnTo>
                      <a:lnTo>
                        <a:pt x="0" y="2"/>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5012" name="Freeform 1553"/>
                <p:cNvSpPr>
                  <a:spLocks/>
                </p:cNvSpPr>
                <p:nvPr/>
              </p:nvSpPr>
              <p:spPr bwMode="auto">
                <a:xfrm>
                  <a:off x="10348" y="2142"/>
                  <a:ext cx="8" cy="9"/>
                </a:xfrm>
                <a:custGeom>
                  <a:avLst/>
                  <a:gdLst>
                    <a:gd name="T0" fmla="*/ 10 w 10"/>
                    <a:gd name="T1" fmla="*/ 5 h 8"/>
                    <a:gd name="T2" fmla="*/ 3 w 10"/>
                    <a:gd name="T3" fmla="*/ 0 h 8"/>
                    <a:gd name="T4" fmla="*/ 0 w 10"/>
                    <a:gd name="T5" fmla="*/ 0 h 8"/>
                    <a:gd name="T6" fmla="*/ 7 w 10"/>
                    <a:gd name="T7" fmla="*/ 8 h 8"/>
                    <a:gd name="T8" fmla="*/ 10 w 10"/>
                    <a:gd name="T9" fmla="*/ 5 h 8"/>
                  </a:gdLst>
                  <a:ahLst/>
                  <a:cxnLst>
                    <a:cxn ang="0">
                      <a:pos x="T0" y="T1"/>
                    </a:cxn>
                    <a:cxn ang="0">
                      <a:pos x="T2" y="T3"/>
                    </a:cxn>
                    <a:cxn ang="0">
                      <a:pos x="T4" y="T5"/>
                    </a:cxn>
                    <a:cxn ang="0">
                      <a:pos x="T6" y="T7"/>
                    </a:cxn>
                    <a:cxn ang="0">
                      <a:pos x="T8" y="T9"/>
                    </a:cxn>
                  </a:cxnLst>
                  <a:rect l="0" t="0" r="r" b="b"/>
                  <a:pathLst>
                    <a:path w="10" h="8">
                      <a:moveTo>
                        <a:pt x="10" y="5"/>
                      </a:moveTo>
                      <a:lnTo>
                        <a:pt x="3" y="0"/>
                      </a:lnTo>
                      <a:lnTo>
                        <a:pt x="0" y="0"/>
                      </a:lnTo>
                      <a:lnTo>
                        <a:pt x="7" y="8"/>
                      </a:lnTo>
                      <a:lnTo>
                        <a:pt x="10" y="5"/>
                      </a:lnTo>
                      <a:close/>
                    </a:path>
                  </a:pathLst>
                </a:custGeom>
                <a:solidFill>
                  <a:srgbClr val="01AAE5"/>
                </a:solidFill>
                <a:ln>
                  <a:noFill/>
                </a:ln>
                <a:extLst/>
              </p:spPr>
              <p:txBody>
                <a:bodyPr/>
                <a:lstStyle/>
                <a:p>
                  <a:pPr eaLnBrk="1" hangingPunct="1">
                    <a:defRPr/>
                  </a:pPr>
                  <a:endParaRPr lang="zh-CN" altLang="en-US" sz="1050"/>
                </a:p>
              </p:txBody>
            </p:sp>
            <p:sp>
              <p:nvSpPr>
                <p:cNvPr id="5013" name="Freeform 1554"/>
                <p:cNvSpPr>
                  <a:spLocks/>
                </p:cNvSpPr>
                <p:nvPr/>
              </p:nvSpPr>
              <p:spPr bwMode="auto">
                <a:xfrm>
                  <a:off x="10365" y="2142"/>
                  <a:ext cx="0"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5014" name="Freeform 1555"/>
                <p:cNvSpPr>
                  <a:spLocks/>
                </p:cNvSpPr>
                <p:nvPr/>
              </p:nvSpPr>
              <p:spPr bwMode="auto">
                <a:xfrm>
                  <a:off x="10348" y="2151"/>
                  <a:ext cx="0" cy="0"/>
                </a:xfrm>
                <a:custGeom>
                  <a:avLst/>
                  <a:gdLst>
                    <a:gd name="T0" fmla="*/ 9 w 9"/>
                    <a:gd name="T1" fmla="*/ 5 h 5"/>
                    <a:gd name="T2" fmla="*/ 0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5015" name="Freeform 1556"/>
                <p:cNvSpPr>
                  <a:spLocks/>
                </p:cNvSpPr>
                <p:nvPr/>
              </p:nvSpPr>
              <p:spPr bwMode="auto">
                <a:xfrm>
                  <a:off x="10365" y="2133"/>
                  <a:ext cx="0" cy="0"/>
                </a:xfrm>
                <a:custGeom>
                  <a:avLst/>
                  <a:gdLst>
                    <a:gd name="T0" fmla="*/ 7 w 7"/>
                    <a:gd name="T1" fmla="*/ 4 h 4"/>
                    <a:gd name="T2" fmla="*/ 0 w 7"/>
                    <a:gd name="T3" fmla="*/ 0 h 4"/>
                    <a:gd name="T4" fmla="*/ 0 w 7"/>
                    <a:gd name="T5" fmla="*/ 0 h 4"/>
                    <a:gd name="T6" fmla="*/ 7 w 7"/>
                    <a:gd name="T7" fmla="*/ 4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0" y="0"/>
                      </a:lnTo>
                      <a:lnTo>
                        <a:pt x="0" y="0"/>
                      </a:lnTo>
                      <a:lnTo>
                        <a:pt x="7" y="4"/>
                      </a:lnTo>
                      <a:lnTo>
                        <a:pt x="7" y="4"/>
                      </a:lnTo>
                      <a:close/>
                    </a:path>
                  </a:pathLst>
                </a:custGeom>
                <a:solidFill>
                  <a:srgbClr val="01AAE5"/>
                </a:solidFill>
                <a:ln>
                  <a:noFill/>
                </a:ln>
                <a:extLst/>
              </p:spPr>
              <p:txBody>
                <a:bodyPr/>
                <a:lstStyle/>
                <a:p>
                  <a:pPr eaLnBrk="1" hangingPunct="1">
                    <a:defRPr/>
                  </a:pPr>
                  <a:endParaRPr lang="zh-CN" altLang="en-US" sz="1050"/>
                </a:p>
              </p:txBody>
            </p:sp>
            <p:sp>
              <p:nvSpPr>
                <p:cNvPr id="5016" name="Freeform 1557"/>
                <p:cNvSpPr>
                  <a:spLocks/>
                </p:cNvSpPr>
                <p:nvPr/>
              </p:nvSpPr>
              <p:spPr bwMode="auto">
                <a:xfrm>
                  <a:off x="10365" y="2125"/>
                  <a:ext cx="8" cy="0"/>
                </a:xfrm>
                <a:custGeom>
                  <a:avLst/>
                  <a:gdLst>
                    <a:gd name="T0" fmla="*/ 7 w 7"/>
                    <a:gd name="T1" fmla="*/ 8 h 8"/>
                    <a:gd name="T2" fmla="*/ 0 w 7"/>
                    <a:gd name="T3" fmla="*/ 0 h 8"/>
                    <a:gd name="T4" fmla="*/ 0 w 7"/>
                    <a:gd name="T5" fmla="*/ 3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0" y="0"/>
                      </a:lnTo>
                      <a:lnTo>
                        <a:pt x="0" y="3"/>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5017" name="Freeform 1558"/>
                <p:cNvSpPr>
                  <a:spLocks/>
                </p:cNvSpPr>
                <p:nvPr/>
              </p:nvSpPr>
              <p:spPr bwMode="auto">
                <a:xfrm>
                  <a:off x="10390" y="2072"/>
                  <a:ext cx="25" cy="17"/>
                </a:xfrm>
                <a:custGeom>
                  <a:avLst/>
                  <a:gdLst>
                    <a:gd name="T0" fmla="*/ 21 w 21"/>
                    <a:gd name="T1" fmla="*/ 19 h 19"/>
                    <a:gd name="T2" fmla="*/ 0 w 21"/>
                    <a:gd name="T3" fmla="*/ 0 h 19"/>
                    <a:gd name="T4" fmla="*/ 0 w 21"/>
                    <a:gd name="T5" fmla="*/ 2 h 19"/>
                    <a:gd name="T6" fmla="*/ 21 w 21"/>
                    <a:gd name="T7" fmla="*/ 19 h 19"/>
                    <a:gd name="T8" fmla="*/ 21 w 21"/>
                    <a:gd name="T9" fmla="*/ 19 h 19"/>
                  </a:gdLst>
                  <a:ahLst/>
                  <a:cxnLst>
                    <a:cxn ang="0">
                      <a:pos x="T0" y="T1"/>
                    </a:cxn>
                    <a:cxn ang="0">
                      <a:pos x="T2" y="T3"/>
                    </a:cxn>
                    <a:cxn ang="0">
                      <a:pos x="T4" y="T5"/>
                    </a:cxn>
                    <a:cxn ang="0">
                      <a:pos x="T6" y="T7"/>
                    </a:cxn>
                    <a:cxn ang="0">
                      <a:pos x="T8" y="T9"/>
                    </a:cxn>
                  </a:cxnLst>
                  <a:rect l="0" t="0" r="r" b="b"/>
                  <a:pathLst>
                    <a:path w="21" h="19">
                      <a:moveTo>
                        <a:pt x="21" y="19"/>
                      </a:moveTo>
                      <a:lnTo>
                        <a:pt x="0" y="0"/>
                      </a:lnTo>
                      <a:lnTo>
                        <a:pt x="0" y="2"/>
                      </a:lnTo>
                      <a:lnTo>
                        <a:pt x="21" y="19"/>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5018" name="Freeform 1559"/>
                <p:cNvSpPr>
                  <a:spLocks/>
                </p:cNvSpPr>
                <p:nvPr/>
              </p:nvSpPr>
              <p:spPr bwMode="auto">
                <a:xfrm>
                  <a:off x="10365" y="2125"/>
                  <a:ext cx="25" cy="9"/>
                </a:xfrm>
                <a:custGeom>
                  <a:avLst/>
                  <a:gdLst>
                    <a:gd name="T0" fmla="*/ 10 w 10"/>
                    <a:gd name="T1" fmla="*/ 5 h 7"/>
                    <a:gd name="T2" fmla="*/ 3 w 10"/>
                    <a:gd name="T3" fmla="*/ 0 h 7"/>
                    <a:gd name="T4" fmla="*/ 0 w 10"/>
                    <a:gd name="T5" fmla="*/ 0 h 7"/>
                    <a:gd name="T6" fmla="*/ 7 w 10"/>
                    <a:gd name="T7" fmla="*/ 7 h 7"/>
                    <a:gd name="T8" fmla="*/ 10 w 10"/>
                    <a:gd name="T9" fmla="*/ 5 h 7"/>
                  </a:gdLst>
                  <a:ahLst/>
                  <a:cxnLst>
                    <a:cxn ang="0">
                      <a:pos x="T0" y="T1"/>
                    </a:cxn>
                    <a:cxn ang="0">
                      <a:pos x="T2" y="T3"/>
                    </a:cxn>
                    <a:cxn ang="0">
                      <a:pos x="T4" y="T5"/>
                    </a:cxn>
                    <a:cxn ang="0">
                      <a:pos x="T6" y="T7"/>
                    </a:cxn>
                    <a:cxn ang="0">
                      <a:pos x="T8" y="T9"/>
                    </a:cxn>
                  </a:cxnLst>
                  <a:rect l="0" t="0" r="r" b="b"/>
                  <a:pathLst>
                    <a:path w="10" h="7">
                      <a:moveTo>
                        <a:pt x="10" y="5"/>
                      </a:moveTo>
                      <a:lnTo>
                        <a:pt x="3" y="0"/>
                      </a:lnTo>
                      <a:lnTo>
                        <a:pt x="0" y="0"/>
                      </a:lnTo>
                      <a:lnTo>
                        <a:pt x="7" y="7"/>
                      </a:lnTo>
                      <a:lnTo>
                        <a:pt x="10" y="5"/>
                      </a:lnTo>
                      <a:close/>
                    </a:path>
                  </a:pathLst>
                </a:custGeom>
                <a:solidFill>
                  <a:srgbClr val="01AAE5"/>
                </a:solidFill>
                <a:ln>
                  <a:noFill/>
                </a:ln>
                <a:extLst/>
              </p:spPr>
              <p:txBody>
                <a:bodyPr/>
                <a:lstStyle/>
                <a:p>
                  <a:pPr eaLnBrk="1" hangingPunct="1">
                    <a:defRPr/>
                  </a:pPr>
                  <a:endParaRPr lang="zh-CN" altLang="en-US" sz="1050"/>
                </a:p>
              </p:txBody>
            </p:sp>
            <p:sp>
              <p:nvSpPr>
                <p:cNvPr id="5019" name="Freeform 1560"/>
                <p:cNvSpPr>
                  <a:spLocks/>
                </p:cNvSpPr>
                <p:nvPr/>
              </p:nvSpPr>
              <p:spPr bwMode="auto">
                <a:xfrm>
                  <a:off x="10415" y="2055"/>
                  <a:ext cx="25" cy="17"/>
                </a:xfrm>
                <a:custGeom>
                  <a:avLst/>
                  <a:gdLst>
                    <a:gd name="T0" fmla="*/ 19 w 19"/>
                    <a:gd name="T1" fmla="*/ 16 h 19"/>
                    <a:gd name="T2" fmla="*/ 0 w 19"/>
                    <a:gd name="T3" fmla="*/ 0 h 19"/>
                    <a:gd name="T4" fmla="*/ 0 w 19"/>
                    <a:gd name="T5" fmla="*/ 0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0"/>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5020" name="Freeform 1561"/>
                <p:cNvSpPr>
                  <a:spLocks/>
                </p:cNvSpPr>
                <p:nvPr/>
              </p:nvSpPr>
              <p:spPr bwMode="auto">
                <a:xfrm>
                  <a:off x="10440" y="2038"/>
                  <a:ext cx="0"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021" name="Freeform 1562"/>
                <p:cNvSpPr>
                  <a:spLocks/>
                </p:cNvSpPr>
                <p:nvPr/>
              </p:nvSpPr>
              <p:spPr bwMode="auto">
                <a:xfrm>
                  <a:off x="10440" y="2029"/>
                  <a:ext cx="8" cy="9"/>
                </a:xfrm>
                <a:custGeom>
                  <a:avLst/>
                  <a:gdLst>
                    <a:gd name="T0" fmla="*/ 9 w 9"/>
                    <a:gd name="T1" fmla="*/ 8 h 10"/>
                    <a:gd name="T2" fmla="*/ 2 w 9"/>
                    <a:gd name="T3" fmla="*/ 0 h 10"/>
                    <a:gd name="T4" fmla="*/ 0 w 9"/>
                    <a:gd name="T5" fmla="*/ 3 h 10"/>
                    <a:gd name="T6" fmla="*/ 7 w 9"/>
                    <a:gd name="T7" fmla="*/ 10 h 10"/>
                    <a:gd name="T8" fmla="*/ 9 w 9"/>
                    <a:gd name="T9" fmla="*/ 8 h 10"/>
                  </a:gdLst>
                  <a:ahLst/>
                  <a:cxnLst>
                    <a:cxn ang="0">
                      <a:pos x="T0" y="T1"/>
                    </a:cxn>
                    <a:cxn ang="0">
                      <a:pos x="T2" y="T3"/>
                    </a:cxn>
                    <a:cxn ang="0">
                      <a:pos x="T4" y="T5"/>
                    </a:cxn>
                    <a:cxn ang="0">
                      <a:pos x="T6" y="T7"/>
                    </a:cxn>
                    <a:cxn ang="0">
                      <a:pos x="T8" y="T9"/>
                    </a:cxn>
                  </a:cxnLst>
                  <a:rect l="0" t="0" r="r" b="b"/>
                  <a:pathLst>
                    <a:path w="9" h="10">
                      <a:moveTo>
                        <a:pt x="9" y="8"/>
                      </a:moveTo>
                      <a:lnTo>
                        <a:pt x="2" y="0"/>
                      </a:lnTo>
                      <a:lnTo>
                        <a:pt x="0" y="3"/>
                      </a:lnTo>
                      <a:lnTo>
                        <a:pt x="7" y="10"/>
                      </a:lnTo>
                      <a:lnTo>
                        <a:pt x="9" y="8"/>
                      </a:lnTo>
                      <a:close/>
                    </a:path>
                  </a:pathLst>
                </a:custGeom>
                <a:solidFill>
                  <a:srgbClr val="01AAE5"/>
                </a:solidFill>
                <a:ln>
                  <a:noFill/>
                </a:ln>
                <a:extLst/>
              </p:spPr>
              <p:txBody>
                <a:bodyPr/>
                <a:lstStyle/>
                <a:p>
                  <a:pPr eaLnBrk="1" hangingPunct="1">
                    <a:defRPr/>
                  </a:pPr>
                  <a:endParaRPr lang="zh-CN" altLang="en-US" sz="1050"/>
                </a:p>
              </p:txBody>
            </p:sp>
            <p:sp>
              <p:nvSpPr>
                <p:cNvPr id="5022" name="Freeform 1563"/>
                <p:cNvSpPr>
                  <a:spLocks/>
                </p:cNvSpPr>
                <p:nvPr/>
              </p:nvSpPr>
              <p:spPr bwMode="auto">
                <a:xfrm>
                  <a:off x="10390" y="2072"/>
                  <a:ext cx="25" cy="17"/>
                </a:xfrm>
                <a:custGeom>
                  <a:avLst/>
                  <a:gdLst>
                    <a:gd name="T0" fmla="*/ 24 w 24"/>
                    <a:gd name="T1" fmla="*/ 21 h 21"/>
                    <a:gd name="T2" fmla="*/ 0 w 24"/>
                    <a:gd name="T3" fmla="*/ 0 h 21"/>
                    <a:gd name="T4" fmla="*/ 0 w 24"/>
                    <a:gd name="T5" fmla="*/ 3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3"/>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5023" name="Freeform 1564"/>
                <p:cNvSpPr>
                  <a:spLocks/>
                </p:cNvSpPr>
                <p:nvPr/>
              </p:nvSpPr>
              <p:spPr bwMode="auto">
                <a:xfrm>
                  <a:off x="10440" y="2038"/>
                  <a:ext cx="0" cy="17"/>
                </a:xfrm>
                <a:custGeom>
                  <a:avLst/>
                  <a:gdLst>
                    <a:gd name="T0" fmla="*/ 12 w 12"/>
                    <a:gd name="T1" fmla="*/ 12 h 12"/>
                    <a:gd name="T2" fmla="*/ 0 w 12"/>
                    <a:gd name="T3" fmla="*/ 0 h 12"/>
                    <a:gd name="T4" fmla="*/ 0 w 12"/>
                    <a:gd name="T5" fmla="*/ 0 h 12"/>
                    <a:gd name="T6" fmla="*/ 12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0" y="0"/>
                      </a:lnTo>
                      <a:lnTo>
                        <a:pt x="0" y="0"/>
                      </a:lnTo>
                      <a:lnTo>
                        <a:pt x="12" y="12"/>
                      </a:lnTo>
                      <a:lnTo>
                        <a:pt x="12" y="12"/>
                      </a:lnTo>
                      <a:close/>
                    </a:path>
                  </a:pathLst>
                </a:custGeom>
                <a:solidFill>
                  <a:srgbClr val="01AAE5"/>
                </a:solidFill>
                <a:ln>
                  <a:noFill/>
                </a:ln>
                <a:extLst/>
              </p:spPr>
              <p:txBody>
                <a:bodyPr/>
                <a:lstStyle/>
                <a:p>
                  <a:pPr eaLnBrk="1" hangingPunct="1">
                    <a:defRPr/>
                  </a:pPr>
                  <a:endParaRPr lang="zh-CN" altLang="en-US" sz="1050"/>
                </a:p>
              </p:txBody>
            </p:sp>
            <p:sp>
              <p:nvSpPr>
                <p:cNvPr id="5024" name="Freeform 1565"/>
                <p:cNvSpPr>
                  <a:spLocks/>
                </p:cNvSpPr>
                <p:nvPr/>
              </p:nvSpPr>
              <p:spPr bwMode="auto">
                <a:xfrm>
                  <a:off x="10448" y="2029"/>
                  <a:ext cx="8" cy="9"/>
                </a:xfrm>
                <a:custGeom>
                  <a:avLst/>
                  <a:gdLst>
                    <a:gd name="T0" fmla="*/ 7 w 7"/>
                    <a:gd name="T1" fmla="*/ 7 h 7"/>
                    <a:gd name="T2" fmla="*/ 3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025" name="Freeform 1566"/>
                <p:cNvSpPr>
                  <a:spLocks/>
                </p:cNvSpPr>
                <p:nvPr/>
              </p:nvSpPr>
              <p:spPr bwMode="auto">
                <a:xfrm>
                  <a:off x="10440" y="2029"/>
                  <a:ext cx="8"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026" name="Freeform 1567"/>
                <p:cNvSpPr>
                  <a:spLocks/>
                </p:cNvSpPr>
                <p:nvPr/>
              </p:nvSpPr>
              <p:spPr bwMode="auto">
                <a:xfrm>
                  <a:off x="10423" y="2046"/>
                  <a:ext cx="17" cy="17"/>
                </a:xfrm>
                <a:custGeom>
                  <a:avLst/>
                  <a:gdLst>
                    <a:gd name="T0" fmla="*/ 14 w 14"/>
                    <a:gd name="T1" fmla="*/ 14 h 14"/>
                    <a:gd name="T2" fmla="*/ 0 w 14"/>
                    <a:gd name="T3" fmla="*/ 0 h 14"/>
                    <a:gd name="T4" fmla="*/ 0 w 14"/>
                    <a:gd name="T5" fmla="*/ 0 h 14"/>
                    <a:gd name="T6" fmla="*/ 12 w 14"/>
                    <a:gd name="T7" fmla="*/ 14 h 14"/>
                    <a:gd name="T8" fmla="*/ 14 w 14"/>
                    <a:gd name="T9" fmla="*/ 14 h 14"/>
                  </a:gdLst>
                  <a:ahLst/>
                  <a:cxnLst>
                    <a:cxn ang="0">
                      <a:pos x="T0" y="T1"/>
                    </a:cxn>
                    <a:cxn ang="0">
                      <a:pos x="T2" y="T3"/>
                    </a:cxn>
                    <a:cxn ang="0">
                      <a:pos x="T4" y="T5"/>
                    </a:cxn>
                    <a:cxn ang="0">
                      <a:pos x="T6" y="T7"/>
                    </a:cxn>
                    <a:cxn ang="0">
                      <a:pos x="T8" y="T9"/>
                    </a:cxn>
                  </a:cxnLst>
                  <a:rect l="0" t="0" r="r" b="b"/>
                  <a:pathLst>
                    <a:path w="14" h="14">
                      <a:moveTo>
                        <a:pt x="14" y="14"/>
                      </a:moveTo>
                      <a:lnTo>
                        <a:pt x="0" y="0"/>
                      </a:lnTo>
                      <a:lnTo>
                        <a:pt x="0" y="0"/>
                      </a:lnTo>
                      <a:lnTo>
                        <a:pt x="12" y="14"/>
                      </a:lnTo>
                      <a:lnTo>
                        <a:pt x="14" y="14"/>
                      </a:lnTo>
                      <a:close/>
                    </a:path>
                  </a:pathLst>
                </a:custGeom>
                <a:solidFill>
                  <a:srgbClr val="01AAE5"/>
                </a:solidFill>
                <a:ln>
                  <a:noFill/>
                </a:ln>
                <a:extLst/>
              </p:spPr>
              <p:txBody>
                <a:bodyPr/>
                <a:lstStyle/>
                <a:p>
                  <a:pPr eaLnBrk="1" hangingPunct="1">
                    <a:defRPr/>
                  </a:pPr>
                  <a:endParaRPr lang="zh-CN" altLang="en-US" sz="1050"/>
                </a:p>
              </p:txBody>
            </p:sp>
            <p:sp>
              <p:nvSpPr>
                <p:cNvPr id="5027" name="Freeform 1568"/>
                <p:cNvSpPr>
                  <a:spLocks/>
                </p:cNvSpPr>
                <p:nvPr/>
              </p:nvSpPr>
              <p:spPr bwMode="auto">
                <a:xfrm>
                  <a:off x="10448" y="2029"/>
                  <a:ext cx="8"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5028" name="Freeform 1569"/>
                <p:cNvSpPr>
                  <a:spLocks/>
                </p:cNvSpPr>
                <p:nvPr/>
              </p:nvSpPr>
              <p:spPr bwMode="auto">
                <a:xfrm>
                  <a:off x="10440" y="2038"/>
                  <a:ext cx="0" cy="17"/>
                </a:xfrm>
                <a:custGeom>
                  <a:avLst/>
                  <a:gdLst>
                    <a:gd name="T0" fmla="*/ 10 w 10"/>
                    <a:gd name="T1" fmla="*/ 9 h 9"/>
                    <a:gd name="T2" fmla="*/ 0 w 10"/>
                    <a:gd name="T3" fmla="*/ 0 h 9"/>
                    <a:gd name="T4" fmla="*/ 0 w 10"/>
                    <a:gd name="T5" fmla="*/ 0 h 9"/>
                    <a:gd name="T6" fmla="*/ 10 w 10"/>
                    <a:gd name="T7" fmla="*/ 9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0"/>
                      </a:lnTo>
                      <a:lnTo>
                        <a:pt x="0" y="0"/>
                      </a:lnTo>
                      <a:lnTo>
                        <a:pt x="10" y="9"/>
                      </a:lnTo>
                      <a:lnTo>
                        <a:pt x="10" y="9"/>
                      </a:lnTo>
                      <a:close/>
                    </a:path>
                  </a:pathLst>
                </a:custGeom>
                <a:solidFill>
                  <a:srgbClr val="01AAE5"/>
                </a:solidFill>
                <a:ln>
                  <a:noFill/>
                </a:ln>
                <a:extLst/>
              </p:spPr>
              <p:txBody>
                <a:bodyPr/>
                <a:lstStyle/>
                <a:p>
                  <a:pPr eaLnBrk="1" hangingPunct="1">
                    <a:defRPr/>
                  </a:pPr>
                  <a:endParaRPr lang="zh-CN" altLang="en-US" sz="1050"/>
                </a:p>
              </p:txBody>
            </p:sp>
            <p:sp>
              <p:nvSpPr>
                <p:cNvPr id="5029" name="Freeform 1570"/>
                <p:cNvSpPr>
                  <a:spLocks/>
                </p:cNvSpPr>
                <p:nvPr/>
              </p:nvSpPr>
              <p:spPr bwMode="auto">
                <a:xfrm>
                  <a:off x="10398" y="2064"/>
                  <a:ext cx="25" cy="26"/>
                </a:xfrm>
                <a:custGeom>
                  <a:avLst/>
                  <a:gdLst>
                    <a:gd name="T0" fmla="*/ 24 w 24"/>
                    <a:gd name="T1" fmla="*/ 21 h 21"/>
                    <a:gd name="T2" fmla="*/ 0 w 24"/>
                    <a:gd name="T3" fmla="*/ 0 h 21"/>
                    <a:gd name="T4" fmla="*/ 0 w 24"/>
                    <a:gd name="T5" fmla="*/ 0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0"/>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5030" name="Freeform 1571"/>
                <p:cNvSpPr>
                  <a:spLocks/>
                </p:cNvSpPr>
                <p:nvPr/>
              </p:nvSpPr>
              <p:spPr bwMode="auto">
                <a:xfrm>
                  <a:off x="10398" y="2064"/>
                  <a:ext cx="25" cy="17"/>
                </a:xfrm>
                <a:custGeom>
                  <a:avLst/>
                  <a:gdLst>
                    <a:gd name="T0" fmla="*/ 24 w 24"/>
                    <a:gd name="T1" fmla="*/ 22 h 22"/>
                    <a:gd name="T2" fmla="*/ 3 w 24"/>
                    <a:gd name="T3" fmla="*/ 0 h 22"/>
                    <a:gd name="T4" fmla="*/ 0 w 24"/>
                    <a:gd name="T5" fmla="*/ 3 h 22"/>
                    <a:gd name="T6" fmla="*/ 24 w 24"/>
                    <a:gd name="T7" fmla="*/ 22 h 22"/>
                    <a:gd name="T8" fmla="*/ 24 w 24"/>
                    <a:gd name="T9" fmla="*/ 22 h 22"/>
                  </a:gdLst>
                  <a:ahLst/>
                  <a:cxnLst>
                    <a:cxn ang="0">
                      <a:pos x="T0" y="T1"/>
                    </a:cxn>
                    <a:cxn ang="0">
                      <a:pos x="T2" y="T3"/>
                    </a:cxn>
                    <a:cxn ang="0">
                      <a:pos x="T4" y="T5"/>
                    </a:cxn>
                    <a:cxn ang="0">
                      <a:pos x="T6" y="T7"/>
                    </a:cxn>
                    <a:cxn ang="0">
                      <a:pos x="T8" y="T9"/>
                    </a:cxn>
                  </a:cxnLst>
                  <a:rect l="0" t="0" r="r" b="b"/>
                  <a:pathLst>
                    <a:path w="24" h="22">
                      <a:moveTo>
                        <a:pt x="24" y="22"/>
                      </a:moveTo>
                      <a:lnTo>
                        <a:pt x="3" y="0"/>
                      </a:lnTo>
                      <a:lnTo>
                        <a:pt x="0" y="3"/>
                      </a:lnTo>
                      <a:lnTo>
                        <a:pt x="24" y="22"/>
                      </a:lnTo>
                      <a:lnTo>
                        <a:pt x="24" y="22"/>
                      </a:lnTo>
                      <a:close/>
                    </a:path>
                  </a:pathLst>
                </a:custGeom>
                <a:solidFill>
                  <a:srgbClr val="01AAE5"/>
                </a:solidFill>
                <a:ln>
                  <a:noFill/>
                </a:ln>
                <a:extLst/>
              </p:spPr>
              <p:txBody>
                <a:bodyPr/>
                <a:lstStyle/>
                <a:p>
                  <a:pPr eaLnBrk="1" hangingPunct="1">
                    <a:defRPr/>
                  </a:pPr>
                  <a:endParaRPr lang="zh-CN" altLang="en-US" sz="1050"/>
                </a:p>
              </p:txBody>
            </p:sp>
            <p:sp>
              <p:nvSpPr>
                <p:cNvPr id="5031" name="Freeform 1572"/>
                <p:cNvSpPr>
                  <a:spLocks/>
                </p:cNvSpPr>
                <p:nvPr/>
              </p:nvSpPr>
              <p:spPr bwMode="auto">
                <a:xfrm>
                  <a:off x="10348" y="2151"/>
                  <a:ext cx="0" cy="9"/>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5032" name="Freeform 1573"/>
                <p:cNvSpPr>
                  <a:spLocks/>
                </p:cNvSpPr>
                <p:nvPr/>
              </p:nvSpPr>
              <p:spPr bwMode="auto">
                <a:xfrm>
                  <a:off x="10415" y="2046"/>
                  <a:ext cx="25" cy="17"/>
                </a:xfrm>
                <a:custGeom>
                  <a:avLst/>
                  <a:gdLst>
                    <a:gd name="T0" fmla="*/ 17 w 17"/>
                    <a:gd name="T1" fmla="*/ 16 h 16"/>
                    <a:gd name="T2" fmla="*/ 0 w 17"/>
                    <a:gd name="T3" fmla="*/ 0 h 16"/>
                    <a:gd name="T4" fmla="*/ 0 w 17"/>
                    <a:gd name="T5" fmla="*/ 0 h 16"/>
                    <a:gd name="T6" fmla="*/ 14 w 17"/>
                    <a:gd name="T7" fmla="*/ 16 h 16"/>
                    <a:gd name="T8" fmla="*/ 17 w 17"/>
                    <a:gd name="T9" fmla="*/ 16 h 16"/>
                  </a:gdLst>
                  <a:ahLst/>
                  <a:cxnLst>
                    <a:cxn ang="0">
                      <a:pos x="T0" y="T1"/>
                    </a:cxn>
                    <a:cxn ang="0">
                      <a:pos x="T2" y="T3"/>
                    </a:cxn>
                    <a:cxn ang="0">
                      <a:pos x="T4" y="T5"/>
                    </a:cxn>
                    <a:cxn ang="0">
                      <a:pos x="T6" y="T7"/>
                    </a:cxn>
                    <a:cxn ang="0">
                      <a:pos x="T8" y="T9"/>
                    </a:cxn>
                  </a:cxnLst>
                  <a:rect l="0" t="0" r="r" b="b"/>
                  <a:pathLst>
                    <a:path w="17" h="16">
                      <a:moveTo>
                        <a:pt x="17" y="16"/>
                      </a:moveTo>
                      <a:lnTo>
                        <a:pt x="0" y="0"/>
                      </a:lnTo>
                      <a:lnTo>
                        <a:pt x="0" y="0"/>
                      </a:lnTo>
                      <a:lnTo>
                        <a:pt x="14" y="16"/>
                      </a:lnTo>
                      <a:lnTo>
                        <a:pt x="17" y="16"/>
                      </a:lnTo>
                      <a:close/>
                    </a:path>
                  </a:pathLst>
                </a:custGeom>
                <a:solidFill>
                  <a:srgbClr val="01AAE5"/>
                </a:solidFill>
                <a:ln>
                  <a:noFill/>
                </a:ln>
                <a:extLst/>
              </p:spPr>
              <p:txBody>
                <a:bodyPr/>
                <a:lstStyle/>
                <a:p>
                  <a:pPr eaLnBrk="1" hangingPunct="1">
                    <a:defRPr/>
                  </a:pPr>
                  <a:endParaRPr lang="zh-CN" altLang="en-US" sz="1050"/>
                </a:p>
              </p:txBody>
            </p:sp>
            <p:sp>
              <p:nvSpPr>
                <p:cNvPr id="5033" name="Freeform 1574"/>
                <p:cNvSpPr>
                  <a:spLocks/>
                </p:cNvSpPr>
                <p:nvPr/>
              </p:nvSpPr>
              <p:spPr bwMode="auto">
                <a:xfrm>
                  <a:off x="10415" y="2055"/>
                  <a:ext cx="25" cy="9"/>
                </a:xfrm>
                <a:custGeom>
                  <a:avLst/>
                  <a:gdLst>
                    <a:gd name="T0" fmla="*/ 18 w 18"/>
                    <a:gd name="T1" fmla="*/ 17 h 19"/>
                    <a:gd name="T2" fmla="*/ 0 w 18"/>
                    <a:gd name="T3" fmla="*/ 0 h 19"/>
                    <a:gd name="T4" fmla="*/ 0 w 18"/>
                    <a:gd name="T5" fmla="*/ 2 h 19"/>
                    <a:gd name="T6" fmla="*/ 16 w 18"/>
                    <a:gd name="T7" fmla="*/ 19 h 19"/>
                    <a:gd name="T8" fmla="*/ 18 w 18"/>
                    <a:gd name="T9" fmla="*/ 17 h 19"/>
                  </a:gdLst>
                  <a:ahLst/>
                  <a:cxnLst>
                    <a:cxn ang="0">
                      <a:pos x="T0" y="T1"/>
                    </a:cxn>
                    <a:cxn ang="0">
                      <a:pos x="T2" y="T3"/>
                    </a:cxn>
                    <a:cxn ang="0">
                      <a:pos x="T4" y="T5"/>
                    </a:cxn>
                    <a:cxn ang="0">
                      <a:pos x="T6" y="T7"/>
                    </a:cxn>
                    <a:cxn ang="0">
                      <a:pos x="T8" y="T9"/>
                    </a:cxn>
                  </a:cxnLst>
                  <a:rect l="0" t="0" r="r" b="b"/>
                  <a:pathLst>
                    <a:path w="18" h="19">
                      <a:moveTo>
                        <a:pt x="18" y="17"/>
                      </a:moveTo>
                      <a:lnTo>
                        <a:pt x="0" y="0"/>
                      </a:lnTo>
                      <a:lnTo>
                        <a:pt x="0" y="2"/>
                      </a:lnTo>
                      <a:lnTo>
                        <a:pt x="16" y="19"/>
                      </a:lnTo>
                      <a:lnTo>
                        <a:pt x="18" y="17"/>
                      </a:lnTo>
                      <a:close/>
                    </a:path>
                  </a:pathLst>
                </a:custGeom>
                <a:solidFill>
                  <a:srgbClr val="01AAE5"/>
                </a:solidFill>
                <a:ln>
                  <a:noFill/>
                </a:ln>
                <a:extLst/>
              </p:spPr>
              <p:txBody>
                <a:bodyPr/>
                <a:lstStyle/>
                <a:p>
                  <a:pPr eaLnBrk="1" hangingPunct="1">
                    <a:defRPr/>
                  </a:pPr>
                  <a:endParaRPr lang="zh-CN" altLang="en-US" sz="1050"/>
                </a:p>
              </p:txBody>
            </p:sp>
            <p:sp>
              <p:nvSpPr>
                <p:cNvPr id="5034" name="Freeform 1575"/>
                <p:cNvSpPr>
                  <a:spLocks/>
                </p:cNvSpPr>
                <p:nvPr/>
              </p:nvSpPr>
              <p:spPr bwMode="auto">
                <a:xfrm>
                  <a:off x="10465" y="2020"/>
                  <a:ext cx="0"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5035" name="Freeform 1576"/>
                <p:cNvSpPr>
                  <a:spLocks/>
                </p:cNvSpPr>
                <p:nvPr/>
              </p:nvSpPr>
              <p:spPr bwMode="auto">
                <a:xfrm>
                  <a:off x="10415" y="2064"/>
                  <a:ext cx="25" cy="17"/>
                </a:xfrm>
                <a:custGeom>
                  <a:avLst/>
                  <a:gdLst>
                    <a:gd name="T0" fmla="*/ 21 w 21"/>
                    <a:gd name="T1" fmla="*/ 19 h 21"/>
                    <a:gd name="T2" fmla="*/ 0 w 21"/>
                    <a:gd name="T3" fmla="*/ 0 h 21"/>
                    <a:gd name="T4" fmla="*/ 0 w 21"/>
                    <a:gd name="T5" fmla="*/ 0 h 21"/>
                    <a:gd name="T6" fmla="*/ 21 w 21"/>
                    <a:gd name="T7" fmla="*/ 21 h 21"/>
                    <a:gd name="T8" fmla="*/ 21 w 21"/>
                    <a:gd name="T9" fmla="*/ 19 h 21"/>
                  </a:gdLst>
                  <a:ahLst/>
                  <a:cxnLst>
                    <a:cxn ang="0">
                      <a:pos x="T0" y="T1"/>
                    </a:cxn>
                    <a:cxn ang="0">
                      <a:pos x="T2" y="T3"/>
                    </a:cxn>
                    <a:cxn ang="0">
                      <a:pos x="T4" y="T5"/>
                    </a:cxn>
                    <a:cxn ang="0">
                      <a:pos x="T6" y="T7"/>
                    </a:cxn>
                    <a:cxn ang="0">
                      <a:pos x="T8" y="T9"/>
                    </a:cxn>
                  </a:cxnLst>
                  <a:rect l="0" t="0" r="r" b="b"/>
                  <a:pathLst>
                    <a:path w="21" h="21">
                      <a:moveTo>
                        <a:pt x="21" y="19"/>
                      </a:moveTo>
                      <a:lnTo>
                        <a:pt x="0" y="0"/>
                      </a:lnTo>
                      <a:lnTo>
                        <a:pt x="0" y="0"/>
                      </a:lnTo>
                      <a:lnTo>
                        <a:pt x="21" y="21"/>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5036" name="Freeform 1577"/>
                <p:cNvSpPr>
                  <a:spLocks/>
                </p:cNvSpPr>
                <p:nvPr/>
              </p:nvSpPr>
              <p:spPr bwMode="auto">
                <a:xfrm>
                  <a:off x="10390" y="2064"/>
                  <a:ext cx="25" cy="26"/>
                </a:xfrm>
                <a:custGeom>
                  <a:avLst/>
                  <a:gdLst>
                    <a:gd name="T0" fmla="*/ 24 w 24"/>
                    <a:gd name="T1" fmla="*/ 19 h 19"/>
                    <a:gd name="T2" fmla="*/ 3 w 24"/>
                    <a:gd name="T3" fmla="*/ 0 h 19"/>
                    <a:gd name="T4" fmla="*/ 0 w 24"/>
                    <a:gd name="T5" fmla="*/ 0 h 19"/>
                    <a:gd name="T6" fmla="*/ 24 w 24"/>
                    <a:gd name="T7" fmla="*/ 19 h 19"/>
                    <a:gd name="T8" fmla="*/ 24 w 24"/>
                    <a:gd name="T9" fmla="*/ 19 h 19"/>
                  </a:gdLst>
                  <a:ahLst/>
                  <a:cxnLst>
                    <a:cxn ang="0">
                      <a:pos x="T0" y="T1"/>
                    </a:cxn>
                    <a:cxn ang="0">
                      <a:pos x="T2" y="T3"/>
                    </a:cxn>
                    <a:cxn ang="0">
                      <a:pos x="T4" y="T5"/>
                    </a:cxn>
                    <a:cxn ang="0">
                      <a:pos x="T6" y="T7"/>
                    </a:cxn>
                    <a:cxn ang="0">
                      <a:pos x="T8" y="T9"/>
                    </a:cxn>
                  </a:cxnLst>
                  <a:rect l="0" t="0" r="r" b="b"/>
                  <a:pathLst>
                    <a:path w="24" h="19">
                      <a:moveTo>
                        <a:pt x="24" y="19"/>
                      </a:moveTo>
                      <a:lnTo>
                        <a:pt x="3" y="0"/>
                      </a:lnTo>
                      <a:lnTo>
                        <a:pt x="0" y="0"/>
                      </a:lnTo>
                      <a:lnTo>
                        <a:pt x="24" y="19"/>
                      </a:lnTo>
                      <a:lnTo>
                        <a:pt x="24" y="19"/>
                      </a:lnTo>
                      <a:close/>
                    </a:path>
                  </a:pathLst>
                </a:custGeom>
                <a:solidFill>
                  <a:srgbClr val="01AAE5"/>
                </a:solidFill>
                <a:ln>
                  <a:noFill/>
                </a:ln>
                <a:extLst/>
              </p:spPr>
              <p:txBody>
                <a:bodyPr/>
                <a:lstStyle/>
                <a:p>
                  <a:pPr eaLnBrk="1" hangingPunct="1">
                    <a:defRPr/>
                  </a:pPr>
                  <a:endParaRPr lang="zh-CN" altLang="en-US" sz="1050"/>
                </a:p>
              </p:txBody>
            </p:sp>
            <p:sp>
              <p:nvSpPr>
                <p:cNvPr id="5037" name="Freeform 1578"/>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close/>
                    </a:path>
                  </a:pathLst>
                </a:custGeom>
                <a:solidFill>
                  <a:srgbClr val="01AAE5"/>
                </a:solidFill>
                <a:ln>
                  <a:noFill/>
                </a:ln>
                <a:extLst/>
              </p:spPr>
              <p:txBody>
                <a:bodyPr/>
                <a:lstStyle/>
                <a:p>
                  <a:pPr eaLnBrk="1" hangingPunct="1">
                    <a:defRPr/>
                  </a:pPr>
                  <a:endParaRPr lang="zh-CN" altLang="en-US" sz="1050"/>
                </a:p>
              </p:txBody>
            </p:sp>
            <p:sp>
              <p:nvSpPr>
                <p:cNvPr id="5038" name="Freeform 1579"/>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path>
                  </a:pathLst>
                </a:custGeom>
                <a:noFill/>
                <a:ln>
                  <a:noFill/>
                </a:ln>
                <a:extLst/>
              </p:spPr>
              <p:txBody>
                <a:bodyPr/>
                <a:lstStyle/>
                <a:p>
                  <a:pPr eaLnBrk="1" hangingPunct="1">
                    <a:defRPr/>
                  </a:pPr>
                  <a:endParaRPr lang="zh-CN" altLang="en-US" sz="1050"/>
                </a:p>
              </p:txBody>
            </p:sp>
            <p:sp>
              <p:nvSpPr>
                <p:cNvPr id="5039" name="Freeform 1580"/>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close/>
                    </a:path>
                  </a:pathLst>
                </a:custGeom>
                <a:solidFill>
                  <a:srgbClr val="01AAE5"/>
                </a:solidFill>
                <a:ln>
                  <a:noFill/>
                </a:ln>
                <a:extLst/>
              </p:spPr>
              <p:txBody>
                <a:bodyPr/>
                <a:lstStyle/>
                <a:p>
                  <a:pPr eaLnBrk="1" hangingPunct="1">
                    <a:defRPr/>
                  </a:pPr>
                  <a:endParaRPr lang="zh-CN" altLang="en-US" sz="1050"/>
                </a:p>
              </p:txBody>
            </p:sp>
            <p:sp>
              <p:nvSpPr>
                <p:cNvPr id="5040" name="Freeform 1581"/>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path>
                  </a:pathLst>
                </a:custGeom>
                <a:noFill/>
                <a:ln>
                  <a:noFill/>
                </a:ln>
                <a:extLst/>
              </p:spPr>
              <p:txBody>
                <a:bodyPr/>
                <a:lstStyle/>
                <a:p>
                  <a:pPr eaLnBrk="1" hangingPunct="1">
                    <a:defRPr/>
                  </a:pPr>
                  <a:endParaRPr lang="zh-CN" altLang="en-US" sz="1050"/>
                </a:p>
              </p:txBody>
            </p:sp>
            <p:sp>
              <p:nvSpPr>
                <p:cNvPr id="5041" name="Freeform 1582"/>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close/>
                    </a:path>
                  </a:pathLst>
                </a:custGeom>
                <a:solidFill>
                  <a:srgbClr val="01AAE5"/>
                </a:solidFill>
                <a:ln>
                  <a:noFill/>
                </a:ln>
                <a:extLst/>
              </p:spPr>
              <p:txBody>
                <a:bodyPr/>
                <a:lstStyle/>
                <a:p>
                  <a:pPr eaLnBrk="1" hangingPunct="1">
                    <a:defRPr/>
                  </a:pPr>
                  <a:endParaRPr lang="zh-CN" altLang="en-US" sz="1050"/>
                </a:p>
              </p:txBody>
            </p:sp>
            <p:sp>
              <p:nvSpPr>
                <p:cNvPr id="5042" name="Freeform 1583"/>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path>
                  </a:pathLst>
                </a:custGeom>
                <a:noFill/>
                <a:ln>
                  <a:noFill/>
                </a:ln>
                <a:extLst/>
              </p:spPr>
              <p:txBody>
                <a:bodyPr/>
                <a:lstStyle/>
                <a:p>
                  <a:pPr eaLnBrk="1" hangingPunct="1">
                    <a:defRPr/>
                  </a:pPr>
                  <a:endParaRPr lang="zh-CN" altLang="en-US" sz="1050"/>
                </a:p>
              </p:txBody>
            </p:sp>
            <p:sp>
              <p:nvSpPr>
                <p:cNvPr id="5043" name="Freeform 1584"/>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close/>
                    </a:path>
                  </a:pathLst>
                </a:custGeom>
                <a:solidFill>
                  <a:srgbClr val="01AAE5"/>
                </a:solidFill>
                <a:ln>
                  <a:noFill/>
                </a:ln>
                <a:extLst/>
              </p:spPr>
              <p:txBody>
                <a:bodyPr/>
                <a:lstStyle/>
                <a:p>
                  <a:pPr eaLnBrk="1" hangingPunct="1">
                    <a:defRPr/>
                  </a:pPr>
                  <a:endParaRPr lang="zh-CN" altLang="en-US" sz="1050"/>
                </a:p>
              </p:txBody>
            </p:sp>
            <p:sp>
              <p:nvSpPr>
                <p:cNvPr id="5044" name="Freeform 1585"/>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path>
                  </a:pathLst>
                </a:custGeom>
                <a:noFill/>
                <a:ln>
                  <a:noFill/>
                </a:ln>
                <a:extLst/>
              </p:spPr>
              <p:txBody>
                <a:bodyPr/>
                <a:lstStyle/>
                <a:p>
                  <a:pPr eaLnBrk="1" hangingPunct="1">
                    <a:defRPr/>
                  </a:pPr>
                  <a:endParaRPr lang="zh-CN" altLang="en-US" sz="1050"/>
                </a:p>
              </p:txBody>
            </p:sp>
            <p:sp>
              <p:nvSpPr>
                <p:cNvPr id="5045" name="Freeform 1586"/>
                <p:cNvSpPr>
                  <a:spLocks/>
                </p:cNvSpPr>
                <p:nvPr/>
              </p:nvSpPr>
              <p:spPr bwMode="auto">
                <a:xfrm>
                  <a:off x="10848" y="1828"/>
                  <a:ext cx="8" cy="26"/>
                </a:xfrm>
                <a:custGeom>
                  <a:avLst/>
                  <a:gdLst>
                    <a:gd name="T0" fmla="*/ 5 w 5"/>
                    <a:gd name="T1" fmla="*/ 18 h 18"/>
                    <a:gd name="T2" fmla="*/ 3 w 5"/>
                    <a:gd name="T3" fmla="*/ 0 h 18"/>
                    <a:gd name="T4" fmla="*/ 0 w 5"/>
                    <a:gd name="T5" fmla="*/ 0 h 18"/>
                    <a:gd name="T6" fmla="*/ 3 w 5"/>
                    <a:gd name="T7" fmla="*/ 18 h 18"/>
                    <a:gd name="T8" fmla="*/ 5 w 5"/>
                    <a:gd name="T9" fmla="*/ 18 h 18"/>
                  </a:gdLst>
                  <a:ahLst/>
                  <a:cxnLst>
                    <a:cxn ang="0">
                      <a:pos x="T0" y="T1"/>
                    </a:cxn>
                    <a:cxn ang="0">
                      <a:pos x="T2" y="T3"/>
                    </a:cxn>
                    <a:cxn ang="0">
                      <a:pos x="T4" y="T5"/>
                    </a:cxn>
                    <a:cxn ang="0">
                      <a:pos x="T6" y="T7"/>
                    </a:cxn>
                    <a:cxn ang="0">
                      <a:pos x="T8" y="T9"/>
                    </a:cxn>
                  </a:cxnLst>
                  <a:rect l="0" t="0" r="r" b="b"/>
                  <a:pathLst>
                    <a:path w="5" h="18">
                      <a:moveTo>
                        <a:pt x="5" y="18"/>
                      </a:moveTo>
                      <a:lnTo>
                        <a:pt x="3" y="0"/>
                      </a:lnTo>
                      <a:lnTo>
                        <a:pt x="0" y="0"/>
                      </a:lnTo>
                      <a:lnTo>
                        <a:pt x="3" y="18"/>
                      </a:lnTo>
                      <a:lnTo>
                        <a:pt x="5" y="18"/>
                      </a:lnTo>
                      <a:close/>
                    </a:path>
                  </a:pathLst>
                </a:custGeom>
                <a:solidFill>
                  <a:srgbClr val="01AAE5"/>
                </a:solidFill>
                <a:ln>
                  <a:noFill/>
                </a:ln>
                <a:extLst/>
              </p:spPr>
              <p:txBody>
                <a:bodyPr/>
                <a:lstStyle/>
                <a:p>
                  <a:pPr eaLnBrk="1" hangingPunct="1">
                    <a:defRPr/>
                  </a:pPr>
                  <a:endParaRPr lang="zh-CN" altLang="en-US" sz="1050"/>
                </a:p>
              </p:txBody>
            </p:sp>
            <p:sp>
              <p:nvSpPr>
                <p:cNvPr id="5046" name="Freeform 1587"/>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5047" name="Freeform 1588"/>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5048" name="Freeform 1589"/>
                <p:cNvSpPr>
                  <a:spLocks/>
                </p:cNvSpPr>
                <p:nvPr/>
              </p:nvSpPr>
              <p:spPr bwMode="auto">
                <a:xfrm>
                  <a:off x="10856" y="1828"/>
                  <a:ext cx="0" cy="26"/>
                </a:xfrm>
                <a:custGeom>
                  <a:avLst/>
                  <a:gdLst>
                    <a:gd name="T0" fmla="*/ 2 w 2"/>
                    <a:gd name="T1" fmla="*/ 16 h 16"/>
                    <a:gd name="T2" fmla="*/ 0 w 2"/>
                    <a:gd name="T3" fmla="*/ 0 h 16"/>
                    <a:gd name="T4" fmla="*/ 0 w 2"/>
                    <a:gd name="T5" fmla="*/ 0 h 16"/>
                    <a:gd name="T6" fmla="*/ 2 w 2"/>
                    <a:gd name="T7" fmla="*/ 16 h 16"/>
                    <a:gd name="T8" fmla="*/ 2 w 2"/>
                    <a:gd name="T9" fmla="*/ 16 h 16"/>
                  </a:gdLst>
                  <a:ahLst/>
                  <a:cxnLst>
                    <a:cxn ang="0">
                      <a:pos x="T0" y="T1"/>
                    </a:cxn>
                    <a:cxn ang="0">
                      <a:pos x="T2" y="T3"/>
                    </a:cxn>
                    <a:cxn ang="0">
                      <a:pos x="T4" y="T5"/>
                    </a:cxn>
                    <a:cxn ang="0">
                      <a:pos x="T6" y="T7"/>
                    </a:cxn>
                    <a:cxn ang="0">
                      <a:pos x="T8" y="T9"/>
                    </a:cxn>
                  </a:cxnLst>
                  <a:rect l="0" t="0" r="r" b="b"/>
                  <a:pathLst>
                    <a:path w="2" h="16">
                      <a:moveTo>
                        <a:pt x="2" y="16"/>
                      </a:moveTo>
                      <a:lnTo>
                        <a:pt x="0" y="0"/>
                      </a:lnTo>
                      <a:lnTo>
                        <a:pt x="0" y="0"/>
                      </a:lnTo>
                      <a:lnTo>
                        <a:pt x="2"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5049" name="Freeform 1590"/>
                <p:cNvSpPr>
                  <a:spLocks/>
                </p:cNvSpPr>
                <p:nvPr/>
              </p:nvSpPr>
              <p:spPr bwMode="auto">
                <a:xfrm>
                  <a:off x="10856" y="1828"/>
                  <a:ext cx="0" cy="26"/>
                </a:xfrm>
                <a:custGeom>
                  <a:avLst/>
                  <a:gdLst>
                    <a:gd name="T0" fmla="*/ 3 w 3"/>
                    <a:gd name="T1" fmla="*/ 16 h 16"/>
                    <a:gd name="T2" fmla="*/ 0 w 3"/>
                    <a:gd name="T3" fmla="*/ 0 h 16"/>
                    <a:gd name="T4" fmla="*/ 0 w 3"/>
                    <a:gd name="T5" fmla="*/ 0 h 16"/>
                    <a:gd name="T6" fmla="*/ 3 w 3"/>
                    <a:gd name="T7" fmla="*/ 16 h 16"/>
                    <a:gd name="T8" fmla="*/ 3 w 3"/>
                    <a:gd name="T9" fmla="*/ 16 h 16"/>
                  </a:gdLst>
                  <a:ahLst/>
                  <a:cxnLst>
                    <a:cxn ang="0">
                      <a:pos x="T0" y="T1"/>
                    </a:cxn>
                    <a:cxn ang="0">
                      <a:pos x="T2" y="T3"/>
                    </a:cxn>
                    <a:cxn ang="0">
                      <a:pos x="T4" y="T5"/>
                    </a:cxn>
                    <a:cxn ang="0">
                      <a:pos x="T6" y="T7"/>
                    </a:cxn>
                    <a:cxn ang="0">
                      <a:pos x="T8" y="T9"/>
                    </a:cxn>
                  </a:cxnLst>
                  <a:rect l="0" t="0" r="r" b="b"/>
                  <a:pathLst>
                    <a:path w="3" h="16">
                      <a:moveTo>
                        <a:pt x="3" y="16"/>
                      </a:moveTo>
                      <a:lnTo>
                        <a:pt x="0" y="0"/>
                      </a:lnTo>
                      <a:lnTo>
                        <a:pt x="0" y="0"/>
                      </a:lnTo>
                      <a:lnTo>
                        <a:pt x="3" y="16"/>
                      </a:lnTo>
                      <a:lnTo>
                        <a:pt x="3" y="16"/>
                      </a:lnTo>
                      <a:close/>
                    </a:path>
                  </a:pathLst>
                </a:custGeom>
                <a:solidFill>
                  <a:srgbClr val="01AAE5"/>
                </a:solidFill>
                <a:ln>
                  <a:noFill/>
                </a:ln>
                <a:extLst/>
              </p:spPr>
              <p:txBody>
                <a:bodyPr/>
                <a:lstStyle/>
                <a:p>
                  <a:pPr eaLnBrk="1" hangingPunct="1">
                    <a:defRPr/>
                  </a:pPr>
                  <a:endParaRPr lang="zh-CN" altLang="en-US" sz="1050"/>
                </a:p>
              </p:txBody>
            </p:sp>
            <p:sp>
              <p:nvSpPr>
                <p:cNvPr id="5050" name="Freeform 1591"/>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5051" name="Freeform 1592"/>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5052" name="Freeform 1593"/>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5053" name="Freeform 1594"/>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5054" name="Freeform 1595"/>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close/>
                    </a:path>
                  </a:pathLst>
                </a:custGeom>
                <a:solidFill>
                  <a:srgbClr val="01AAE5"/>
                </a:solidFill>
                <a:ln>
                  <a:noFill/>
                </a:ln>
                <a:extLst/>
              </p:spPr>
              <p:txBody>
                <a:bodyPr/>
                <a:lstStyle/>
                <a:p>
                  <a:pPr eaLnBrk="1" hangingPunct="1">
                    <a:defRPr/>
                  </a:pPr>
                  <a:endParaRPr lang="zh-CN" altLang="en-US" sz="1050"/>
                </a:p>
              </p:txBody>
            </p:sp>
            <p:sp>
              <p:nvSpPr>
                <p:cNvPr id="5055" name="Freeform 1596"/>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path>
                  </a:pathLst>
                </a:custGeom>
                <a:noFill/>
                <a:ln>
                  <a:noFill/>
                </a:ln>
                <a:extLst/>
              </p:spPr>
              <p:txBody>
                <a:bodyPr/>
                <a:lstStyle/>
                <a:p>
                  <a:pPr eaLnBrk="1" hangingPunct="1">
                    <a:defRPr/>
                  </a:pPr>
                  <a:endParaRPr lang="zh-CN" altLang="en-US" sz="1050"/>
                </a:p>
              </p:txBody>
            </p:sp>
            <p:sp>
              <p:nvSpPr>
                <p:cNvPr id="5056" name="Freeform 1597"/>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close/>
                    </a:path>
                  </a:pathLst>
                </a:custGeom>
                <a:solidFill>
                  <a:srgbClr val="01AAE5"/>
                </a:solidFill>
                <a:ln>
                  <a:noFill/>
                </a:ln>
                <a:extLst/>
              </p:spPr>
              <p:txBody>
                <a:bodyPr/>
                <a:lstStyle/>
                <a:p>
                  <a:pPr eaLnBrk="1" hangingPunct="1">
                    <a:defRPr/>
                  </a:pPr>
                  <a:endParaRPr lang="zh-CN" altLang="en-US" sz="1050"/>
                </a:p>
              </p:txBody>
            </p:sp>
            <p:sp>
              <p:nvSpPr>
                <p:cNvPr id="5057" name="Freeform 1598"/>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path>
                  </a:pathLst>
                </a:custGeom>
                <a:noFill/>
                <a:ln>
                  <a:noFill/>
                </a:ln>
                <a:extLst/>
              </p:spPr>
              <p:txBody>
                <a:bodyPr/>
                <a:lstStyle/>
                <a:p>
                  <a:pPr eaLnBrk="1" hangingPunct="1">
                    <a:defRPr/>
                  </a:pPr>
                  <a:endParaRPr lang="zh-CN" altLang="en-US" sz="1050"/>
                </a:p>
              </p:txBody>
            </p:sp>
            <p:sp>
              <p:nvSpPr>
                <p:cNvPr id="5058" name="Freeform 1599"/>
                <p:cNvSpPr>
                  <a:spLocks/>
                </p:cNvSpPr>
                <p:nvPr/>
              </p:nvSpPr>
              <p:spPr bwMode="auto">
                <a:xfrm>
                  <a:off x="10864" y="1828"/>
                  <a:ext cx="0" cy="26"/>
                </a:xfrm>
                <a:custGeom>
                  <a:avLst/>
                  <a:gdLst>
                    <a:gd name="T0" fmla="*/ 2 w 2"/>
                    <a:gd name="T1" fmla="*/ 14 h 14"/>
                    <a:gd name="T2" fmla="*/ 2 w 2"/>
                    <a:gd name="T3" fmla="*/ 0 h 14"/>
                    <a:gd name="T4" fmla="*/ 0 w 2"/>
                    <a:gd name="T5" fmla="*/ 0 h 14"/>
                    <a:gd name="T6" fmla="*/ 2 w 2"/>
                    <a:gd name="T7" fmla="*/ 14 h 14"/>
                    <a:gd name="T8" fmla="*/ 2 w 2"/>
                    <a:gd name="T9" fmla="*/ 14 h 14"/>
                  </a:gdLst>
                  <a:ahLst/>
                  <a:cxnLst>
                    <a:cxn ang="0">
                      <a:pos x="T0" y="T1"/>
                    </a:cxn>
                    <a:cxn ang="0">
                      <a:pos x="T2" y="T3"/>
                    </a:cxn>
                    <a:cxn ang="0">
                      <a:pos x="T4" y="T5"/>
                    </a:cxn>
                    <a:cxn ang="0">
                      <a:pos x="T6" y="T7"/>
                    </a:cxn>
                    <a:cxn ang="0">
                      <a:pos x="T8" y="T9"/>
                    </a:cxn>
                  </a:cxnLst>
                  <a:rect l="0" t="0" r="r" b="b"/>
                  <a:pathLst>
                    <a:path w="2" h="14">
                      <a:moveTo>
                        <a:pt x="2" y="14"/>
                      </a:moveTo>
                      <a:lnTo>
                        <a:pt x="2" y="0"/>
                      </a:lnTo>
                      <a:lnTo>
                        <a:pt x="0" y="0"/>
                      </a:lnTo>
                      <a:lnTo>
                        <a:pt x="2"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5059" name="Freeform 1600"/>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5060" name="Freeform 1601"/>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path>
                  </a:pathLst>
                </a:custGeom>
                <a:noFill/>
                <a:ln>
                  <a:noFill/>
                </a:ln>
                <a:extLst/>
              </p:spPr>
              <p:txBody>
                <a:bodyPr/>
                <a:lstStyle/>
                <a:p>
                  <a:pPr eaLnBrk="1" hangingPunct="1">
                    <a:defRPr/>
                  </a:pPr>
                  <a:endParaRPr lang="zh-CN" altLang="en-US" sz="1050"/>
                </a:p>
              </p:txBody>
            </p:sp>
            <p:sp>
              <p:nvSpPr>
                <p:cNvPr id="5061" name="Freeform 1602"/>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5062" name="Freeform 1603"/>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path>
                  </a:pathLst>
                </a:custGeom>
                <a:noFill/>
                <a:ln>
                  <a:noFill/>
                </a:ln>
                <a:extLst/>
              </p:spPr>
              <p:txBody>
                <a:bodyPr/>
                <a:lstStyle/>
                <a:p>
                  <a:pPr eaLnBrk="1" hangingPunct="1">
                    <a:defRPr/>
                  </a:pPr>
                  <a:endParaRPr lang="zh-CN" altLang="en-US" sz="1050"/>
                </a:p>
              </p:txBody>
            </p:sp>
            <p:sp>
              <p:nvSpPr>
                <p:cNvPr id="5063" name="Freeform 1604"/>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close/>
                    </a:path>
                  </a:pathLst>
                </a:custGeom>
                <a:solidFill>
                  <a:srgbClr val="01AAE5"/>
                </a:solidFill>
                <a:ln>
                  <a:noFill/>
                </a:ln>
                <a:extLst/>
              </p:spPr>
              <p:txBody>
                <a:bodyPr/>
                <a:lstStyle/>
                <a:p>
                  <a:pPr eaLnBrk="1" hangingPunct="1">
                    <a:defRPr/>
                  </a:pPr>
                  <a:endParaRPr lang="zh-CN" altLang="en-US" sz="1050"/>
                </a:p>
              </p:txBody>
            </p:sp>
            <p:sp>
              <p:nvSpPr>
                <p:cNvPr id="5064" name="Freeform 1605"/>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path>
                  </a:pathLst>
                </a:custGeom>
                <a:noFill/>
                <a:ln>
                  <a:noFill/>
                </a:ln>
                <a:extLst/>
              </p:spPr>
              <p:txBody>
                <a:bodyPr/>
                <a:lstStyle/>
                <a:p>
                  <a:pPr eaLnBrk="1" hangingPunct="1">
                    <a:defRPr/>
                  </a:pPr>
                  <a:endParaRPr lang="zh-CN" altLang="en-US" sz="1050"/>
                </a:p>
              </p:txBody>
            </p:sp>
            <p:sp>
              <p:nvSpPr>
                <p:cNvPr id="5065" name="Freeform 1606"/>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close/>
                    </a:path>
                  </a:pathLst>
                </a:custGeom>
                <a:solidFill>
                  <a:srgbClr val="01AAE5"/>
                </a:solidFill>
                <a:ln>
                  <a:noFill/>
                </a:ln>
                <a:extLst/>
              </p:spPr>
              <p:txBody>
                <a:bodyPr/>
                <a:lstStyle/>
                <a:p>
                  <a:pPr eaLnBrk="1" hangingPunct="1">
                    <a:defRPr/>
                  </a:pPr>
                  <a:endParaRPr lang="zh-CN" altLang="en-US" sz="1050"/>
                </a:p>
              </p:txBody>
            </p:sp>
            <p:sp>
              <p:nvSpPr>
                <p:cNvPr id="5066" name="Freeform 1607"/>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path>
                  </a:pathLst>
                </a:custGeom>
                <a:noFill/>
                <a:ln>
                  <a:noFill/>
                </a:ln>
                <a:extLst/>
              </p:spPr>
              <p:txBody>
                <a:bodyPr/>
                <a:lstStyle/>
                <a:p>
                  <a:pPr eaLnBrk="1" hangingPunct="1">
                    <a:defRPr/>
                  </a:pPr>
                  <a:endParaRPr lang="zh-CN" altLang="en-US" sz="1050"/>
                </a:p>
              </p:txBody>
            </p:sp>
            <p:sp>
              <p:nvSpPr>
                <p:cNvPr id="5067" name="Freeform 1608"/>
                <p:cNvSpPr>
                  <a:spLocks/>
                </p:cNvSpPr>
                <p:nvPr/>
              </p:nvSpPr>
              <p:spPr bwMode="auto">
                <a:xfrm>
                  <a:off x="10914" y="1828"/>
                  <a:ext cx="0" cy="9"/>
                </a:xfrm>
                <a:custGeom>
                  <a:avLst/>
                  <a:gdLst>
                    <a:gd name="T0" fmla="*/ 2 w 2"/>
                    <a:gd name="T1" fmla="*/ 7 h 7"/>
                    <a:gd name="T2" fmla="*/ 0 w 2"/>
                    <a:gd name="T3" fmla="*/ 0 h 7"/>
                    <a:gd name="T4" fmla="*/ 0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0" y="0"/>
                      </a:lnTo>
                      <a:lnTo>
                        <a:pt x="0"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5068" name="Freeform 1609"/>
                <p:cNvSpPr>
                  <a:spLocks/>
                </p:cNvSpPr>
                <p:nvPr/>
              </p:nvSpPr>
              <p:spPr bwMode="auto">
                <a:xfrm>
                  <a:off x="10864" y="1828"/>
                  <a:ext cx="8" cy="26"/>
                </a:xfrm>
                <a:custGeom>
                  <a:avLst/>
                  <a:gdLst>
                    <a:gd name="T0" fmla="*/ 2 w 2"/>
                    <a:gd name="T1" fmla="*/ 11 h 14"/>
                    <a:gd name="T2" fmla="*/ 2 w 2"/>
                    <a:gd name="T3" fmla="*/ 0 h 14"/>
                    <a:gd name="T4" fmla="*/ 0 w 2"/>
                    <a:gd name="T5" fmla="*/ 0 h 14"/>
                    <a:gd name="T6" fmla="*/ 2 w 2"/>
                    <a:gd name="T7" fmla="*/ 14 h 14"/>
                    <a:gd name="T8" fmla="*/ 2 w 2"/>
                    <a:gd name="T9" fmla="*/ 11 h 14"/>
                  </a:gdLst>
                  <a:ahLst/>
                  <a:cxnLst>
                    <a:cxn ang="0">
                      <a:pos x="T0" y="T1"/>
                    </a:cxn>
                    <a:cxn ang="0">
                      <a:pos x="T2" y="T3"/>
                    </a:cxn>
                    <a:cxn ang="0">
                      <a:pos x="T4" y="T5"/>
                    </a:cxn>
                    <a:cxn ang="0">
                      <a:pos x="T6" y="T7"/>
                    </a:cxn>
                    <a:cxn ang="0">
                      <a:pos x="T8" y="T9"/>
                    </a:cxn>
                  </a:cxnLst>
                  <a:rect l="0" t="0" r="r" b="b"/>
                  <a:pathLst>
                    <a:path w="2" h="14">
                      <a:moveTo>
                        <a:pt x="2" y="11"/>
                      </a:moveTo>
                      <a:lnTo>
                        <a:pt x="2" y="0"/>
                      </a:lnTo>
                      <a:lnTo>
                        <a:pt x="0" y="0"/>
                      </a:lnTo>
                      <a:lnTo>
                        <a:pt x="2" y="14"/>
                      </a:lnTo>
                      <a:lnTo>
                        <a:pt x="2" y="11"/>
                      </a:lnTo>
                      <a:close/>
                    </a:path>
                  </a:pathLst>
                </a:custGeom>
                <a:solidFill>
                  <a:srgbClr val="01AAE5"/>
                </a:solidFill>
                <a:ln>
                  <a:noFill/>
                </a:ln>
                <a:extLst/>
              </p:spPr>
              <p:txBody>
                <a:bodyPr/>
                <a:lstStyle/>
                <a:p>
                  <a:pPr eaLnBrk="1" hangingPunct="1">
                    <a:defRPr/>
                  </a:pPr>
                  <a:endParaRPr lang="zh-CN" altLang="en-US" sz="1050"/>
                </a:p>
              </p:txBody>
            </p:sp>
            <p:sp>
              <p:nvSpPr>
                <p:cNvPr id="5069" name="Rectangle 1610"/>
                <p:cNvSpPr>
                  <a:spLocks noChangeArrowheads="1"/>
                </p:cNvSpPr>
                <p:nvPr/>
              </p:nvSpPr>
              <p:spPr bwMode="auto">
                <a:xfrm>
                  <a:off x="10922" y="1828"/>
                  <a:ext cx="8" cy="9"/>
                </a:xfrm>
                <a:prstGeom prst="rect">
                  <a:avLst/>
                </a:prstGeom>
                <a:solidFill>
                  <a:srgbClr val="01AAE5"/>
                </a:solidFill>
                <a:ln>
                  <a:noFill/>
                </a:ln>
                <a:extLst/>
              </p:spPr>
              <p:txBody>
                <a:bodyPr/>
                <a:lstStyle/>
                <a:p>
                  <a:pPr eaLnBrk="1" hangingPunct="1">
                    <a:defRPr/>
                  </a:pPr>
                  <a:endParaRPr lang="zh-CN" altLang="en-US" sz="1050"/>
                </a:p>
              </p:txBody>
            </p:sp>
            <p:sp>
              <p:nvSpPr>
                <p:cNvPr id="5070" name="Freeform 1611"/>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5071" name="Freeform 1612"/>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5072" name="Rectangle 1613"/>
                <p:cNvSpPr>
                  <a:spLocks noChangeArrowheads="1"/>
                </p:cNvSpPr>
                <p:nvPr/>
              </p:nvSpPr>
              <p:spPr bwMode="auto">
                <a:xfrm>
                  <a:off x="10931" y="1828"/>
                  <a:ext cx="0" cy="9"/>
                </a:xfrm>
                <a:prstGeom prst="rect">
                  <a:avLst/>
                </a:prstGeom>
                <a:solidFill>
                  <a:srgbClr val="01AAE5"/>
                </a:solidFill>
                <a:ln>
                  <a:noFill/>
                </a:ln>
                <a:extLst/>
              </p:spPr>
              <p:txBody>
                <a:bodyPr/>
                <a:lstStyle/>
                <a:p>
                  <a:pPr eaLnBrk="1" hangingPunct="1">
                    <a:defRPr/>
                  </a:pPr>
                  <a:endParaRPr lang="zh-CN" altLang="en-US" sz="1050"/>
                </a:p>
              </p:txBody>
            </p:sp>
            <p:sp>
              <p:nvSpPr>
                <p:cNvPr id="5073" name="Rectangle 1614"/>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5074" name="Freeform 1615"/>
                <p:cNvSpPr>
                  <a:spLocks/>
                </p:cNvSpPr>
                <p:nvPr/>
              </p:nvSpPr>
              <p:spPr bwMode="auto">
                <a:xfrm>
                  <a:off x="10249" y="2325"/>
                  <a:ext cx="75" cy="17"/>
                </a:xfrm>
                <a:custGeom>
                  <a:avLst/>
                  <a:gdLst>
                    <a:gd name="T0" fmla="*/ 71 w 71"/>
                    <a:gd name="T1" fmla="*/ 21 h 23"/>
                    <a:gd name="T2" fmla="*/ 71 w 71"/>
                    <a:gd name="T3" fmla="*/ 21 h 23"/>
                    <a:gd name="T4" fmla="*/ 0 w 71"/>
                    <a:gd name="T5" fmla="*/ 0 h 23"/>
                    <a:gd name="T6" fmla="*/ 0 w 71"/>
                    <a:gd name="T7" fmla="*/ 0 h 23"/>
                    <a:gd name="T8" fmla="*/ 71 w 71"/>
                    <a:gd name="T9" fmla="*/ 23 h 23"/>
                    <a:gd name="T10" fmla="*/ 71 w 71"/>
                    <a:gd name="T11" fmla="*/ 21 h 23"/>
                  </a:gdLst>
                  <a:ahLst/>
                  <a:cxnLst>
                    <a:cxn ang="0">
                      <a:pos x="T0" y="T1"/>
                    </a:cxn>
                    <a:cxn ang="0">
                      <a:pos x="T2" y="T3"/>
                    </a:cxn>
                    <a:cxn ang="0">
                      <a:pos x="T4" y="T5"/>
                    </a:cxn>
                    <a:cxn ang="0">
                      <a:pos x="T6" y="T7"/>
                    </a:cxn>
                    <a:cxn ang="0">
                      <a:pos x="T8" y="T9"/>
                    </a:cxn>
                    <a:cxn ang="0">
                      <a:pos x="T10" y="T11"/>
                    </a:cxn>
                  </a:cxnLst>
                  <a:rect l="0" t="0" r="r" b="b"/>
                  <a:pathLst>
                    <a:path w="71" h="23">
                      <a:moveTo>
                        <a:pt x="71" y="21"/>
                      </a:moveTo>
                      <a:lnTo>
                        <a:pt x="71" y="21"/>
                      </a:lnTo>
                      <a:lnTo>
                        <a:pt x="0" y="0"/>
                      </a:lnTo>
                      <a:lnTo>
                        <a:pt x="0" y="0"/>
                      </a:lnTo>
                      <a:lnTo>
                        <a:pt x="71"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5075" name="Rectangle 1616"/>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5076" name="Rectangle 1617"/>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5077" name="Freeform 1618"/>
                <p:cNvSpPr>
                  <a:spLocks/>
                </p:cNvSpPr>
                <p:nvPr/>
              </p:nvSpPr>
              <p:spPr bwMode="auto">
                <a:xfrm>
                  <a:off x="10922" y="1828"/>
                  <a:ext cx="0" cy="9"/>
                </a:xfrm>
                <a:custGeom>
                  <a:avLst/>
                  <a:gdLst>
                    <a:gd name="T0" fmla="*/ 2 w 2"/>
                    <a:gd name="T1" fmla="*/ 10 h 10"/>
                    <a:gd name="T2" fmla="*/ 2 w 2"/>
                    <a:gd name="T3" fmla="*/ 0 h 10"/>
                    <a:gd name="T4" fmla="*/ 0 w 2"/>
                    <a:gd name="T5" fmla="*/ 3 h 10"/>
                    <a:gd name="T6" fmla="*/ 0 w 2"/>
                    <a:gd name="T7" fmla="*/ 1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0"/>
                      </a:lnTo>
                      <a:lnTo>
                        <a:pt x="0" y="3"/>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5078" name="Freeform 1619"/>
                <p:cNvSpPr>
                  <a:spLocks/>
                </p:cNvSpPr>
                <p:nvPr/>
              </p:nvSpPr>
              <p:spPr bwMode="auto">
                <a:xfrm>
                  <a:off x="10881" y="1828"/>
                  <a:ext cx="0" cy="17"/>
                </a:xfrm>
                <a:custGeom>
                  <a:avLst/>
                  <a:gdLst>
                    <a:gd name="T0" fmla="*/ 3 w 3"/>
                    <a:gd name="T1" fmla="*/ 9 h 11"/>
                    <a:gd name="T2" fmla="*/ 0 w 3"/>
                    <a:gd name="T3" fmla="*/ 0 h 11"/>
                    <a:gd name="T4" fmla="*/ 0 w 3"/>
                    <a:gd name="T5" fmla="*/ 0 h 11"/>
                    <a:gd name="T6" fmla="*/ 0 w 3"/>
                    <a:gd name="T7" fmla="*/ 11 h 11"/>
                    <a:gd name="T8" fmla="*/ 3 w 3"/>
                    <a:gd name="T9" fmla="*/ 9 h 11"/>
                  </a:gdLst>
                  <a:ahLst/>
                  <a:cxnLst>
                    <a:cxn ang="0">
                      <a:pos x="T0" y="T1"/>
                    </a:cxn>
                    <a:cxn ang="0">
                      <a:pos x="T2" y="T3"/>
                    </a:cxn>
                    <a:cxn ang="0">
                      <a:pos x="T4" y="T5"/>
                    </a:cxn>
                    <a:cxn ang="0">
                      <a:pos x="T6" y="T7"/>
                    </a:cxn>
                    <a:cxn ang="0">
                      <a:pos x="T8" y="T9"/>
                    </a:cxn>
                  </a:cxnLst>
                  <a:rect l="0" t="0" r="r" b="b"/>
                  <a:pathLst>
                    <a:path w="3" h="11">
                      <a:moveTo>
                        <a:pt x="3" y="9"/>
                      </a:moveTo>
                      <a:lnTo>
                        <a:pt x="0" y="0"/>
                      </a:lnTo>
                      <a:lnTo>
                        <a:pt x="0" y="0"/>
                      </a:lnTo>
                      <a:lnTo>
                        <a:pt x="0" y="11"/>
                      </a:lnTo>
                      <a:lnTo>
                        <a:pt x="3" y="9"/>
                      </a:lnTo>
                      <a:close/>
                    </a:path>
                  </a:pathLst>
                </a:custGeom>
                <a:solidFill>
                  <a:srgbClr val="01AAE5"/>
                </a:solidFill>
                <a:ln>
                  <a:noFill/>
                </a:ln>
                <a:extLst/>
              </p:spPr>
              <p:txBody>
                <a:bodyPr/>
                <a:lstStyle/>
                <a:p>
                  <a:pPr eaLnBrk="1" hangingPunct="1">
                    <a:defRPr/>
                  </a:pPr>
                  <a:endParaRPr lang="zh-CN" altLang="en-US" sz="1050"/>
                </a:p>
              </p:txBody>
            </p:sp>
            <p:sp>
              <p:nvSpPr>
                <p:cNvPr id="5079" name="Rectangle 1620"/>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5080" name="Freeform 1621"/>
                <p:cNvSpPr>
                  <a:spLocks/>
                </p:cNvSpPr>
                <p:nvPr/>
              </p:nvSpPr>
              <p:spPr bwMode="auto">
                <a:xfrm>
                  <a:off x="10873" y="1828"/>
                  <a:ext cx="8" cy="17"/>
                </a:xfrm>
                <a:custGeom>
                  <a:avLst/>
                  <a:gdLst>
                    <a:gd name="T0" fmla="*/ 3 w 3"/>
                    <a:gd name="T1" fmla="*/ 11 h 11"/>
                    <a:gd name="T2" fmla="*/ 3 w 3"/>
                    <a:gd name="T3" fmla="*/ 0 h 11"/>
                    <a:gd name="T4" fmla="*/ 0 w 3"/>
                    <a:gd name="T5" fmla="*/ 0 h 11"/>
                    <a:gd name="T6" fmla="*/ 3 w 3"/>
                    <a:gd name="T7" fmla="*/ 11 h 11"/>
                    <a:gd name="T8" fmla="*/ 3 w 3"/>
                    <a:gd name="T9" fmla="*/ 11 h 11"/>
                  </a:gdLst>
                  <a:ahLst/>
                  <a:cxnLst>
                    <a:cxn ang="0">
                      <a:pos x="T0" y="T1"/>
                    </a:cxn>
                    <a:cxn ang="0">
                      <a:pos x="T2" y="T3"/>
                    </a:cxn>
                    <a:cxn ang="0">
                      <a:pos x="T4" y="T5"/>
                    </a:cxn>
                    <a:cxn ang="0">
                      <a:pos x="T6" y="T7"/>
                    </a:cxn>
                    <a:cxn ang="0">
                      <a:pos x="T8" y="T9"/>
                    </a:cxn>
                  </a:cxnLst>
                  <a:rect l="0" t="0" r="r" b="b"/>
                  <a:pathLst>
                    <a:path w="3" h="11">
                      <a:moveTo>
                        <a:pt x="3" y="11"/>
                      </a:moveTo>
                      <a:lnTo>
                        <a:pt x="3" y="0"/>
                      </a:lnTo>
                      <a:lnTo>
                        <a:pt x="0" y="0"/>
                      </a:lnTo>
                      <a:lnTo>
                        <a:pt x="3" y="11"/>
                      </a:lnTo>
                      <a:lnTo>
                        <a:pt x="3" y="11"/>
                      </a:lnTo>
                      <a:close/>
                    </a:path>
                  </a:pathLst>
                </a:custGeom>
                <a:solidFill>
                  <a:srgbClr val="01AAE5"/>
                </a:solidFill>
                <a:ln>
                  <a:noFill/>
                </a:ln>
                <a:extLst/>
              </p:spPr>
              <p:txBody>
                <a:bodyPr/>
                <a:lstStyle/>
                <a:p>
                  <a:pPr eaLnBrk="1" hangingPunct="1">
                    <a:defRPr/>
                  </a:pPr>
                  <a:endParaRPr lang="zh-CN" altLang="en-US" sz="1050"/>
                </a:p>
              </p:txBody>
            </p:sp>
            <p:sp>
              <p:nvSpPr>
                <p:cNvPr id="5081" name="Freeform 1622"/>
                <p:cNvSpPr>
                  <a:spLocks/>
                </p:cNvSpPr>
                <p:nvPr/>
              </p:nvSpPr>
              <p:spPr bwMode="auto">
                <a:xfrm>
                  <a:off x="10881" y="1828"/>
                  <a:ext cx="0" cy="17"/>
                </a:xfrm>
                <a:custGeom>
                  <a:avLst/>
                  <a:gdLst>
                    <a:gd name="T0" fmla="*/ 2 w 2"/>
                    <a:gd name="T1" fmla="*/ 9 h 9"/>
                    <a:gd name="T2" fmla="*/ 0 w 2"/>
                    <a:gd name="T3" fmla="*/ 0 h 9"/>
                    <a:gd name="T4" fmla="*/ 0 w 2"/>
                    <a:gd name="T5" fmla="*/ 0 h 9"/>
                    <a:gd name="T6" fmla="*/ 0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0"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5082" name="Freeform 1623"/>
                <p:cNvSpPr>
                  <a:spLocks/>
                </p:cNvSpPr>
                <p:nvPr/>
              </p:nvSpPr>
              <p:spPr bwMode="auto">
                <a:xfrm>
                  <a:off x="10897" y="1828"/>
                  <a:ext cx="8" cy="17"/>
                </a:xfrm>
                <a:custGeom>
                  <a:avLst/>
                  <a:gdLst>
                    <a:gd name="T0" fmla="*/ 3 w 3"/>
                    <a:gd name="T1" fmla="*/ 9 h 9"/>
                    <a:gd name="T2" fmla="*/ 3 w 3"/>
                    <a:gd name="T3" fmla="*/ 0 h 9"/>
                    <a:gd name="T4" fmla="*/ 0 w 3"/>
                    <a:gd name="T5" fmla="*/ 0 h 9"/>
                    <a:gd name="T6" fmla="*/ 3 w 3"/>
                    <a:gd name="T7" fmla="*/ 9 h 9"/>
                    <a:gd name="T8" fmla="*/ 3 w 3"/>
                    <a:gd name="T9" fmla="*/ 9 h 9"/>
                  </a:gdLst>
                  <a:ahLst/>
                  <a:cxnLst>
                    <a:cxn ang="0">
                      <a:pos x="T0" y="T1"/>
                    </a:cxn>
                    <a:cxn ang="0">
                      <a:pos x="T2" y="T3"/>
                    </a:cxn>
                    <a:cxn ang="0">
                      <a:pos x="T4" y="T5"/>
                    </a:cxn>
                    <a:cxn ang="0">
                      <a:pos x="T6" y="T7"/>
                    </a:cxn>
                    <a:cxn ang="0">
                      <a:pos x="T8" y="T9"/>
                    </a:cxn>
                  </a:cxnLst>
                  <a:rect l="0" t="0" r="r" b="b"/>
                  <a:pathLst>
                    <a:path w="3" h="9">
                      <a:moveTo>
                        <a:pt x="3" y="9"/>
                      </a:moveTo>
                      <a:lnTo>
                        <a:pt x="3" y="0"/>
                      </a:lnTo>
                      <a:lnTo>
                        <a:pt x="0" y="0"/>
                      </a:lnTo>
                      <a:lnTo>
                        <a:pt x="3"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5083" name="Rectangle 1624"/>
                <p:cNvSpPr>
                  <a:spLocks noChangeArrowheads="1"/>
                </p:cNvSpPr>
                <p:nvPr/>
              </p:nvSpPr>
              <p:spPr bwMode="auto">
                <a:xfrm>
                  <a:off x="10889"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5084" name="Rectangle 1625"/>
                <p:cNvSpPr>
                  <a:spLocks noChangeArrowheads="1"/>
                </p:cNvSpPr>
                <p:nvPr/>
              </p:nvSpPr>
              <p:spPr bwMode="auto">
                <a:xfrm>
                  <a:off x="10897"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5085" name="Freeform 1626"/>
                <p:cNvSpPr>
                  <a:spLocks/>
                </p:cNvSpPr>
                <p:nvPr/>
              </p:nvSpPr>
              <p:spPr bwMode="auto">
                <a:xfrm>
                  <a:off x="10739" y="1855"/>
                  <a:ext cx="0" cy="17"/>
                </a:xfrm>
                <a:custGeom>
                  <a:avLst/>
                  <a:gdLst>
                    <a:gd name="T0" fmla="*/ 4 w 4"/>
                    <a:gd name="T1" fmla="*/ 11 h 11"/>
                    <a:gd name="T2" fmla="*/ 0 w 4"/>
                    <a:gd name="T3" fmla="*/ 0 h 11"/>
                    <a:gd name="T4" fmla="*/ 0 w 4"/>
                    <a:gd name="T5" fmla="*/ 0 h 11"/>
                    <a:gd name="T6" fmla="*/ 2 w 4"/>
                    <a:gd name="T7" fmla="*/ 11 h 11"/>
                    <a:gd name="T8" fmla="*/ 4 w 4"/>
                    <a:gd name="T9" fmla="*/ 11 h 11"/>
                  </a:gdLst>
                  <a:ahLst/>
                  <a:cxnLst>
                    <a:cxn ang="0">
                      <a:pos x="T0" y="T1"/>
                    </a:cxn>
                    <a:cxn ang="0">
                      <a:pos x="T2" y="T3"/>
                    </a:cxn>
                    <a:cxn ang="0">
                      <a:pos x="T4" y="T5"/>
                    </a:cxn>
                    <a:cxn ang="0">
                      <a:pos x="T6" y="T7"/>
                    </a:cxn>
                    <a:cxn ang="0">
                      <a:pos x="T8" y="T9"/>
                    </a:cxn>
                  </a:cxnLst>
                  <a:rect l="0" t="0" r="r" b="b"/>
                  <a:pathLst>
                    <a:path w="4" h="11">
                      <a:moveTo>
                        <a:pt x="4" y="11"/>
                      </a:moveTo>
                      <a:lnTo>
                        <a:pt x="0" y="0"/>
                      </a:lnTo>
                      <a:lnTo>
                        <a:pt x="0" y="0"/>
                      </a:lnTo>
                      <a:lnTo>
                        <a:pt x="2" y="11"/>
                      </a:lnTo>
                      <a:lnTo>
                        <a:pt x="4" y="11"/>
                      </a:lnTo>
                      <a:close/>
                    </a:path>
                  </a:pathLst>
                </a:custGeom>
                <a:solidFill>
                  <a:srgbClr val="01AAE5"/>
                </a:solidFill>
                <a:ln>
                  <a:noFill/>
                </a:ln>
                <a:extLst/>
              </p:spPr>
              <p:txBody>
                <a:bodyPr/>
                <a:lstStyle/>
                <a:p>
                  <a:pPr eaLnBrk="1" hangingPunct="1">
                    <a:defRPr/>
                  </a:pPr>
                  <a:endParaRPr lang="zh-CN" altLang="en-US" sz="1050"/>
                </a:p>
              </p:txBody>
            </p:sp>
            <p:sp>
              <p:nvSpPr>
                <p:cNvPr id="5086" name="Freeform 1627"/>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close/>
                    </a:path>
                  </a:pathLst>
                </a:custGeom>
                <a:solidFill>
                  <a:srgbClr val="01AAE5"/>
                </a:solidFill>
                <a:ln>
                  <a:noFill/>
                </a:ln>
                <a:extLst/>
              </p:spPr>
              <p:txBody>
                <a:bodyPr/>
                <a:lstStyle/>
                <a:p>
                  <a:pPr eaLnBrk="1" hangingPunct="1">
                    <a:defRPr/>
                  </a:pPr>
                  <a:endParaRPr lang="zh-CN" altLang="en-US" sz="1050"/>
                </a:p>
              </p:txBody>
            </p:sp>
            <p:sp>
              <p:nvSpPr>
                <p:cNvPr id="5087" name="Freeform 1628"/>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path>
                  </a:pathLst>
                </a:custGeom>
                <a:noFill/>
                <a:ln>
                  <a:noFill/>
                </a:ln>
                <a:extLst/>
              </p:spPr>
              <p:txBody>
                <a:bodyPr/>
                <a:lstStyle/>
                <a:p>
                  <a:pPr eaLnBrk="1" hangingPunct="1">
                    <a:defRPr/>
                  </a:pPr>
                  <a:endParaRPr lang="zh-CN" altLang="en-US" sz="1050"/>
                </a:p>
              </p:txBody>
            </p:sp>
            <p:sp>
              <p:nvSpPr>
                <p:cNvPr id="5088" name="Freeform 1629"/>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close/>
                    </a:path>
                  </a:pathLst>
                </a:custGeom>
                <a:solidFill>
                  <a:srgbClr val="01AAE5"/>
                </a:solidFill>
                <a:ln>
                  <a:noFill/>
                </a:ln>
                <a:extLst/>
              </p:spPr>
              <p:txBody>
                <a:bodyPr/>
                <a:lstStyle/>
                <a:p>
                  <a:pPr eaLnBrk="1" hangingPunct="1">
                    <a:defRPr/>
                  </a:pPr>
                  <a:endParaRPr lang="zh-CN" altLang="en-US" sz="1050"/>
                </a:p>
              </p:txBody>
            </p:sp>
            <p:sp>
              <p:nvSpPr>
                <p:cNvPr id="5089" name="Freeform 1630"/>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path>
                  </a:pathLst>
                </a:custGeom>
                <a:noFill/>
                <a:ln>
                  <a:noFill/>
                </a:ln>
                <a:extLst/>
              </p:spPr>
              <p:txBody>
                <a:bodyPr/>
                <a:lstStyle/>
                <a:p>
                  <a:pPr eaLnBrk="1" hangingPunct="1">
                    <a:defRPr/>
                  </a:pPr>
                  <a:endParaRPr lang="zh-CN" altLang="en-US" sz="1050"/>
                </a:p>
              </p:txBody>
            </p:sp>
            <p:sp>
              <p:nvSpPr>
                <p:cNvPr id="5090" name="Freeform 1631"/>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close/>
                    </a:path>
                  </a:pathLst>
                </a:custGeom>
                <a:solidFill>
                  <a:srgbClr val="01AAE5"/>
                </a:solidFill>
                <a:ln>
                  <a:noFill/>
                </a:ln>
                <a:extLst/>
              </p:spPr>
              <p:txBody>
                <a:bodyPr/>
                <a:lstStyle/>
                <a:p>
                  <a:pPr eaLnBrk="1" hangingPunct="1">
                    <a:defRPr/>
                  </a:pPr>
                  <a:endParaRPr lang="zh-CN" altLang="en-US" sz="1050"/>
                </a:p>
              </p:txBody>
            </p:sp>
            <p:sp>
              <p:nvSpPr>
                <p:cNvPr id="5091" name="Freeform 1632"/>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path>
                  </a:pathLst>
                </a:custGeom>
                <a:noFill/>
                <a:ln>
                  <a:noFill/>
                </a:ln>
                <a:extLst/>
              </p:spPr>
              <p:txBody>
                <a:bodyPr/>
                <a:lstStyle/>
                <a:p>
                  <a:pPr eaLnBrk="1" hangingPunct="1">
                    <a:defRPr/>
                  </a:pPr>
                  <a:endParaRPr lang="zh-CN" altLang="en-US" sz="1050"/>
                </a:p>
              </p:txBody>
            </p:sp>
            <p:sp>
              <p:nvSpPr>
                <p:cNvPr id="5092" name="Freeform 1633"/>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close/>
                    </a:path>
                  </a:pathLst>
                </a:custGeom>
                <a:solidFill>
                  <a:srgbClr val="01AAE5"/>
                </a:solidFill>
                <a:ln>
                  <a:noFill/>
                </a:ln>
                <a:extLst/>
              </p:spPr>
              <p:txBody>
                <a:bodyPr/>
                <a:lstStyle/>
                <a:p>
                  <a:pPr eaLnBrk="1" hangingPunct="1">
                    <a:defRPr/>
                  </a:pPr>
                  <a:endParaRPr lang="zh-CN" altLang="en-US" sz="1050"/>
                </a:p>
              </p:txBody>
            </p:sp>
            <p:sp>
              <p:nvSpPr>
                <p:cNvPr id="5093" name="Freeform 1634"/>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path>
                  </a:pathLst>
                </a:custGeom>
                <a:noFill/>
                <a:ln>
                  <a:noFill/>
                </a:ln>
                <a:extLst/>
              </p:spPr>
              <p:txBody>
                <a:bodyPr/>
                <a:lstStyle/>
                <a:p>
                  <a:pPr eaLnBrk="1" hangingPunct="1">
                    <a:defRPr/>
                  </a:pPr>
                  <a:endParaRPr lang="zh-CN" altLang="en-US" sz="1050"/>
                </a:p>
              </p:txBody>
            </p:sp>
            <p:sp>
              <p:nvSpPr>
                <p:cNvPr id="5094" name="Freeform 1635"/>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close/>
                    </a:path>
                  </a:pathLst>
                </a:custGeom>
                <a:solidFill>
                  <a:srgbClr val="01AAE5"/>
                </a:solidFill>
                <a:ln>
                  <a:noFill/>
                </a:ln>
                <a:extLst/>
              </p:spPr>
              <p:txBody>
                <a:bodyPr/>
                <a:lstStyle/>
                <a:p>
                  <a:pPr eaLnBrk="1" hangingPunct="1">
                    <a:defRPr/>
                  </a:pPr>
                  <a:endParaRPr lang="zh-CN" altLang="en-US" sz="1050"/>
                </a:p>
              </p:txBody>
            </p:sp>
            <p:sp>
              <p:nvSpPr>
                <p:cNvPr id="5095" name="Freeform 1636"/>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path>
                  </a:pathLst>
                </a:custGeom>
                <a:noFill/>
                <a:ln>
                  <a:noFill/>
                </a:ln>
                <a:extLst/>
              </p:spPr>
              <p:txBody>
                <a:bodyPr/>
                <a:lstStyle/>
                <a:p>
                  <a:pPr eaLnBrk="1" hangingPunct="1">
                    <a:defRPr/>
                  </a:pPr>
                  <a:endParaRPr lang="zh-CN" altLang="en-US" sz="1050"/>
                </a:p>
              </p:txBody>
            </p:sp>
            <p:sp>
              <p:nvSpPr>
                <p:cNvPr id="5096" name="Freeform 1637"/>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close/>
                    </a:path>
                  </a:pathLst>
                </a:custGeom>
                <a:solidFill>
                  <a:srgbClr val="01AAE5"/>
                </a:solidFill>
                <a:ln>
                  <a:noFill/>
                </a:ln>
                <a:extLst/>
              </p:spPr>
              <p:txBody>
                <a:bodyPr/>
                <a:lstStyle/>
                <a:p>
                  <a:pPr eaLnBrk="1" hangingPunct="1">
                    <a:defRPr/>
                  </a:pPr>
                  <a:endParaRPr lang="zh-CN" altLang="en-US" sz="1050"/>
                </a:p>
              </p:txBody>
            </p:sp>
            <p:sp>
              <p:nvSpPr>
                <p:cNvPr id="5097" name="Freeform 1638"/>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path>
                  </a:pathLst>
                </a:custGeom>
                <a:noFill/>
                <a:ln>
                  <a:noFill/>
                </a:ln>
                <a:extLst/>
              </p:spPr>
              <p:txBody>
                <a:bodyPr/>
                <a:lstStyle/>
                <a:p>
                  <a:pPr eaLnBrk="1" hangingPunct="1">
                    <a:defRPr/>
                  </a:pPr>
                  <a:endParaRPr lang="zh-CN" altLang="en-US" sz="1050"/>
                </a:p>
              </p:txBody>
            </p:sp>
            <p:sp>
              <p:nvSpPr>
                <p:cNvPr id="5098" name="Freeform 1639"/>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5099" name="Freeform 1640"/>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path>
                  </a:pathLst>
                </a:custGeom>
                <a:noFill/>
                <a:ln>
                  <a:noFill/>
                </a:ln>
                <a:extLst/>
              </p:spPr>
              <p:txBody>
                <a:bodyPr/>
                <a:lstStyle/>
                <a:p>
                  <a:pPr eaLnBrk="1" hangingPunct="1">
                    <a:defRPr/>
                  </a:pPr>
                  <a:endParaRPr lang="zh-CN" altLang="en-US" sz="1050"/>
                </a:p>
              </p:txBody>
            </p:sp>
            <p:sp>
              <p:nvSpPr>
                <p:cNvPr id="5100" name="Freeform 1641"/>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5101" name="Freeform 1642"/>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path>
                  </a:pathLst>
                </a:custGeom>
                <a:noFill/>
                <a:ln>
                  <a:noFill/>
                </a:ln>
                <a:extLst/>
              </p:spPr>
              <p:txBody>
                <a:bodyPr/>
                <a:lstStyle/>
                <a:p>
                  <a:pPr eaLnBrk="1" hangingPunct="1">
                    <a:defRPr/>
                  </a:pPr>
                  <a:endParaRPr lang="zh-CN" altLang="en-US" sz="1050"/>
                </a:p>
              </p:txBody>
            </p:sp>
            <p:sp>
              <p:nvSpPr>
                <p:cNvPr id="5102" name="Freeform 1643"/>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close/>
                    </a:path>
                  </a:pathLst>
                </a:custGeom>
                <a:solidFill>
                  <a:srgbClr val="01AAE5"/>
                </a:solidFill>
                <a:ln>
                  <a:noFill/>
                </a:ln>
                <a:extLst/>
              </p:spPr>
              <p:txBody>
                <a:bodyPr/>
                <a:lstStyle/>
                <a:p>
                  <a:pPr eaLnBrk="1" hangingPunct="1">
                    <a:defRPr/>
                  </a:pPr>
                  <a:endParaRPr lang="zh-CN" altLang="en-US" sz="1050"/>
                </a:p>
              </p:txBody>
            </p:sp>
            <p:sp>
              <p:nvSpPr>
                <p:cNvPr id="5103" name="Freeform 1644"/>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path>
                  </a:pathLst>
                </a:custGeom>
                <a:noFill/>
                <a:ln>
                  <a:noFill/>
                </a:ln>
                <a:extLst/>
              </p:spPr>
              <p:txBody>
                <a:bodyPr/>
                <a:lstStyle/>
                <a:p>
                  <a:pPr eaLnBrk="1" hangingPunct="1">
                    <a:defRPr/>
                  </a:pPr>
                  <a:endParaRPr lang="zh-CN" altLang="en-US" sz="1050"/>
                </a:p>
              </p:txBody>
            </p:sp>
            <p:sp>
              <p:nvSpPr>
                <p:cNvPr id="5104" name="Freeform 1645"/>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5105" name="Freeform 1646"/>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5106" name="Freeform 1647"/>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5107" name="Freeform 1648"/>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5108" name="Freeform 1649"/>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5109" name="Freeform 1650"/>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path>
                  </a:pathLst>
                </a:custGeom>
                <a:noFill/>
                <a:ln>
                  <a:noFill/>
                </a:ln>
                <a:extLst/>
              </p:spPr>
              <p:txBody>
                <a:bodyPr/>
                <a:lstStyle/>
                <a:p>
                  <a:pPr eaLnBrk="1" hangingPunct="1">
                    <a:defRPr/>
                  </a:pPr>
                  <a:endParaRPr lang="zh-CN" altLang="en-US" sz="1050"/>
                </a:p>
              </p:txBody>
            </p:sp>
            <p:sp>
              <p:nvSpPr>
                <p:cNvPr id="5110" name="Freeform 1651"/>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5111" name="Freeform 1652"/>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5112" name="Freeform 1653"/>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close/>
                    </a:path>
                  </a:pathLst>
                </a:custGeom>
                <a:solidFill>
                  <a:srgbClr val="01AAE5"/>
                </a:solidFill>
                <a:ln>
                  <a:noFill/>
                </a:ln>
                <a:extLst/>
              </p:spPr>
              <p:txBody>
                <a:bodyPr/>
                <a:lstStyle/>
                <a:p>
                  <a:pPr eaLnBrk="1" hangingPunct="1">
                    <a:defRPr/>
                  </a:pPr>
                  <a:endParaRPr lang="zh-CN" altLang="en-US" sz="1050"/>
                </a:p>
              </p:txBody>
            </p:sp>
            <p:sp>
              <p:nvSpPr>
                <p:cNvPr id="5113" name="Freeform 1654"/>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path>
                  </a:pathLst>
                </a:custGeom>
                <a:noFill/>
                <a:ln>
                  <a:noFill/>
                </a:ln>
                <a:extLst/>
              </p:spPr>
              <p:txBody>
                <a:bodyPr/>
                <a:lstStyle/>
                <a:p>
                  <a:pPr eaLnBrk="1" hangingPunct="1">
                    <a:defRPr/>
                  </a:pPr>
                  <a:endParaRPr lang="zh-CN" altLang="en-US" sz="1050"/>
                </a:p>
              </p:txBody>
            </p:sp>
            <p:sp>
              <p:nvSpPr>
                <p:cNvPr id="5114" name="Freeform 1655"/>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close/>
                    </a:path>
                  </a:pathLst>
                </a:custGeom>
                <a:solidFill>
                  <a:srgbClr val="01AAE5"/>
                </a:solidFill>
                <a:ln>
                  <a:noFill/>
                </a:ln>
                <a:extLst/>
              </p:spPr>
              <p:txBody>
                <a:bodyPr/>
                <a:lstStyle/>
                <a:p>
                  <a:pPr eaLnBrk="1" hangingPunct="1">
                    <a:defRPr/>
                  </a:pPr>
                  <a:endParaRPr lang="zh-CN" altLang="en-US" sz="1050"/>
                </a:p>
              </p:txBody>
            </p:sp>
            <p:sp>
              <p:nvSpPr>
                <p:cNvPr id="5115" name="Freeform 1656"/>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path>
                  </a:pathLst>
                </a:custGeom>
                <a:noFill/>
                <a:ln>
                  <a:noFill/>
                </a:ln>
                <a:extLst/>
              </p:spPr>
              <p:txBody>
                <a:bodyPr/>
                <a:lstStyle/>
                <a:p>
                  <a:pPr eaLnBrk="1" hangingPunct="1">
                    <a:defRPr/>
                  </a:pPr>
                  <a:endParaRPr lang="zh-CN" altLang="en-US" sz="1050"/>
                </a:p>
              </p:txBody>
            </p:sp>
            <p:sp>
              <p:nvSpPr>
                <p:cNvPr id="5116" name="Freeform 1657"/>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close/>
                    </a:path>
                  </a:pathLst>
                </a:custGeom>
                <a:solidFill>
                  <a:srgbClr val="01AAE5"/>
                </a:solidFill>
                <a:ln>
                  <a:noFill/>
                </a:ln>
                <a:extLst/>
              </p:spPr>
              <p:txBody>
                <a:bodyPr/>
                <a:lstStyle/>
                <a:p>
                  <a:pPr eaLnBrk="1" hangingPunct="1">
                    <a:defRPr/>
                  </a:pPr>
                  <a:endParaRPr lang="zh-CN" altLang="en-US" sz="1050"/>
                </a:p>
              </p:txBody>
            </p:sp>
            <p:sp>
              <p:nvSpPr>
                <p:cNvPr id="5117" name="Freeform 1658"/>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path>
                  </a:pathLst>
                </a:custGeom>
                <a:noFill/>
                <a:ln>
                  <a:noFill/>
                </a:ln>
                <a:extLst/>
              </p:spPr>
              <p:txBody>
                <a:bodyPr/>
                <a:lstStyle/>
                <a:p>
                  <a:pPr eaLnBrk="1" hangingPunct="1">
                    <a:defRPr/>
                  </a:pPr>
                  <a:endParaRPr lang="zh-CN" altLang="en-US" sz="1050"/>
                </a:p>
              </p:txBody>
            </p:sp>
            <p:sp>
              <p:nvSpPr>
                <p:cNvPr id="5118" name="Freeform 1659"/>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5119" name="Freeform 1660"/>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path>
                  </a:pathLst>
                </a:custGeom>
                <a:noFill/>
                <a:ln>
                  <a:noFill/>
                </a:ln>
                <a:extLst/>
              </p:spPr>
              <p:txBody>
                <a:bodyPr/>
                <a:lstStyle/>
                <a:p>
                  <a:pPr eaLnBrk="1" hangingPunct="1">
                    <a:defRPr/>
                  </a:pPr>
                  <a:endParaRPr lang="zh-CN" altLang="en-US" sz="1050"/>
                </a:p>
              </p:txBody>
            </p:sp>
            <p:sp>
              <p:nvSpPr>
                <p:cNvPr id="5120" name="Freeform 1661"/>
                <p:cNvSpPr>
                  <a:spLocks/>
                </p:cNvSpPr>
                <p:nvPr/>
              </p:nvSpPr>
              <p:spPr bwMode="auto">
                <a:xfrm>
                  <a:off x="10706" y="1881"/>
                  <a:ext cx="0" cy="9"/>
                </a:xfrm>
                <a:custGeom>
                  <a:avLst/>
                  <a:gdLst>
                    <a:gd name="T0" fmla="*/ 5 w 5"/>
                    <a:gd name="T1" fmla="*/ 10 h 10"/>
                    <a:gd name="T2" fmla="*/ 3 w 5"/>
                    <a:gd name="T3" fmla="*/ 0 h 10"/>
                    <a:gd name="T4" fmla="*/ 0 w 5"/>
                    <a:gd name="T5" fmla="*/ 0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3" y="0"/>
                      </a:lnTo>
                      <a:lnTo>
                        <a:pt x="0" y="0"/>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5121" name="Freeform 1662"/>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close/>
                    </a:path>
                  </a:pathLst>
                </a:custGeom>
                <a:solidFill>
                  <a:srgbClr val="01AAE5"/>
                </a:solidFill>
                <a:ln>
                  <a:noFill/>
                </a:ln>
                <a:extLst/>
              </p:spPr>
              <p:txBody>
                <a:bodyPr/>
                <a:lstStyle/>
                <a:p>
                  <a:pPr eaLnBrk="1" hangingPunct="1">
                    <a:defRPr/>
                  </a:pPr>
                  <a:endParaRPr lang="zh-CN" altLang="en-US" sz="1050"/>
                </a:p>
              </p:txBody>
            </p:sp>
            <p:sp>
              <p:nvSpPr>
                <p:cNvPr id="5122" name="Freeform 1663"/>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path>
                  </a:pathLst>
                </a:custGeom>
                <a:noFill/>
                <a:ln>
                  <a:noFill/>
                </a:ln>
                <a:extLst/>
              </p:spPr>
              <p:txBody>
                <a:bodyPr/>
                <a:lstStyle/>
                <a:p>
                  <a:pPr eaLnBrk="1" hangingPunct="1">
                    <a:defRPr/>
                  </a:pPr>
                  <a:endParaRPr lang="zh-CN" altLang="en-US" sz="1050"/>
                </a:p>
              </p:txBody>
            </p:sp>
            <p:sp>
              <p:nvSpPr>
                <p:cNvPr id="5123" name="Freeform 1664"/>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5124" name="Freeform 1665"/>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path>
                  </a:pathLst>
                </a:custGeom>
                <a:noFill/>
                <a:ln>
                  <a:noFill/>
                </a:ln>
                <a:extLst/>
              </p:spPr>
              <p:txBody>
                <a:bodyPr/>
                <a:lstStyle/>
                <a:p>
                  <a:pPr eaLnBrk="1" hangingPunct="1">
                    <a:defRPr/>
                  </a:pPr>
                  <a:endParaRPr lang="zh-CN" altLang="en-US" sz="1050"/>
                </a:p>
              </p:txBody>
            </p:sp>
            <p:sp>
              <p:nvSpPr>
                <p:cNvPr id="5125" name="Freeform 1666"/>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5126" name="Freeform 1667"/>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path>
                  </a:pathLst>
                </a:custGeom>
                <a:noFill/>
                <a:ln>
                  <a:noFill/>
                </a:ln>
                <a:extLst/>
              </p:spPr>
              <p:txBody>
                <a:bodyPr/>
                <a:lstStyle/>
                <a:p>
                  <a:pPr eaLnBrk="1" hangingPunct="1">
                    <a:defRPr/>
                  </a:pPr>
                  <a:endParaRPr lang="zh-CN" altLang="en-US" sz="1050"/>
                </a:p>
              </p:txBody>
            </p:sp>
            <p:sp>
              <p:nvSpPr>
                <p:cNvPr id="5127" name="Freeform 1668"/>
                <p:cNvSpPr>
                  <a:spLocks/>
                </p:cNvSpPr>
                <p:nvPr/>
              </p:nvSpPr>
              <p:spPr bwMode="auto">
                <a:xfrm>
                  <a:off x="10748" y="1855"/>
                  <a:ext cx="8" cy="17"/>
                </a:xfrm>
                <a:custGeom>
                  <a:avLst/>
                  <a:gdLst>
                    <a:gd name="T0" fmla="*/ 4 w 4"/>
                    <a:gd name="T1" fmla="*/ 19 h 19"/>
                    <a:gd name="T2" fmla="*/ 0 w 4"/>
                    <a:gd name="T3" fmla="*/ 0 h 19"/>
                    <a:gd name="T4" fmla="*/ 0 w 4"/>
                    <a:gd name="T5" fmla="*/ 0 h 19"/>
                    <a:gd name="T6" fmla="*/ 4 w 4"/>
                    <a:gd name="T7" fmla="*/ 19 h 19"/>
                    <a:gd name="T8" fmla="*/ 4 w 4"/>
                    <a:gd name="T9" fmla="*/ 19 h 19"/>
                  </a:gdLst>
                  <a:ahLst/>
                  <a:cxnLst>
                    <a:cxn ang="0">
                      <a:pos x="T0" y="T1"/>
                    </a:cxn>
                    <a:cxn ang="0">
                      <a:pos x="T2" y="T3"/>
                    </a:cxn>
                    <a:cxn ang="0">
                      <a:pos x="T4" y="T5"/>
                    </a:cxn>
                    <a:cxn ang="0">
                      <a:pos x="T6" y="T7"/>
                    </a:cxn>
                    <a:cxn ang="0">
                      <a:pos x="T8" y="T9"/>
                    </a:cxn>
                  </a:cxnLst>
                  <a:rect l="0" t="0" r="r" b="b"/>
                  <a:pathLst>
                    <a:path w="4" h="19">
                      <a:moveTo>
                        <a:pt x="4" y="19"/>
                      </a:moveTo>
                      <a:lnTo>
                        <a:pt x="0" y="0"/>
                      </a:lnTo>
                      <a:lnTo>
                        <a:pt x="0" y="0"/>
                      </a:lnTo>
                      <a:lnTo>
                        <a:pt x="4" y="19"/>
                      </a:lnTo>
                      <a:lnTo>
                        <a:pt x="4" y="19"/>
                      </a:lnTo>
                      <a:close/>
                    </a:path>
                  </a:pathLst>
                </a:custGeom>
                <a:solidFill>
                  <a:srgbClr val="01AAE5"/>
                </a:solidFill>
                <a:ln>
                  <a:noFill/>
                </a:ln>
                <a:extLst/>
              </p:spPr>
              <p:txBody>
                <a:bodyPr/>
                <a:lstStyle/>
                <a:p>
                  <a:pPr eaLnBrk="1" hangingPunct="1">
                    <a:defRPr/>
                  </a:pPr>
                  <a:endParaRPr lang="zh-CN" altLang="en-US" sz="1050"/>
                </a:p>
              </p:txBody>
            </p:sp>
            <p:sp>
              <p:nvSpPr>
                <p:cNvPr id="5128" name="Freeform 1669"/>
                <p:cNvSpPr>
                  <a:spLocks/>
                </p:cNvSpPr>
                <p:nvPr/>
              </p:nvSpPr>
              <p:spPr bwMode="auto">
                <a:xfrm>
                  <a:off x="10739" y="1855"/>
                  <a:ext cx="0" cy="17"/>
                </a:xfrm>
                <a:custGeom>
                  <a:avLst/>
                  <a:gdLst>
                    <a:gd name="T0" fmla="*/ 5 w 5"/>
                    <a:gd name="T1" fmla="*/ 14 h 14"/>
                    <a:gd name="T2" fmla="*/ 0 w 5"/>
                    <a:gd name="T3" fmla="*/ 0 h 14"/>
                    <a:gd name="T4" fmla="*/ 0 w 5"/>
                    <a:gd name="T5" fmla="*/ 2 h 14"/>
                    <a:gd name="T6" fmla="*/ 2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2"/>
                      </a:lnTo>
                      <a:lnTo>
                        <a:pt x="2"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5129" name="Freeform 1670"/>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5130" name="Freeform 1671"/>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path>
                  </a:pathLst>
                </a:custGeom>
                <a:noFill/>
                <a:ln>
                  <a:noFill/>
                </a:ln>
                <a:extLst/>
              </p:spPr>
              <p:txBody>
                <a:bodyPr/>
                <a:lstStyle/>
                <a:p>
                  <a:pPr eaLnBrk="1" hangingPunct="1">
                    <a:defRPr/>
                  </a:pPr>
                  <a:endParaRPr lang="zh-CN" altLang="en-US" sz="1050"/>
                </a:p>
              </p:txBody>
            </p:sp>
            <p:sp>
              <p:nvSpPr>
                <p:cNvPr id="5131" name="Freeform 1672"/>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close/>
                    </a:path>
                  </a:pathLst>
                </a:custGeom>
                <a:solidFill>
                  <a:srgbClr val="01AAE5"/>
                </a:solidFill>
                <a:ln>
                  <a:noFill/>
                </a:ln>
                <a:extLst/>
              </p:spPr>
              <p:txBody>
                <a:bodyPr/>
                <a:lstStyle/>
                <a:p>
                  <a:pPr eaLnBrk="1" hangingPunct="1">
                    <a:defRPr/>
                  </a:pPr>
                  <a:endParaRPr lang="zh-CN" altLang="en-US" sz="1050"/>
                </a:p>
              </p:txBody>
            </p:sp>
            <p:sp>
              <p:nvSpPr>
                <p:cNvPr id="5132" name="Freeform 1673"/>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path>
                  </a:pathLst>
                </a:custGeom>
                <a:noFill/>
                <a:ln>
                  <a:noFill/>
                </a:ln>
                <a:extLst/>
              </p:spPr>
              <p:txBody>
                <a:bodyPr/>
                <a:lstStyle/>
                <a:p>
                  <a:pPr eaLnBrk="1" hangingPunct="1">
                    <a:defRPr/>
                  </a:pPr>
                  <a:endParaRPr lang="zh-CN" altLang="en-US" sz="1050"/>
                </a:p>
              </p:txBody>
            </p:sp>
            <p:sp>
              <p:nvSpPr>
                <p:cNvPr id="5133" name="Freeform 1674"/>
                <p:cNvSpPr>
                  <a:spLocks/>
                </p:cNvSpPr>
                <p:nvPr/>
              </p:nvSpPr>
              <p:spPr bwMode="auto">
                <a:xfrm>
                  <a:off x="10756" y="1855"/>
                  <a:ext cx="8" cy="17"/>
                </a:xfrm>
                <a:custGeom>
                  <a:avLst/>
                  <a:gdLst>
                    <a:gd name="T0" fmla="*/ 5 w 5"/>
                    <a:gd name="T1" fmla="*/ 19 h 19"/>
                    <a:gd name="T2" fmla="*/ 0 w 5"/>
                    <a:gd name="T3" fmla="*/ 0 h 19"/>
                    <a:gd name="T4" fmla="*/ 0 w 5"/>
                    <a:gd name="T5" fmla="*/ 0 h 19"/>
                    <a:gd name="T6" fmla="*/ 5 w 5"/>
                    <a:gd name="T7" fmla="*/ 19 h 19"/>
                    <a:gd name="T8" fmla="*/ 5 w 5"/>
                    <a:gd name="T9" fmla="*/ 19 h 19"/>
                  </a:gdLst>
                  <a:ahLst/>
                  <a:cxnLst>
                    <a:cxn ang="0">
                      <a:pos x="T0" y="T1"/>
                    </a:cxn>
                    <a:cxn ang="0">
                      <a:pos x="T2" y="T3"/>
                    </a:cxn>
                    <a:cxn ang="0">
                      <a:pos x="T4" y="T5"/>
                    </a:cxn>
                    <a:cxn ang="0">
                      <a:pos x="T6" y="T7"/>
                    </a:cxn>
                    <a:cxn ang="0">
                      <a:pos x="T8" y="T9"/>
                    </a:cxn>
                  </a:cxnLst>
                  <a:rect l="0" t="0" r="r" b="b"/>
                  <a:pathLst>
                    <a:path w="5" h="19">
                      <a:moveTo>
                        <a:pt x="5" y="19"/>
                      </a:moveTo>
                      <a:lnTo>
                        <a:pt x="0" y="0"/>
                      </a:lnTo>
                      <a:lnTo>
                        <a:pt x="0" y="0"/>
                      </a:lnTo>
                      <a:lnTo>
                        <a:pt x="5" y="19"/>
                      </a:lnTo>
                      <a:lnTo>
                        <a:pt x="5" y="19"/>
                      </a:lnTo>
                      <a:close/>
                    </a:path>
                  </a:pathLst>
                </a:custGeom>
                <a:solidFill>
                  <a:srgbClr val="01AAE5"/>
                </a:solidFill>
                <a:ln>
                  <a:noFill/>
                </a:ln>
                <a:extLst/>
              </p:spPr>
              <p:txBody>
                <a:bodyPr/>
                <a:lstStyle/>
                <a:p>
                  <a:pPr eaLnBrk="1" hangingPunct="1">
                    <a:defRPr/>
                  </a:pPr>
                  <a:endParaRPr lang="zh-CN" altLang="en-US" sz="1050"/>
                </a:p>
              </p:txBody>
            </p:sp>
            <p:sp>
              <p:nvSpPr>
                <p:cNvPr id="5134" name="Freeform 1675"/>
                <p:cNvSpPr>
                  <a:spLocks/>
                </p:cNvSpPr>
                <p:nvPr/>
              </p:nvSpPr>
              <p:spPr bwMode="auto">
                <a:xfrm>
                  <a:off x="10731" y="1863"/>
                  <a:ext cx="8" cy="17"/>
                </a:xfrm>
                <a:custGeom>
                  <a:avLst/>
                  <a:gdLst>
                    <a:gd name="T0" fmla="*/ 5 w 5"/>
                    <a:gd name="T1" fmla="*/ 12 h 12"/>
                    <a:gd name="T2" fmla="*/ 0 w 5"/>
                    <a:gd name="T3" fmla="*/ 0 h 12"/>
                    <a:gd name="T4" fmla="*/ 0 w 5"/>
                    <a:gd name="T5" fmla="*/ 2 h 12"/>
                    <a:gd name="T6" fmla="*/ 2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0" y="0"/>
                      </a:lnTo>
                      <a:lnTo>
                        <a:pt x="0" y="2"/>
                      </a:lnTo>
                      <a:lnTo>
                        <a:pt x="2"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5135" name="Freeform 1676"/>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5136" name="Freeform 1677"/>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path>
                  </a:pathLst>
                </a:custGeom>
                <a:noFill/>
                <a:ln>
                  <a:noFill/>
                </a:ln>
                <a:extLst/>
              </p:spPr>
              <p:txBody>
                <a:bodyPr/>
                <a:lstStyle/>
                <a:p>
                  <a:pPr eaLnBrk="1" hangingPunct="1">
                    <a:defRPr/>
                  </a:pPr>
                  <a:endParaRPr lang="zh-CN" altLang="en-US" sz="1050"/>
                </a:p>
              </p:txBody>
            </p:sp>
            <p:sp>
              <p:nvSpPr>
                <p:cNvPr id="5137" name="Freeform 1678"/>
                <p:cNvSpPr>
                  <a:spLocks/>
                </p:cNvSpPr>
                <p:nvPr/>
              </p:nvSpPr>
              <p:spPr bwMode="auto">
                <a:xfrm>
                  <a:off x="10706" y="1881"/>
                  <a:ext cx="8" cy="9"/>
                </a:xfrm>
                <a:custGeom>
                  <a:avLst/>
                  <a:gdLst>
                    <a:gd name="T0" fmla="*/ 5 w 5"/>
                    <a:gd name="T1" fmla="*/ 7 h 7"/>
                    <a:gd name="T2" fmla="*/ 2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2"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5138" name="Freeform 1679"/>
                <p:cNvSpPr>
                  <a:spLocks/>
                </p:cNvSpPr>
                <p:nvPr/>
              </p:nvSpPr>
              <p:spPr bwMode="auto">
                <a:xfrm>
                  <a:off x="10698" y="1881"/>
                  <a:ext cx="8" cy="9"/>
                </a:xfrm>
                <a:custGeom>
                  <a:avLst/>
                  <a:gdLst>
                    <a:gd name="T0" fmla="*/ 5 w 5"/>
                    <a:gd name="T1" fmla="*/ 12 h 12"/>
                    <a:gd name="T2" fmla="*/ 3 w 5"/>
                    <a:gd name="T3" fmla="*/ 0 h 12"/>
                    <a:gd name="T4" fmla="*/ 0 w 5"/>
                    <a:gd name="T5" fmla="*/ 0 h 12"/>
                    <a:gd name="T6" fmla="*/ 5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3" y="0"/>
                      </a:lnTo>
                      <a:lnTo>
                        <a:pt x="0" y="0"/>
                      </a:lnTo>
                      <a:lnTo>
                        <a:pt x="5"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5139" name="Freeform 1680"/>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close/>
                    </a:path>
                  </a:pathLst>
                </a:custGeom>
                <a:solidFill>
                  <a:srgbClr val="01AAE5"/>
                </a:solidFill>
                <a:ln>
                  <a:noFill/>
                </a:ln>
                <a:extLst/>
              </p:spPr>
              <p:txBody>
                <a:bodyPr/>
                <a:lstStyle/>
                <a:p>
                  <a:pPr eaLnBrk="1" hangingPunct="1">
                    <a:defRPr/>
                  </a:pPr>
                  <a:endParaRPr lang="zh-CN" altLang="en-US" sz="1050"/>
                </a:p>
              </p:txBody>
            </p:sp>
            <p:sp>
              <p:nvSpPr>
                <p:cNvPr id="5140" name="Freeform 1681"/>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path>
                  </a:pathLst>
                </a:custGeom>
                <a:noFill/>
                <a:ln>
                  <a:noFill/>
                </a:ln>
                <a:extLst/>
              </p:spPr>
              <p:txBody>
                <a:bodyPr/>
                <a:lstStyle/>
                <a:p>
                  <a:pPr eaLnBrk="1" hangingPunct="1">
                    <a:defRPr/>
                  </a:pPr>
                  <a:endParaRPr lang="zh-CN" altLang="en-US" sz="1050"/>
                </a:p>
              </p:txBody>
            </p:sp>
            <p:sp>
              <p:nvSpPr>
                <p:cNvPr id="5141" name="Freeform 1682"/>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close/>
                    </a:path>
                  </a:pathLst>
                </a:custGeom>
                <a:solidFill>
                  <a:srgbClr val="01AAE5"/>
                </a:solidFill>
                <a:ln>
                  <a:noFill/>
                </a:ln>
                <a:extLst/>
              </p:spPr>
              <p:txBody>
                <a:bodyPr/>
                <a:lstStyle/>
                <a:p>
                  <a:pPr eaLnBrk="1" hangingPunct="1">
                    <a:defRPr/>
                  </a:pPr>
                  <a:endParaRPr lang="zh-CN" altLang="en-US" sz="1050"/>
                </a:p>
              </p:txBody>
            </p:sp>
            <p:sp>
              <p:nvSpPr>
                <p:cNvPr id="5142" name="Freeform 1683"/>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path>
                  </a:pathLst>
                </a:custGeom>
                <a:noFill/>
                <a:ln>
                  <a:noFill/>
                </a:ln>
                <a:extLst/>
              </p:spPr>
              <p:txBody>
                <a:bodyPr/>
                <a:lstStyle/>
                <a:p>
                  <a:pPr eaLnBrk="1" hangingPunct="1">
                    <a:defRPr/>
                  </a:pPr>
                  <a:endParaRPr lang="zh-CN" altLang="en-US" sz="1050"/>
                </a:p>
              </p:txBody>
            </p:sp>
            <p:sp>
              <p:nvSpPr>
                <p:cNvPr id="5143" name="Freeform 1684"/>
                <p:cNvSpPr>
                  <a:spLocks/>
                </p:cNvSpPr>
                <p:nvPr/>
              </p:nvSpPr>
              <p:spPr bwMode="auto">
                <a:xfrm>
                  <a:off x="10714" y="1881"/>
                  <a:ext cx="0" cy="9"/>
                </a:xfrm>
                <a:custGeom>
                  <a:avLst/>
                  <a:gdLst>
                    <a:gd name="T0" fmla="*/ 2 w 2"/>
                    <a:gd name="T1" fmla="*/ 7 h 9"/>
                    <a:gd name="T2" fmla="*/ 0 w 2"/>
                    <a:gd name="T3" fmla="*/ 0 h 9"/>
                    <a:gd name="T4" fmla="*/ 0 w 2"/>
                    <a:gd name="T5" fmla="*/ 0 h 9"/>
                    <a:gd name="T6" fmla="*/ 2 w 2"/>
                    <a:gd name="T7" fmla="*/ 9 h 9"/>
                    <a:gd name="T8" fmla="*/ 2 w 2"/>
                    <a:gd name="T9" fmla="*/ 7 h 9"/>
                  </a:gdLst>
                  <a:ahLst/>
                  <a:cxnLst>
                    <a:cxn ang="0">
                      <a:pos x="T0" y="T1"/>
                    </a:cxn>
                    <a:cxn ang="0">
                      <a:pos x="T2" y="T3"/>
                    </a:cxn>
                    <a:cxn ang="0">
                      <a:pos x="T4" y="T5"/>
                    </a:cxn>
                    <a:cxn ang="0">
                      <a:pos x="T6" y="T7"/>
                    </a:cxn>
                    <a:cxn ang="0">
                      <a:pos x="T8" y="T9"/>
                    </a:cxn>
                  </a:cxnLst>
                  <a:rect l="0" t="0" r="r" b="b"/>
                  <a:pathLst>
                    <a:path w="2" h="9">
                      <a:moveTo>
                        <a:pt x="2" y="7"/>
                      </a:moveTo>
                      <a:lnTo>
                        <a:pt x="0" y="0"/>
                      </a:lnTo>
                      <a:lnTo>
                        <a:pt x="0" y="0"/>
                      </a:lnTo>
                      <a:lnTo>
                        <a:pt x="2" y="9"/>
                      </a:lnTo>
                      <a:lnTo>
                        <a:pt x="2" y="7"/>
                      </a:lnTo>
                      <a:close/>
                    </a:path>
                  </a:pathLst>
                </a:custGeom>
                <a:solidFill>
                  <a:srgbClr val="01AAE5"/>
                </a:solidFill>
                <a:ln>
                  <a:noFill/>
                </a:ln>
                <a:extLst/>
              </p:spPr>
              <p:txBody>
                <a:bodyPr/>
                <a:lstStyle/>
                <a:p>
                  <a:pPr eaLnBrk="1" hangingPunct="1">
                    <a:defRPr/>
                  </a:pPr>
                  <a:endParaRPr lang="zh-CN" altLang="en-US" sz="1050"/>
                </a:p>
              </p:txBody>
            </p:sp>
            <p:sp>
              <p:nvSpPr>
                <p:cNvPr id="5144" name="Freeform 1685"/>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5145" name="Freeform 1686"/>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path>
                  </a:pathLst>
                </a:custGeom>
                <a:noFill/>
                <a:ln>
                  <a:noFill/>
                </a:ln>
                <a:extLst/>
              </p:spPr>
              <p:txBody>
                <a:bodyPr/>
                <a:lstStyle/>
                <a:p>
                  <a:pPr eaLnBrk="1" hangingPunct="1">
                    <a:defRPr/>
                  </a:pPr>
                  <a:endParaRPr lang="zh-CN" altLang="en-US" sz="1050"/>
                </a:p>
              </p:txBody>
            </p:sp>
            <p:sp>
              <p:nvSpPr>
                <p:cNvPr id="5146" name="Freeform 1687"/>
                <p:cNvSpPr>
                  <a:spLocks/>
                </p:cNvSpPr>
                <p:nvPr/>
              </p:nvSpPr>
              <p:spPr bwMode="auto">
                <a:xfrm>
                  <a:off x="10274" y="2726"/>
                  <a:ext cx="17" cy="0"/>
                </a:xfrm>
                <a:custGeom>
                  <a:avLst/>
                  <a:gdLst>
                    <a:gd name="T0" fmla="*/ 10 w 10"/>
                    <a:gd name="T1" fmla="*/ 0 h 2"/>
                    <a:gd name="T2" fmla="*/ 0 w 10"/>
                    <a:gd name="T3" fmla="*/ 2 h 2"/>
                    <a:gd name="T4" fmla="*/ 3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2"/>
                      </a:lnTo>
                      <a:lnTo>
                        <a:pt x="3"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5147" name="Freeform 1688"/>
                <p:cNvSpPr>
                  <a:spLocks/>
                </p:cNvSpPr>
                <p:nvPr/>
              </p:nvSpPr>
              <p:spPr bwMode="auto">
                <a:xfrm>
                  <a:off x="10249" y="2613"/>
                  <a:ext cx="25" cy="9"/>
                </a:xfrm>
                <a:custGeom>
                  <a:avLst/>
                  <a:gdLst>
                    <a:gd name="T0" fmla="*/ 19 w 19"/>
                    <a:gd name="T1" fmla="*/ 0 h 2"/>
                    <a:gd name="T2" fmla="*/ 0 w 19"/>
                    <a:gd name="T3" fmla="*/ 2 h 2"/>
                    <a:gd name="T4" fmla="*/ 0 w 19"/>
                    <a:gd name="T5" fmla="*/ 2 h 2"/>
                    <a:gd name="T6" fmla="*/ 19 w 19"/>
                    <a:gd name="T7" fmla="*/ 0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lnTo>
                        <a:pt x="0" y="2"/>
                      </a:lnTo>
                      <a:lnTo>
                        <a:pt x="0" y="2"/>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5148" name="Freeform 1689"/>
                <p:cNvSpPr>
                  <a:spLocks/>
                </p:cNvSpPr>
                <p:nvPr/>
              </p:nvSpPr>
              <p:spPr bwMode="auto">
                <a:xfrm>
                  <a:off x="10257" y="2499"/>
                  <a:ext cx="17" cy="0"/>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5149" name="Freeform 1690"/>
                <p:cNvSpPr>
                  <a:spLocks/>
                </p:cNvSpPr>
                <p:nvPr/>
              </p:nvSpPr>
              <p:spPr bwMode="auto">
                <a:xfrm>
                  <a:off x="10249" y="2613"/>
                  <a:ext cx="25" cy="0"/>
                </a:xfrm>
                <a:custGeom>
                  <a:avLst/>
                  <a:gdLst>
                    <a:gd name="T0" fmla="*/ 19 w 19"/>
                    <a:gd name="T1" fmla="*/ 0 h 3"/>
                    <a:gd name="T2" fmla="*/ 0 w 19"/>
                    <a:gd name="T3" fmla="*/ 0 h 3"/>
                    <a:gd name="T4" fmla="*/ 0 w 19"/>
                    <a:gd name="T5" fmla="*/ 3 h 3"/>
                    <a:gd name="T6" fmla="*/ 19 w 19"/>
                    <a:gd name="T7" fmla="*/ 0 h 3"/>
                    <a:gd name="T8" fmla="*/ 19 w 19"/>
                    <a:gd name="T9" fmla="*/ 0 h 3"/>
                  </a:gdLst>
                  <a:ahLst/>
                  <a:cxnLst>
                    <a:cxn ang="0">
                      <a:pos x="T0" y="T1"/>
                    </a:cxn>
                    <a:cxn ang="0">
                      <a:pos x="T2" y="T3"/>
                    </a:cxn>
                    <a:cxn ang="0">
                      <a:pos x="T4" y="T5"/>
                    </a:cxn>
                    <a:cxn ang="0">
                      <a:pos x="T6" y="T7"/>
                    </a:cxn>
                    <a:cxn ang="0">
                      <a:pos x="T8" y="T9"/>
                    </a:cxn>
                  </a:cxnLst>
                  <a:rect l="0" t="0" r="r" b="b"/>
                  <a:pathLst>
                    <a:path w="19" h="3">
                      <a:moveTo>
                        <a:pt x="19" y="0"/>
                      </a:moveTo>
                      <a:lnTo>
                        <a:pt x="0" y="0"/>
                      </a:lnTo>
                      <a:lnTo>
                        <a:pt x="0" y="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5150" name="Freeform 1691"/>
                <p:cNvSpPr>
                  <a:spLocks/>
                </p:cNvSpPr>
                <p:nvPr/>
              </p:nvSpPr>
              <p:spPr bwMode="auto">
                <a:xfrm>
                  <a:off x="10249" y="2621"/>
                  <a:ext cx="25" cy="0"/>
                </a:xfrm>
                <a:custGeom>
                  <a:avLst/>
                  <a:gdLst>
                    <a:gd name="T0" fmla="*/ 21 w 21"/>
                    <a:gd name="T1" fmla="*/ 0 h 2"/>
                    <a:gd name="T2" fmla="*/ 0 w 21"/>
                    <a:gd name="T3" fmla="*/ 2 h 2"/>
                    <a:gd name="T4" fmla="*/ 0 w 21"/>
                    <a:gd name="T5" fmla="*/ 2 h 2"/>
                    <a:gd name="T6" fmla="*/ 21 w 21"/>
                    <a:gd name="T7" fmla="*/ 0 h 2"/>
                    <a:gd name="T8" fmla="*/ 21 w 21"/>
                    <a:gd name="T9" fmla="*/ 0 h 2"/>
                  </a:gdLst>
                  <a:ahLst/>
                  <a:cxnLst>
                    <a:cxn ang="0">
                      <a:pos x="T0" y="T1"/>
                    </a:cxn>
                    <a:cxn ang="0">
                      <a:pos x="T2" y="T3"/>
                    </a:cxn>
                    <a:cxn ang="0">
                      <a:pos x="T4" y="T5"/>
                    </a:cxn>
                    <a:cxn ang="0">
                      <a:pos x="T6" y="T7"/>
                    </a:cxn>
                    <a:cxn ang="0">
                      <a:pos x="T8" y="T9"/>
                    </a:cxn>
                  </a:cxnLst>
                  <a:rect l="0" t="0" r="r" b="b"/>
                  <a:pathLst>
                    <a:path w="21" h="2">
                      <a:moveTo>
                        <a:pt x="21" y="0"/>
                      </a:moveTo>
                      <a:lnTo>
                        <a:pt x="0" y="2"/>
                      </a:lnTo>
                      <a:lnTo>
                        <a:pt x="0" y="2"/>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5151" name="Freeform 1692"/>
                <p:cNvSpPr>
                  <a:spLocks/>
                </p:cNvSpPr>
                <p:nvPr/>
              </p:nvSpPr>
              <p:spPr bwMode="auto">
                <a:xfrm>
                  <a:off x="10348" y="2151"/>
                  <a:ext cx="0" cy="9"/>
                </a:xfrm>
                <a:custGeom>
                  <a:avLst/>
                  <a:gdLst>
                    <a:gd name="T0" fmla="*/ 7 w 7"/>
                    <a:gd name="T1" fmla="*/ 7 h 7"/>
                    <a:gd name="T2" fmla="*/ 0 w 7"/>
                    <a:gd name="T3" fmla="*/ 0 h 7"/>
                    <a:gd name="T4" fmla="*/ 0 w 7"/>
                    <a:gd name="T5" fmla="*/ 3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3"/>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5152" name="Freeform 1693"/>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5153" name="Freeform 1694"/>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5154" name="Freeform 1695"/>
                <p:cNvSpPr>
                  <a:spLocks/>
                </p:cNvSpPr>
                <p:nvPr/>
              </p:nvSpPr>
              <p:spPr bwMode="auto">
                <a:xfrm>
                  <a:off x="10249" y="2595"/>
                  <a:ext cx="25" cy="9"/>
                </a:xfrm>
                <a:custGeom>
                  <a:avLst/>
                  <a:gdLst>
                    <a:gd name="T0" fmla="*/ 16 w 16"/>
                    <a:gd name="T1" fmla="*/ 0 h 2"/>
                    <a:gd name="T2" fmla="*/ 2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2"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5155" name="Freeform 1696"/>
                <p:cNvSpPr>
                  <a:spLocks/>
                </p:cNvSpPr>
                <p:nvPr/>
              </p:nvSpPr>
              <p:spPr bwMode="auto">
                <a:xfrm>
                  <a:off x="10249" y="2665"/>
                  <a:ext cx="25" cy="0"/>
                </a:xfrm>
                <a:custGeom>
                  <a:avLst/>
                  <a:gdLst>
                    <a:gd name="T0" fmla="*/ 30 w 30"/>
                    <a:gd name="T1" fmla="*/ 0 h 4"/>
                    <a:gd name="T2" fmla="*/ 30 w 30"/>
                    <a:gd name="T3" fmla="*/ 0 h 4"/>
                    <a:gd name="T4" fmla="*/ 0 w 30"/>
                    <a:gd name="T5" fmla="*/ 4 h 4"/>
                    <a:gd name="T6" fmla="*/ 0 w 30"/>
                    <a:gd name="T7" fmla="*/ 4 h 4"/>
                    <a:gd name="T8" fmla="*/ 30 w 30"/>
                    <a:gd name="T9" fmla="*/ 0 h 4"/>
                    <a:gd name="T10" fmla="*/ 30 w 30"/>
                    <a:gd name="T11" fmla="*/ 0 h 4"/>
                  </a:gdLst>
                  <a:ahLst/>
                  <a:cxnLst>
                    <a:cxn ang="0">
                      <a:pos x="T0" y="T1"/>
                    </a:cxn>
                    <a:cxn ang="0">
                      <a:pos x="T2" y="T3"/>
                    </a:cxn>
                    <a:cxn ang="0">
                      <a:pos x="T4" y="T5"/>
                    </a:cxn>
                    <a:cxn ang="0">
                      <a:pos x="T6" y="T7"/>
                    </a:cxn>
                    <a:cxn ang="0">
                      <a:pos x="T8" y="T9"/>
                    </a:cxn>
                    <a:cxn ang="0">
                      <a:pos x="T10" y="T11"/>
                    </a:cxn>
                  </a:cxnLst>
                  <a:rect l="0" t="0" r="r" b="b"/>
                  <a:pathLst>
                    <a:path w="30" h="4">
                      <a:moveTo>
                        <a:pt x="30" y="0"/>
                      </a:moveTo>
                      <a:lnTo>
                        <a:pt x="30" y="0"/>
                      </a:lnTo>
                      <a:lnTo>
                        <a:pt x="0" y="4"/>
                      </a:lnTo>
                      <a:lnTo>
                        <a:pt x="0" y="4"/>
                      </a:lnTo>
                      <a:lnTo>
                        <a:pt x="30" y="0"/>
                      </a:lnTo>
                      <a:lnTo>
                        <a:pt x="30" y="0"/>
                      </a:lnTo>
                      <a:close/>
                    </a:path>
                  </a:pathLst>
                </a:custGeom>
                <a:solidFill>
                  <a:srgbClr val="01AAE5"/>
                </a:solidFill>
                <a:ln>
                  <a:noFill/>
                </a:ln>
                <a:extLst/>
              </p:spPr>
              <p:txBody>
                <a:bodyPr/>
                <a:lstStyle/>
                <a:p>
                  <a:pPr eaLnBrk="1" hangingPunct="1">
                    <a:defRPr/>
                  </a:pPr>
                  <a:endParaRPr lang="zh-CN" altLang="en-US" sz="1050"/>
                </a:p>
              </p:txBody>
            </p:sp>
            <p:sp>
              <p:nvSpPr>
                <p:cNvPr id="5156" name="Freeform 1697"/>
                <p:cNvSpPr>
                  <a:spLocks/>
                </p:cNvSpPr>
                <p:nvPr/>
              </p:nvSpPr>
              <p:spPr bwMode="auto">
                <a:xfrm>
                  <a:off x="10249" y="2656"/>
                  <a:ext cx="25" cy="9"/>
                </a:xfrm>
                <a:custGeom>
                  <a:avLst/>
                  <a:gdLst>
                    <a:gd name="T0" fmla="*/ 33 w 33"/>
                    <a:gd name="T1" fmla="*/ 0 h 5"/>
                    <a:gd name="T2" fmla="*/ 0 w 33"/>
                    <a:gd name="T3" fmla="*/ 5 h 5"/>
                    <a:gd name="T4" fmla="*/ 3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5"/>
                      </a:lnTo>
                      <a:lnTo>
                        <a:pt x="3"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5157" name="Freeform 1698"/>
                <p:cNvSpPr>
                  <a:spLocks/>
                </p:cNvSpPr>
                <p:nvPr/>
              </p:nvSpPr>
              <p:spPr bwMode="auto">
                <a:xfrm>
                  <a:off x="10249" y="2647"/>
                  <a:ext cx="25" cy="9"/>
                </a:xfrm>
                <a:custGeom>
                  <a:avLst/>
                  <a:gdLst>
                    <a:gd name="T0" fmla="*/ 33 w 33"/>
                    <a:gd name="T1" fmla="*/ 0 h 5"/>
                    <a:gd name="T2" fmla="*/ 0 w 33"/>
                    <a:gd name="T3" fmla="*/ 3 h 5"/>
                    <a:gd name="T4" fmla="*/ 0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3"/>
                      </a:lnTo>
                      <a:lnTo>
                        <a:pt x="0"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5158" name="Freeform 1699"/>
                <p:cNvSpPr>
                  <a:spLocks/>
                </p:cNvSpPr>
                <p:nvPr/>
              </p:nvSpPr>
              <p:spPr bwMode="auto">
                <a:xfrm>
                  <a:off x="10249" y="2647"/>
                  <a:ext cx="25" cy="0"/>
                </a:xfrm>
                <a:custGeom>
                  <a:avLst/>
                  <a:gdLst>
                    <a:gd name="T0" fmla="*/ 31 w 31"/>
                    <a:gd name="T1" fmla="*/ 0 h 7"/>
                    <a:gd name="T2" fmla="*/ 0 w 31"/>
                    <a:gd name="T3" fmla="*/ 5 h 7"/>
                    <a:gd name="T4" fmla="*/ 0 w 31"/>
                    <a:gd name="T5" fmla="*/ 7 h 7"/>
                    <a:gd name="T6" fmla="*/ 31 w 31"/>
                    <a:gd name="T7" fmla="*/ 2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2"/>
                      </a:lnTo>
                      <a:lnTo>
                        <a:pt x="31" y="0"/>
                      </a:lnTo>
                      <a:close/>
                    </a:path>
                  </a:pathLst>
                </a:custGeom>
                <a:solidFill>
                  <a:srgbClr val="01AAE5"/>
                </a:solidFill>
                <a:ln>
                  <a:noFill/>
                </a:ln>
                <a:extLst/>
              </p:spPr>
              <p:txBody>
                <a:bodyPr/>
                <a:lstStyle/>
                <a:p>
                  <a:pPr eaLnBrk="1" hangingPunct="1">
                    <a:defRPr/>
                  </a:pPr>
                  <a:endParaRPr lang="zh-CN" altLang="en-US" sz="1050"/>
                </a:p>
              </p:txBody>
            </p:sp>
            <p:sp>
              <p:nvSpPr>
                <p:cNvPr id="5159" name="Freeform 1700"/>
                <p:cNvSpPr>
                  <a:spLocks/>
                </p:cNvSpPr>
                <p:nvPr/>
              </p:nvSpPr>
              <p:spPr bwMode="auto">
                <a:xfrm>
                  <a:off x="10249" y="2621"/>
                  <a:ext cx="25" cy="9"/>
                </a:xfrm>
                <a:custGeom>
                  <a:avLst/>
                  <a:gdLst>
                    <a:gd name="T0" fmla="*/ 26 w 26"/>
                    <a:gd name="T1" fmla="*/ 0 h 5"/>
                    <a:gd name="T2" fmla="*/ 0 w 26"/>
                    <a:gd name="T3" fmla="*/ 3 h 5"/>
                    <a:gd name="T4" fmla="*/ 0 w 26"/>
                    <a:gd name="T5" fmla="*/ 5 h 5"/>
                    <a:gd name="T6" fmla="*/ 26 w 26"/>
                    <a:gd name="T7" fmla="*/ 3 h 5"/>
                    <a:gd name="T8" fmla="*/ 26 w 26"/>
                    <a:gd name="T9" fmla="*/ 0 h 5"/>
                  </a:gdLst>
                  <a:ahLst/>
                  <a:cxnLst>
                    <a:cxn ang="0">
                      <a:pos x="T0" y="T1"/>
                    </a:cxn>
                    <a:cxn ang="0">
                      <a:pos x="T2" y="T3"/>
                    </a:cxn>
                    <a:cxn ang="0">
                      <a:pos x="T4" y="T5"/>
                    </a:cxn>
                    <a:cxn ang="0">
                      <a:pos x="T6" y="T7"/>
                    </a:cxn>
                    <a:cxn ang="0">
                      <a:pos x="T8" y="T9"/>
                    </a:cxn>
                  </a:cxnLst>
                  <a:rect l="0" t="0" r="r" b="b"/>
                  <a:pathLst>
                    <a:path w="26" h="5">
                      <a:moveTo>
                        <a:pt x="26" y="0"/>
                      </a:moveTo>
                      <a:lnTo>
                        <a:pt x="0" y="3"/>
                      </a:lnTo>
                      <a:lnTo>
                        <a:pt x="0" y="5"/>
                      </a:lnTo>
                      <a:lnTo>
                        <a:pt x="26"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5160" name="Rectangle 1701"/>
                <p:cNvSpPr>
                  <a:spLocks noChangeArrowheads="1"/>
                </p:cNvSpPr>
                <p:nvPr/>
              </p:nvSpPr>
              <p:spPr bwMode="auto">
                <a:xfrm>
                  <a:off x="10257"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5161" name="Freeform 1702"/>
                <p:cNvSpPr>
                  <a:spLocks/>
                </p:cNvSpPr>
                <p:nvPr/>
              </p:nvSpPr>
              <p:spPr bwMode="auto">
                <a:xfrm>
                  <a:off x="10249" y="2630"/>
                  <a:ext cx="25" cy="9"/>
                </a:xfrm>
                <a:custGeom>
                  <a:avLst/>
                  <a:gdLst>
                    <a:gd name="T0" fmla="*/ 29 w 29"/>
                    <a:gd name="T1" fmla="*/ 0 h 5"/>
                    <a:gd name="T2" fmla="*/ 0 w 29"/>
                    <a:gd name="T3" fmla="*/ 5 h 5"/>
                    <a:gd name="T4" fmla="*/ 0 w 29"/>
                    <a:gd name="T5" fmla="*/ 5 h 5"/>
                    <a:gd name="T6" fmla="*/ 29 w 29"/>
                    <a:gd name="T7" fmla="*/ 2 h 5"/>
                    <a:gd name="T8" fmla="*/ 29 w 29"/>
                    <a:gd name="T9" fmla="*/ 0 h 5"/>
                  </a:gdLst>
                  <a:ahLst/>
                  <a:cxnLst>
                    <a:cxn ang="0">
                      <a:pos x="T0" y="T1"/>
                    </a:cxn>
                    <a:cxn ang="0">
                      <a:pos x="T2" y="T3"/>
                    </a:cxn>
                    <a:cxn ang="0">
                      <a:pos x="T4" y="T5"/>
                    </a:cxn>
                    <a:cxn ang="0">
                      <a:pos x="T6" y="T7"/>
                    </a:cxn>
                    <a:cxn ang="0">
                      <a:pos x="T8" y="T9"/>
                    </a:cxn>
                  </a:cxnLst>
                  <a:rect l="0" t="0" r="r" b="b"/>
                  <a:pathLst>
                    <a:path w="29" h="5">
                      <a:moveTo>
                        <a:pt x="29" y="0"/>
                      </a:moveTo>
                      <a:lnTo>
                        <a:pt x="0" y="5"/>
                      </a:lnTo>
                      <a:lnTo>
                        <a:pt x="0" y="5"/>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5162" name="Freeform 1703"/>
                <p:cNvSpPr>
                  <a:spLocks/>
                </p:cNvSpPr>
                <p:nvPr/>
              </p:nvSpPr>
              <p:spPr bwMode="auto">
                <a:xfrm>
                  <a:off x="10249" y="2639"/>
                  <a:ext cx="25" cy="0"/>
                </a:xfrm>
                <a:custGeom>
                  <a:avLst/>
                  <a:gdLst>
                    <a:gd name="T0" fmla="*/ 29 w 29"/>
                    <a:gd name="T1" fmla="*/ 0 h 4"/>
                    <a:gd name="T2" fmla="*/ 0 w 29"/>
                    <a:gd name="T3" fmla="*/ 4 h 4"/>
                    <a:gd name="T4" fmla="*/ 0 w 29"/>
                    <a:gd name="T5" fmla="*/ 4 h 4"/>
                    <a:gd name="T6" fmla="*/ 29 w 29"/>
                    <a:gd name="T7" fmla="*/ 2 h 4"/>
                    <a:gd name="T8" fmla="*/ 29 w 29"/>
                    <a:gd name="T9" fmla="*/ 0 h 4"/>
                  </a:gdLst>
                  <a:ahLst/>
                  <a:cxnLst>
                    <a:cxn ang="0">
                      <a:pos x="T0" y="T1"/>
                    </a:cxn>
                    <a:cxn ang="0">
                      <a:pos x="T2" y="T3"/>
                    </a:cxn>
                    <a:cxn ang="0">
                      <a:pos x="T4" y="T5"/>
                    </a:cxn>
                    <a:cxn ang="0">
                      <a:pos x="T6" y="T7"/>
                    </a:cxn>
                    <a:cxn ang="0">
                      <a:pos x="T8" y="T9"/>
                    </a:cxn>
                  </a:cxnLst>
                  <a:rect l="0" t="0" r="r" b="b"/>
                  <a:pathLst>
                    <a:path w="29" h="4">
                      <a:moveTo>
                        <a:pt x="29" y="0"/>
                      </a:moveTo>
                      <a:lnTo>
                        <a:pt x="0" y="4"/>
                      </a:lnTo>
                      <a:lnTo>
                        <a:pt x="0" y="4"/>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5163" name="Freeform 1704"/>
                <p:cNvSpPr>
                  <a:spLocks/>
                </p:cNvSpPr>
                <p:nvPr/>
              </p:nvSpPr>
              <p:spPr bwMode="auto">
                <a:xfrm>
                  <a:off x="10249" y="2639"/>
                  <a:ext cx="25" cy="9"/>
                </a:xfrm>
                <a:custGeom>
                  <a:avLst/>
                  <a:gdLst>
                    <a:gd name="T0" fmla="*/ 31 w 31"/>
                    <a:gd name="T1" fmla="*/ 0 h 7"/>
                    <a:gd name="T2" fmla="*/ 0 w 31"/>
                    <a:gd name="T3" fmla="*/ 5 h 7"/>
                    <a:gd name="T4" fmla="*/ 0 w 31"/>
                    <a:gd name="T5" fmla="*/ 7 h 7"/>
                    <a:gd name="T6" fmla="*/ 31 w 31"/>
                    <a:gd name="T7" fmla="*/ 3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3"/>
                      </a:lnTo>
                      <a:lnTo>
                        <a:pt x="31" y="0"/>
                      </a:lnTo>
                      <a:close/>
                    </a:path>
                  </a:pathLst>
                </a:custGeom>
                <a:solidFill>
                  <a:srgbClr val="01AAE5"/>
                </a:solidFill>
                <a:ln>
                  <a:noFill/>
                </a:ln>
                <a:extLst/>
              </p:spPr>
              <p:txBody>
                <a:bodyPr/>
                <a:lstStyle/>
                <a:p>
                  <a:pPr eaLnBrk="1" hangingPunct="1">
                    <a:defRPr/>
                  </a:pPr>
                  <a:endParaRPr lang="zh-CN" altLang="en-US" sz="1050"/>
                </a:p>
              </p:txBody>
            </p:sp>
            <p:sp>
              <p:nvSpPr>
                <p:cNvPr id="5164" name="Rectangle 1705"/>
                <p:cNvSpPr>
                  <a:spLocks noChangeArrowheads="1"/>
                </p:cNvSpPr>
                <p:nvPr/>
              </p:nvSpPr>
              <p:spPr bwMode="auto">
                <a:xfrm>
                  <a:off x="10257" y="2560"/>
                  <a:ext cx="0" cy="0"/>
                </a:xfrm>
                <a:prstGeom prst="rect">
                  <a:avLst/>
                </a:prstGeom>
                <a:solidFill>
                  <a:srgbClr val="01AAE5"/>
                </a:solidFill>
                <a:ln>
                  <a:noFill/>
                </a:ln>
                <a:extLst/>
              </p:spPr>
              <p:txBody>
                <a:bodyPr/>
                <a:lstStyle/>
                <a:p>
                  <a:pPr eaLnBrk="1" hangingPunct="1">
                    <a:defRPr/>
                  </a:pPr>
                  <a:endParaRPr lang="zh-CN" altLang="en-US" sz="1050"/>
                </a:p>
              </p:txBody>
            </p:sp>
            <p:sp>
              <p:nvSpPr>
                <p:cNvPr id="5165" name="Rectangle 1706"/>
                <p:cNvSpPr>
                  <a:spLocks noChangeArrowheads="1"/>
                </p:cNvSpPr>
                <p:nvPr/>
              </p:nvSpPr>
              <p:spPr bwMode="auto">
                <a:xfrm>
                  <a:off x="10257" y="2525"/>
                  <a:ext cx="0" cy="0"/>
                </a:xfrm>
                <a:prstGeom prst="rect">
                  <a:avLst/>
                </a:prstGeom>
                <a:solidFill>
                  <a:srgbClr val="01AAE5"/>
                </a:solidFill>
                <a:ln>
                  <a:noFill/>
                </a:ln>
                <a:extLst/>
              </p:spPr>
              <p:txBody>
                <a:bodyPr/>
                <a:lstStyle/>
                <a:p>
                  <a:pPr eaLnBrk="1" hangingPunct="1">
                    <a:defRPr/>
                  </a:pPr>
                  <a:endParaRPr lang="zh-CN" altLang="en-US" sz="1050"/>
                </a:p>
              </p:txBody>
            </p:sp>
            <p:sp>
              <p:nvSpPr>
                <p:cNvPr id="5166" name="Freeform 1707"/>
                <p:cNvSpPr>
                  <a:spLocks/>
                </p:cNvSpPr>
                <p:nvPr/>
              </p:nvSpPr>
              <p:spPr bwMode="auto">
                <a:xfrm>
                  <a:off x="10257" y="2525"/>
                  <a:ext cx="0" cy="9"/>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5167" name="Rectangle 1708"/>
                <p:cNvSpPr>
                  <a:spLocks noChangeArrowheads="1"/>
                </p:cNvSpPr>
                <p:nvPr/>
              </p:nvSpPr>
              <p:spPr bwMode="auto">
                <a:xfrm>
                  <a:off x="10257" y="2578"/>
                  <a:ext cx="0" cy="0"/>
                </a:xfrm>
                <a:prstGeom prst="rect">
                  <a:avLst/>
                </a:prstGeom>
                <a:solidFill>
                  <a:srgbClr val="01AAE5"/>
                </a:solidFill>
                <a:ln>
                  <a:noFill/>
                </a:ln>
                <a:extLst/>
              </p:spPr>
              <p:txBody>
                <a:bodyPr/>
                <a:lstStyle/>
                <a:p>
                  <a:pPr eaLnBrk="1" hangingPunct="1">
                    <a:defRPr/>
                  </a:pPr>
                  <a:endParaRPr lang="zh-CN" altLang="en-US" sz="1050"/>
                </a:p>
              </p:txBody>
            </p:sp>
            <p:sp>
              <p:nvSpPr>
                <p:cNvPr id="5168" name="Rectangle 1709"/>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5169" name="Rectangle 1710"/>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5170" name="Freeform 1711"/>
                <p:cNvSpPr>
                  <a:spLocks/>
                </p:cNvSpPr>
                <p:nvPr/>
              </p:nvSpPr>
              <p:spPr bwMode="auto">
                <a:xfrm>
                  <a:off x="10257" y="2508"/>
                  <a:ext cx="0" cy="9"/>
                </a:xfrm>
                <a:custGeom>
                  <a:avLst/>
                  <a:gdLst>
                    <a:gd name="T0" fmla="*/ 8 w 8"/>
                    <a:gd name="T1" fmla="*/ 0 h 3"/>
                    <a:gd name="T2" fmla="*/ 0 w 8"/>
                    <a:gd name="T3" fmla="*/ 0 h 3"/>
                    <a:gd name="T4" fmla="*/ 0 w 8"/>
                    <a:gd name="T5" fmla="*/ 0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0" y="0"/>
                      </a:lnTo>
                      <a:lnTo>
                        <a:pt x="0" y="0"/>
                      </a:lnTo>
                      <a:lnTo>
                        <a:pt x="8" y="3"/>
                      </a:lnTo>
                      <a:lnTo>
                        <a:pt x="8" y="0"/>
                      </a:lnTo>
                      <a:close/>
                    </a:path>
                  </a:pathLst>
                </a:custGeom>
                <a:solidFill>
                  <a:srgbClr val="01AAE5"/>
                </a:solidFill>
                <a:ln>
                  <a:noFill/>
                </a:ln>
                <a:extLst/>
              </p:spPr>
              <p:txBody>
                <a:bodyPr/>
                <a:lstStyle/>
                <a:p>
                  <a:pPr eaLnBrk="1" hangingPunct="1">
                    <a:defRPr/>
                  </a:pPr>
                  <a:endParaRPr lang="zh-CN" altLang="en-US" sz="1050"/>
                </a:p>
              </p:txBody>
            </p:sp>
          </p:grpSp>
          <p:grpSp>
            <p:nvGrpSpPr>
              <p:cNvPr id="33" name="Group 1913"/>
              <p:cNvGrpSpPr>
                <a:grpSpLocks/>
              </p:cNvGrpSpPr>
              <p:nvPr/>
            </p:nvGrpSpPr>
            <p:grpSpPr bwMode="auto">
              <a:xfrm>
                <a:off x="16149638" y="3429000"/>
                <a:ext cx="1431925" cy="1789113"/>
                <a:chOff x="10173" y="2160"/>
                <a:chExt cx="902" cy="1127"/>
              </a:xfrm>
            </p:grpSpPr>
            <p:sp>
              <p:nvSpPr>
                <p:cNvPr id="4771" name="Rectangle 1713"/>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4772" name="Rectangle 1714"/>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4773" name="Rectangle 1715"/>
                <p:cNvSpPr>
                  <a:spLocks noChangeArrowheads="1"/>
                </p:cNvSpPr>
                <p:nvPr/>
              </p:nvSpPr>
              <p:spPr bwMode="auto">
                <a:xfrm>
                  <a:off x="10190" y="2517"/>
                  <a:ext cx="8" cy="9"/>
                </a:xfrm>
                <a:prstGeom prst="rect">
                  <a:avLst/>
                </a:prstGeom>
                <a:solidFill>
                  <a:srgbClr val="01AAE5"/>
                </a:solidFill>
                <a:ln>
                  <a:noFill/>
                </a:ln>
                <a:extLst/>
              </p:spPr>
              <p:txBody>
                <a:bodyPr/>
                <a:lstStyle/>
                <a:p>
                  <a:pPr eaLnBrk="1" hangingPunct="1">
                    <a:defRPr/>
                  </a:pPr>
                  <a:endParaRPr lang="zh-CN" altLang="en-US" sz="1050"/>
                </a:p>
              </p:txBody>
            </p:sp>
            <p:sp>
              <p:nvSpPr>
                <p:cNvPr id="4774" name="Freeform 1716"/>
                <p:cNvSpPr>
                  <a:spLocks/>
                </p:cNvSpPr>
                <p:nvPr/>
              </p:nvSpPr>
              <p:spPr bwMode="auto">
                <a:xfrm>
                  <a:off x="10182" y="2543"/>
                  <a:ext cx="17" cy="0"/>
                </a:xfrm>
                <a:custGeom>
                  <a:avLst/>
                  <a:gdLst>
                    <a:gd name="T0" fmla="*/ 10 w 10"/>
                    <a:gd name="T1" fmla="*/ 0 h 3"/>
                    <a:gd name="T2" fmla="*/ 0 w 10"/>
                    <a:gd name="T3" fmla="*/ 0 h 3"/>
                    <a:gd name="T4" fmla="*/ 0 w 10"/>
                    <a:gd name="T5" fmla="*/ 0 h 3"/>
                    <a:gd name="T6" fmla="*/ 1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0"/>
                      </a:lnTo>
                      <a:lnTo>
                        <a:pt x="0" y="0"/>
                      </a:lnTo>
                      <a:lnTo>
                        <a:pt x="1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775" name="Rectangle 1717"/>
                <p:cNvSpPr>
                  <a:spLocks noChangeArrowheads="1"/>
                </p:cNvSpPr>
                <p:nvPr/>
              </p:nvSpPr>
              <p:spPr bwMode="auto">
                <a:xfrm>
                  <a:off x="10182"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4776" name="Freeform 1718"/>
                <p:cNvSpPr>
                  <a:spLocks/>
                </p:cNvSpPr>
                <p:nvPr/>
              </p:nvSpPr>
              <p:spPr bwMode="auto">
                <a:xfrm>
                  <a:off x="10182" y="2578"/>
                  <a:ext cx="17" cy="0"/>
                </a:xfrm>
                <a:custGeom>
                  <a:avLst/>
                  <a:gdLst>
                    <a:gd name="T0" fmla="*/ 10 w 10"/>
                    <a:gd name="T1" fmla="*/ 0 h 2"/>
                    <a:gd name="T2" fmla="*/ 0 w 10"/>
                    <a:gd name="T3" fmla="*/ 0 h 2"/>
                    <a:gd name="T4" fmla="*/ 0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0"/>
                      </a:lnTo>
                      <a:lnTo>
                        <a:pt x="0"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777" name="Rectangle 1719"/>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4778" name="Rectangle 1720"/>
                <p:cNvSpPr>
                  <a:spLocks noChangeArrowheads="1"/>
                </p:cNvSpPr>
                <p:nvPr/>
              </p:nvSpPr>
              <p:spPr bwMode="auto">
                <a:xfrm>
                  <a:off x="10182"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4779" name="Freeform 1721"/>
                <p:cNvSpPr>
                  <a:spLocks/>
                </p:cNvSpPr>
                <p:nvPr/>
              </p:nvSpPr>
              <p:spPr bwMode="auto">
                <a:xfrm>
                  <a:off x="10182" y="2674"/>
                  <a:ext cx="33" cy="9"/>
                </a:xfrm>
                <a:custGeom>
                  <a:avLst/>
                  <a:gdLst>
                    <a:gd name="T0" fmla="*/ 33 w 33"/>
                    <a:gd name="T1" fmla="*/ 0 h 7"/>
                    <a:gd name="T2" fmla="*/ 0 w 33"/>
                    <a:gd name="T3" fmla="*/ 5 h 7"/>
                    <a:gd name="T4" fmla="*/ 0 w 33"/>
                    <a:gd name="T5" fmla="*/ 7 h 7"/>
                    <a:gd name="T6" fmla="*/ 33 w 33"/>
                    <a:gd name="T7" fmla="*/ 0 h 7"/>
                    <a:gd name="T8" fmla="*/ 33 w 33"/>
                    <a:gd name="T9" fmla="*/ 0 h 7"/>
                  </a:gdLst>
                  <a:ahLst/>
                  <a:cxnLst>
                    <a:cxn ang="0">
                      <a:pos x="T0" y="T1"/>
                    </a:cxn>
                    <a:cxn ang="0">
                      <a:pos x="T2" y="T3"/>
                    </a:cxn>
                    <a:cxn ang="0">
                      <a:pos x="T4" y="T5"/>
                    </a:cxn>
                    <a:cxn ang="0">
                      <a:pos x="T6" y="T7"/>
                    </a:cxn>
                    <a:cxn ang="0">
                      <a:pos x="T8" y="T9"/>
                    </a:cxn>
                  </a:cxnLst>
                  <a:rect l="0" t="0" r="r" b="b"/>
                  <a:pathLst>
                    <a:path w="33" h="7">
                      <a:moveTo>
                        <a:pt x="33" y="0"/>
                      </a:moveTo>
                      <a:lnTo>
                        <a:pt x="0" y="5"/>
                      </a:lnTo>
                      <a:lnTo>
                        <a:pt x="0" y="7"/>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4780" name="Rectangle 1722"/>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4781" name="Freeform 1723"/>
                <p:cNvSpPr>
                  <a:spLocks/>
                </p:cNvSpPr>
                <p:nvPr/>
              </p:nvSpPr>
              <p:spPr bwMode="auto">
                <a:xfrm>
                  <a:off x="10182" y="2621"/>
                  <a:ext cx="25" cy="9"/>
                </a:xfrm>
                <a:custGeom>
                  <a:avLst/>
                  <a:gdLst>
                    <a:gd name="T0" fmla="*/ 24 w 26"/>
                    <a:gd name="T1" fmla="*/ 0 h 5"/>
                    <a:gd name="T2" fmla="*/ 0 w 26"/>
                    <a:gd name="T3" fmla="*/ 3 h 5"/>
                    <a:gd name="T4" fmla="*/ 0 w 26"/>
                    <a:gd name="T5" fmla="*/ 5 h 5"/>
                    <a:gd name="T6" fmla="*/ 26 w 26"/>
                    <a:gd name="T7" fmla="*/ 3 h 5"/>
                    <a:gd name="T8" fmla="*/ 24 w 26"/>
                    <a:gd name="T9" fmla="*/ 0 h 5"/>
                  </a:gdLst>
                  <a:ahLst/>
                  <a:cxnLst>
                    <a:cxn ang="0">
                      <a:pos x="T0" y="T1"/>
                    </a:cxn>
                    <a:cxn ang="0">
                      <a:pos x="T2" y="T3"/>
                    </a:cxn>
                    <a:cxn ang="0">
                      <a:pos x="T4" y="T5"/>
                    </a:cxn>
                    <a:cxn ang="0">
                      <a:pos x="T6" y="T7"/>
                    </a:cxn>
                    <a:cxn ang="0">
                      <a:pos x="T8" y="T9"/>
                    </a:cxn>
                  </a:cxnLst>
                  <a:rect l="0" t="0" r="r" b="b"/>
                  <a:pathLst>
                    <a:path w="26" h="5">
                      <a:moveTo>
                        <a:pt x="24" y="0"/>
                      </a:moveTo>
                      <a:lnTo>
                        <a:pt x="0" y="3"/>
                      </a:lnTo>
                      <a:lnTo>
                        <a:pt x="0" y="5"/>
                      </a:lnTo>
                      <a:lnTo>
                        <a:pt x="26" y="3"/>
                      </a:lnTo>
                      <a:lnTo>
                        <a:pt x="24" y="0"/>
                      </a:lnTo>
                      <a:close/>
                    </a:path>
                  </a:pathLst>
                </a:custGeom>
                <a:solidFill>
                  <a:srgbClr val="01AAE5"/>
                </a:solidFill>
                <a:ln>
                  <a:noFill/>
                </a:ln>
                <a:extLst/>
              </p:spPr>
              <p:txBody>
                <a:bodyPr/>
                <a:lstStyle/>
                <a:p>
                  <a:pPr eaLnBrk="1" hangingPunct="1">
                    <a:defRPr/>
                  </a:pPr>
                  <a:endParaRPr lang="zh-CN" altLang="en-US" sz="1050"/>
                </a:p>
              </p:txBody>
            </p:sp>
            <p:sp>
              <p:nvSpPr>
                <p:cNvPr id="4782" name="Freeform 1724"/>
                <p:cNvSpPr>
                  <a:spLocks/>
                </p:cNvSpPr>
                <p:nvPr/>
              </p:nvSpPr>
              <p:spPr bwMode="auto">
                <a:xfrm>
                  <a:off x="10232" y="2787"/>
                  <a:ext cx="0"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83" name="Freeform 1725"/>
                <p:cNvSpPr>
                  <a:spLocks/>
                </p:cNvSpPr>
                <p:nvPr/>
              </p:nvSpPr>
              <p:spPr bwMode="auto">
                <a:xfrm>
                  <a:off x="10232" y="2796"/>
                  <a:ext cx="0" cy="0"/>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4784" name="Freeform 1726"/>
                <p:cNvSpPr>
                  <a:spLocks/>
                </p:cNvSpPr>
                <p:nvPr/>
              </p:nvSpPr>
              <p:spPr bwMode="auto">
                <a:xfrm>
                  <a:off x="10232" y="2796"/>
                  <a:ext cx="8" cy="9"/>
                </a:xfrm>
                <a:custGeom>
                  <a:avLst/>
                  <a:gdLst>
                    <a:gd name="T0" fmla="*/ 7 w 10"/>
                    <a:gd name="T1" fmla="*/ 0 h 4"/>
                    <a:gd name="T2" fmla="*/ 0 w 10"/>
                    <a:gd name="T3" fmla="*/ 4 h 4"/>
                    <a:gd name="T4" fmla="*/ 0 w 10"/>
                    <a:gd name="T5" fmla="*/ 4 h 4"/>
                    <a:gd name="T6" fmla="*/ 10 w 10"/>
                    <a:gd name="T7" fmla="*/ 2 h 4"/>
                    <a:gd name="T8" fmla="*/ 7 w 10"/>
                    <a:gd name="T9" fmla="*/ 0 h 4"/>
                  </a:gdLst>
                  <a:ahLst/>
                  <a:cxnLst>
                    <a:cxn ang="0">
                      <a:pos x="T0" y="T1"/>
                    </a:cxn>
                    <a:cxn ang="0">
                      <a:pos x="T2" y="T3"/>
                    </a:cxn>
                    <a:cxn ang="0">
                      <a:pos x="T4" y="T5"/>
                    </a:cxn>
                    <a:cxn ang="0">
                      <a:pos x="T6" y="T7"/>
                    </a:cxn>
                    <a:cxn ang="0">
                      <a:pos x="T8" y="T9"/>
                    </a:cxn>
                  </a:cxnLst>
                  <a:rect l="0" t="0" r="r" b="b"/>
                  <a:pathLst>
                    <a:path w="10" h="4">
                      <a:moveTo>
                        <a:pt x="7" y="0"/>
                      </a:moveTo>
                      <a:lnTo>
                        <a:pt x="0" y="4"/>
                      </a:lnTo>
                      <a:lnTo>
                        <a:pt x="0" y="4"/>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85" name="Freeform 1727"/>
                <p:cNvSpPr>
                  <a:spLocks/>
                </p:cNvSpPr>
                <p:nvPr/>
              </p:nvSpPr>
              <p:spPr bwMode="auto">
                <a:xfrm>
                  <a:off x="10232" y="2796"/>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786" name="Freeform 1728"/>
                <p:cNvSpPr>
                  <a:spLocks/>
                </p:cNvSpPr>
                <p:nvPr/>
              </p:nvSpPr>
              <p:spPr bwMode="auto">
                <a:xfrm>
                  <a:off x="10232" y="2778"/>
                  <a:ext cx="0" cy="9"/>
                </a:xfrm>
                <a:custGeom>
                  <a:avLst/>
                  <a:gdLst>
                    <a:gd name="T0" fmla="*/ 7 w 10"/>
                    <a:gd name="T1" fmla="*/ 0 h 5"/>
                    <a:gd name="T2" fmla="*/ 0 w 10"/>
                    <a:gd name="T3" fmla="*/ 5 h 5"/>
                    <a:gd name="T4" fmla="*/ 0 w 10"/>
                    <a:gd name="T5" fmla="*/ 5 h 5"/>
                    <a:gd name="T6" fmla="*/ 10 w 10"/>
                    <a:gd name="T7" fmla="*/ 2 h 5"/>
                    <a:gd name="T8" fmla="*/ 7 w 10"/>
                    <a:gd name="T9" fmla="*/ 0 h 5"/>
                  </a:gdLst>
                  <a:ahLst/>
                  <a:cxnLst>
                    <a:cxn ang="0">
                      <a:pos x="T0" y="T1"/>
                    </a:cxn>
                    <a:cxn ang="0">
                      <a:pos x="T2" y="T3"/>
                    </a:cxn>
                    <a:cxn ang="0">
                      <a:pos x="T4" y="T5"/>
                    </a:cxn>
                    <a:cxn ang="0">
                      <a:pos x="T6" y="T7"/>
                    </a:cxn>
                    <a:cxn ang="0">
                      <a:pos x="T8" y="T9"/>
                    </a:cxn>
                  </a:cxnLst>
                  <a:rect l="0" t="0" r="r" b="b"/>
                  <a:pathLst>
                    <a:path w="10" h="5">
                      <a:moveTo>
                        <a:pt x="7" y="0"/>
                      </a:moveTo>
                      <a:lnTo>
                        <a:pt x="0" y="5"/>
                      </a:lnTo>
                      <a:lnTo>
                        <a:pt x="0" y="5"/>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87" name="Freeform 1729"/>
                <p:cNvSpPr>
                  <a:spLocks/>
                </p:cNvSpPr>
                <p:nvPr/>
              </p:nvSpPr>
              <p:spPr bwMode="auto">
                <a:xfrm>
                  <a:off x="10224" y="2769"/>
                  <a:ext cx="0" cy="0"/>
                </a:xfrm>
                <a:custGeom>
                  <a:avLst/>
                  <a:gdLst>
                    <a:gd name="T0" fmla="*/ 10 w 10"/>
                    <a:gd name="T1" fmla="*/ 0 h 5"/>
                    <a:gd name="T2" fmla="*/ 0 w 10"/>
                    <a:gd name="T3" fmla="*/ 2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2"/>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788" name="Freeform 1730"/>
                <p:cNvSpPr>
                  <a:spLocks/>
                </p:cNvSpPr>
                <p:nvPr/>
              </p:nvSpPr>
              <p:spPr bwMode="auto">
                <a:xfrm>
                  <a:off x="10224" y="2769"/>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89" name="Freeform 1731"/>
                <p:cNvSpPr>
                  <a:spLocks/>
                </p:cNvSpPr>
                <p:nvPr/>
              </p:nvSpPr>
              <p:spPr bwMode="auto">
                <a:xfrm>
                  <a:off x="10224" y="2778"/>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790" name="Freeform 1732"/>
                <p:cNvSpPr>
                  <a:spLocks/>
                </p:cNvSpPr>
                <p:nvPr/>
              </p:nvSpPr>
              <p:spPr bwMode="auto">
                <a:xfrm>
                  <a:off x="10224" y="2769"/>
                  <a:ext cx="0" cy="0"/>
                </a:xfrm>
                <a:custGeom>
                  <a:avLst/>
                  <a:gdLst>
                    <a:gd name="T0" fmla="*/ 7 w 9"/>
                    <a:gd name="T1" fmla="*/ 0 h 4"/>
                    <a:gd name="T2" fmla="*/ 0 w 9"/>
                    <a:gd name="T3" fmla="*/ 2 h 4"/>
                    <a:gd name="T4" fmla="*/ 0 w 9"/>
                    <a:gd name="T5" fmla="*/ 4 h 4"/>
                    <a:gd name="T6" fmla="*/ 9 w 9"/>
                    <a:gd name="T7" fmla="*/ 2 h 4"/>
                    <a:gd name="T8" fmla="*/ 7 w 9"/>
                    <a:gd name="T9" fmla="*/ 0 h 4"/>
                  </a:gdLst>
                  <a:ahLst/>
                  <a:cxnLst>
                    <a:cxn ang="0">
                      <a:pos x="T0" y="T1"/>
                    </a:cxn>
                    <a:cxn ang="0">
                      <a:pos x="T2" y="T3"/>
                    </a:cxn>
                    <a:cxn ang="0">
                      <a:pos x="T4" y="T5"/>
                    </a:cxn>
                    <a:cxn ang="0">
                      <a:pos x="T6" y="T7"/>
                    </a:cxn>
                    <a:cxn ang="0">
                      <a:pos x="T8" y="T9"/>
                    </a:cxn>
                  </a:cxnLst>
                  <a:rect l="0" t="0" r="r" b="b"/>
                  <a:pathLst>
                    <a:path w="9" h="4">
                      <a:moveTo>
                        <a:pt x="7" y="0"/>
                      </a:moveTo>
                      <a:lnTo>
                        <a:pt x="0" y="2"/>
                      </a:lnTo>
                      <a:lnTo>
                        <a:pt x="0" y="4"/>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91" name="Freeform 1733"/>
                <p:cNvSpPr>
                  <a:spLocks/>
                </p:cNvSpPr>
                <p:nvPr/>
              </p:nvSpPr>
              <p:spPr bwMode="auto">
                <a:xfrm>
                  <a:off x="10240" y="2830"/>
                  <a:ext cx="17" cy="0"/>
                </a:xfrm>
                <a:custGeom>
                  <a:avLst/>
                  <a:gdLst>
                    <a:gd name="T0" fmla="*/ 7 w 9"/>
                    <a:gd name="T1" fmla="*/ 0 h 5"/>
                    <a:gd name="T2" fmla="*/ 0 w 9"/>
                    <a:gd name="T3" fmla="*/ 5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5"/>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92" name="Freeform 1734"/>
                <p:cNvSpPr>
                  <a:spLocks/>
                </p:cNvSpPr>
                <p:nvPr/>
              </p:nvSpPr>
              <p:spPr bwMode="auto">
                <a:xfrm>
                  <a:off x="10249" y="2830"/>
                  <a:ext cx="8"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93" name="Freeform 1735"/>
                <p:cNvSpPr>
                  <a:spLocks/>
                </p:cNvSpPr>
                <p:nvPr/>
              </p:nvSpPr>
              <p:spPr bwMode="auto">
                <a:xfrm>
                  <a:off x="10249" y="2830"/>
                  <a:ext cx="8" cy="0"/>
                </a:xfrm>
                <a:custGeom>
                  <a:avLst/>
                  <a:gdLst>
                    <a:gd name="T0" fmla="*/ 7 w 7"/>
                    <a:gd name="T1" fmla="*/ 0 h 5"/>
                    <a:gd name="T2" fmla="*/ 0 w 7"/>
                    <a:gd name="T3" fmla="*/ 5 h 5"/>
                    <a:gd name="T4" fmla="*/ 0 w 7"/>
                    <a:gd name="T5" fmla="*/ 5 h 5"/>
                    <a:gd name="T6" fmla="*/ 7 w 7"/>
                    <a:gd name="T7" fmla="*/ 2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94" name="Freeform 1736"/>
                <p:cNvSpPr>
                  <a:spLocks/>
                </p:cNvSpPr>
                <p:nvPr/>
              </p:nvSpPr>
              <p:spPr bwMode="auto">
                <a:xfrm>
                  <a:off x="10249" y="2839"/>
                  <a:ext cx="8" cy="9"/>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4795" name="Freeform 1737"/>
                <p:cNvSpPr>
                  <a:spLocks/>
                </p:cNvSpPr>
                <p:nvPr/>
              </p:nvSpPr>
              <p:spPr bwMode="auto">
                <a:xfrm>
                  <a:off x="10232" y="2813"/>
                  <a:ext cx="17" cy="9"/>
                </a:xfrm>
                <a:custGeom>
                  <a:avLst/>
                  <a:gdLst>
                    <a:gd name="T0" fmla="*/ 10 w 10"/>
                    <a:gd name="T1" fmla="*/ 0 h 5"/>
                    <a:gd name="T2" fmla="*/ 0 w 10"/>
                    <a:gd name="T3" fmla="*/ 5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5"/>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796" name="Freeform 1738"/>
                <p:cNvSpPr>
                  <a:spLocks/>
                </p:cNvSpPr>
                <p:nvPr/>
              </p:nvSpPr>
              <p:spPr bwMode="auto">
                <a:xfrm>
                  <a:off x="10240" y="2822"/>
                  <a:ext cx="8" cy="9"/>
                </a:xfrm>
                <a:custGeom>
                  <a:avLst/>
                  <a:gdLst>
                    <a:gd name="T0" fmla="*/ 10 w 10"/>
                    <a:gd name="T1" fmla="*/ 0 h 4"/>
                    <a:gd name="T2" fmla="*/ 0 w 10"/>
                    <a:gd name="T3" fmla="*/ 4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4"/>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797" name="Freeform 1739"/>
                <p:cNvSpPr>
                  <a:spLocks/>
                </p:cNvSpPr>
                <p:nvPr/>
              </p:nvSpPr>
              <p:spPr bwMode="auto">
                <a:xfrm>
                  <a:off x="10232" y="2813"/>
                  <a:ext cx="17" cy="0"/>
                </a:xfrm>
                <a:custGeom>
                  <a:avLst/>
                  <a:gdLst>
                    <a:gd name="T0" fmla="*/ 9 w 9"/>
                    <a:gd name="T1" fmla="*/ 0 h 2"/>
                    <a:gd name="T2" fmla="*/ 0 w 9"/>
                    <a:gd name="T3" fmla="*/ 2 h 2"/>
                    <a:gd name="T4" fmla="*/ 2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2"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798" name="Freeform 1740"/>
                <p:cNvSpPr>
                  <a:spLocks/>
                </p:cNvSpPr>
                <p:nvPr/>
              </p:nvSpPr>
              <p:spPr bwMode="auto">
                <a:xfrm>
                  <a:off x="10232" y="2804"/>
                  <a:ext cx="8" cy="9"/>
                </a:xfrm>
                <a:custGeom>
                  <a:avLst/>
                  <a:gdLst>
                    <a:gd name="T0" fmla="*/ 7 w 7"/>
                    <a:gd name="T1" fmla="*/ 0 h 5"/>
                    <a:gd name="T2" fmla="*/ 0 w 7"/>
                    <a:gd name="T3" fmla="*/ 5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799" name="Freeform 1741"/>
                <p:cNvSpPr>
                  <a:spLocks/>
                </p:cNvSpPr>
                <p:nvPr/>
              </p:nvSpPr>
              <p:spPr bwMode="auto">
                <a:xfrm>
                  <a:off x="10207" y="2743"/>
                  <a:ext cx="17" cy="0"/>
                </a:xfrm>
                <a:custGeom>
                  <a:avLst/>
                  <a:gdLst>
                    <a:gd name="T0" fmla="*/ 7 w 7"/>
                    <a:gd name="T1" fmla="*/ 0 h 2"/>
                    <a:gd name="T2" fmla="*/ 0 w 7"/>
                    <a:gd name="T3" fmla="*/ 2 h 2"/>
                    <a:gd name="T4" fmla="*/ 0 w 7"/>
                    <a:gd name="T5" fmla="*/ 2 h 2"/>
                    <a:gd name="T6" fmla="*/ 7 w 7"/>
                    <a:gd name="T7" fmla="*/ 0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2"/>
                      </a:lnTo>
                      <a:lnTo>
                        <a:pt x="0" y="2"/>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4800" name="Freeform 1742"/>
                <p:cNvSpPr>
                  <a:spLocks/>
                </p:cNvSpPr>
                <p:nvPr/>
              </p:nvSpPr>
              <p:spPr bwMode="auto">
                <a:xfrm>
                  <a:off x="10199" y="2708"/>
                  <a:ext cx="17" cy="9"/>
                </a:xfrm>
                <a:custGeom>
                  <a:avLst/>
                  <a:gdLst>
                    <a:gd name="T0" fmla="*/ 14 w 14"/>
                    <a:gd name="T1" fmla="*/ 0 h 5"/>
                    <a:gd name="T2" fmla="*/ 0 w 14"/>
                    <a:gd name="T3" fmla="*/ 2 h 5"/>
                    <a:gd name="T4" fmla="*/ 3 w 14"/>
                    <a:gd name="T5" fmla="*/ 5 h 5"/>
                    <a:gd name="T6" fmla="*/ 14 w 14"/>
                    <a:gd name="T7" fmla="*/ 2 h 5"/>
                    <a:gd name="T8" fmla="*/ 14 w 14"/>
                    <a:gd name="T9" fmla="*/ 0 h 5"/>
                  </a:gdLst>
                  <a:ahLst/>
                  <a:cxnLst>
                    <a:cxn ang="0">
                      <a:pos x="T0" y="T1"/>
                    </a:cxn>
                    <a:cxn ang="0">
                      <a:pos x="T2" y="T3"/>
                    </a:cxn>
                    <a:cxn ang="0">
                      <a:pos x="T4" y="T5"/>
                    </a:cxn>
                    <a:cxn ang="0">
                      <a:pos x="T6" y="T7"/>
                    </a:cxn>
                    <a:cxn ang="0">
                      <a:pos x="T8" y="T9"/>
                    </a:cxn>
                  </a:cxnLst>
                  <a:rect l="0" t="0" r="r" b="b"/>
                  <a:pathLst>
                    <a:path w="14" h="5">
                      <a:moveTo>
                        <a:pt x="14" y="0"/>
                      </a:moveTo>
                      <a:lnTo>
                        <a:pt x="0" y="2"/>
                      </a:lnTo>
                      <a:lnTo>
                        <a:pt x="3" y="5"/>
                      </a:lnTo>
                      <a:lnTo>
                        <a:pt x="14" y="2"/>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801" name="Freeform 1743"/>
                <p:cNvSpPr>
                  <a:spLocks/>
                </p:cNvSpPr>
                <p:nvPr/>
              </p:nvSpPr>
              <p:spPr bwMode="auto">
                <a:xfrm>
                  <a:off x="10199" y="2700"/>
                  <a:ext cx="17" cy="9"/>
                </a:xfrm>
                <a:custGeom>
                  <a:avLst/>
                  <a:gdLst>
                    <a:gd name="T0" fmla="*/ 16 w 16"/>
                    <a:gd name="T1" fmla="*/ 0 h 5"/>
                    <a:gd name="T2" fmla="*/ 0 w 16"/>
                    <a:gd name="T3" fmla="*/ 2 h 5"/>
                    <a:gd name="T4" fmla="*/ 0 w 16"/>
                    <a:gd name="T5" fmla="*/ 5 h 5"/>
                    <a:gd name="T6" fmla="*/ 16 w 16"/>
                    <a:gd name="T7" fmla="*/ 0 h 5"/>
                    <a:gd name="T8" fmla="*/ 16 w 16"/>
                    <a:gd name="T9" fmla="*/ 0 h 5"/>
                  </a:gdLst>
                  <a:ahLst/>
                  <a:cxnLst>
                    <a:cxn ang="0">
                      <a:pos x="T0" y="T1"/>
                    </a:cxn>
                    <a:cxn ang="0">
                      <a:pos x="T2" y="T3"/>
                    </a:cxn>
                    <a:cxn ang="0">
                      <a:pos x="T4" y="T5"/>
                    </a:cxn>
                    <a:cxn ang="0">
                      <a:pos x="T6" y="T7"/>
                    </a:cxn>
                    <a:cxn ang="0">
                      <a:pos x="T8" y="T9"/>
                    </a:cxn>
                  </a:cxnLst>
                  <a:rect l="0" t="0" r="r" b="b"/>
                  <a:pathLst>
                    <a:path w="16" h="5">
                      <a:moveTo>
                        <a:pt x="16" y="0"/>
                      </a:moveTo>
                      <a:lnTo>
                        <a:pt x="0" y="2"/>
                      </a:lnTo>
                      <a:lnTo>
                        <a:pt x="0" y="5"/>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4802" name="Freeform 1744"/>
                <p:cNvSpPr>
                  <a:spLocks/>
                </p:cNvSpPr>
                <p:nvPr/>
              </p:nvSpPr>
              <p:spPr bwMode="auto">
                <a:xfrm>
                  <a:off x="10199" y="2691"/>
                  <a:ext cx="17" cy="9"/>
                </a:xfrm>
                <a:custGeom>
                  <a:avLst/>
                  <a:gdLst>
                    <a:gd name="T0" fmla="*/ 18 w 18"/>
                    <a:gd name="T1" fmla="*/ 0 h 5"/>
                    <a:gd name="T2" fmla="*/ 0 w 18"/>
                    <a:gd name="T3" fmla="*/ 3 h 5"/>
                    <a:gd name="T4" fmla="*/ 0 w 18"/>
                    <a:gd name="T5" fmla="*/ 5 h 5"/>
                    <a:gd name="T6" fmla="*/ 18 w 18"/>
                    <a:gd name="T7" fmla="*/ 0 h 5"/>
                    <a:gd name="T8" fmla="*/ 18 w 18"/>
                    <a:gd name="T9" fmla="*/ 0 h 5"/>
                  </a:gdLst>
                  <a:ahLst/>
                  <a:cxnLst>
                    <a:cxn ang="0">
                      <a:pos x="T0" y="T1"/>
                    </a:cxn>
                    <a:cxn ang="0">
                      <a:pos x="T2" y="T3"/>
                    </a:cxn>
                    <a:cxn ang="0">
                      <a:pos x="T4" y="T5"/>
                    </a:cxn>
                    <a:cxn ang="0">
                      <a:pos x="T6" y="T7"/>
                    </a:cxn>
                    <a:cxn ang="0">
                      <a:pos x="T8" y="T9"/>
                    </a:cxn>
                  </a:cxnLst>
                  <a:rect l="0" t="0" r="r" b="b"/>
                  <a:pathLst>
                    <a:path w="18" h="5">
                      <a:moveTo>
                        <a:pt x="18" y="0"/>
                      </a:moveTo>
                      <a:lnTo>
                        <a:pt x="0" y="3"/>
                      </a:lnTo>
                      <a:lnTo>
                        <a:pt x="0" y="5"/>
                      </a:lnTo>
                      <a:lnTo>
                        <a:pt x="18" y="0"/>
                      </a:lnTo>
                      <a:lnTo>
                        <a:pt x="18" y="0"/>
                      </a:lnTo>
                      <a:close/>
                    </a:path>
                  </a:pathLst>
                </a:custGeom>
                <a:solidFill>
                  <a:srgbClr val="01AAE5"/>
                </a:solidFill>
                <a:ln>
                  <a:noFill/>
                </a:ln>
                <a:extLst/>
              </p:spPr>
              <p:txBody>
                <a:bodyPr/>
                <a:lstStyle/>
                <a:p>
                  <a:pPr eaLnBrk="1" hangingPunct="1">
                    <a:defRPr/>
                  </a:pPr>
                  <a:endParaRPr lang="zh-CN" altLang="en-US" sz="1050"/>
                </a:p>
              </p:txBody>
            </p:sp>
            <p:sp>
              <p:nvSpPr>
                <p:cNvPr id="4803" name="Freeform 1745"/>
                <p:cNvSpPr>
                  <a:spLocks/>
                </p:cNvSpPr>
                <p:nvPr/>
              </p:nvSpPr>
              <p:spPr bwMode="auto">
                <a:xfrm>
                  <a:off x="10199" y="2708"/>
                  <a:ext cx="17" cy="0"/>
                </a:xfrm>
                <a:custGeom>
                  <a:avLst/>
                  <a:gdLst>
                    <a:gd name="T0" fmla="*/ 11 w 11"/>
                    <a:gd name="T1" fmla="*/ 0 h 4"/>
                    <a:gd name="T2" fmla="*/ 0 w 11"/>
                    <a:gd name="T3" fmla="*/ 2 h 4"/>
                    <a:gd name="T4" fmla="*/ 2 w 11"/>
                    <a:gd name="T5" fmla="*/ 4 h 4"/>
                    <a:gd name="T6" fmla="*/ 11 w 11"/>
                    <a:gd name="T7" fmla="*/ 2 h 4"/>
                    <a:gd name="T8" fmla="*/ 11 w 11"/>
                    <a:gd name="T9" fmla="*/ 0 h 4"/>
                  </a:gdLst>
                  <a:ahLst/>
                  <a:cxnLst>
                    <a:cxn ang="0">
                      <a:pos x="T0" y="T1"/>
                    </a:cxn>
                    <a:cxn ang="0">
                      <a:pos x="T2" y="T3"/>
                    </a:cxn>
                    <a:cxn ang="0">
                      <a:pos x="T4" y="T5"/>
                    </a:cxn>
                    <a:cxn ang="0">
                      <a:pos x="T6" y="T7"/>
                    </a:cxn>
                    <a:cxn ang="0">
                      <a:pos x="T8" y="T9"/>
                    </a:cxn>
                  </a:cxnLst>
                  <a:rect l="0" t="0" r="r" b="b"/>
                  <a:pathLst>
                    <a:path w="11" h="4">
                      <a:moveTo>
                        <a:pt x="11" y="0"/>
                      </a:moveTo>
                      <a:lnTo>
                        <a:pt x="0" y="2"/>
                      </a:lnTo>
                      <a:lnTo>
                        <a:pt x="2" y="4"/>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4804" name="Freeform 1746"/>
                <p:cNvSpPr>
                  <a:spLocks/>
                </p:cNvSpPr>
                <p:nvPr/>
              </p:nvSpPr>
              <p:spPr bwMode="auto">
                <a:xfrm>
                  <a:off x="10199" y="2708"/>
                  <a:ext cx="17" cy="9"/>
                </a:xfrm>
                <a:custGeom>
                  <a:avLst/>
                  <a:gdLst>
                    <a:gd name="T0" fmla="*/ 9 w 9"/>
                    <a:gd name="T1" fmla="*/ 0 h 5"/>
                    <a:gd name="T2" fmla="*/ 0 w 9"/>
                    <a:gd name="T3" fmla="*/ 3 h 5"/>
                    <a:gd name="T4" fmla="*/ 0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3"/>
                      </a:lnTo>
                      <a:lnTo>
                        <a:pt x="0"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4805" name="Freeform 1747"/>
                <p:cNvSpPr>
                  <a:spLocks/>
                </p:cNvSpPr>
                <p:nvPr/>
              </p:nvSpPr>
              <p:spPr bwMode="auto">
                <a:xfrm>
                  <a:off x="10190" y="2682"/>
                  <a:ext cx="25" cy="0"/>
                </a:xfrm>
                <a:custGeom>
                  <a:avLst/>
                  <a:gdLst>
                    <a:gd name="T0" fmla="*/ 29 w 29"/>
                    <a:gd name="T1" fmla="*/ 0 h 7"/>
                    <a:gd name="T2" fmla="*/ 0 w 29"/>
                    <a:gd name="T3" fmla="*/ 5 h 7"/>
                    <a:gd name="T4" fmla="*/ 0 w 29"/>
                    <a:gd name="T5" fmla="*/ 7 h 7"/>
                    <a:gd name="T6" fmla="*/ 29 w 29"/>
                    <a:gd name="T7" fmla="*/ 2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lnTo>
                        <a:pt x="0" y="5"/>
                      </a:lnTo>
                      <a:lnTo>
                        <a:pt x="0" y="7"/>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4806" name="Freeform 1748"/>
                <p:cNvSpPr>
                  <a:spLocks/>
                </p:cNvSpPr>
                <p:nvPr/>
              </p:nvSpPr>
              <p:spPr bwMode="auto">
                <a:xfrm>
                  <a:off x="10190" y="2682"/>
                  <a:ext cx="25" cy="9"/>
                </a:xfrm>
                <a:custGeom>
                  <a:avLst/>
                  <a:gdLst>
                    <a:gd name="T0" fmla="*/ 21 w 21"/>
                    <a:gd name="T1" fmla="*/ 0 h 7"/>
                    <a:gd name="T2" fmla="*/ 0 w 21"/>
                    <a:gd name="T3" fmla="*/ 5 h 7"/>
                    <a:gd name="T4" fmla="*/ 0 w 21"/>
                    <a:gd name="T5" fmla="*/ 7 h 7"/>
                    <a:gd name="T6" fmla="*/ 21 w 21"/>
                    <a:gd name="T7" fmla="*/ 3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lnTo>
                        <a:pt x="0" y="5"/>
                      </a:lnTo>
                      <a:lnTo>
                        <a:pt x="0" y="7"/>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807" name="Freeform 1749"/>
                <p:cNvSpPr>
                  <a:spLocks/>
                </p:cNvSpPr>
                <p:nvPr/>
              </p:nvSpPr>
              <p:spPr bwMode="auto">
                <a:xfrm>
                  <a:off x="10190" y="2682"/>
                  <a:ext cx="25" cy="9"/>
                </a:xfrm>
                <a:custGeom>
                  <a:avLst/>
                  <a:gdLst>
                    <a:gd name="T0" fmla="*/ 26 w 26"/>
                    <a:gd name="T1" fmla="*/ 0 h 7"/>
                    <a:gd name="T2" fmla="*/ 0 w 26"/>
                    <a:gd name="T3" fmla="*/ 4 h 7"/>
                    <a:gd name="T4" fmla="*/ 0 w 26"/>
                    <a:gd name="T5" fmla="*/ 7 h 7"/>
                    <a:gd name="T6" fmla="*/ 26 w 26"/>
                    <a:gd name="T7" fmla="*/ 2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4"/>
                      </a:lnTo>
                      <a:lnTo>
                        <a:pt x="0" y="7"/>
                      </a:lnTo>
                      <a:lnTo>
                        <a:pt x="26"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808" name="Freeform 1750"/>
                <p:cNvSpPr>
                  <a:spLocks/>
                </p:cNvSpPr>
                <p:nvPr/>
              </p:nvSpPr>
              <p:spPr bwMode="auto">
                <a:xfrm>
                  <a:off x="10207" y="2735"/>
                  <a:ext cx="17" cy="0"/>
                </a:xfrm>
                <a:custGeom>
                  <a:avLst/>
                  <a:gdLst>
                    <a:gd name="T0" fmla="*/ 9 w 9"/>
                    <a:gd name="T1" fmla="*/ 0 h 2"/>
                    <a:gd name="T2" fmla="*/ 0 w 9"/>
                    <a:gd name="T3" fmla="*/ 2 h 2"/>
                    <a:gd name="T4" fmla="*/ 0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0"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809" name="Freeform 1751"/>
                <p:cNvSpPr>
                  <a:spLocks/>
                </p:cNvSpPr>
                <p:nvPr/>
              </p:nvSpPr>
              <p:spPr bwMode="auto">
                <a:xfrm>
                  <a:off x="10215" y="2752"/>
                  <a:ext cx="8" cy="0"/>
                </a:xfrm>
                <a:custGeom>
                  <a:avLst/>
                  <a:gdLst>
                    <a:gd name="T0" fmla="*/ 10 w 10"/>
                    <a:gd name="T1" fmla="*/ 0 h 4"/>
                    <a:gd name="T2" fmla="*/ 0 w 10"/>
                    <a:gd name="T3" fmla="*/ 2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2"/>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810" name="Freeform 1752"/>
                <p:cNvSpPr>
                  <a:spLocks/>
                </p:cNvSpPr>
                <p:nvPr/>
              </p:nvSpPr>
              <p:spPr bwMode="auto">
                <a:xfrm>
                  <a:off x="10215" y="2743"/>
                  <a:ext cx="8" cy="9"/>
                </a:xfrm>
                <a:custGeom>
                  <a:avLst/>
                  <a:gdLst>
                    <a:gd name="T0" fmla="*/ 8 w 8"/>
                    <a:gd name="T1" fmla="*/ 0 h 5"/>
                    <a:gd name="T2" fmla="*/ 0 w 8"/>
                    <a:gd name="T3" fmla="*/ 2 h 5"/>
                    <a:gd name="T4" fmla="*/ 0 w 8"/>
                    <a:gd name="T5" fmla="*/ 5 h 5"/>
                    <a:gd name="T6" fmla="*/ 8 w 8"/>
                    <a:gd name="T7" fmla="*/ 0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lnTo>
                        <a:pt x="0" y="2"/>
                      </a:lnTo>
                      <a:lnTo>
                        <a:pt x="0" y="5"/>
                      </a:lnTo>
                      <a:lnTo>
                        <a:pt x="8" y="0"/>
                      </a:lnTo>
                      <a:lnTo>
                        <a:pt x="8" y="0"/>
                      </a:lnTo>
                      <a:close/>
                    </a:path>
                  </a:pathLst>
                </a:custGeom>
                <a:solidFill>
                  <a:srgbClr val="01AAE5"/>
                </a:solidFill>
                <a:ln>
                  <a:noFill/>
                </a:ln>
                <a:extLst/>
              </p:spPr>
              <p:txBody>
                <a:bodyPr/>
                <a:lstStyle/>
                <a:p>
                  <a:pPr eaLnBrk="1" hangingPunct="1">
                    <a:defRPr/>
                  </a:pPr>
                  <a:endParaRPr lang="zh-CN" altLang="en-US" sz="1050"/>
                </a:p>
              </p:txBody>
            </p:sp>
            <p:sp>
              <p:nvSpPr>
                <p:cNvPr id="4811" name="Freeform 1753"/>
                <p:cNvSpPr>
                  <a:spLocks/>
                </p:cNvSpPr>
                <p:nvPr/>
              </p:nvSpPr>
              <p:spPr bwMode="auto">
                <a:xfrm>
                  <a:off x="10215" y="2752"/>
                  <a:ext cx="17" cy="9"/>
                </a:xfrm>
                <a:custGeom>
                  <a:avLst/>
                  <a:gdLst>
                    <a:gd name="T0" fmla="*/ 7 w 9"/>
                    <a:gd name="T1" fmla="*/ 0 h 5"/>
                    <a:gd name="T2" fmla="*/ 0 w 9"/>
                    <a:gd name="T3" fmla="*/ 3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3"/>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812" name="Freeform 1754"/>
                <p:cNvSpPr>
                  <a:spLocks/>
                </p:cNvSpPr>
                <p:nvPr/>
              </p:nvSpPr>
              <p:spPr bwMode="auto">
                <a:xfrm>
                  <a:off x="10207" y="2717"/>
                  <a:ext cx="8" cy="9"/>
                </a:xfrm>
                <a:custGeom>
                  <a:avLst/>
                  <a:gdLst>
                    <a:gd name="T0" fmla="*/ 10 w 10"/>
                    <a:gd name="T1" fmla="*/ 0 h 3"/>
                    <a:gd name="T2" fmla="*/ 10 w 10"/>
                    <a:gd name="T3" fmla="*/ 0 h 3"/>
                    <a:gd name="T4" fmla="*/ 0 w 10"/>
                    <a:gd name="T5" fmla="*/ 0 h 3"/>
                    <a:gd name="T6" fmla="*/ 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10" y="0"/>
                      </a:lnTo>
                      <a:lnTo>
                        <a:pt x="0" y="0"/>
                      </a:lnTo>
                      <a:lnTo>
                        <a:pt x="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813" name="Freeform 1755"/>
                <p:cNvSpPr>
                  <a:spLocks/>
                </p:cNvSpPr>
                <p:nvPr/>
              </p:nvSpPr>
              <p:spPr bwMode="auto">
                <a:xfrm>
                  <a:off x="10224" y="2761"/>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814" name="Freeform 1756"/>
                <p:cNvSpPr>
                  <a:spLocks/>
                </p:cNvSpPr>
                <p:nvPr/>
              </p:nvSpPr>
              <p:spPr bwMode="auto">
                <a:xfrm>
                  <a:off x="10182" y="2674"/>
                  <a:ext cx="33" cy="9"/>
                </a:xfrm>
                <a:custGeom>
                  <a:avLst/>
                  <a:gdLst>
                    <a:gd name="T0" fmla="*/ 31 w 31"/>
                    <a:gd name="T1" fmla="*/ 0 h 7"/>
                    <a:gd name="T2" fmla="*/ 0 w 31"/>
                    <a:gd name="T3" fmla="*/ 5 h 7"/>
                    <a:gd name="T4" fmla="*/ 0 w 31"/>
                    <a:gd name="T5" fmla="*/ 7 h 7"/>
                    <a:gd name="T6" fmla="*/ 31 w 31"/>
                    <a:gd name="T7" fmla="*/ 0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0"/>
                      </a:lnTo>
                      <a:lnTo>
                        <a:pt x="31" y="0"/>
                      </a:lnTo>
                      <a:close/>
                    </a:path>
                  </a:pathLst>
                </a:custGeom>
                <a:solidFill>
                  <a:srgbClr val="01AAE5"/>
                </a:solidFill>
                <a:ln>
                  <a:noFill/>
                </a:ln>
                <a:extLst/>
              </p:spPr>
              <p:txBody>
                <a:bodyPr/>
                <a:lstStyle/>
                <a:p>
                  <a:pPr eaLnBrk="1" hangingPunct="1">
                    <a:defRPr/>
                  </a:pPr>
                  <a:endParaRPr lang="zh-CN" altLang="en-US" sz="1050"/>
                </a:p>
              </p:txBody>
            </p:sp>
            <p:sp>
              <p:nvSpPr>
                <p:cNvPr id="4815" name="Freeform 1757"/>
                <p:cNvSpPr>
                  <a:spLocks/>
                </p:cNvSpPr>
                <p:nvPr/>
              </p:nvSpPr>
              <p:spPr bwMode="auto">
                <a:xfrm>
                  <a:off x="10207" y="2743"/>
                  <a:ext cx="17" cy="0"/>
                </a:xfrm>
                <a:custGeom>
                  <a:avLst/>
                  <a:gdLst>
                    <a:gd name="T0" fmla="*/ 10 w 10"/>
                    <a:gd name="T1" fmla="*/ 0 h 3"/>
                    <a:gd name="T2" fmla="*/ 0 w 10"/>
                    <a:gd name="T3" fmla="*/ 3 h 3"/>
                    <a:gd name="T4" fmla="*/ 0 w 10"/>
                    <a:gd name="T5" fmla="*/ 3 h 3"/>
                    <a:gd name="T6" fmla="*/ 10 w 10"/>
                    <a:gd name="T7" fmla="*/ 0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3"/>
                      </a:lnTo>
                      <a:lnTo>
                        <a:pt x="0" y="3"/>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816" name="Freeform 1758"/>
                <p:cNvSpPr>
                  <a:spLocks/>
                </p:cNvSpPr>
                <p:nvPr/>
              </p:nvSpPr>
              <p:spPr bwMode="auto">
                <a:xfrm>
                  <a:off x="10182" y="2604"/>
                  <a:ext cx="17" cy="9"/>
                </a:xfrm>
                <a:custGeom>
                  <a:avLst/>
                  <a:gdLst>
                    <a:gd name="T0" fmla="*/ 16 w 16"/>
                    <a:gd name="T1" fmla="*/ 0 h 2"/>
                    <a:gd name="T2" fmla="*/ 0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0"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4817" name="Freeform 1759"/>
                <p:cNvSpPr>
                  <a:spLocks/>
                </p:cNvSpPr>
                <p:nvPr/>
              </p:nvSpPr>
              <p:spPr bwMode="auto">
                <a:xfrm>
                  <a:off x="10190" y="2299"/>
                  <a:ext cx="67" cy="26"/>
                </a:xfrm>
                <a:custGeom>
                  <a:avLst/>
                  <a:gdLst>
                    <a:gd name="T0" fmla="*/ 69 w 69"/>
                    <a:gd name="T1" fmla="*/ 24 h 26"/>
                    <a:gd name="T2" fmla="*/ 3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3"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4818" name="Freeform 1760"/>
                <p:cNvSpPr>
                  <a:spLocks/>
                </p:cNvSpPr>
                <p:nvPr/>
              </p:nvSpPr>
              <p:spPr bwMode="auto">
                <a:xfrm>
                  <a:off x="10257" y="2229"/>
                  <a:ext cx="17" cy="17"/>
                </a:xfrm>
                <a:custGeom>
                  <a:avLst/>
                  <a:gdLst>
                    <a:gd name="T0" fmla="*/ 16 w 16"/>
                    <a:gd name="T1" fmla="*/ 9 h 9"/>
                    <a:gd name="T2" fmla="*/ 0 w 16"/>
                    <a:gd name="T3" fmla="*/ 0 h 9"/>
                    <a:gd name="T4" fmla="*/ 0 w 16"/>
                    <a:gd name="T5" fmla="*/ 2 h 9"/>
                    <a:gd name="T6" fmla="*/ 16 w 16"/>
                    <a:gd name="T7" fmla="*/ 9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0" y="0"/>
                      </a:lnTo>
                      <a:lnTo>
                        <a:pt x="0" y="2"/>
                      </a:lnTo>
                      <a:lnTo>
                        <a:pt x="16" y="9"/>
                      </a:lnTo>
                      <a:lnTo>
                        <a:pt x="16" y="9"/>
                      </a:lnTo>
                      <a:close/>
                    </a:path>
                  </a:pathLst>
                </a:custGeom>
                <a:solidFill>
                  <a:srgbClr val="01AAE5"/>
                </a:solidFill>
                <a:ln>
                  <a:noFill/>
                </a:ln>
                <a:extLst/>
              </p:spPr>
              <p:txBody>
                <a:bodyPr/>
                <a:lstStyle/>
                <a:p>
                  <a:pPr eaLnBrk="1" hangingPunct="1">
                    <a:defRPr/>
                  </a:pPr>
                  <a:endParaRPr lang="zh-CN" altLang="en-US" sz="1050"/>
                </a:p>
              </p:txBody>
            </p:sp>
            <p:sp>
              <p:nvSpPr>
                <p:cNvPr id="4819" name="Freeform 1761"/>
                <p:cNvSpPr>
                  <a:spLocks/>
                </p:cNvSpPr>
                <p:nvPr/>
              </p:nvSpPr>
              <p:spPr bwMode="auto">
                <a:xfrm>
                  <a:off x="10232" y="2255"/>
                  <a:ext cx="33" cy="9"/>
                </a:xfrm>
                <a:custGeom>
                  <a:avLst/>
                  <a:gdLst>
                    <a:gd name="T0" fmla="*/ 37 w 37"/>
                    <a:gd name="T1" fmla="*/ 17 h 17"/>
                    <a:gd name="T2" fmla="*/ 2 w 37"/>
                    <a:gd name="T3" fmla="*/ 0 h 17"/>
                    <a:gd name="T4" fmla="*/ 0 w 37"/>
                    <a:gd name="T5" fmla="*/ 3 h 17"/>
                    <a:gd name="T6" fmla="*/ 37 w 37"/>
                    <a:gd name="T7" fmla="*/ 17 h 17"/>
                    <a:gd name="T8" fmla="*/ 37 w 37"/>
                    <a:gd name="T9" fmla="*/ 17 h 17"/>
                  </a:gdLst>
                  <a:ahLst/>
                  <a:cxnLst>
                    <a:cxn ang="0">
                      <a:pos x="T0" y="T1"/>
                    </a:cxn>
                    <a:cxn ang="0">
                      <a:pos x="T2" y="T3"/>
                    </a:cxn>
                    <a:cxn ang="0">
                      <a:pos x="T4" y="T5"/>
                    </a:cxn>
                    <a:cxn ang="0">
                      <a:pos x="T6" y="T7"/>
                    </a:cxn>
                    <a:cxn ang="0">
                      <a:pos x="T8" y="T9"/>
                    </a:cxn>
                  </a:cxnLst>
                  <a:rect l="0" t="0" r="r" b="b"/>
                  <a:pathLst>
                    <a:path w="37" h="17">
                      <a:moveTo>
                        <a:pt x="37" y="17"/>
                      </a:moveTo>
                      <a:lnTo>
                        <a:pt x="2" y="0"/>
                      </a:lnTo>
                      <a:lnTo>
                        <a:pt x="0" y="3"/>
                      </a:lnTo>
                      <a:lnTo>
                        <a:pt x="37" y="17"/>
                      </a:lnTo>
                      <a:lnTo>
                        <a:pt x="37" y="17"/>
                      </a:lnTo>
                      <a:close/>
                    </a:path>
                  </a:pathLst>
                </a:custGeom>
                <a:solidFill>
                  <a:srgbClr val="01AAE5"/>
                </a:solidFill>
                <a:ln>
                  <a:noFill/>
                </a:ln>
                <a:extLst/>
              </p:spPr>
              <p:txBody>
                <a:bodyPr/>
                <a:lstStyle/>
                <a:p>
                  <a:pPr eaLnBrk="1" hangingPunct="1">
                    <a:defRPr/>
                  </a:pPr>
                  <a:endParaRPr lang="zh-CN" altLang="en-US" sz="1050"/>
                </a:p>
              </p:txBody>
            </p:sp>
            <p:sp>
              <p:nvSpPr>
                <p:cNvPr id="4820" name="Freeform 1762"/>
                <p:cNvSpPr>
                  <a:spLocks/>
                </p:cNvSpPr>
                <p:nvPr/>
              </p:nvSpPr>
              <p:spPr bwMode="auto">
                <a:xfrm>
                  <a:off x="10232" y="2255"/>
                  <a:ext cx="33" cy="17"/>
                </a:xfrm>
                <a:custGeom>
                  <a:avLst/>
                  <a:gdLst>
                    <a:gd name="T0" fmla="*/ 38 w 38"/>
                    <a:gd name="T1" fmla="*/ 16 h 16"/>
                    <a:gd name="T2" fmla="*/ 0 w 38"/>
                    <a:gd name="T3" fmla="*/ 0 h 16"/>
                    <a:gd name="T4" fmla="*/ 0 w 38"/>
                    <a:gd name="T5" fmla="*/ 0 h 16"/>
                    <a:gd name="T6" fmla="*/ 38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0" y="0"/>
                      </a:lnTo>
                      <a:lnTo>
                        <a:pt x="0" y="0"/>
                      </a:lnTo>
                      <a:lnTo>
                        <a:pt x="38" y="16"/>
                      </a:lnTo>
                      <a:lnTo>
                        <a:pt x="38" y="16"/>
                      </a:lnTo>
                      <a:close/>
                    </a:path>
                  </a:pathLst>
                </a:custGeom>
                <a:solidFill>
                  <a:srgbClr val="01AAE5"/>
                </a:solidFill>
                <a:ln>
                  <a:noFill/>
                </a:ln>
                <a:extLst/>
              </p:spPr>
              <p:txBody>
                <a:bodyPr/>
                <a:lstStyle/>
                <a:p>
                  <a:pPr eaLnBrk="1" hangingPunct="1">
                    <a:defRPr/>
                  </a:pPr>
                  <a:endParaRPr lang="zh-CN" altLang="en-US" sz="1050"/>
                </a:p>
              </p:txBody>
            </p:sp>
            <p:sp>
              <p:nvSpPr>
                <p:cNvPr id="4821" name="Freeform 1763"/>
                <p:cNvSpPr>
                  <a:spLocks/>
                </p:cNvSpPr>
                <p:nvPr/>
              </p:nvSpPr>
              <p:spPr bwMode="auto">
                <a:xfrm>
                  <a:off x="10249" y="2247"/>
                  <a:ext cx="17" cy="0"/>
                </a:xfrm>
                <a:custGeom>
                  <a:avLst/>
                  <a:gdLst>
                    <a:gd name="T0" fmla="*/ 24 w 24"/>
                    <a:gd name="T1" fmla="*/ 9 h 12"/>
                    <a:gd name="T2" fmla="*/ 3 w 24"/>
                    <a:gd name="T3" fmla="*/ 0 h 12"/>
                    <a:gd name="T4" fmla="*/ 0 w 24"/>
                    <a:gd name="T5" fmla="*/ 0 h 12"/>
                    <a:gd name="T6" fmla="*/ 24 w 24"/>
                    <a:gd name="T7" fmla="*/ 12 h 12"/>
                    <a:gd name="T8" fmla="*/ 24 w 24"/>
                    <a:gd name="T9" fmla="*/ 9 h 12"/>
                  </a:gdLst>
                  <a:ahLst/>
                  <a:cxnLst>
                    <a:cxn ang="0">
                      <a:pos x="T0" y="T1"/>
                    </a:cxn>
                    <a:cxn ang="0">
                      <a:pos x="T2" y="T3"/>
                    </a:cxn>
                    <a:cxn ang="0">
                      <a:pos x="T4" y="T5"/>
                    </a:cxn>
                    <a:cxn ang="0">
                      <a:pos x="T6" y="T7"/>
                    </a:cxn>
                    <a:cxn ang="0">
                      <a:pos x="T8" y="T9"/>
                    </a:cxn>
                  </a:cxnLst>
                  <a:rect l="0" t="0" r="r" b="b"/>
                  <a:pathLst>
                    <a:path w="24" h="12">
                      <a:moveTo>
                        <a:pt x="24" y="9"/>
                      </a:moveTo>
                      <a:lnTo>
                        <a:pt x="3" y="0"/>
                      </a:lnTo>
                      <a:lnTo>
                        <a:pt x="0" y="0"/>
                      </a:lnTo>
                      <a:lnTo>
                        <a:pt x="24" y="12"/>
                      </a:lnTo>
                      <a:lnTo>
                        <a:pt x="24" y="9"/>
                      </a:lnTo>
                      <a:close/>
                    </a:path>
                  </a:pathLst>
                </a:custGeom>
                <a:solidFill>
                  <a:srgbClr val="01AAE5"/>
                </a:solidFill>
                <a:ln>
                  <a:noFill/>
                </a:ln>
                <a:extLst/>
              </p:spPr>
              <p:txBody>
                <a:bodyPr/>
                <a:lstStyle/>
                <a:p>
                  <a:pPr eaLnBrk="1" hangingPunct="1">
                    <a:defRPr/>
                  </a:pPr>
                  <a:endParaRPr lang="zh-CN" altLang="en-US" sz="1050"/>
                </a:p>
              </p:txBody>
            </p:sp>
            <p:sp>
              <p:nvSpPr>
                <p:cNvPr id="4822" name="Freeform 1764"/>
                <p:cNvSpPr>
                  <a:spLocks/>
                </p:cNvSpPr>
                <p:nvPr/>
              </p:nvSpPr>
              <p:spPr bwMode="auto">
                <a:xfrm>
                  <a:off x="10240" y="2247"/>
                  <a:ext cx="25" cy="9"/>
                </a:xfrm>
                <a:custGeom>
                  <a:avLst/>
                  <a:gdLst>
                    <a:gd name="T0" fmla="*/ 26 w 26"/>
                    <a:gd name="T1" fmla="*/ 12 h 15"/>
                    <a:gd name="T2" fmla="*/ 0 w 26"/>
                    <a:gd name="T3" fmla="*/ 0 h 15"/>
                    <a:gd name="T4" fmla="*/ 0 w 26"/>
                    <a:gd name="T5" fmla="*/ 3 h 15"/>
                    <a:gd name="T6" fmla="*/ 26 w 26"/>
                    <a:gd name="T7" fmla="*/ 15 h 15"/>
                    <a:gd name="T8" fmla="*/ 26 w 26"/>
                    <a:gd name="T9" fmla="*/ 12 h 15"/>
                  </a:gdLst>
                  <a:ahLst/>
                  <a:cxnLst>
                    <a:cxn ang="0">
                      <a:pos x="T0" y="T1"/>
                    </a:cxn>
                    <a:cxn ang="0">
                      <a:pos x="T2" y="T3"/>
                    </a:cxn>
                    <a:cxn ang="0">
                      <a:pos x="T4" y="T5"/>
                    </a:cxn>
                    <a:cxn ang="0">
                      <a:pos x="T6" y="T7"/>
                    </a:cxn>
                    <a:cxn ang="0">
                      <a:pos x="T8" y="T9"/>
                    </a:cxn>
                  </a:cxnLst>
                  <a:rect l="0" t="0" r="r" b="b"/>
                  <a:pathLst>
                    <a:path w="26" h="15">
                      <a:moveTo>
                        <a:pt x="26" y="12"/>
                      </a:moveTo>
                      <a:lnTo>
                        <a:pt x="0" y="0"/>
                      </a:lnTo>
                      <a:lnTo>
                        <a:pt x="0" y="3"/>
                      </a:lnTo>
                      <a:lnTo>
                        <a:pt x="26" y="15"/>
                      </a:lnTo>
                      <a:lnTo>
                        <a:pt x="26" y="12"/>
                      </a:lnTo>
                      <a:close/>
                    </a:path>
                  </a:pathLst>
                </a:custGeom>
                <a:solidFill>
                  <a:srgbClr val="01AAE5"/>
                </a:solidFill>
                <a:ln>
                  <a:noFill/>
                </a:ln>
                <a:extLst/>
              </p:spPr>
              <p:txBody>
                <a:bodyPr/>
                <a:lstStyle/>
                <a:p>
                  <a:pPr eaLnBrk="1" hangingPunct="1">
                    <a:defRPr/>
                  </a:pPr>
                  <a:endParaRPr lang="zh-CN" altLang="en-US" sz="1050"/>
                </a:p>
              </p:txBody>
            </p:sp>
            <p:sp>
              <p:nvSpPr>
                <p:cNvPr id="4823" name="Freeform 1765"/>
                <p:cNvSpPr>
                  <a:spLocks/>
                </p:cNvSpPr>
                <p:nvPr/>
              </p:nvSpPr>
              <p:spPr bwMode="auto">
                <a:xfrm>
                  <a:off x="10249" y="2238"/>
                  <a:ext cx="25" cy="9"/>
                </a:xfrm>
                <a:custGeom>
                  <a:avLst/>
                  <a:gdLst>
                    <a:gd name="T0" fmla="*/ 21 w 21"/>
                    <a:gd name="T1" fmla="*/ 10 h 12"/>
                    <a:gd name="T2" fmla="*/ 2 w 21"/>
                    <a:gd name="T3" fmla="*/ 0 h 12"/>
                    <a:gd name="T4" fmla="*/ 0 w 21"/>
                    <a:gd name="T5" fmla="*/ 0 h 12"/>
                    <a:gd name="T6" fmla="*/ 21 w 21"/>
                    <a:gd name="T7" fmla="*/ 12 h 12"/>
                    <a:gd name="T8" fmla="*/ 21 w 21"/>
                    <a:gd name="T9" fmla="*/ 10 h 12"/>
                  </a:gdLst>
                  <a:ahLst/>
                  <a:cxnLst>
                    <a:cxn ang="0">
                      <a:pos x="T0" y="T1"/>
                    </a:cxn>
                    <a:cxn ang="0">
                      <a:pos x="T2" y="T3"/>
                    </a:cxn>
                    <a:cxn ang="0">
                      <a:pos x="T4" y="T5"/>
                    </a:cxn>
                    <a:cxn ang="0">
                      <a:pos x="T6" y="T7"/>
                    </a:cxn>
                    <a:cxn ang="0">
                      <a:pos x="T8" y="T9"/>
                    </a:cxn>
                  </a:cxnLst>
                  <a:rect l="0" t="0" r="r" b="b"/>
                  <a:pathLst>
                    <a:path w="21" h="12">
                      <a:moveTo>
                        <a:pt x="21" y="10"/>
                      </a:moveTo>
                      <a:lnTo>
                        <a:pt x="2" y="0"/>
                      </a:lnTo>
                      <a:lnTo>
                        <a:pt x="0" y="0"/>
                      </a:lnTo>
                      <a:lnTo>
                        <a:pt x="21" y="12"/>
                      </a:lnTo>
                      <a:lnTo>
                        <a:pt x="21" y="10"/>
                      </a:lnTo>
                      <a:close/>
                    </a:path>
                  </a:pathLst>
                </a:custGeom>
                <a:solidFill>
                  <a:srgbClr val="01AAE5"/>
                </a:solidFill>
                <a:ln>
                  <a:noFill/>
                </a:ln>
                <a:extLst/>
              </p:spPr>
              <p:txBody>
                <a:bodyPr/>
                <a:lstStyle/>
                <a:p>
                  <a:pPr eaLnBrk="1" hangingPunct="1">
                    <a:defRPr/>
                  </a:pPr>
                  <a:endParaRPr lang="zh-CN" altLang="en-US" sz="1050"/>
                </a:p>
              </p:txBody>
            </p:sp>
            <p:sp>
              <p:nvSpPr>
                <p:cNvPr id="4824" name="Freeform 1766"/>
                <p:cNvSpPr>
                  <a:spLocks/>
                </p:cNvSpPr>
                <p:nvPr/>
              </p:nvSpPr>
              <p:spPr bwMode="auto">
                <a:xfrm>
                  <a:off x="10224" y="2264"/>
                  <a:ext cx="42" cy="17"/>
                </a:xfrm>
                <a:custGeom>
                  <a:avLst/>
                  <a:gdLst>
                    <a:gd name="T0" fmla="*/ 42 w 42"/>
                    <a:gd name="T1" fmla="*/ 16 h 19"/>
                    <a:gd name="T2" fmla="*/ 0 w 42"/>
                    <a:gd name="T3" fmla="*/ 0 h 19"/>
                    <a:gd name="T4" fmla="*/ 0 w 42"/>
                    <a:gd name="T5" fmla="*/ 0 h 19"/>
                    <a:gd name="T6" fmla="*/ 42 w 42"/>
                    <a:gd name="T7" fmla="*/ 19 h 19"/>
                    <a:gd name="T8" fmla="*/ 42 w 42"/>
                    <a:gd name="T9" fmla="*/ 16 h 19"/>
                  </a:gdLst>
                  <a:ahLst/>
                  <a:cxnLst>
                    <a:cxn ang="0">
                      <a:pos x="T0" y="T1"/>
                    </a:cxn>
                    <a:cxn ang="0">
                      <a:pos x="T2" y="T3"/>
                    </a:cxn>
                    <a:cxn ang="0">
                      <a:pos x="T4" y="T5"/>
                    </a:cxn>
                    <a:cxn ang="0">
                      <a:pos x="T6" y="T7"/>
                    </a:cxn>
                    <a:cxn ang="0">
                      <a:pos x="T8" y="T9"/>
                    </a:cxn>
                  </a:cxnLst>
                  <a:rect l="0" t="0" r="r" b="b"/>
                  <a:pathLst>
                    <a:path w="42" h="19">
                      <a:moveTo>
                        <a:pt x="42" y="16"/>
                      </a:moveTo>
                      <a:lnTo>
                        <a:pt x="0" y="0"/>
                      </a:lnTo>
                      <a:lnTo>
                        <a:pt x="0" y="0"/>
                      </a:lnTo>
                      <a:lnTo>
                        <a:pt x="42" y="19"/>
                      </a:lnTo>
                      <a:lnTo>
                        <a:pt x="42" y="16"/>
                      </a:lnTo>
                      <a:close/>
                    </a:path>
                  </a:pathLst>
                </a:custGeom>
                <a:solidFill>
                  <a:srgbClr val="01AAE5"/>
                </a:solidFill>
                <a:ln>
                  <a:noFill/>
                </a:ln>
                <a:extLst/>
              </p:spPr>
              <p:txBody>
                <a:bodyPr/>
                <a:lstStyle/>
                <a:p>
                  <a:pPr eaLnBrk="1" hangingPunct="1">
                    <a:defRPr/>
                  </a:pPr>
                  <a:endParaRPr lang="zh-CN" altLang="en-US" sz="1050"/>
                </a:p>
              </p:txBody>
            </p:sp>
            <p:sp>
              <p:nvSpPr>
                <p:cNvPr id="4825" name="Freeform 1767"/>
                <p:cNvSpPr>
                  <a:spLocks/>
                </p:cNvSpPr>
                <p:nvPr/>
              </p:nvSpPr>
              <p:spPr bwMode="auto">
                <a:xfrm>
                  <a:off x="10232" y="2247"/>
                  <a:ext cx="33" cy="17"/>
                </a:xfrm>
                <a:custGeom>
                  <a:avLst/>
                  <a:gdLst>
                    <a:gd name="T0" fmla="*/ 33 w 33"/>
                    <a:gd name="T1" fmla="*/ 14 h 14"/>
                    <a:gd name="T2" fmla="*/ 3 w 33"/>
                    <a:gd name="T3" fmla="*/ 0 h 14"/>
                    <a:gd name="T4" fmla="*/ 0 w 33"/>
                    <a:gd name="T5" fmla="*/ 0 h 14"/>
                    <a:gd name="T6" fmla="*/ 33 w 33"/>
                    <a:gd name="T7" fmla="*/ 14 h 14"/>
                    <a:gd name="T8" fmla="*/ 33 w 33"/>
                    <a:gd name="T9" fmla="*/ 14 h 14"/>
                  </a:gdLst>
                  <a:ahLst/>
                  <a:cxnLst>
                    <a:cxn ang="0">
                      <a:pos x="T0" y="T1"/>
                    </a:cxn>
                    <a:cxn ang="0">
                      <a:pos x="T2" y="T3"/>
                    </a:cxn>
                    <a:cxn ang="0">
                      <a:pos x="T4" y="T5"/>
                    </a:cxn>
                    <a:cxn ang="0">
                      <a:pos x="T6" y="T7"/>
                    </a:cxn>
                    <a:cxn ang="0">
                      <a:pos x="T8" y="T9"/>
                    </a:cxn>
                  </a:cxnLst>
                  <a:rect l="0" t="0" r="r" b="b"/>
                  <a:pathLst>
                    <a:path w="33" h="14">
                      <a:moveTo>
                        <a:pt x="33" y="14"/>
                      </a:moveTo>
                      <a:lnTo>
                        <a:pt x="3" y="0"/>
                      </a:lnTo>
                      <a:lnTo>
                        <a:pt x="0" y="0"/>
                      </a:lnTo>
                      <a:lnTo>
                        <a:pt x="33" y="14"/>
                      </a:lnTo>
                      <a:lnTo>
                        <a:pt x="33" y="14"/>
                      </a:lnTo>
                      <a:close/>
                    </a:path>
                  </a:pathLst>
                </a:custGeom>
                <a:solidFill>
                  <a:srgbClr val="01AAE5"/>
                </a:solidFill>
                <a:ln>
                  <a:noFill/>
                </a:ln>
                <a:extLst/>
              </p:spPr>
              <p:txBody>
                <a:bodyPr/>
                <a:lstStyle/>
                <a:p>
                  <a:pPr eaLnBrk="1" hangingPunct="1">
                    <a:defRPr/>
                  </a:pPr>
                  <a:endParaRPr lang="zh-CN" altLang="en-US" sz="1050"/>
                </a:p>
              </p:txBody>
            </p:sp>
            <p:sp>
              <p:nvSpPr>
                <p:cNvPr id="4826" name="Freeform 1768"/>
                <p:cNvSpPr>
                  <a:spLocks/>
                </p:cNvSpPr>
                <p:nvPr/>
              </p:nvSpPr>
              <p:spPr bwMode="auto">
                <a:xfrm>
                  <a:off x="10199" y="2281"/>
                  <a:ext cx="58" cy="17"/>
                </a:xfrm>
                <a:custGeom>
                  <a:avLst/>
                  <a:gdLst>
                    <a:gd name="T0" fmla="*/ 56 w 56"/>
                    <a:gd name="T1" fmla="*/ 23 h 23"/>
                    <a:gd name="T2" fmla="*/ 0 w 56"/>
                    <a:gd name="T3" fmla="*/ 0 h 23"/>
                    <a:gd name="T4" fmla="*/ 0 w 56"/>
                    <a:gd name="T5" fmla="*/ 2 h 23"/>
                    <a:gd name="T6" fmla="*/ 56 w 56"/>
                    <a:gd name="T7" fmla="*/ 23 h 23"/>
                    <a:gd name="T8" fmla="*/ 56 w 56"/>
                    <a:gd name="T9" fmla="*/ 23 h 23"/>
                  </a:gdLst>
                  <a:ahLst/>
                  <a:cxnLst>
                    <a:cxn ang="0">
                      <a:pos x="T0" y="T1"/>
                    </a:cxn>
                    <a:cxn ang="0">
                      <a:pos x="T2" y="T3"/>
                    </a:cxn>
                    <a:cxn ang="0">
                      <a:pos x="T4" y="T5"/>
                    </a:cxn>
                    <a:cxn ang="0">
                      <a:pos x="T6" y="T7"/>
                    </a:cxn>
                    <a:cxn ang="0">
                      <a:pos x="T8" y="T9"/>
                    </a:cxn>
                  </a:cxnLst>
                  <a:rect l="0" t="0" r="r" b="b"/>
                  <a:pathLst>
                    <a:path w="56" h="23">
                      <a:moveTo>
                        <a:pt x="56" y="23"/>
                      </a:moveTo>
                      <a:lnTo>
                        <a:pt x="0" y="0"/>
                      </a:lnTo>
                      <a:lnTo>
                        <a:pt x="0" y="2"/>
                      </a:lnTo>
                      <a:lnTo>
                        <a:pt x="56" y="23"/>
                      </a:lnTo>
                      <a:lnTo>
                        <a:pt x="56" y="23"/>
                      </a:lnTo>
                      <a:close/>
                    </a:path>
                  </a:pathLst>
                </a:custGeom>
                <a:solidFill>
                  <a:srgbClr val="01AAE5"/>
                </a:solidFill>
                <a:ln>
                  <a:noFill/>
                </a:ln>
                <a:extLst/>
              </p:spPr>
              <p:txBody>
                <a:bodyPr/>
                <a:lstStyle/>
                <a:p>
                  <a:pPr eaLnBrk="1" hangingPunct="1">
                    <a:defRPr/>
                  </a:pPr>
                  <a:endParaRPr lang="zh-CN" altLang="en-US" sz="1050"/>
                </a:p>
              </p:txBody>
            </p:sp>
            <p:sp>
              <p:nvSpPr>
                <p:cNvPr id="4827" name="Freeform 1769"/>
                <p:cNvSpPr>
                  <a:spLocks/>
                </p:cNvSpPr>
                <p:nvPr/>
              </p:nvSpPr>
              <p:spPr bwMode="auto">
                <a:xfrm>
                  <a:off x="10215" y="2264"/>
                  <a:ext cx="50" cy="26"/>
                </a:xfrm>
                <a:custGeom>
                  <a:avLst/>
                  <a:gdLst>
                    <a:gd name="T0" fmla="*/ 47 w 47"/>
                    <a:gd name="T1" fmla="*/ 19 h 21"/>
                    <a:gd name="T2" fmla="*/ 2 w 47"/>
                    <a:gd name="T3" fmla="*/ 0 h 21"/>
                    <a:gd name="T4" fmla="*/ 0 w 47"/>
                    <a:gd name="T5" fmla="*/ 2 h 21"/>
                    <a:gd name="T6" fmla="*/ 47 w 47"/>
                    <a:gd name="T7" fmla="*/ 21 h 21"/>
                    <a:gd name="T8" fmla="*/ 47 w 47"/>
                    <a:gd name="T9" fmla="*/ 19 h 21"/>
                  </a:gdLst>
                  <a:ahLst/>
                  <a:cxnLst>
                    <a:cxn ang="0">
                      <a:pos x="T0" y="T1"/>
                    </a:cxn>
                    <a:cxn ang="0">
                      <a:pos x="T2" y="T3"/>
                    </a:cxn>
                    <a:cxn ang="0">
                      <a:pos x="T4" y="T5"/>
                    </a:cxn>
                    <a:cxn ang="0">
                      <a:pos x="T6" y="T7"/>
                    </a:cxn>
                    <a:cxn ang="0">
                      <a:pos x="T8" y="T9"/>
                    </a:cxn>
                  </a:cxnLst>
                  <a:rect l="0" t="0" r="r" b="b"/>
                  <a:pathLst>
                    <a:path w="47" h="21">
                      <a:moveTo>
                        <a:pt x="47" y="19"/>
                      </a:moveTo>
                      <a:lnTo>
                        <a:pt x="2" y="0"/>
                      </a:lnTo>
                      <a:lnTo>
                        <a:pt x="0" y="2"/>
                      </a:lnTo>
                      <a:lnTo>
                        <a:pt x="47" y="21"/>
                      </a:lnTo>
                      <a:lnTo>
                        <a:pt x="47" y="19"/>
                      </a:lnTo>
                      <a:close/>
                    </a:path>
                  </a:pathLst>
                </a:custGeom>
                <a:solidFill>
                  <a:srgbClr val="01AAE5"/>
                </a:solidFill>
                <a:ln>
                  <a:noFill/>
                </a:ln>
                <a:extLst/>
              </p:spPr>
              <p:txBody>
                <a:bodyPr/>
                <a:lstStyle/>
                <a:p>
                  <a:pPr eaLnBrk="1" hangingPunct="1">
                    <a:defRPr/>
                  </a:pPr>
                  <a:endParaRPr lang="zh-CN" altLang="en-US" sz="1050"/>
                </a:p>
              </p:txBody>
            </p:sp>
            <p:sp>
              <p:nvSpPr>
                <p:cNvPr id="4828" name="Freeform 1770"/>
                <p:cNvSpPr>
                  <a:spLocks/>
                </p:cNvSpPr>
                <p:nvPr/>
              </p:nvSpPr>
              <p:spPr bwMode="auto">
                <a:xfrm>
                  <a:off x="10199" y="2290"/>
                  <a:ext cx="58" cy="17"/>
                </a:xfrm>
                <a:custGeom>
                  <a:avLst/>
                  <a:gdLst>
                    <a:gd name="T0" fmla="*/ 61 w 61"/>
                    <a:gd name="T1" fmla="*/ 24 h 24"/>
                    <a:gd name="T2" fmla="*/ 2 w 61"/>
                    <a:gd name="T3" fmla="*/ 0 h 24"/>
                    <a:gd name="T4" fmla="*/ 0 w 61"/>
                    <a:gd name="T5" fmla="*/ 3 h 24"/>
                    <a:gd name="T6" fmla="*/ 61 w 61"/>
                    <a:gd name="T7" fmla="*/ 24 h 24"/>
                    <a:gd name="T8" fmla="*/ 61 w 61"/>
                    <a:gd name="T9" fmla="*/ 24 h 24"/>
                  </a:gdLst>
                  <a:ahLst/>
                  <a:cxnLst>
                    <a:cxn ang="0">
                      <a:pos x="T0" y="T1"/>
                    </a:cxn>
                    <a:cxn ang="0">
                      <a:pos x="T2" y="T3"/>
                    </a:cxn>
                    <a:cxn ang="0">
                      <a:pos x="T4" y="T5"/>
                    </a:cxn>
                    <a:cxn ang="0">
                      <a:pos x="T6" y="T7"/>
                    </a:cxn>
                    <a:cxn ang="0">
                      <a:pos x="T8" y="T9"/>
                    </a:cxn>
                  </a:cxnLst>
                  <a:rect l="0" t="0" r="r" b="b"/>
                  <a:pathLst>
                    <a:path w="61" h="24">
                      <a:moveTo>
                        <a:pt x="61" y="24"/>
                      </a:moveTo>
                      <a:lnTo>
                        <a:pt x="2" y="0"/>
                      </a:lnTo>
                      <a:lnTo>
                        <a:pt x="0" y="3"/>
                      </a:lnTo>
                      <a:lnTo>
                        <a:pt x="61" y="24"/>
                      </a:lnTo>
                      <a:lnTo>
                        <a:pt x="61" y="24"/>
                      </a:lnTo>
                      <a:close/>
                    </a:path>
                  </a:pathLst>
                </a:custGeom>
                <a:solidFill>
                  <a:srgbClr val="01AAE5"/>
                </a:solidFill>
                <a:ln>
                  <a:noFill/>
                </a:ln>
                <a:extLst/>
              </p:spPr>
              <p:txBody>
                <a:bodyPr/>
                <a:lstStyle/>
                <a:p>
                  <a:pPr eaLnBrk="1" hangingPunct="1">
                    <a:defRPr/>
                  </a:pPr>
                  <a:endParaRPr lang="zh-CN" altLang="en-US" sz="1050"/>
                </a:p>
              </p:txBody>
            </p:sp>
            <p:sp>
              <p:nvSpPr>
                <p:cNvPr id="4829" name="Freeform 1771"/>
                <p:cNvSpPr>
                  <a:spLocks/>
                </p:cNvSpPr>
                <p:nvPr/>
              </p:nvSpPr>
              <p:spPr bwMode="auto">
                <a:xfrm>
                  <a:off x="10190" y="2299"/>
                  <a:ext cx="67" cy="26"/>
                </a:xfrm>
                <a:custGeom>
                  <a:avLst/>
                  <a:gdLst>
                    <a:gd name="T0" fmla="*/ 64 w 64"/>
                    <a:gd name="T1" fmla="*/ 23 h 26"/>
                    <a:gd name="T2" fmla="*/ 0 w 64"/>
                    <a:gd name="T3" fmla="*/ 0 h 26"/>
                    <a:gd name="T4" fmla="*/ 0 w 64"/>
                    <a:gd name="T5" fmla="*/ 2 h 26"/>
                    <a:gd name="T6" fmla="*/ 64 w 64"/>
                    <a:gd name="T7" fmla="*/ 26 h 26"/>
                    <a:gd name="T8" fmla="*/ 64 w 64"/>
                    <a:gd name="T9" fmla="*/ 23 h 26"/>
                  </a:gdLst>
                  <a:ahLst/>
                  <a:cxnLst>
                    <a:cxn ang="0">
                      <a:pos x="T0" y="T1"/>
                    </a:cxn>
                    <a:cxn ang="0">
                      <a:pos x="T2" y="T3"/>
                    </a:cxn>
                    <a:cxn ang="0">
                      <a:pos x="T4" y="T5"/>
                    </a:cxn>
                    <a:cxn ang="0">
                      <a:pos x="T6" y="T7"/>
                    </a:cxn>
                    <a:cxn ang="0">
                      <a:pos x="T8" y="T9"/>
                    </a:cxn>
                  </a:cxnLst>
                  <a:rect l="0" t="0" r="r" b="b"/>
                  <a:pathLst>
                    <a:path w="64" h="26">
                      <a:moveTo>
                        <a:pt x="64" y="23"/>
                      </a:moveTo>
                      <a:lnTo>
                        <a:pt x="0" y="0"/>
                      </a:lnTo>
                      <a:lnTo>
                        <a:pt x="0" y="2"/>
                      </a:lnTo>
                      <a:lnTo>
                        <a:pt x="64" y="26"/>
                      </a:lnTo>
                      <a:lnTo>
                        <a:pt x="64" y="23"/>
                      </a:lnTo>
                      <a:close/>
                    </a:path>
                  </a:pathLst>
                </a:custGeom>
                <a:solidFill>
                  <a:srgbClr val="01AAE5"/>
                </a:solidFill>
                <a:ln>
                  <a:noFill/>
                </a:ln>
                <a:extLst/>
              </p:spPr>
              <p:txBody>
                <a:bodyPr/>
                <a:lstStyle/>
                <a:p>
                  <a:pPr eaLnBrk="1" hangingPunct="1">
                    <a:defRPr/>
                  </a:pPr>
                  <a:endParaRPr lang="zh-CN" altLang="en-US" sz="1050"/>
                </a:p>
              </p:txBody>
            </p:sp>
            <p:sp>
              <p:nvSpPr>
                <p:cNvPr id="4830" name="Freeform 1772"/>
                <p:cNvSpPr>
                  <a:spLocks/>
                </p:cNvSpPr>
                <p:nvPr/>
              </p:nvSpPr>
              <p:spPr bwMode="auto">
                <a:xfrm>
                  <a:off x="10199" y="2290"/>
                  <a:ext cx="58" cy="26"/>
                </a:xfrm>
                <a:custGeom>
                  <a:avLst/>
                  <a:gdLst>
                    <a:gd name="T0" fmla="*/ 63 w 63"/>
                    <a:gd name="T1" fmla="*/ 24 h 24"/>
                    <a:gd name="T2" fmla="*/ 0 w 63"/>
                    <a:gd name="T3" fmla="*/ 0 h 24"/>
                    <a:gd name="T4" fmla="*/ 0 w 63"/>
                    <a:gd name="T5" fmla="*/ 2 h 24"/>
                    <a:gd name="T6" fmla="*/ 63 w 63"/>
                    <a:gd name="T7" fmla="*/ 24 h 24"/>
                    <a:gd name="T8" fmla="*/ 63 w 63"/>
                    <a:gd name="T9" fmla="*/ 24 h 24"/>
                  </a:gdLst>
                  <a:ahLst/>
                  <a:cxnLst>
                    <a:cxn ang="0">
                      <a:pos x="T0" y="T1"/>
                    </a:cxn>
                    <a:cxn ang="0">
                      <a:pos x="T2" y="T3"/>
                    </a:cxn>
                    <a:cxn ang="0">
                      <a:pos x="T4" y="T5"/>
                    </a:cxn>
                    <a:cxn ang="0">
                      <a:pos x="T6" y="T7"/>
                    </a:cxn>
                    <a:cxn ang="0">
                      <a:pos x="T8" y="T9"/>
                    </a:cxn>
                  </a:cxnLst>
                  <a:rect l="0" t="0" r="r" b="b"/>
                  <a:pathLst>
                    <a:path w="63" h="24">
                      <a:moveTo>
                        <a:pt x="63" y="24"/>
                      </a:moveTo>
                      <a:lnTo>
                        <a:pt x="0" y="0"/>
                      </a:lnTo>
                      <a:lnTo>
                        <a:pt x="0" y="2"/>
                      </a:lnTo>
                      <a:lnTo>
                        <a:pt x="63" y="24"/>
                      </a:lnTo>
                      <a:lnTo>
                        <a:pt x="63" y="24"/>
                      </a:lnTo>
                      <a:close/>
                    </a:path>
                  </a:pathLst>
                </a:custGeom>
                <a:solidFill>
                  <a:srgbClr val="01AAE5"/>
                </a:solidFill>
                <a:ln>
                  <a:noFill/>
                </a:ln>
                <a:extLst/>
              </p:spPr>
              <p:txBody>
                <a:bodyPr/>
                <a:lstStyle/>
                <a:p>
                  <a:pPr eaLnBrk="1" hangingPunct="1">
                    <a:defRPr/>
                  </a:pPr>
                  <a:endParaRPr lang="zh-CN" altLang="en-US" sz="1050"/>
                </a:p>
              </p:txBody>
            </p:sp>
            <p:sp>
              <p:nvSpPr>
                <p:cNvPr id="4831" name="Freeform 1773"/>
                <p:cNvSpPr>
                  <a:spLocks/>
                </p:cNvSpPr>
                <p:nvPr/>
              </p:nvSpPr>
              <p:spPr bwMode="auto">
                <a:xfrm>
                  <a:off x="10199" y="2273"/>
                  <a:ext cx="58" cy="26"/>
                </a:xfrm>
                <a:custGeom>
                  <a:avLst/>
                  <a:gdLst>
                    <a:gd name="T0" fmla="*/ 57 w 57"/>
                    <a:gd name="T1" fmla="*/ 21 h 21"/>
                    <a:gd name="T2" fmla="*/ 2 w 57"/>
                    <a:gd name="T3" fmla="*/ 0 h 21"/>
                    <a:gd name="T4" fmla="*/ 0 w 57"/>
                    <a:gd name="T5" fmla="*/ 0 h 21"/>
                    <a:gd name="T6" fmla="*/ 57 w 57"/>
                    <a:gd name="T7" fmla="*/ 21 h 21"/>
                    <a:gd name="T8" fmla="*/ 57 w 57"/>
                    <a:gd name="T9" fmla="*/ 21 h 21"/>
                  </a:gdLst>
                  <a:ahLst/>
                  <a:cxnLst>
                    <a:cxn ang="0">
                      <a:pos x="T0" y="T1"/>
                    </a:cxn>
                    <a:cxn ang="0">
                      <a:pos x="T2" y="T3"/>
                    </a:cxn>
                    <a:cxn ang="0">
                      <a:pos x="T4" y="T5"/>
                    </a:cxn>
                    <a:cxn ang="0">
                      <a:pos x="T6" y="T7"/>
                    </a:cxn>
                    <a:cxn ang="0">
                      <a:pos x="T8" y="T9"/>
                    </a:cxn>
                  </a:cxnLst>
                  <a:rect l="0" t="0" r="r" b="b"/>
                  <a:pathLst>
                    <a:path w="57" h="21">
                      <a:moveTo>
                        <a:pt x="57" y="21"/>
                      </a:moveTo>
                      <a:lnTo>
                        <a:pt x="2" y="0"/>
                      </a:lnTo>
                      <a:lnTo>
                        <a:pt x="0" y="0"/>
                      </a:lnTo>
                      <a:lnTo>
                        <a:pt x="57" y="21"/>
                      </a:lnTo>
                      <a:lnTo>
                        <a:pt x="57" y="21"/>
                      </a:lnTo>
                      <a:close/>
                    </a:path>
                  </a:pathLst>
                </a:custGeom>
                <a:solidFill>
                  <a:srgbClr val="01AAE5"/>
                </a:solidFill>
                <a:ln>
                  <a:noFill/>
                </a:ln>
                <a:extLst/>
              </p:spPr>
              <p:txBody>
                <a:bodyPr/>
                <a:lstStyle/>
                <a:p>
                  <a:pPr eaLnBrk="1" hangingPunct="1">
                    <a:defRPr/>
                  </a:pPr>
                  <a:endParaRPr lang="zh-CN" altLang="en-US" sz="1050"/>
                </a:p>
              </p:txBody>
            </p:sp>
            <p:sp>
              <p:nvSpPr>
                <p:cNvPr id="4832" name="Freeform 1774"/>
                <p:cNvSpPr>
                  <a:spLocks/>
                </p:cNvSpPr>
                <p:nvPr/>
              </p:nvSpPr>
              <p:spPr bwMode="auto">
                <a:xfrm>
                  <a:off x="10215" y="2273"/>
                  <a:ext cx="42" cy="17"/>
                </a:xfrm>
                <a:custGeom>
                  <a:avLst/>
                  <a:gdLst>
                    <a:gd name="T0" fmla="*/ 48 w 48"/>
                    <a:gd name="T1" fmla="*/ 19 h 21"/>
                    <a:gd name="T2" fmla="*/ 0 w 48"/>
                    <a:gd name="T3" fmla="*/ 0 h 21"/>
                    <a:gd name="T4" fmla="*/ 0 w 48"/>
                    <a:gd name="T5" fmla="*/ 2 h 21"/>
                    <a:gd name="T6" fmla="*/ 48 w 48"/>
                    <a:gd name="T7" fmla="*/ 21 h 21"/>
                    <a:gd name="T8" fmla="*/ 48 w 48"/>
                    <a:gd name="T9" fmla="*/ 19 h 21"/>
                  </a:gdLst>
                  <a:ahLst/>
                  <a:cxnLst>
                    <a:cxn ang="0">
                      <a:pos x="T0" y="T1"/>
                    </a:cxn>
                    <a:cxn ang="0">
                      <a:pos x="T2" y="T3"/>
                    </a:cxn>
                    <a:cxn ang="0">
                      <a:pos x="T4" y="T5"/>
                    </a:cxn>
                    <a:cxn ang="0">
                      <a:pos x="T6" y="T7"/>
                    </a:cxn>
                    <a:cxn ang="0">
                      <a:pos x="T8" y="T9"/>
                    </a:cxn>
                  </a:cxnLst>
                  <a:rect l="0" t="0" r="r" b="b"/>
                  <a:pathLst>
                    <a:path w="48" h="21">
                      <a:moveTo>
                        <a:pt x="48" y="19"/>
                      </a:moveTo>
                      <a:lnTo>
                        <a:pt x="0" y="0"/>
                      </a:lnTo>
                      <a:lnTo>
                        <a:pt x="0" y="2"/>
                      </a:lnTo>
                      <a:lnTo>
                        <a:pt x="48" y="21"/>
                      </a:lnTo>
                      <a:lnTo>
                        <a:pt x="48" y="19"/>
                      </a:lnTo>
                      <a:close/>
                    </a:path>
                  </a:pathLst>
                </a:custGeom>
                <a:solidFill>
                  <a:srgbClr val="01AAE5"/>
                </a:solidFill>
                <a:ln>
                  <a:noFill/>
                </a:ln>
                <a:extLst/>
              </p:spPr>
              <p:txBody>
                <a:bodyPr/>
                <a:lstStyle/>
                <a:p>
                  <a:pPr eaLnBrk="1" hangingPunct="1">
                    <a:defRPr/>
                  </a:pPr>
                  <a:endParaRPr lang="zh-CN" altLang="en-US" sz="1050"/>
                </a:p>
              </p:txBody>
            </p:sp>
            <p:sp>
              <p:nvSpPr>
                <p:cNvPr id="4833" name="Freeform 1775"/>
                <p:cNvSpPr>
                  <a:spLocks/>
                </p:cNvSpPr>
                <p:nvPr/>
              </p:nvSpPr>
              <p:spPr bwMode="auto">
                <a:xfrm>
                  <a:off x="10207" y="2273"/>
                  <a:ext cx="50" cy="26"/>
                </a:xfrm>
                <a:custGeom>
                  <a:avLst/>
                  <a:gdLst>
                    <a:gd name="T0" fmla="*/ 52 w 52"/>
                    <a:gd name="T1" fmla="*/ 22 h 22"/>
                    <a:gd name="T2" fmla="*/ 0 w 52"/>
                    <a:gd name="T3" fmla="*/ 0 h 22"/>
                    <a:gd name="T4" fmla="*/ 0 w 52"/>
                    <a:gd name="T5" fmla="*/ 0 h 22"/>
                    <a:gd name="T6" fmla="*/ 52 w 52"/>
                    <a:gd name="T7" fmla="*/ 22 h 22"/>
                    <a:gd name="T8" fmla="*/ 52 w 52"/>
                    <a:gd name="T9" fmla="*/ 22 h 22"/>
                  </a:gdLst>
                  <a:ahLst/>
                  <a:cxnLst>
                    <a:cxn ang="0">
                      <a:pos x="T0" y="T1"/>
                    </a:cxn>
                    <a:cxn ang="0">
                      <a:pos x="T2" y="T3"/>
                    </a:cxn>
                    <a:cxn ang="0">
                      <a:pos x="T4" y="T5"/>
                    </a:cxn>
                    <a:cxn ang="0">
                      <a:pos x="T6" y="T7"/>
                    </a:cxn>
                    <a:cxn ang="0">
                      <a:pos x="T8" y="T9"/>
                    </a:cxn>
                  </a:cxnLst>
                  <a:rect l="0" t="0" r="r" b="b"/>
                  <a:pathLst>
                    <a:path w="52" h="22">
                      <a:moveTo>
                        <a:pt x="52" y="22"/>
                      </a:moveTo>
                      <a:lnTo>
                        <a:pt x="0" y="0"/>
                      </a:lnTo>
                      <a:lnTo>
                        <a:pt x="0" y="0"/>
                      </a:lnTo>
                      <a:lnTo>
                        <a:pt x="52" y="22"/>
                      </a:lnTo>
                      <a:lnTo>
                        <a:pt x="52" y="22"/>
                      </a:lnTo>
                      <a:close/>
                    </a:path>
                  </a:pathLst>
                </a:custGeom>
                <a:solidFill>
                  <a:srgbClr val="01AAE5"/>
                </a:solidFill>
                <a:ln>
                  <a:noFill/>
                </a:ln>
                <a:extLst/>
              </p:spPr>
              <p:txBody>
                <a:bodyPr/>
                <a:lstStyle/>
                <a:p>
                  <a:pPr eaLnBrk="1" hangingPunct="1">
                    <a:defRPr/>
                  </a:pPr>
                  <a:endParaRPr lang="zh-CN" altLang="en-US" sz="1050"/>
                </a:p>
              </p:txBody>
            </p:sp>
            <p:sp>
              <p:nvSpPr>
                <p:cNvPr id="4834" name="Freeform 1776"/>
                <p:cNvSpPr>
                  <a:spLocks/>
                </p:cNvSpPr>
                <p:nvPr/>
              </p:nvSpPr>
              <p:spPr bwMode="auto">
                <a:xfrm>
                  <a:off x="10232" y="2247"/>
                  <a:ext cx="33" cy="17"/>
                </a:xfrm>
                <a:custGeom>
                  <a:avLst/>
                  <a:gdLst>
                    <a:gd name="T0" fmla="*/ 28 w 28"/>
                    <a:gd name="T1" fmla="*/ 12 h 14"/>
                    <a:gd name="T2" fmla="*/ 0 w 28"/>
                    <a:gd name="T3" fmla="*/ 0 h 14"/>
                    <a:gd name="T4" fmla="*/ 0 w 28"/>
                    <a:gd name="T5" fmla="*/ 0 h 14"/>
                    <a:gd name="T6" fmla="*/ 28 w 28"/>
                    <a:gd name="T7" fmla="*/ 14 h 14"/>
                    <a:gd name="T8" fmla="*/ 28 w 28"/>
                    <a:gd name="T9" fmla="*/ 12 h 14"/>
                  </a:gdLst>
                  <a:ahLst/>
                  <a:cxnLst>
                    <a:cxn ang="0">
                      <a:pos x="T0" y="T1"/>
                    </a:cxn>
                    <a:cxn ang="0">
                      <a:pos x="T2" y="T3"/>
                    </a:cxn>
                    <a:cxn ang="0">
                      <a:pos x="T4" y="T5"/>
                    </a:cxn>
                    <a:cxn ang="0">
                      <a:pos x="T6" y="T7"/>
                    </a:cxn>
                    <a:cxn ang="0">
                      <a:pos x="T8" y="T9"/>
                    </a:cxn>
                  </a:cxnLst>
                  <a:rect l="0" t="0" r="r" b="b"/>
                  <a:pathLst>
                    <a:path w="28" h="14">
                      <a:moveTo>
                        <a:pt x="28" y="12"/>
                      </a:moveTo>
                      <a:lnTo>
                        <a:pt x="0" y="0"/>
                      </a:lnTo>
                      <a:lnTo>
                        <a:pt x="0" y="0"/>
                      </a:lnTo>
                      <a:lnTo>
                        <a:pt x="28" y="14"/>
                      </a:lnTo>
                      <a:lnTo>
                        <a:pt x="28" y="12"/>
                      </a:lnTo>
                      <a:close/>
                    </a:path>
                  </a:pathLst>
                </a:custGeom>
                <a:solidFill>
                  <a:srgbClr val="01AAE5"/>
                </a:solidFill>
                <a:ln>
                  <a:noFill/>
                </a:ln>
                <a:extLst/>
              </p:spPr>
              <p:txBody>
                <a:bodyPr/>
                <a:lstStyle/>
                <a:p>
                  <a:pPr eaLnBrk="1" hangingPunct="1">
                    <a:defRPr/>
                  </a:pPr>
                  <a:endParaRPr lang="zh-CN" altLang="en-US" sz="1050"/>
                </a:p>
              </p:txBody>
            </p:sp>
            <p:sp>
              <p:nvSpPr>
                <p:cNvPr id="4835" name="Freeform 1777"/>
                <p:cNvSpPr>
                  <a:spLocks/>
                </p:cNvSpPr>
                <p:nvPr/>
              </p:nvSpPr>
              <p:spPr bwMode="auto">
                <a:xfrm>
                  <a:off x="10290" y="2186"/>
                  <a:ext cx="8" cy="0"/>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4836" name="Freeform 1778"/>
                <p:cNvSpPr>
                  <a:spLocks/>
                </p:cNvSpPr>
                <p:nvPr/>
              </p:nvSpPr>
              <p:spPr bwMode="auto">
                <a:xfrm>
                  <a:off x="10282" y="2186"/>
                  <a:ext cx="8" cy="0"/>
                </a:xfrm>
                <a:custGeom>
                  <a:avLst/>
                  <a:gdLst>
                    <a:gd name="T0" fmla="*/ 7 w 7"/>
                    <a:gd name="T1" fmla="*/ 2 h 4"/>
                    <a:gd name="T2" fmla="*/ 0 w 7"/>
                    <a:gd name="T3" fmla="*/ 0 h 4"/>
                    <a:gd name="T4" fmla="*/ 0 w 7"/>
                    <a:gd name="T5" fmla="*/ 0 h 4"/>
                    <a:gd name="T6" fmla="*/ 7 w 7"/>
                    <a:gd name="T7" fmla="*/ 4 h 4"/>
                    <a:gd name="T8" fmla="*/ 7 w 7"/>
                    <a:gd name="T9" fmla="*/ 2 h 4"/>
                  </a:gdLst>
                  <a:ahLst/>
                  <a:cxnLst>
                    <a:cxn ang="0">
                      <a:pos x="T0" y="T1"/>
                    </a:cxn>
                    <a:cxn ang="0">
                      <a:pos x="T2" y="T3"/>
                    </a:cxn>
                    <a:cxn ang="0">
                      <a:pos x="T4" y="T5"/>
                    </a:cxn>
                    <a:cxn ang="0">
                      <a:pos x="T6" y="T7"/>
                    </a:cxn>
                    <a:cxn ang="0">
                      <a:pos x="T8" y="T9"/>
                    </a:cxn>
                  </a:cxnLst>
                  <a:rect l="0" t="0" r="r" b="b"/>
                  <a:pathLst>
                    <a:path w="7" h="4">
                      <a:moveTo>
                        <a:pt x="7" y="2"/>
                      </a:moveTo>
                      <a:lnTo>
                        <a:pt x="0" y="0"/>
                      </a:lnTo>
                      <a:lnTo>
                        <a:pt x="0" y="0"/>
                      </a:lnTo>
                      <a:lnTo>
                        <a:pt x="7" y="4"/>
                      </a:lnTo>
                      <a:lnTo>
                        <a:pt x="7" y="2"/>
                      </a:lnTo>
                      <a:close/>
                    </a:path>
                  </a:pathLst>
                </a:custGeom>
                <a:solidFill>
                  <a:srgbClr val="01AAE5"/>
                </a:solidFill>
                <a:ln>
                  <a:noFill/>
                </a:ln>
                <a:extLst/>
              </p:spPr>
              <p:txBody>
                <a:bodyPr/>
                <a:lstStyle/>
                <a:p>
                  <a:pPr eaLnBrk="1" hangingPunct="1">
                    <a:defRPr/>
                  </a:pPr>
                  <a:endParaRPr lang="zh-CN" altLang="en-US" sz="1050"/>
                </a:p>
              </p:txBody>
            </p:sp>
            <p:sp>
              <p:nvSpPr>
                <p:cNvPr id="4837" name="Freeform 1779"/>
                <p:cNvSpPr>
                  <a:spLocks/>
                </p:cNvSpPr>
                <p:nvPr/>
              </p:nvSpPr>
              <p:spPr bwMode="auto">
                <a:xfrm>
                  <a:off x="10290" y="2177"/>
                  <a:ext cx="8" cy="9"/>
                </a:xfrm>
                <a:custGeom>
                  <a:avLst/>
                  <a:gdLst>
                    <a:gd name="T0" fmla="*/ 10 w 10"/>
                    <a:gd name="T1" fmla="*/ 5 h 5"/>
                    <a:gd name="T2" fmla="*/ 0 w 10"/>
                    <a:gd name="T3" fmla="*/ 0 h 5"/>
                    <a:gd name="T4" fmla="*/ 0 w 10"/>
                    <a:gd name="T5" fmla="*/ 0 h 5"/>
                    <a:gd name="T6" fmla="*/ 8 w 10"/>
                    <a:gd name="T7" fmla="*/ 5 h 5"/>
                    <a:gd name="T8" fmla="*/ 10 w 10"/>
                    <a:gd name="T9" fmla="*/ 5 h 5"/>
                  </a:gdLst>
                  <a:ahLst/>
                  <a:cxnLst>
                    <a:cxn ang="0">
                      <a:pos x="T0" y="T1"/>
                    </a:cxn>
                    <a:cxn ang="0">
                      <a:pos x="T2" y="T3"/>
                    </a:cxn>
                    <a:cxn ang="0">
                      <a:pos x="T4" y="T5"/>
                    </a:cxn>
                    <a:cxn ang="0">
                      <a:pos x="T6" y="T7"/>
                    </a:cxn>
                    <a:cxn ang="0">
                      <a:pos x="T8" y="T9"/>
                    </a:cxn>
                  </a:cxnLst>
                  <a:rect l="0" t="0" r="r" b="b"/>
                  <a:pathLst>
                    <a:path w="10" h="5">
                      <a:moveTo>
                        <a:pt x="10" y="5"/>
                      </a:moveTo>
                      <a:lnTo>
                        <a:pt x="0" y="0"/>
                      </a:lnTo>
                      <a:lnTo>
                        <a:pt x="0" y="0"/>
                      </a:lnTo>
                      <a:lnTo>
                        <a:pt x="8" y="5"/>
                      </a:lnTo>
                      <a:lnTo>
                        <a:pt x="10" y="5"/>
                      </a:lnTo>
                      <a:close/>
                    </a:path>
                  </a:pathLst>
                </a:custGeom>
                <a:solidFill>
                  <a:srgbClr val="01AAE5"/>
                </a:solidFill>
                <a:ln>
                  <a:noFill/>
                </a:ln>
                <a:extLst/>
              </p:spPr>
              <p:txBody>
                <a:bodyPr/>
                <a:lstStyle/>
                <a:p>
                  <a:pPr eaLnBrk="1" hangingPunct="1">
                    <a:defRPr/>
                  </a:pPr>
                  <a:endParaRPr lang="zh-CN" altLang="en-US" sz="1050"/>
                </a:p>
              </p:txBody>
            </p:sp>
            <p:sp>
              <p:nvSpPr>
                <p:cNvPr id="4838" name="Freeform 1780"/>
                <p:cNvSpPr>
                  <a:spLocks/>
                </p:cNvSpPr>
                <p:nvPr/>
              </p:nvSpPr>
              <p:spPr bwMode="auto">
                <a:xfrm>
                  <a:off x="10282" y="2194"/>
                  <a:ext cx="8"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4839" name="Freeform 1781"/>
                <p:cNvSpPr>
                  <a:spLocks/>
                </p:cNvSpPr>
                <p:nvPr/>
              </p:nvSpPr>
              <p:spPr bwMode="auto">
                <a:xfrm>
                  <a:off x="10282" y="2186"/>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4840" name="Freeform 1782"/>
                <p:cNvSpPr>
                  <a:spLocks/>
                </p:cNvSpPr>
                <p:nvPr/>
              </p:nvSpPr>
              <p:spPr bwMode="auto">
                <a:xfrm>
                  <a:off x="10257" y="2229"/>
                  <a:ext cx="17" cy="9"/>
                </a:xfrm>
                <a:custGeom>
                  <a:avLst/>
                  <a:gdLst>
                    <a:gd name="T0" fmla="*/ 17 w 17"/>
                    <a:gd name="T1" fmla="*/ 7 h 7"/>
                    <a:gd name="T2" fmla="*/ 2 w 17"/>
                    <a:gd name="T3" fmla="*/ 0 h 7"/>
                    <a:gd name="T4" fmla="*/ 0 w 17"/>
                    <a:gd name="T5" fmla="*/ 0 h 7"/>
                    <a:gd name="T6" fmla="*/ 17 w 17"/>
                    <a:gd name="T7" fmla="*/ 7 h 7"/>
                    <a:gd name="T8" fmla="*/ 17 w 17"/>
                    <a:gd name="T9" fmla="*/ 7 h 7"/>
                  </a:gdLst>
                  <a:ahLst/>
                  <a:cxnLst>
                    <a:cxn ang="0">
                      <a:pos x="T0" y="T1"/>
                    </a:cxn>
                    <a:cxn ang="0">
                      <a:pos x="T2" y="T3"/>
                    </a:cxn>
                    <a:cxn ang="0">
                      <a:pos x="T4" y="T5"/>
                    </a:cxn>
                    <a:cxn ang="0">
                      <a:pos x="T6" y="T7"/>
                    </a:cxn>
                    <a:cxn ang="0">
                      <a:pos x="T8" y="T9"/>
                    </a:cxn>
                  </a:cxnLst>
                  <a:rect l="0" t="0" r="r" b="b"/>
                  <a:pathLst>
                    <a:path w="17" h="7">
                      <a:moveTo>
                        <a:pt x="17" y="7"/>
                      </a:moveTo>
                      <a:lnTo>
                        <a:pt x="2" y="0"/>
                      </a:lnTo>
                      <a:lnTo>
                        <a:pt x="0" y="0"/>
                      </a:lnTo>
                      <a:lnTo>
                        <a:pt x="17" y="7"/>
                      </a:lnTo>
                      <a:lnTo>
                        <a:pt x="17" y="7"/>
                      </a:lnTo>
                      <a:close/>
                    </a:path>
                  </a:pathLst>
                </a:custGeom>
                <a:solidFill>
                  <a:srgbClr val="01AAE5"/>
                </a:solidFill>
                <a:ln>
                  <a:noFill/>
                </a:ln>
                <a:extLst/>
              </p:spPr>
              <p:txBody>
                <a:bodyPr/>
                <a:lstStyle/>
                <a:p>
                  <a:pPr eaLnBrk="1" hangingPunct="1">
                    <a:defRPr/>
                  </a:pPr>
                  <a:endParaRPr lang="zh-CN" altLang="en-US" sz="1050"/>
                </a:p>
              </p:txBody>
            </p:sp>
            <p:sp>
              <p:nvSpPr>
                <p:cNvPr id="4841" name="Freeform 1783"/>
                <p:cNvSpPr>
                  <a:spLocks/>
                </p:cNvSpPr>
                <p:nvPr/>
              </p:nvSpPr>
              <p:spPr bwMode="auto">
                <a:xfrm>
                  <a:off x="10290" y="2168"/>
                  <a:ext cx="17" cy="9"/>
                </a:xfrm>
                <a:custGeom>
                  <a:avLst/>
                  <a:gdLst>
                    <a:gd name="T0" fmla="*/ 9 w 9"/>
                    <a:gd name="T1" fmla="*/ 5 h 5"/>
                    <a:gd name="T2" fmla="*/ 2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4842" name="Freeform 1784"/>
                <p:cNvSpPr>
                  <a:spLocks/>
                </p:cNvSpPr>
                <p:nvPr/>
              </p:nvSpPr>
              <p:spPr bwMode="auto">
                <a:xfrm>
                  <a:off x="10299" y="2168"/>
                  <a:ext cx="8" cy="9"/>
                </a:xfrm>
                <a:custGeom>
                  <a:avLst/>
                  <a:gdLst>
                    <a:gd name="T0" fmla="*/ 10 w 10"/>
                    <a:gd name="T1" fmla="*/ 4 h 7"/>
                    <a:gd name="T2" fmla="*/ 3 w 10"/>
                    <a:gd name="T3" fmla="*/ 0 h 7"/>
                    <a:gd name="T4" fmla="*/ 0 w 10"/>
                    <a:gd name="T5" fmla="*/ 2 h 7"/>
                    <a:gd name="T6" fmla="*/ 10 w 10"/>
                    <a:gd name="T7" fmla="*/ 7 h 7"/>
                    <a:gd name="T8" fmla="*/ 10 w 10"/>
                    <a:gd name="T9" fmla="*/ 4 h 7"/>
                  </a:gdLst>
                  <a:ahLst/>
                  <a:cxnLst>
                    <a:cxn ang="0">
                      <a:pos x="T0" y="T1"/>
                    </a:cxn>
                    <a:cxn ang="0">
                      <a:pos x="T2" y="T3"/>
                    </a:cxn>
                    <a:cxn ang="0">
                      <a:pos x="T4" y="T5"/>
                    </a:cxn>
                    <a:cxn ang="0">
                      <a:pos x="T6" y="T7"/>
                    </a:cxn>
                    <a:cxn ang="0">
                      <a:pos x="T8" y="T9"/>
                    </a:cxn>
                  </a:cxnLst>
                  <a:rect l="0" t="0" r="r" b="b"/>
                  <a:pathLst>
                    <a:path w="10" h="7">
                      <a:moveTo>
                        <a:pt x="10" y="4"/>
                      </a:moveTo>
                      <a:lnTo>
                        <a:pt x="3" y="0"/>
                      </a:lnTo>
                      <a:lnTo>
                        <a:pt x="0" y="2"/>
                      </a:lnTo>
                      <a:lnTo>
                        <a:pt x="10" y="7"/>
                      </a:lnTo>
                      <a:lnTo>
                        <a:pt x="10" y="4"/>
                      </a:lnTo>
                      <a:close/>
                    </a:path>
                  </a:pathLst>
                </a:custGeom>
                <a:solidFill>
                  <a:srgbClr val="01AAE5"/>
                </a:solidFill>
                <a:ln>
                  <a:noFill/>
                </a:ln>
                <a:extLst/>
              </p:spPr>
              <p:txBody>
                <a:bodyPr/>
                <a:lstStyle/>
                <a:p>
                  <a:pPr eaLnBrk="1" hangingPunct="1">
                    <a:defRPr/>
                  </a:pPr>
                  <a:endParaRPr lang="zh-CN" altLang="en-US" sz="1050"/>
                </a:p>
              </p:txBody>
            </p:sp>
            <p:sp>
              <p:nvSpPr>
                <p:cNvPr id="4843" name="Freeform 1785"/>
                <p:cNvSpPr>
                  <a:spLocks/>
                </p:cNvSpPr>
                <p:nvPr/>
              </p:nvSpPr>
              <p:spPr bwMode="auto">
                <a:xfrm>
                  <a:off x="10299" y="2159"/>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4844" name="Freeform 1786"/>
                <p:cNvSpPr>
                  <a:spLocks/>
                </p:cNvSpPr>
                <p:nvPr/>
              </p:nvSpPr>
              <p:spPr bwMode="auto">
                <a:xfrm>
                  <a:off x="10265" y="2212"/>
                  <a:ext cx="8" cy="9"/>
                </a:xfrm>
                <a:custGeom>
                  <a:avLst/>
                  <a:gdLst>
                    <a:gd name="T0" fmla="*/ 12 w 12"/>
                    <a:gd name="T1" fmla="*/ 7 h 7"/>
                    <a:gd name="T2" fmla="*/ 2 w 12"/>
                    <a:gd name="T3" fmla="*/ 0 h 7"/>
                    <a:gd name="T4" fmla="*/ 0 w 12"/>
                    <a:gd name="T5" fmla="*/ 2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2" y="0"/>
                      </a:lnTo>
                      <a:lnTo>
                        <a:pt x="0" y="2"/>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4845" name="Freeform 1787"/>
                <p:cNvSpPr>
                  <a:spLocks/>
                </p:cNvSpPr>
                <p:nvPr/>
              </p:nvSpPr>
              <p:spPr bwMode="auto">
                <a:xfrm>
                  <a:off x="10265" y="2212"/>
                  <a:ext cx="17" cy="9"/>
                </a:xfrm>
                <a:custGeom>
                  <a:avLst/>
                  <a:gdLst>
                    <a:gd name="T0" fmla="*/ 9 w 9"/>
                    <a:gd name="T1" fmla="*/ 5 h 5"/>
                    <a:gd name="T2" fmla="*/ 0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4846" name="Freeform 1788"/>
                <p:cNvSpPr>
                  <a:spLocks/>
                </p:cNvSpPr>
                <p:nvPr/>
              </p:nvSpPr>
              <p:spPr bwMode="auto">
                <a:xfrm>
                  <a:off x="10282" y="2194"/>
                  <a:ext cx="0" cy="9"/>
                </a:xfrm>
                <a:custGeom>
                  <a:avLst/>
                  <a:gdLst>
                    <a:gd name="T0" fmla="*/ 7 w 7"/>
                    <a:gd name="T1" fmla="*/ 5 h 8"/>
                    <a:gd name="T2" fmla="*/ 0 w 7"/>
                    <a:gd name="T3" fmla="*/ 0 h 8"/>
                    <a:gd name="T4" fmla="*/ 0 w 7"/>
                    <a:gd name="T5" fmla="*/ 3 h 8"/>
                    <a:gd name="T6" fmla="*/ 7 w 7"/>
                    <a:gd name="T7" fmla="*/ 8 h 8"/>
                    <a:gd name="T8" fmla="*/ 7 w 7"/>
                    <a:gd name="T9" fmla="*/ 5 h 8"/>
                  </a:gdLst>
                  <a:ahLst/>
                  <a:cxnLst>
                    <a:cxn ang="0">
                      <a:pos x="T0" y="T1"/>
                    </a:cxn>
                    <a:cxn ang="0">
                      <a:pos x="T2" y="T3"/>
                    </a:cxn>
                    <a:cxn ang="0">
                      <a:pos x="T4" y="T5"/>
                    </a:cxn>
                    <a:cxn ang="0">
                      <a:pos x="T6" y="T7"/>
                    </a:cxn>
                    <a:cxn ang="0">
                      <a:pos x="T8" y="T9"/>
                    </a:cxn>
                  </a:cxnLst>
                  <a:rect l="0" t="0" r="r" b="b"/>
                  <a:pathLst>
                    <a:path w="7" h="8">
                      <a:moveTo>
                        <a:pt x="7" y="5"/>
                      </a:moveTo>
                      <a:lnTo>
                        <a:pt x="0" y="0"/>
                      </a:lnTo>
                      <a:lnTo>
                        <a:pt x="0" y="3"/>
                      </a:lnTo>
                      <a:lnTo>
                        <a:pt x="7" y="8"/>
                      </a:lnTo>
                      <a:lnTo>
                        <a:pt x="7" y="5"/>
                      </a:lnTo>
                      <a:close/>
                    </a:path>
                  </a:pathLst>
                </a:custGeom>
                <a:solidFill>
                  <a:srgbClr val="01AAE5"/>
                </a:solidFill>
                <a:ln>
                  <a:noFill/>
                </a:ln>
                <a:extLst/>
              </p:spPr>
              <p:txBody>
                <a:bodyPr/>
                <a:lstStyle/>
                <a:p>
                  <a:pPr eaLnBrk="1" hangingPunct="1">
                    <a:defRPr/>
                  </a:pPr>
                  <a:endParaRPr lang="zh-CN" altLang="en-US" sz="1050"/>
                </a:p>
              </p:txBody>
            </p:sp>
            <p:sp>
              <p:nvSpPr>
                <p:cNvPr id="4847" name="Freeform 1789"/>
                <p:cNvSpPr>
                  <a:spLocks/>
                </p:cNvSpPr>
                <p:nvPr/>
              </p:nvSpPr>
              <p:spPr bwMode="auto">
                <a:xfrm>
                  <a:off x="10257" y="2220"/>
                  <a:ext cx="17" cy="9"/>
                </a:xfrm>
                <a:custGeom>
                  <a:avLst/>
                  <a:gdLst>
                    <a:gd name="T0" fmla="*/ 14 w 14"/>
                    <a:gd name="T1" fmla="*/ 8 h 8"/>
                    <a:gd name="T2" fmla="*/ 0 w 14"/>
                    <a:gd name="T3" fmla="*/ 0 h 8"/>
                    <a:gd name="T4" fmla="*/ 0 w 14"/>
                    <a:gd name="T5" fmla="*/ 0 h 8"/>
                    <a:gd name="T6" fmla="*/ 14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lnTo>
                        <a:pt x="0" y="0"/>
                      </a:lnTo>
                      <a:lnTo>
                        <a:pt x="0" y="0"/>
                      </a:lnTo>
                      <a:lnTo>
                        <a:pt x="14" y="8"/>
                      </a:lnTo>
                      <a:lnTo>
                        <a:pt x="14" y="8"/>
                      </a:lnTo>
                      <a:close/>
                    </a:path>
                  </a:pathLst>
                </a:custGeom>
                <a:solidFill>
                  <a:srgbClr val="01AAE5"/>
                </a:solidFill>
                <a:ln>
                  <a:noFill/>
                </a:ln>
                <a:extLst/>
              </p:spPr>
              <p:txBody>
                <a:bodyPr/>
                <a:lstStyle/>
                <a:p>
                  <a:pPr eaLnBrk="1" hangingPunct="1">
                    <a:defRPr/>
                  </a:pPr>
                  <a:endParaRPr lang="zh-CN" altLang="en-US" sz="1050"/>
                </a:p>
              </p:txBody>
            </p:sp>
            <p:sp>
              <p:nvSpPr>
                <p:cNvPr id="4848" name="Freeform 1790"/>
                <p:cNvSpPr>
                  <a:spLocks/>
                </p:cNvSpPr>
                <p:nvPr/>
              </p:nvSpPr>
              <p:spPr bwMode="auto">
                <a:xfrm>
                  <a:off x="10274" y="2212"/>
                  <a:ext cx="8" cy="0"/>
                </a:xfrm>
                <a:custGeom>
                  <a:avLst/>
                  <a:gdLst>
                    <a:gd name="T0" fmla="*/ 10 w 10"/>
                    <a:gd name="T1" fmla="*/ 4 h 4"/>
                    <a:gd name="T2" fmla="*/ 0 w 10"/>
                    <a:gd name="T3" fmla="*/ 0 h 4"/>
                    <a:gd name="T4" fmla="*/ 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0"/>
                      </a:lnTo>
                      <a:lnTo>
                        <a:pt x="0" y="0"/>
                      </a:lnTo>
                      <a:lnTo>
                        <a:pt x="10" y="4"/>
                      </a:lnTo>
                      <a:lnTo>
                        <a:pt x="10" y="4"/>
                      </a:lnTo>
                      <a:close/>
                    </a:path>
                  </a:pathLst>
                </a:custGeom>
                <a:solidFill>
                  <a:srgbClr val="01AAE5"/>
                </a:solidFill>
                <a:ln>
                  <a:noFill/>
                </a:ln>
                <a:extLst/>
              </p:spPr>
              <p:txBody>
                <a:bodyPr/>
                <a:lstStyle/>
                <a:p>
                  <a:pPr eaLnBrk="1" hangingPunct="1">
                    <a:defRPr/>
                  </a:pPr>
                  <a:endParaRPr lang="zh-CN" altLang="en-US" sz="1050"/>
                </a:p>
              </p:txBody>
            </p:sp>
            <p:sp>
              <p:nvSpPr>
                <p:cNvPr id="4849" name="Freeform 1791"/>
                <p:cNvSpPr>
                  <a:spLocks/>
                </p:cNvSpPr>
                <p:nvPr/>
              </p:nvSpPr>
              <p:spPr bwMode="auto">
                <a:xfrm>
                  <a:off x="10274" y="2203"/>
                  <a:ext cx="17" cy="9"/>
                </a:xfrm>
                <a:custGeom>
                  <a:avLst/>
                  <a:gdLst>
                    <a:gd name="T0" fmla="*/ 9 w 9"/>
                    <a:gd name="T1" fmla="*/ 5 h 5"/>
                    <a:gd name="T2" fmla="*/ 9 w 9"/>
                    <a:gd name="T3" fmla="*/ 5 h 5"/>
                    <a:gd name="T4" fmla="*/ 2 w 9"/>
                    <a:gd name="T5" fmla="*/ 0 h 5"/>
                    <a:gd name="T6" fmla="*/ 0 w 9"/>
                    <a:gd name="T7" fmla="*/ 3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9" y="5"/>
                      </a:lnTo>
                      <a:lnTo>
                        <a:pt x="2" y="0"/>
                      </a:lnTo>
                      <a:lnTo>
                        <a:pt x="0" y="3"/>
                      </a:lnTo>
                      <a:lnTo>
                        <a:pt x="9" y="5"/>
                      </a:lnTo>
                      <a:close/>
                    </a:path>
                  </a:pathLst>
                </a:custGeom>
                <a:solidFill>
                  <a:srgbClr val="01AAE5"/>
                </a:solidFill>
                <a:ln>
                  <a:noFill/>
                </a:ln>
                <a:extLst/>
              </p:spPr>
              <p:txBody>
                <a:bodyPr/>
                <a:lstStyle/>
                <a:p>
                  <a:pPr eaLnBrk="1" hangingPunct="1">
                    <a:defRPr/>
                  </a:pPr>
                  <a:endParaRPr lang="zh-CN" altLang="en-US" sz="1050"/>
                </a:p>
              </p:txBody>
            </p:sp>
            <p:sp>
              <p:nvSpPr>
                <p:cNvPr id="4850" name="Freeform 1792"/>
                <p:cNvSpPr>
                  <a:spLocks/>
                </p:cNvSpPr>
                <p:nvPr/>
              </p:nvSpPr>
              <p:spPr bwMode="auto">
                <a:xfrm>
                  <a:off x="10274" y="2212"/>
                  <a:ext cx="8" cy="0"/>
                </a:xfrm>
                <a:custGeom>
                  <a:avLst/>
                  <a:gdLst>
                    <a:gd name="T0" fmla="*/ 9 w 9"/>
                    <a:gd name="T1" fmla="*/ 5 h 5"/>
                    <a:gd name="T2" fmla="*/ 2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4851" name="Freeform 1793"/>
                <p:cNvSpPr>
                  <a:spLocks/>
                </p:cNvSpPr>
                <p:nvPr/>
              </p:nvSpPr>
              <p:spPr bwMode="auto">
                <a:xfrm>
                  <a:off x="10182" y="2421"/>
                  <a:ext cx="25" cy="9"/>
                </a:xfrm>
                <a:custGeom>
                  <a:avLst/>
                  <a:gdLst>
                    <a:gd name="T0" fmla="*/ 26 w 26"/>
                    <a:gd name="T1" fmla="*/ 4 h 7"/>
                    <a:gd name="T2" fmla="*/ 0 w 26"/>
                    <a:gd name="T3" fmla="*/ 0 h 7"/>
                    <a:gd name="T4" fmla="*/ 0 w 26"/>
                    <a:gd name="T5" fmla="*/ 2 h 7"/>
                    <a:gd name="T6" fmla="*/ 26 w 26"/>
                    <a:gd name="T7" fmla="*/ 7 h 7"/>
                    <a:gd name="T8" fmla="*/ 26 w 26"/>
                    <a:gd name="T9" fmla="*/ 4 h 7"/>
                  </a:gdLst>
                  <a:ahLst/>
                  <a:cxnLst>
                    <a:cxn ang="0">
                      <a:pos x="T0" y="T1"/>
                    </a:cxn>
                    <a:cxn ang="0">
                      <a:pos x="T2" y="T3"/>
                    </a:cxn>
                    <a:cxn ang="0">
                      <a:pos x="T4" y="T5"/>
                    </a:cxn>
                    <a:cxn ang="0">
                      <a:pos x="T6" y="T7"/>
                    </a:cxn>
                    <a:cxn ang="0">
                      <a:pos x="T8" y="T9"/>
                    </a:cxn>
                  </a:cxnLst>
                  <a:rect l="0" t="0" r="r" b="b"/>
                  <a:pathLst>
                    <a:path w="26" h="7">
                      <a:moveTo>
                        <a:pt x="26" y="4"/>
                      </a:moveTo>
                      <a:lnTo>
                        <a:pt x="0" y="0"/>
                      </a:lnTo>
                      <a:lnTo>
                        <a:pt x="0" y="2"/>
                      </a:lnTo>
                      <a:lnTo>
                        <a:pt x="26" y="7"/>
                      </a:lnTo>
                      <a:lnTo>
                        <a:pt x="26" y="4"/>
                      </a:lnTo>
                      <a:close/>
                    </a:path>
                  </a:pathLst>
                </a:custGeom>
                <a:solidFill>
                  <a:srgbClr val="01AAE5"/>
                </a:solidFill>
                <a:ln>
                  <a:noFill/>
                </a:ln>
                <a:extLst/>
              </p:spPr>
              <p:txBody>
                <a:bodyPr/>
                <a:lstStyle/>
                <a:p>
                  <a:pPr eaLnBrk="1" hangingPunct="1">
                    <a:defRPr/>
                  </a:pPr>
                  <a:endParaRPr lang="zh-CN" altLang="en-US" sz="1050"/>
                </a:p>
              </p:txBody>
            </p:sp>
            <p:sp>
              <p:nvSpPr>
                <p:cNvPr id="4852" name="Freeform 1794"/>
                <p:cNvSpPr>
                  <a:spLocks/>
                </p:cNvSpPr>
                <p:nvPr/>
              </p:nvSpPr>
              <p:spPr bwMode="auto">
                <a:xfrm>
                  <a:off x="10190" y="2430"/>
                  <a:ext cx="17" cy="9"/>
                </a:xfrm>
                <a:custGeom>
                  <a:avLst/>
                  <a:gdLst>
                    <a:gd name="T0" fmla="*/ 22 w 22"/>
                    <a:gd name="T1" fmla="*/ 2 h 4"/>
                    <a:gd name="T2" fmla="*/ 0 w 22"/>
                    <a:gd name="T3" fmla="*/ 0 h 4"/>
                    <a:gd name="T4" fmla="*/ 0 w 22"/>
                    <a:gd name="T5" fmla="*/ 0 h 4"/>
                    <a:gd name="T6" fmla="*/ 22 w 22"/>
                    <a:gd name="T7" fmla="*/ 4 h 4"/>
                    <a:gd name="T8" fmla="*/ 22 w 22"/>
                    <a:gd name="T9" fmla="*/ 2 h 4"/>
                  </a:gdLst>
                  <a:ahLst/>
                  <a:cxnLst>
                    <a:cxn ang="0">
                      <a:pos x="T0" y="T1"/>
                    </a:cxn>
                    <a:cxn ang="0">
                      <a:pos x="T2" y="T3"/>
                    </a:cxn>
                    <a:cxn ang="0">
                      <a:pos x="T4" y="T5"/>
                    </a:cxn>
                    <a:cxn ang="0">
                      <a:pos x="T6" y="T7"/>
                    </a:cxn>
                    <a:cxn ang="0">
                      <a:pos x="T8" y="T9"/>
                    </a:cxn>
                  </a:cxnLst>
                  <a:rect l="0" t="0" r="r" b="b"/>
                  <a:pathLst>
                    <a:path w="22" h="4">
                      <a:moveTo>
                        <a:pt x="22" y="2"/>
                      </a:moveTo>
                      <a:lnTo>
                        <a:pt x="0" y="0"/>
                      </a:lnTo>
                      <a:lnTo>
                        <a:pt x="0" y="0"/>
                      </a:lnTo>
                      <a:lnTo>
                        <a:pt x="22" y="4"/>
                      </a:lnTo>
                      <a:lnTo>
                        <a:pt x="22" y="2"/>
                      </a:lnTo>
                      <a:close/>
                    </a:path>
                  </a:pathLst>
                </a:custGeom>
                <a:solidFill>
                  <a:srgbClr val="01AAE5"/>
                </a:solidFill>
                <a:ln>
                  <a:noFill/>
                </a:ln>
                <a:extLst/>
              </p:spPr>
              <p:txBody>
                <a:bodyPr/>
                <a:lstStyle/>
                <a:p>
                  <a:pPr eaLnBrk="1" hangingPunct="1">
                    <a:defRPr/>
                  </a:pPr>
                  <a:endParaRPr lang="zh-CN" altLang="en-US" sz="1050"/>
                </a:p>
              </p:txBody>
            </p:sp>
            <p:sp>
              <p:nvSpPr>
                <p:cNvPr id="4853" name="Rectangle 1795"/>
                <p:cNvSpPr>
                  <a:spLocks noChangeArrowheads="1"/>
                </p:cNvSpPr>
                <p:nvPr/>
              </p:nvSpPr>
              <p:spPr bwMode="auto">
                <a:xfrm>
                  <a:off x="10190" y="2491"/>
                  <a:ext cx="8" cy="9"/>
                </a:xfrm>
                <a:prstGeom prst="rect">
                  <a:avLst/>
                </a:prstGeom>
                <a:solidFill>
                  <a:srgbClr val="01AAE5"/>
                </a:solidFill>
                <a:ln>
                  <a:noFill/>
                </a:ln>
                <a:extLst/>
              </p:spPr>
              <p:txBody>
                <a:bodyPr/>
                <a:lstStyle/>
                <a:p>
                  <a:pPr eaLnBrk="1" hangingPunct="1">
                    <a:defRPr/>
                  </a:pPr>
                  <a:endParaRPr lang="zh-CN" altLang="en-US" sz="1050"/>
                </a:p>
              </p:txBody>
            </p:sp>
            <p:sp>
              <p:nvSpPr>
                <p:cNvPr id="4854" name="Freeform 1796"/>
                <p:cNvSpPr>
                  <a:spLocks/>
                </p:cNvSpPr>
                <p:nvPr/>
              </p:nvSpPr>
              <p:spPr bwMode="auto">
                <a:xfrm>
                  <a:off x="10190" y="2438"/>
                  <a:ext cx="17" cy="9"/>
                </a:xfrm>
                <a:custGeom>
                  <a:avLst/>
                  <a:gdLst>
                    <a:gd name="T0" fmla="*/ 19 w 19"/>
                    <a:gd name="T1" fmla="*/ 3 h 5"/>
                    <a:gd name="T2" fmla="*/ 0 w 19"/>
                    <a:gd name="T3" fmla="*/ 0 h 5"/>
                    <a:gd name="T4" fmla="*/ 0 w 19"/>
                    <a:gd name="T5" fmla="*/ 3 h 5"/>
                    <a:gd name="T6" fmla="*/ 19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0" y="3"/>
                      </a:lnTo>
                      <a:lnTo>
                        <a:pt x="19"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4855" name="Freeform 1797"/>
                <p:cNvSpPr>
                  <a:spLocks/>
                </p:cNvSpPr>
                <p:nvPr/>
              </p:nvSpPr>
              <p:spPr bwMode="auto">
                <a:xfrm>
                  <a:off x="10190" y="2447"/>
                  <a:ext cx="17" cy="0"/>
                </a:xfrm>
                <a:custGeom>
                  <a:avLst/>
                  <a:gdLst>
                    <a:gd name="T0" fmla="*/ 19 w 19"/>
                    <a:gd name="T1" fmla="*/ 3 h 5"/>
                    <a:gd name="T2" fmla="*/ 0 w 19"/>
                    <a:gd name="T3" fmla="*/ 0 h 5"/>
                    <a:gd name="T4" fmla="*/ 3 w 19"/>
                    <a:gd name="T5" fmla="*/ 3 h 5"/>
                    <a:gd name="T6" fmla="*/ 17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3" y="3"/>
                      </a:lnTo>
                      <a:lnTo>
                        <a:pt x="17"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4856" name="Freeform 1798"/>
                <p:cNvSpPr>
                  <a:spLocks/>
                </p:cNvSpPr>
                <p:nvPr/>
              </p:nvSpPr>
              <p:spPr bwMode="auto">
                <a:xfrm>
                  <a:off x="10182" y="2412"/>
                  <a:ext cx="42" cy="9"/>
                </a:xfrm>
                <a:custGeom>
                  <a:avLst/>
                  <a:gdLst>
                    <a:gd name="T0" fmla="*/ 35 w 35"/>
                    <a:gd name="T1" fmla="*/ 7 h 10"/>
                    <a:gd name="T2" fmla="*/ 0 w 35"/>
                    <a:gd name="T3" fmla="*/ 0 h 10"/>
                    <a:gd name="T4" fmla="*/ 0 w 35"/>
                    <a:gd name="T5" fmla="*/ 2 h 10"/>
                    <a:gd name="T6" fmla="*/ 33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2"/>
                      </a:lnTo>
                      <a:lnTo>
                        <a:pt x="33"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4857" name="Freeform 1799"/>
                <p:cNvSpPr>
                  <a:spLocks/>
                </p:cNvSpPr>
                <p:nvPr/>
              </p:nvSpPr>
              <p:spPr bwMode="auto">
                <a:xfrm>
                  <a:off x="10190" y="2447"/>
                  <a:ext cx="8" cy="0"/>
                </a:xfrm>
                <a:custGeom>
                  <a:avLst/>
                  <a:gdLst>
                    <a:gd name="T0" fmla="*/ 14 w 14"/>
                    <a:gd name="T1" fmla="*/ 2 h 5"/>
                    <a:gd name="T2" fmla="*/ 0 w 14"/>
                    <a:gd name="T3" fmla="*/ 0 h 5"/>
                    <a:gd name="T4" fmla="*/ 0 w 14"/>
                    <a:gd name="T5" fmla="*/ 2 h 5"/>
                    <a:gd name="T6" fmla="*/ 14 w 14"/>
                    <a:gd name="T7" fmla="*/ 5 h 5"/>
                    <a:gd name="T8" fmla="*/ 14 w 14"/>
                    <a:gd name="T9" fmla="*/ 2 h 5"/>
                  </a:gdLst>
                  <a:ahLst/>
                  <a:cxnLst>
                    <a:cxn ang="0">
                      <a:pos x="T0" y="T1"/>
                    </a:cxn>
                    <a:cxn ang="0">
                      <a:pos x="T2" y="T3"/>
                    </a:cxn>
                    <a:cxn ang="0">
                      <a:pos x="T4" y="T5"/>
                    </a:cxn>
                    <a:cxn ang="0">
                      <a:pos x="T6" y="T7"/>
                    </a:cxn>
                    <a:cxn ang="0">
                      <a:pos x="T8" y="T9"/>
                    </a:cxn>
                  </a:cxnLst>
                  <a:rect l="0" t="0" r="r" b="b"/>
                  <a:pathLst>
                    <a:path w="14" h="5">
                      <a:moveTo>
                        <a:pt x="14" y="2"/>
                      </a:moveTo>
                      <a:lnTo>
                        <a:pt x="0" y="0"/>
                      </a:lnTo>
                      <a:lnTo>
                        <a:pt x="0" y="2"/>
                      </a:lnTo>
                      <a:lnTo>
                        <a:pt x="14" y="5"/>
                      </a:lnTo>
                      <a:lnTo>
                        <a:pt x="14" y="2"/>
                      </a:lnTo>
                      <a:close/>
                    </a:path>
                  </a:pathLst>
                </a:custGeom>
                <a:solidFill>
                  <a:srgbClr val="01AAE5"/>
                </a:solidFill>
                <a:ln>
                  <a:noFill/>
                </a:ln>
                <a:extLst/>
              </p:spPr>
              <p:txBody>
                <a:bodyPr/>
                <a:lstStyle/>
                <a:p>
                  <a:pPr eaLnBrk="1" hangingPunct="1">
                    <a:defRPr/>
                  </a:pPr>
                  <a:endParaRPr lang="zh-CN" altLang="en-US" sz="1050"/>
                </a:p>
              </p:txBody>
            </p:sp>
            <p:sp>
              <p:nvSpPr>
                <p:cNvPr id="4858" name="Freeform 1800"/>
                <p:cNvSpPr>
                  <a:spLocks/>
                </p:cNvSpPr>
                <p:nvPr/>
              </p:nvSpPr>
              <p:spPr bwMode="auto">
                <a:xfrm>
                  <a:off x="10182" y="2421"/>
                  <a:ext cx="33" cy="9"/>
                </a:xfrm>
                <a:custGeom>
                  <a:avLst/>
                  <a:gdLst>
                    <a:gd name="T0" fmla="*/ 28 w 28"/>
                    <a:gd name="T1" fmla="*/ 5 h 7"/>
                    <a:gd name="T2" fmla="*/ 0 w 28"/>
                    <a:gd name="T3" fmla="*/ 0 h 7"/>
                    <a:gd name="T4" fmla="*/ 0 w 28"/>
                    <a:gd name="T5" fmla="*/ 2 h 7"/>
                    <a:gd name="T6" fmla="*/ 28 w 28"/>
                    <a:gd name="T7" fmla="*/ 7 h 7"/>
                    <a:gd name="T8" fmla="*/ 28 w 28"/>
                    <a:gd name="T9" fmla="*/ 5 h 7"/>
                  </a:gdLst>
                  <a:ahLst/>
                  <a:cxnLst>
                    <a:cxn ang="0">
                      <a:pos x="T0" y="T1"/>
                    </a:cxn>
                    <a:cxn ang="0">
                      <a:pos x="T2" y="T3"/>
                    </a:cxn>
                    <a:cxn ang="0">
                      <a:pos x="T4" y="T5"/>
                    </a:cxn>
                    <a:cxn ang="0">
                      <a:pos x="T6" y="T7"/>
                    </a:cxn>
                    <a:cxn ang="0">
                      <a:pos x="T8" y="T9"/>
                    </a:cxn>
                  </a:cxnLst>
                  <a:rect l="0" t="0" r="r" b="b"/>
                  <a:pathLst>
                    <a:path w="28" h="7">
                      <a:moveTo>
                        <a:pt x="28" y="5"/>
                      </a:moveTo>
                      <a:lnTo>
                        <a:pt x="0" y="0"/>
                      </a:lnTo>
                      <a:lnTo>
                        <a:pt x="0" y="2"/>
                      </a:lnTo>
                      <a:lnTo>
                        <a:pt x="28" y="7"/>
                      </a:lnTo>
                      <a:lnTo>
                        <a:pt x="28" y="5"/>
                      </a:lnTo>
                      <a:close/>
                    </a:path>
                  </a:pathLst>
                </a:custGeom>
                <a:solidFill>
                  <a:srgbClr val="01AAE5"/>
                </a:solidFill>
                <a:ln>
                  <a:noFill/>
                </a:ln>
                <a:extLst/>
              </p:spPr>
              <p:txBody>
                <a:bodyPr/>
                <a:lstStyle/>
                <a:p>
                  <a:pPr eaLnBrk="1" hangingPunct="1">
                    <a:defRPr/>
                  </a:pPr>
                  <a:endParaRPr lang="zh-CN" altLang="en-US" sz="1050"/>
                </a:p>
              </p:txBody>
            </p:sp>
            <p:sp>
              <p:nvSpPr>
                <p:cNvPr id="4859" name="Freeform 1801"/>
                <p:cNvSpPr>
                  <a:spLocks/>
                </p:cNvSpPr>
                <p:nvPr/>
              </p:nvSpPr>
              <p:spPr bwMode="auto">
                <a:xfrm>
                  <a:off x="10182" y="2421"/>
                  <a:ext cx="33" cy="0"/>
                </a:xfrm>
                <a:custGeom>
                  <a:avLst/>
                  <a:gdLst>
                    <a:gd name="T0" fmla="*/ 33 w 33"/>
                    <a:gd name="T1" fmla="*/ 5 h 7"/>
                    <a:gd name="T2" fmla="*/ 0 w 33"/>
                    <a:gd name="T3" fmla="*/ 0 h 7"/>
                    <a:gd name="T4" fmla="*/ 2 w 33"/>
                    <a:gd name="T5" fmla="*/ 0 h 7"/>
                    <a:gd name="T6" fmla="*/ 30 w 33"/>
                    <a:gd name="T7" fmla="*/ 7 h 7"/>
                    <a:gd name="T8" fmla="*/ 33 w 33"/>
                    <a:gd name="T9" fmla="*/ 5 h 7"/>
                  </a:gdLst>
                  <a:ahLst/>
                  <a:cxnLst>
                    <a:cxn ang="0">
                      <a:pos x="T0" y="T1"/>
                    </a:cxn>
                    <a:cxn ang="0">
                      <a:pos x="T2" y="T3"/>
                    </a:cxn>
                    <a:cxn ang="0">
                      <a:pos x="T4" y="T5"/>
                    </a:cxn>
                    <a:cxn ang="0">
                      <a:pos x="T6" y="T7"/>
                    </a:cxn>
                    <a:cxn ang="0">
                      <a:pos x="T8" y="T9"/>
                    </a:cxn>
                  </a:cxnLst>
                  <a:rect l="0" t="0" r="r" b="b"/>
                  <a:pathLst>
                    <a:path w="33" h="7">
                      <a:moveTo>
                        <a:pt x="33" y="5"/>
                      </a:moveTo>
                      <a:lnTo>
                        <a:pt x="0" y="0"/>
                      </a:lnTo>
                      <a:lnTo>
                        <a:pt x="2" y="0"/>
                      </a:lnTo>
                      <a:lnTo>
                        <a:pt x="30" y="7"/>
                      </a:lnTo>
                      <a:lnTo>
                        <a:pt x="33" y="5"/>
                      </a:lnTo>
                      <a:close/>
                    </a:path>
                  </a:pathLst>
                </a:custGeom>
                <a:solidFill>
                  <a:srgbClr val="01AAE5"/>
                </a:solidFill>
                <a:ln>
                  <a:noFill/>
                </a:ln>
                <a:extLst/>
              </p:spPr>
              <p:txBody>
                <a:bodyPr/>
                <a:lstStyle/>
                <a:p>
                  <a:pPr eaLnBrk="1" hangingPunct="1">
                    <a:defRPr/>
                  </a:pPr>
                  <a:endParaRPr lang="zh-CN" altLang="en-US" sz="1050"/>
                </a:p>
              </p:txBody>
            </p:sp>
            <p:sp>
              <p:nvSpPr>
                <p:cNvPr id="4860" name="Rectangle 1802"/>
                <p:cNvSpPr>
                  <a:spLocks noChangeArrowheads="1"/>
                </p:cNvSpPr>
                <p:nvPr/>
              </p:nvSpPr>
              <p:spPr bwMode="auto">
                <a:xfrm>
                  <a:off x="10190" y="2482"/>
                  <a:ext cx="8" cy="0"/>
                </a:xfrm>
                <a:prstGeom prst="rect">
                  <a:avLst/>
                </a:prstGeom>
                <a:solidFill>
                  <a:srgbClr val="01AAE5"/>
                </a:solidFill>
                <a:ln>
                  <a:noFill/>
                </a:ln>
                <a:extLst/>
              </p:spPr>
              <p:txBody>
                <a:bodyPr/>
                <a:lstStyle/>
                <a:p>
                  <a:pPr eaLnBrk="1" hangingPunct="1">
                    <a:defRPr/>
                  </a:pPr>
                  <a:endParaRPr lang="zh-CN" altLang="en-US" sz="1050"/>
                </a:p>
              </p:txBody>
            </p:sp>
            <p:sp>
              <p:nvSpPr>
                <p:cNvPr id="4861" name="Freeform 1803"/>
                <p:cNvSpPr>
                  <a:spLocks/>
                </p:cNvSpPr>
                <p:nvPr/>
              </p:nvSpPr>
              <p:spPr bwMode="auto">
                <a:xfrm>
                  <a:off x="10182" y="2403"/>
                  <a:ext cx="42" cy="9"/>
                </a:xfrm>
                <a:custGeom>
                  <a:avLst/>
                  <a:gdLst>
                    <a:gd name="T0" fmla="*/ 35 w 35"/>
                    <a:gd name="T1" fmla="*/ 7 h 10"/>
                    <a:gd name="T2" fmla="*/ 0 w 35"/>
                    <a:gd name="T3" fmla="*/ 0 h 10"/>
                    <a:gd name="T4" fmla="*/ 0 w 35"/>
                    <a:gd name="T5" fmla="*/ 3 h 10"/>
                    <a:gd name="T6" fmla="*/ 35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3"/>
                      </a:lnTo>
                      <a:lnTo>
                        <a:pt x="35"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4862" name="Freeform 1804"/>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863" name="Freeform 1805"/>
                <p:cNvSpPr>
                  <a:spLocks/>
                </p:cNvSpPr>
                <p:nvPr/>
              </p:nvSpPr>
              <p:spPr bwMode="auto">
                <a:xfrm>
                  <a:off x="10182" y="2299"/>
                  <a:ext cx="75" cy="35"/>
                </a:xfrm>
                <a:custGeom>
                  <a:avLst/>
                  <a:gdLst>
                    <a:gd name="T0" fmla="*/ 69 w 69"/>
                    <a:gd name="T1" fmla="*/ 24 h 26"/>
                    <a:gd name="T2" fmla="*/ 2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2"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4864" name="Rectangle 1806"/>
                <p:cNvSpPr>
                  <a:spLocks noChangeArrowheads="1"/>
                </p:cNvSpPr>
                <p:nvPr/>
              </p:nvSpPr>
              <p:spPr bwMode="auto">
                <a:xfrm>
                  <a:off x="10190" y="2491"/>
                  <a:ext cx="8" cy="0"/>
                </a:xfrm>
                <a:prstGeom prst="rect">
                  <a:avLst/>
                </a:prstGeom>
                <a:solidFill>
                  <a:srgbClr val="01AAE5"/>
                </a:solidFill>
                <a:ln>
                  <a:noFill/>
                </a:ln>
                <a:extLst/>
              </p:spPr>
              <p:txBody>
                <a:bodyPr/>
                <a:lstStyle/>
                <a:p>
                  <a:pPr eaLnBrk="1" hangingPunct="1">
                    <a:defRPr/>
                  </a:pPr>
                  <a:endParaRPr lang="zh-CN" altLang="en-US" sz="1050"/>
                </a:p>
              </p:txBody>
            </p:sp>
            <p:sp>
              <p:nvSpPr>
                <p:cNvPr id="4865" name="Freeform 1807"/>
                <p:cNvSpPr>
                  <a:spLocks/>
                </p:cNvSpPr>
                <p:nvPr/>
              </p:nvSpPr>
              <p:spPr bwMode="auto">
                <a:xfrm>
                  <a:off x="10190" y="2464"/>
                  <a:ext cx="8" cy="0"/>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4866" name="Freeform 1808"/>
                <p:cNvSpPr>
                  <a:spLocks/>
                </p:cNvSpPr>
                <p:nvPr/>
              </p:nvSpPr>
              <p:spPr bwMode="auto">
                <a:xfrm>
                  <a:off x="10190" y="2456"/>
                  <a:ext cx="8" cy="0"/>
                </a:xfrm>
                <a:custGeom>
                  <a:avLst/>
                  <a:gdLst>
                    <a:gd name="T0" fmla="*/ 12 w 12"/>
                    <a:gd name="T1" fmla="*/ 2 h 2"/>
                    <a:gd name="T2" fmla="*/ 0 w 12"/>
                    <a:gd name="T3" fmla="*/ 0 h 2"/>
                    <a:gd name="T4" fmla="*/ 0 w 12"/>
                    <a:gd name="T5" fmla="*/ 0 h 2"/>
                    <a:gd name="T6" fmla="*/ 12 w 12"/>
                    <a:gd name="T7" fmla="*/ 2 h 2"/>
                    <a:gd name="T8" fmla="*/ 12 w 12"/>
                    <a:gd name="T9" fmla="*/ 2 h 2"/>
                  </a:gdLst>
                  <a:ahLst/>
                  <a:cxnLst>
                    <a:cxn ang="0">
                      <a:pos x="T0" y="T1"/>
                    </a:cxn>
                    <a:cxn ang="0">
                      <a:pos x="T2" y="T3"/>
                    </a:cxn>
                    <a:cxn ang="0">
                      <a:pos x="T4" y="T5"/>
                    </a:cxn>
                    <a:cxn ang="0">
                      <a:pos x="T6" y="T7"/>
                    </a:cxn>
                    <a:cxn ang="0">
                      <a:pos x="T8" y="T9"/>
                    </a:cxn>
                  </a:cxnLst>
                  <a:rect l="0" t="0" r="r" b="b"/>
                  <a:pathLst>
                    <a:path w="12" h="2">
                      <a:moveTo>
                        <a:pt x="12" y="2"/>
                      </a:moveTo>
                      <a:lnTo>
                        <a:pt x="0" y="0"/>
                      </a:lnTo>
                      <a:lnTo>
                        <a:pt x="0" y="0"/>
                      </a:lnTo>
                      <a:lnTo>
                        <a:pt x="12" y="2"/>
                      </a:lnTo>
                      <a:lnTo>
                        <a:pt x="12" y="2"/>
                      </a:lnTo>
                      <a:close/>
                    </a:path>
                  </a:pathLst>
                </a:custGeom>
                <a:solidFill>
                  <a:srgbClr val="01AAE5"/>
                </a:solidFill>
                <a:ln>
                  <a:noFill/>
                </a:ln>
                <a:extLst/>
              </p:spPr>
              <p:txBody>
                <a:bodyPr/>
                <a:lstStyle/>
                <a:p>
                  <a:pPr eaLnBrk="1" hangingPunct="1">
                    <a:defRPr/>
                  </a:pPr>
                  <a:endParaRPr lang="zh-CN" altLang="en-US" sz="1050"/>
                </a:p>
              </p:txBody>
            </p:sp>
            <p:sp>
              <p:nvSpPr>
                <p:cNvPr id="4867" name="Freeform 1809"/>
                <p:cNvSpPr>
                  <a:spLocks/>
                </p:cNvSpPr>
                <p:nvPr/>
              </p:nvSpPr>
              <p:spPr bwMode="auto">
                <a:xfrm>
                  <a:off x="10190" y="2464"/>
                  <a:ext cx="8" cy="9"/>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4868" name="Freeform 1810"/>
                <p:cNvSpPr>
                  <a:spLocks/>
                </p:cNvSpPr>
                <p:nvPr/>
              </p:nvSpPr>
              <p:spPr bwMode="auto">
                <a:xfrm>
                  <a:off x="10190" y="2447"/>
                  <a:ext cx="8" cy="9"/>
                </a:xfrm>
                <a:custGeom>
                  <a:avLst/>
                  <a:gdLst>
                    <a:gd name="T0" fmla="*/ 12 w 12"/>
                    <a:gd name="T1" fmla="*/ 0 h 2"/>
                    <a:gd name="T2" fmla="*/ 0 w 12"/>
                    <a:gd name="T3" fmla="*/ 0 h 2"/>
                    <a:gd name="T4" fmla="*/ 0 w 12"/>
                    <a:gd name="T5" fmla="*/ 0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0"/>
                      </a:lnTo>
                      <a:lnTo>
                        <a:pt x="0" y="0"/>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869" name="Freeform 1811"/>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870" name="Freeform 1812"/>
                <p:cNvSpPr>
                  <a:spLocks/>
                </p:cNvSpPr>
                <p:nvPr/>
              </p:nvSpPr>
              <p:spPr bwMode="auto">
                <a:xfrm>
                  <a:off x="10174" y="2342"/>
                  <a:ext cx="75" cy="17"/>
                </a:xfrm>
                <a:custGeom>
                  <a:avLst/>
                  <a:gdLst>
                    <a:gd name="T0" fmla="*/ 68 w 68"/>
                    <a:gd name="T1" fmla="*/ 19 h 19"/>
                    <a:gd name="T2" fmla="*/ 0 w 68"/>
                    <a:gd name="T3" fmla="*/ 0 h 19"/>
                    <a:gd name="T4" fmla="*/ 0 w 68"/>
                    <a:gd name="T5" fmla="*/ 0 h 19"/>
                    <a:gd name="T6" fmla="*/ 68 w 68"/>
                    <a:gd name="T7" fmla="*/ 19 h 19"/>
                    <a:gd name="T8" fmla="*/ 68 w 68"/>
                    <a:gd name="T9" fmla="*/ 19 h 19"/>
                  </a:gdLst>
                  <a:ahLst/>
                  <a:cxnLst>
                    <a:cxn ang="0">
                      <a:pos x="T0" y="T1"/>
                    </a:cxn>
                    <a:cxn ang="0">
                      <a:pos x="T2" y="T3"/>
                    </a:cxn>
                    <a:cxn ang="0">
                      <a:pos x="T4" y="T5"/>
                    </a:cxn>
                    <a:cxn ang="0">
                      <a:pos x="T6" y="T7"/>
                    </a:cxn>
                    <a:cxn ang="0">
                      <a:pos x="T8" y="T9"/>
                    </a:cxn>
                  </a:cxnLst>
                  <a:rect l="0" t="0" r="r" b="b"/>
                  <a:pathLst>
                    <a:path w="68" h="19">
                      <a:moveTo>
                        <a:pt x="68" y="19"/>
                      </a:moveTo>
                      <a:lnTo>
                        <a:pt x="0" y="0"/>
                      </a:lnTo>
                      <a:lnTo>
                        <a:pt x="0" y="0"/>
                      </a:lnTo>
                      <a:lnTo>
                        <a:pt x="68" y="19"/>
                      </a:lnTo>
                      <a:lnTo>
                        <a:pt x="68" y="19"/>
                      </a:lnTo>
                      <a:close/>
                    </a:path>
                  </a:pathLst>
                </a:custGeom>
                <a:solidFill>
                  <a:srgbClr val="01AAE5"/>
                </a:solidFill>
                <a:ln>
                  <a:noFill/>
                </a:ln>
                <a:extLst/>
              </p:spPr>
              <p:txBody>
                <a:bodyPr/>
                <a:lstStyle/>
                <a:p>
                  <a:pPr eaLnBrk="1" hangingPunct="1">
                    <a:defRPr/>
                  </a:pPr>
                  <a:endParaRPr lang="zh-CN" altLang="en-US" sz="1050"/>
                </a:p>
              </p:txBody>
            </p:sp>
            <p:sp>
              <p:nvSpPr>
                <p:cNvPr id="4871" name="Freeform 1813"/>
                <p:cNvSpPr>
                  <a:spLocks/>
                </p:cNvSpPr>
                <p:nvPr/>
              </p:nvSpPr>
              <p:spPr bwMode="auto">
                <a:xfrm>
                  <a:off x="10174" y="2334"/>
                  <a:ext cx="75" cy="26"/>
                </a:xfrm>
                <a:custGeom>
                  <a:avLst/>
                  <a:gdLst>
                    <a:gd name="T0" fmla="*/ 71 w 71"/>
                    <a:gd name="T1" fmla="*/ 21 h 23"/>
                    <a:gd name="T2" fmla="*/ 0 w 71"/>
                    <a:gd name="T3" fmla="*/ 0 h 23"/>
                    <a:gd name="T4" fmla="*/ 0 w 71"/>
                    <a:gd name="T5" fmla="*/ 2 h 23"/>
                    <a:gd name="T6" fmla="*/ 68 w 71"/>
                    <a:gd name="T7" fmla="*/ 23 h 23"/>
                    <a:gd name="T8" fmla="*/ 71 w 71"/>
                    <a:gd name="T9" fmla="*/ 21 h 23"/>
                  </a:gdLst>
                  <a:ahLst/>
                  <a:cxnLst>
                    <a:cxn ang="0">
                      <a:pos x="T0" y="T1"/>
                    </a:cxn>
                    <a:cxn ang="0">
                      <a:pos x="T2" y="T3"/>
                    </a:cxn>
                    <a:cxn ang="0">
                      <a:pos x="T4" y="T5"/>
                    </a:cxn>
                    <a:cxn ang="0">
                      <a:pos x="T6" y="T7"/>
                    </a:cxn>
                    <a:cxn ang="0">
                      <a:pos x="T8" y="T9"/>
                    </a:cxn>
                  </a:cxnLst>
                  <a:rect l="0" t="0" r="r" b="b"/>
                  <a:pathLst>
                    <a:path w="71" h="23">
                      <a:moveTo>
                        <a:pt x="71" y="21"/>
                      </a:moveTo>
                      <a:lnTo>
                        <a:pt x="0" y="0"/>
                      </a:lnTo>
                      <a:lnTo>
                        <a:pt x="0" y="2"/>
                      </a:lnTo>
                      <a:lnTo>
                        <a:pt x="68"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4872" name="Freeform 1814"/>
                <p:cNvSpPr>
                  <a:spLocks/>
                </p:cNvSpPr>
                <p:nvPr/>
              </p:nvSpPr>
              <p:spPr bwMode="auto">
                <a:xfrm>
                  <a:off x="10174" y="2351"/>
                  <a:ext cx="67" cy="17"/>
                </a:xfrm>
                <a:custGeom>
                  <a:avLst/>
                  <a:gdLst>
                    <a:gd name="T0" fmla="*/ 66 w 66"/>
                    <a:gd name="T1" fmla="*/ 19 h 19"/>
                    <a:gd name="T2" fmla="*/ 0 w 66"/>
                    <a:gd name="T3" fmla="*/ 0 h 19"/>
                    <a:gd name="T4" fmla="*/ 0 w 66"/>
                    <a:gd name="T5" fmla="*/ 2 h 19"/>
                    <a:gd name="T6" fmla="*/ 66 w 66"/>
                    <a:gd name="T7" fmla="*/ 19 h 19"/>
                    <a:gd name="T8" fmla="*/ 66 w 66"/>
                    <a:gd name="T9" fmla="*/ 19 h 19"/>
                  </a:gdLst>
                  <a:ahLst/>
                  <a:cxnLst>
                    <a:cxn ang="0">
                      <a:pos x="T0" y="T1"/>
                    </a:cxn>
                    <a:cxn ang="0">
                      <a:pos x="T2" y="T3"/>
                    </a:cxn>
                    <a:cxn ang="0">
                      <a:pos x="T4" y="T5"/>
                    </a:cxn>
                    <a:cxn ang="0">
                      <a:pos x="T6" y="T7"/>
                    </a:cxn>
                    <a:cxn ang="0">
                      <a:pos x="T8" y="T9"/>
                    </a:cxn>
                  </a:cxnLst>
                  <a:rect l="0" t="0" r="r" b="b"/>
                  <a:pathLst>
                    <a:path w="66" h="19">
                      <a:moveTo>
                        <a:pt x="66" y="19"/>
                      </a:moveTo>
                      <a:lnTo>
                        <a:pt x="0" y="0"/>
                      </a:lnTo>
                      <a:lnTo>
                        <a:pt x="0" y="2"/>
                      </a:lnTo>
                      <a:lnTo>
                        <a:pt x="66" y="19"/>
                      </a:lnTo>
                      <a:lnTo>
                        <a:pt x="66" y="19"/>
                      </a:lnTo>
                      <a:close/>
                    </a:path>
                  </a:pathLst>
                </a:custGeom>
                <a:solidFill>
                  <a:srgbClr val="01AAE5"/>
                </a:solidFill>
                <a:ln>
                  <a:noFill/>
                </a:ln>
                <a:extLst/>
              </p:spPr>
              <p:txBody>
                <a:bodyPr/>
                <a:lstStyle/>
                <a:p>
                  <a:pPr eaLnBrk="1" hangingPunct="1">
                    <a:defRPr/>
                  </a:pPr>
                  <a:endParaRPr lang="zh-CN" altLang="en-US" sz="1050"/>
                </a:p>
              </p:txBody>
            </p:sp>
            <p:sp>
              <p:nvSpPr>
                <p:cNvPr id="4873" name="Freeform 1815"/>
                <p:cNvSpPr>
                  <a:spLocks/>
                </p:cNvSpPr>
                <p:nvPr/>
              </p:nvSpPr>
              <p:spPr bwMode="auto">
                <a:xfrm>
                  <a:off x="10174" y="2334"/>
                  <a:ext cx="75" cy="26"/>
                </a:xfrm>
                <a:custGeom>
                  <a:avLst/>
                  <a:gdLst>
                    <a:gd name="T0" fmla="*/ 69 w 69"/>
                    <a:gd name="T1" fmla="*/ 21 h 24"/>
                    <a:gd name="T2" fmla="*/ 0 w 69"/>
                    <a:gd name="T3" fmla="*/ 0 h 24"/>
                    <a:gd name="T4" fmla="*/ 0 w 69"/>
                    <a:gd name="T5" fmla="*/ 2 h 24"/>
                    <a:gd name="T6" fmla="*/ 69 w 69"/>
                    <a:gd name="T7" fmla="*/ 24 h 24"/>
                    <a:gd name="T8" fmla="*/ 69 w 69"/>
                    <a:gd name="T9" fmla="*/ 21 h 24"/>
                  </a:gdLst>
                  <a:ahLst/>
                  <a:cxnLst>
                    <a:cxn ang="0">
                      <a:pos x="T0" y="T1"/>
                    </a:cxn>
                    <a:cxn ang="0">
                      <a:pos x="T2" y="T3"/>
                    </a:cxn>
                    <a:cxn ang="0">
                      <a:pos x="T4" y="T5"/>
                    </a:cxn>
                    <a:cxn ang="0">
                      <a:pos x="T6" y="T7"/>
                    </a:cxn>
                    <a:cxn ang="0">
                      <a:pos x="T8" y="T9"/>
                    </a:cxn>
                  </a:cxnLst>
                  <a:rect l="0" t="0" r="r" b="b"/>
                  <a:pathLst>
                    <a:path w="69" h="24">
                      <a:moveTo>
                        <a:pt x="69" y="21"/>
                      </a:moveTo>
                      <a:lnTo>
                        <a:pt x="0" y="0"/>
                      </a:lnTo>
                      <a:lnTo>
                        <a:pt x="0" y="2"/>
                      </a:lnTo>
                      <a:lnTo>
                        <a:pt x="69" y="24"/>
                      </a:lnTo>
                      <a:lnTo>
                        <a:pt x="69" y="21"/>
                      </a:lnTo>
                      <a:close/>
                    </a:path>
                  </a:pathLst>
                </a:custGeom>
                <a:solidFill>
                  <a:srgbClr val="01AAE5"/>
                </a:solidFill>
                <a:ln>
                  <a:noFill/>
                </a:ln>
                <a:extLst/>
              </p:spPr>
              <p:txBody>
                <a:bodyPr/>
                <a:lstStyle/>
                <a:p>
                  <a:pPr eaLnBrk="1" hangingPunct="1">
                    <a:defRPr/>
                  </a:pPr>
                  <a:endParaRPr lang="zh-CN" altLang="en-US" sz="1050"/>
                </a:p>
              </p:txBody>
            </p:sp>
            <p:sp>
              <p:nvSpPr>
                <p:cNvPr id="4874" name="Freeform 1816"/>
                <p:cNvSpPr>
                  <a:spLocks/>
                </p:cNvSpPr>
                <p:nvPr/>
              </p:nvSpPr>
              <p:spPr bwMode="auto">
                <a:xfrm>
                  <a:off x="10182" y="2308"/>
                  <a:ext cx="75" cy="26"/>
                </a:xfrm>
                <a:custGeom>
                  <a:avLst/>
                  <a:gdLst>
                    <a:gd name="T0" fmla="*/ 71 w 71"/>
                    <a:gd name="T1" fmla="*/ 23 h 26"/>
                    <a:gd name="T2" fmla="*/ 2 w 71"/>
                    <a:gd name="T3" fmla="*/ 0 h 26"/>
                    <a:gd name="T4" fmla="*/ 0 w 71"/>
                    <a:gd name="T5" fmla="*/ 2 h 26"/>
                    <a:gd name="T6" fmla="*/ 71 w 71"/>
                    <a:gd name="T7" fmla="*/ 26 h 26"/>
                    <a:gd name="T8" fmla="*/ 71 w 71"/>
                    <a:gd name="T9" fmla="*/ 23 h 26"/>
                  </a:gdLst>
                  <a:ahLst/>
                  <a:cxnLst>
                    <a:cxn ang="0">
                      <a:pos x="T0" y="T1"/>
                    </a:cxn>
                    <a:cxn ang="0">
                      <a:pos x="T2" y="T3"/>
                    </a:cxn>
                    <a:cxn ang="0">
                      <a:pos x="T4" y="T5"/>
                    </a:cxn>
                    <a:cxn ang="0">
                      <a:pos x="T6" y="T7"/>
                    </a:cxn>
                    <a:cxn ang="0">
                      <a:pos x="T8" y="T9"/>
                    </a:cxn>
                  </a:cxnLst>
                  <a:rect l="0" t="0" r="r" b="b"/>
                  <a:pathLst>
                    <a:path w="71" h="26">
                      <a:moveTo>
                        <a:pt x="71" y="23"/>
                      </a:moveTo>
                      <a:lnTo>
                        <a:pt x="2" y="0"/>
                      </a:lnTo>
                      <a:lnTo>
                        <a:pt x="0" y="2"/>
                      </a:lnTo>
                      <a:lnTo>
                        <a:pt x="71" y="26"/>
                      </a:lnTo>
                      <a:lnTo>
                        <a:pt x="71" y="23"/>
                      </a:lnTo>
                      <a:close/>
                    </a:path>
                  </a:pathLst>
                </a:custGeom>
                <a:solidFill>
                  <a:srgbClr val="01AAE5"/>
                </a:solidFill>
                <a:ln>
                  <a:noFill/>
                </a:ln>
                <a:extLst/>
              </p:spPr>
              <p:txBody>
                <a:bodyPr/>
                <a:lstStyle/>
                <a:p>
                  <a:pPr eaLnBrk="1" hangingPunct="1">
                    <a:defRPr/>
                  </a:pPr>
                  <a:endParaRPr lang="zh-CN" altLang="en-US" sz="1050"/>
                </a:p>
              </p:txBody>
            </p:sp>
            <p:sp>
              <p:nvSpPr>
                <p:cNvPr id="4875" name="Freeform 1817"/>
                <p:cNvSpPr>
                  <a:spLocks/>
                </p:cNvSpPr>
                <p:nvPr/>
              </p:nvSpPr>
              <p:spPr bwMode="auto">
                <a:xfrm>
                  <a:off x="10174" y="2351"/>
                  <a:ext cx="67" cy="17"/>
                </a:xfrm>
                <a:custGeom>
                  <a:avLst/>
                  <a:gdLst>
                    <a:gd name="T0" fmla="*/ 63 w 63"/>
                    <a:gd name="T1" fmla="*/ 19 h 19"/>
                    <a:gd name="T2" fmla="*/ 0 w 63"/>
                    <a:gd name="T3" fmla="*/ 0 h 19"/>
                    <a:gd name="T4" fmla="*/ 0 w 63"/>
                    <a:gd name="T5" fmla="*/ 3 h 19"/>
                    <a:gd name="T6" fmla="*/ 63 w 63"/>
                    <a:gd name="T7" fmla="*/ 19 h 19"/>
                    <a:gd name="T8" fmla="*/ 63 w 63"/>
                    <a:gd name="T9" fmla="*/ 19 h 19"/>
                  </a:gdLst>
                  <a:ahLst/>
                  <a:cxnLst>
                    <a:cxn ang="0">
                      <a:pos x="T0" y="T1"/>
                    </a:cxn>
                    <a:cxn ang="0">
                      <a:pos x="T2" y="T3"/>
                    </a:cxn>
                    <a:cxn ang="0">
                      <a:pos x="T4" y="T5"/>
                    </a:cxn>
                    <a:cxn ang="0">
                      <a:pos x="T6" y="T7"/>
                    </a:cxn>
                    <a:cxn ang="0">
                      <a:pos x="T8" y="T9"/>
                    </a:cxn>
                  </a:cxnLst>
                  <a:rect l="0" t="0" r="r" b="b"/>
                  <a:pathLst>
                    <a:path w="63" h="19">
                      <a:moveTo>
                        <a:pt x="63" y="19"/>
                      </a:moveTo>
                      <a:lnTo>
                        <a:pt x="0" y="0"/>
                      </a:lnTo>
                      <a:lnTo>
                        <a:pt x="0" y="3"/>
                      </a:lnTo>
                      <a:lnTo>
                        <a:pt x="63" y="19"/>
                      </a:lnTo>
                      <a:lnTo>
                        <a:pt x="63" y="19"/>
                      </a:lnTo>
                      <a:close/>
                    </a:path>
                  </a:pathLst>
                </a:custGeom>
                <a:solidFill>
                  <a:srgbClr val="01AAE5"/>
                </a:solidFill>
                <a:ln>
                  <a:noFill/>
                </a:ln>
                <a:extLst/>
              </p:spPr>
              <p:txBody>
                <a:bodyPr/>
                <a:lstStyle/>
                <a:p>
                  <a:pPr eaLnBrk="1" hangingPunct="1">
                    <a:defRPr/>
                  </a:pPr>
                  <a:endParaRPr lang="zh-CN" altLang="en-US" sz="1050"/>
                </a:p>
              </p:txBody>
            </p:sp>
            <p:sp>
              <p:nvSpPr>
                <p:cNvPr id="4876" name="Freeform 1818"/>
                <p:cNvSpPr>
                  <a:spLocks/>
                </p:cNvSpPr>
                <p:nvPr/>
              </p:nvSpPr>
              <p:spPr bwMode="auto">
                <a:xfrm>
                  <a:off x="10182" y="2316"/>
                  <a:ext cx="75" cy="26"/>
                </a:xfrm>
                <a:custGeom>
                  <a:avLst/>
                  <a:gdLst>
                    <a:gd name="T0" fmla="*/ 68 w 68"/>
                    <a:gd name="T1" fmla="*/ 23 h 26"/>
                    <a:gd name="T2" fmla="*/ 0 w 68"/>
                    <a:gd name="T3" fmla="*/ 0 h 26"/>
                    <a:gd name="T4" fmla="*/ 0 w 68"/>
                    <a:gd name="T5" fmla="*/ 2 h 26"/>
                    <a:gd name="T6" fmla="*/ 68 w 68"/>
                    <a:gd name="T7" fmla="*/ 26 h 26"/>
                    <a:gd name="T8" fmla="*/ 68 w 68"/>
                    <a:gd name="T9" fmla="*/ 23 h 26"/>
                  </a:gdLst>
                  <a:ahLst/>
                  <a:cxnLst>
                    <a:cxn ang="0">
                      <a:pos x="T0" y="T1"/>
                    </a:cxn>
                    <a:cxn ang="0">
                      <a:pos x="T2" y="T3"/>
                    </a:cxn>
                    <a:cxn ang="0">
                      <a:pos x="T4" y="T5"/>
                    </a:cxn>
                    <a:cxn ang="0">
                      <a:pos x="T6" y="T7"/>
                    </a:cxn>
                    <a:cxn ang="0">
                      <a:pos x="T8" y="T9"/>
                    </a:cxn>
                  </a:cxnLst>
                  <a:rect l="0" t="0" r="r" b="b"/>
                  <a:pathLst>
                    <a:path w="68" h="26">
                      <a:moveTo>
                        <a:pt x="68" y="23"/>
                      </a:moveTo>
                      <a:lnTo>
                        <a:pt x="0" y="0"/>
                      </a:lnTo>
                      <a:lnTo>
                        <a:pt x="0" y="2"/>
                      </a:lnTo>
                      <a:lnTo>
                        <a:pt x="68" y="26"/>
                      </a:lnTo>
                      <a:lnTo>
                        <a:pt x="68" y="23"/>
                      </a:lnTo>
                      <a:close/>
                    </a:path>
                  </a:pathLst>
                </a:custGeom>
                <a:solidFill>
                  <a:srgbClr val="01AAE5"/>
                </a:solidFill>
                <a:ln>
                  <a:noFill/>
                </a:ln>
                <a:extLst/>
              </p:spPr>
              <p:txBody>
                <a:bodyPr/>
                <a:lstStyle/>
                <a:p>
                  <a:pPr eaLnBrk="1" hangingPunct="1">
                    <a:defRPr/>
                  </a:pPr>
                  <a:endParaRPr lang="zh-CN" altLang="en-US" sz="1050"/>
                </a:p>
              </p:txBody>
            </p:sp>
            <p:sp>
              <p:nvSpPr>
                <p:cNvPr id="4877" name="Freeform 1819"/>
                <p:cNvSpPr>
                  <a:spLocks/>
                </p:cNvSpPr>
                <p:nvPr/>
              </p:nvSpPr>
              <p:spPr bwMode="auto">
                <a:xfrm>
                  <a:off x="10182" y="2395"/>
                  <a:ext cx="42" cy="17"/>
                </a:xfrm>
                <a:custGeom>
                  <a:avLst/>
                  <a:gdLst>
                    <a:gd name="T0" fmla="*/ 41 w 41"/>
                    <a:gd name="T1" fmla="*/ 7 h 9"/>
                    <a:gd name="T2" fmla="*/ 0 w 41"/>
                    <a:gd name="T3" fmla="*/ 0 h 9"/>
                    <a:gd name="T4" fmla="*/ 0 w 41"/>
                    <a:gd name="T5" fmla="*/ 0 h 9"/>
                    <a:gd name="T6" fmla="*/ 41 w 41"/>
                    <a:gd name="T7" fmla="*/ 9 h 9"/>
                    <a:gd name="T8" fmla="*/ 41 w 41"/>
                    <a:gd name="T9" fmla="*/ 7 h 9"/>
                  </a:gdLst>
                  <a:ahLst/>
                  <a:cxnLst>
                    <a:cxn ang="0">
                      <a:pos x="T0" y="T1"/>
                    </a:cxn>
                    <a:cxn ang="0">
                      <a:pos x="T2" y="T3"/>
                    </a:cxn>
                    <a:cxn ang="0">
                      <a:pos x="T4" y="T5"/>
                    </a:cxn>
                    <a:cxn ang="0">
                      <a:pos x="T6" y="T7"/>
                    </a:cxn>
                    <a:cxn ang="0">
                      <a:pos x="T8" y="T9"/>
                    </a:cxn>
                  </a:cxnLst>
                  <a:rect l="0" t="0" r="r" b="b"/>
                  <a:pathLst>
                    <a:path w="41" h="9">
                      <a:moveTo>
                        <a:pt x="41" y="7"/>
                      </a:moveTo>
                      <a:lnTo>
                        <a:pt x="0" y="0"/>
                      </a:lnTo>
                      <a:lnTo>
                        <a:pt x="0" y="0"/>
                      </a:lnTo>
                      <a:lnTo>
                        <a:pt x="41" y="9"/>
                      </a:lnTo>
                      <a:lnTo>
                        <a:pt x="41" y="7"/>
                      </a:lnTo>
                      <a:close/>
                    </a:path>
                  </a:pathLst>
                </a:custGeom>
                <a:solidFill>
                  <a:srgbClr val="01AAE5"/>
                </a:solidFill>
                <a:ln>
                  <a:noFill/>
                </a:ln>
                <a:extLst/>
              </p:spPr>
              <p:txBody>
                <a:bodyPr/>
                <a:lstStyle/>
                <a:p>
                  <a:pPr eaLnBrk="1" hangingPunct="1">
                    <a:defRPr/>
                  </a:pPr>
                  <a:endParaRPr lang="zh-CN" altLang="en-US" sz="1050"/>
                </a:p>
              </p:txBody>
            </p:sp>
            <p:sp>
              <p:nvSpPr>
                <p:cNvPr id="4878" name="Freeform 1820"/>
                <p:cNvSpPr>
                  <a:spLocks/>
                </p:cNvSpPr>
                <p:nvPr/>
              </p:nvSpPr>
              <p:spPr bwMode="auto">
                <a:xfrm>
                  <a:off x="10174" y="2325"/>
                  <a:ext cx="75" cy="26"/>
                </a:xfrm>
                <a:custGeom>
                  <a:avLst/>
                  <a:gdLst>
                    <a:gd name="T0" fmla="*/ 71 w 71"/>
                    <a:gd name="T1" fmla="*/ 22 h 24"/>
                    <a:gd name="T2" fmla="*/ 0 w 71"/>
                    <a:gd name="T3" fmla="*/ 0 h 24"/>
                    <a:gd name="T4" fmla="*/ 0 w 71"/>
                    <a:gd name="T5" fmla="*/ 0 h 24"/>
                    <a:gd name="T6" fmla="*/ 71 w 71"/>
                    <a:gd name="T7" fmla="*/ 24 h 24"/>
                    <a:gd name="T8" fmla="*/ 71 w 71"/>
                    <a:gd name="T9" fmla="*/ 22 h 24"/>
                  </a:gdLst>
                  <a:ahLst/>
                  <a:cxnLst>
                    <a:cxn ang="0">
                      <a:pos x="T0" y="T1"/>
                    </a:cxn>
                    <a:cxn ang="0">
                      <a:pos x="T2" y="T3"/>
                    </a:cxn>
                    <a:cxn ang="0">
                      <a:pos x="T4" y="T5"/>
                    </a:cxn>
                    <a:cxn ang="0">
                      <a:pos x="T6" y="T7"/>
                    </a:cxn>
                    <a:cxn ang="0">
                      <a:pos x="T8" y="T9"/>
                    </a:cxn>
                  </a:cxnLst>
                  <a:rect l="0" t="0" r="r" b="b"/>
                  <a:pathLst>
                    <a:path w="71" h="24">
                      <a:moveTo>
                        <a:pt x="71" y="22"/>
                      </a:moveTo>
                      <a:lnTo>
                        <a:pt x="0" y="0"/>
                      </a:lnTo>
                      <a:lnTo>
                        <a:pt x="0" y="0"/>
                      </a:lnTo>
                      <a:lnTo>
                        <a:pt x="71" y="24"/>
                      </a:lnTo>
                      <a:lnTo>
                        <a:pt x="71" y="22"/>
                      </a:lnTo>
                      <a:close/>
                    </a:path>
                  </a:pathLst>
                </a:custGeom>
                <a:solidFill>
                  <a:srgbClr val="01AAE5"/>
                </a:solidFill>
                <a:ln>
                  <a:noFill/>
                </a:ln>
                <a:extLst/>
              </p:spPr>
              <p:txBody>
                <a:bodyPr/>
                <a:lstStyle/>
                <a:p>
                  <a:pPr eaLnBrk="1" hangingPunct="1">
                    <a:defRPr/>
                  </a:pPr>
                  <a:endParaRPr lang="zh-CN" altLang="en-US" sz="1050"/>
                </a:p>
              </p:txBody>
            </p:sp>
            <p:sp>
              <p:nvSpPr>
                <p:cNvPr id="4879" name="Freeform 1821"/>
                <p:cNvSpPr>
                  <a:spLocks/>
                </p:cNvSpPr>
                <p:nvPr/>
              </p:nvSpPr>
              <p:spPr bwMode="auto">
                <a:xfrm>
                  <a:off x="10174" y="2386"/>
                  <a:ext cx="50" cy="9"/>
                </a:xfrm>
                <a:custGeom>
                  <a:avLst/>
                  <a:gdLst>
                    <a:gd name="T0" fmla="*/ 50 w 50"/>
                    <a:gd name="T1" fmla="*/ 12 h 14"/>
                    <a:gd name="T2" fmla="*/ 0 w 50"/>
                    <a:gd name="T3" fmla="*/ 0 h 14"/>
                    <a:gd name="T4" fmla="*/ 0 w 50"/>
                    <a:gd name="T5" fmla="*/ 2 h 14"/>
                    <a:gd name="T6" fmla="*/ 50 w 50"/>
                    <a:gd name="T7" fmla="*/ 14 h 14"/>
                    <a:gd name="T8" fmla="*/ 50 w 50"/>
                    <a:gd name="T9" fmla="*/ 12 h 14"/>
                  </a:gdLst>
                  <a:ahLst/>
                  <a:cxnLst>
                    <a:cxn ang="0">
                      <a:pos x="T0" y="T1"/>
                    </a:cxn>
                    <a:cxn ang="0">
                      <a:pos x="T2" y="T3"/>
                    </a:cxn>
                    <a:cxn ang="0">
                      <a:pos x="T4" y="T5"/>
                    </a:cxn>
                    <a:cxn ang="0">
                      <a:pos x="T6" y="T7"/>
                    </a:cxn>
                    <a:cxn ang="0">
                      <a:pos x="T8" y="T9"/>
                    </a:cxn>
                  </a:cxnLst>
                  <a:rect l="0" t="0" r="r" b="b"/>
                  <a:pathLst>
                    <a:path w="50" h="14">
                      <a:moveTo>
                        <a:pt x="50" y="12"/>
                      </a:moveTo>
                      <a:lnTo>
                        <a:pt x="0" y="0"/>
                      </a:lnTo>
                      <a:lnTo>
                        <a:pt x="0" y="2"/>
                      </a:lnTo>
                      <a:lnTo>
                        <a:pt x="50" y="14"/>
                      </a:lnTo>
                      <a:lnTo>
                        <a:pt x="50" y="12"/>
                      </a:lnTo>
                      <a:close/>
                    </a:path>
                  </a:pathLst>
                </a:custGeom>
                <a:solidFill>
                  <a:srgbClr val="01AAE5"/>
                </a:solidFill>
                <a:ln>
                  <a:noFill/>
                </a:ln>
                <a:extLst/>
              </p:spPr>
              <p:txBody>
                <a:bodyPr/>
                <a:lstStyle/>
                <a:p>
                  <a:pPr eaLnBrk="1" hangingPunct="1">
                    <a:defRPr/>
                  </a:pPr>
                  <a:endParaRPr lang="zh-CN" altLang="en-US" sz="1050"/>
                </a:p>
              </p:txBody>
            </p:sp>
            <p:sp>
              <p:nvSpPr>
                <p:cNvPr id="4880" name="Freeform 1822"/>
                <p:cNvSpPr>
                  <a:spLocks/>
                </p:cNvSpPr>
                <p:nvPr/>
              </p:nvSpPr>
              <p:spPr bwMode="auto">
                <a:xfrm>
                  <a:off x="10174" y="2386"/>
                  <a:ext cx="50" cy="9"/>
                </a:xfrm>
                <a:custGeom>
                  <a:avLst/>
                  <a:gdLst>
                    <a:gd name="T0" fmla="*/ 47 w 47"/>
                    <a:gd name="T1" fmla="*/ 9 h 12"/>
                    <a:gd name="T2" fmla="*/ 0 w 47"/>
                    <a:gd name="T3" fmla="*/ 0 h 12"/>
                    <a:gd name="T4" fmla="*/ 0 w 47"/>
                    <a:gd name="T5" fmla="*/ 0 h 12"/>
                    <a:gd name="T6" fmla="*/ 47 w 47"/>
                    <a:gd name="T7" fmla="*/ 12 h 12"/>
                    <a:gd name="T8" fmla="*/ 47 w 47"/>
                    <a:gd name="T9" fmla="*/ 9 h 12"/>
                  </a:gdLst>
                  <a:ahLst/>
                  <a:cxnLst>
                    <a:cxn ang="0">
                      <a:pos x="T0" y="T1"/>
                    </a:cxn>
                    <a:cxn ang="0">
                      <a:pos x="T2" y="T3"/>
                    </a:cxn>
                    <a:cxn ang="0">
                      <a:pos x="T4" y="T5"/>
                    </a:cxn>
                    <a:cxn ang="0">
                      <a:pos x="T6" y="T7"/>
                    </a:cxn>
                    <a:cxn ang="0">
                      <a:pos x="T8" y="T9"/>
                    </a:cxn>
                  </a:cxnLst>
                  <a:rect l="0" t="0" r="r" b="b"/>
                  <a:pathLst>
                    <a:path w="47" h="12">
                      <a:moveTo>
                        <a:pt x="47" y="9"/>
                      </a:moveTo>
                      <a:lnTo>
                        <a:pt x="0" y="0"/>
                      </a:lnTo>
                      <a:lnTo>
                        <a:pt x="0" y="0"/>
                      </a:lnTo>
                      <a:lnTo>
                        <a:pt x="47" y="12"/>
                      </a:lnTo>
                      <a:lnTo>
                        <a:pt x="47" y="9"/>
                      </a:lnTo>
                      <a:close/>
                    </a:path>
                  </a:pathLst>
                </a:custGeom>
                <a:solidFill>
                  <a:srgbClr val="01AAE5"/>
                </a:solidFill>
                <a:ln>
                  <a:noFill/>
                </a:ln>
                <a:extLst/>
              </p:spPr>
              <p:txBody>
                <a:bodyPr/>
                <a:lstStyle/>
                <a:p>
                  <a:pPr eaLnBrk="1" hangingPunct="1">
                    <a:defRPr/>
                  </a:pPr>
                  <a:endParaRPr lang="zh-CN" altLang="en-US" sz="1050"/>
                </a:p>
              </p:txBody>
            </p:sp>
            <p:sp>
              <p:nvSpPr>
                <p:cNvPr id="4881" name="Freeform 1823"/>
                <p:cNvSpPr>
                  <a:spLocks/>
                </p:cNvSpPr>
                <p:nvPr/>
              </p:nvSpPr>
              <p:spPr bwMode="auto">
                <a:xfrm>
                  <a:off x="10182" y="2386"/>
                  <a:ext cx="42" cy="17"/>
                </a:xfrm>
                <a:custGeom>
                  <a:avLst/>
                  <a:gdLst>
                    <a:gd name="T0" fmla="*/ 43 w 43"/>
                    <a:gd name="T1" fmla="*/ 9 h 11"/>
                    <a:gd name="T2" fmla="*/ 0 w 43"/>
                    <a:gd name="T3" fmla="*/ 0 h 11"/>
                    <a:gd name="T4" fmla="*/ 0 w 43"/>
                    <a:gd name="T5" fmla="*/ 2 h 11"/>
                    <a:gd name="T6" fmla="*/ 43 w 43"/>
                    <a:gd name="T7" fmla="*/ 11 h 11"/>
                    <a:gd name="T8" fmla="*/ 43 w 43"/>
                    <a:gd name="T9" fmla="*/ 9 h 11"/>
                  </a:gdLst>
                  <a:ahLst/>
                  <a:cxnLst>
                    <a:cxn ang="0">
                      <a:pos x="T0" y="T1"/>
                    </a:cxn>
                    <a:cxn ang="0">
                      <a:pos x="T2" y="T3"/>
                    </a:cxn>
                    <a:cxn ang="0">
                      <a:pos x="T4" y="T5"/>
                    </a:cxn>
                    <a:cxn ang="0">
                      <a:pos x="T6" y="T7"/>
                    </a:cxn>
                    <a:cxn ang="0">
                      <a:pos x="T8" y="T9"/>
                    </a:cxn>
                  </a:cxnLst>
                  <a:rect l="0" t="0" r="r" b="b"/>
                  <a:pathLst>
                    <a:path w="43" h="11">
                      <a:moveTo>
                        <a:pt x="43" y="9"/>
                      </a:moveTo>
                      <a:lnTo>
                        <a:pt x="0" y="0"/>
                      </a:lnTo>
                      <a:lnTo>
                        <a:pt x="0" y="2"/>
                      </a:lnTo>
                      <a:lnTo>
                        <a:pt x="43" y="11"/>
                      </a:lnTo>
                      <a:lnTo>
                        <a:pt x="43" y="9"/>
                      </a:lnTo>
                      <a:close/>
                    </a:path>
                  </a:pathLst>
                </a:custGeom>
                <a:solidFill>
                  <a:srgbClr val="01AAE5"/>
                </a:solidFill>
                <a:ln>
                  <a:noFill/>
                </a:ln>
                <a:extLst/>
              </p:spPr>
              <p:txBody>
                <a:bodyPr/>
                <a:lstStyle/>
                <a:p>
                  <a:pPr eaLnBrk="1" hangingPunct="1">
                    <a:defRPr/>
                  </a:pPr>
                  <a:endParaRPr lang="zh-CN" altLang="en-US" sz="1050"/>
                </a:p>
              </p:txBody>
            </p:sp>
            <p:sp>
              <p:nvSpPr>
                <p:cNvPr id="4882" name="Freeform 1824"/>
                <p:cNvSpPr>
                  <a:spLocks/>
                </p:cNvSpPr>
                <p:nvPr/>
              </p:nvSpPr>
              <p:spPr bwMode="auto">
                <a:xfrm>
                  <a:off x="10174" y="2360"/>
                  <a:ext cx="58" cy="17"/>
                </a:xfrm>
                <a:custGeom>
                  <a:avLst/>
                  <a:gdLst>
                    <a:gd name="T0" fmla="*/ 61 w 61"/>
                    <a:gd name="T1" fmla="*/ 17 h 17"/>
                    <a:gd name="T2" fmla="*/ 0 w 61"/>
                    <a:gd name="T3" fmla="*/ 0 h 17"/>
                    <a:gd name="T4" fmla="*/ 0 w 61"/>
                    <a:gd name="T5" fmla="*/ 0 h 17"/>
                    <a:gd name="T6" fmla="*/ 61 w 61"/>
                    <a:gd name="T7" fmla="*/ 17 h 17"/>
                    <a:gd name="T8" fmla="*/ 61 w 61"/>
                    <a:gd name="T9" fmla="*/ 17 h 17"/>
                  </a:gdLst>
                  <a:ahLst/>
                  <a:cxnLst>
                    <a:cxn ang="0">
                      <a:pos x="T0" y="T1"/>
                    </a:cxn>
                    <a:cxn ang="0">
                      <a:pos x="T2" y="T3"/>
                    </a:cxn>
                    <a:cxn ang="0">
                      <a:pos x="T4" y="T5"/>
                    </a:cxn>
                    <a:cxn ang="0">
                      <a:pos x="T6" y="T7"/>
                    </a:cxn>
                    <a:cxn ang="0">
                      <a:pos x="T8" y="T9"/>
                    </a:cxn>
                  </a:cxnLst>
                  <a:rect l="0" t="0" r="r" b="b"/>
                  <a:pathLst>
                    <a:path w="61" h="17">
                      <a:moveTo>
                        <a:pt x="61" y="17"/>
                      </a:moveTo>
                      <a:lnTo>
                        <a:pt x="0" y="0"/>
                      </a:lnTo>
                      <a:lnTo>
                        <a:pt x="0" y="0"/>
                      </a:lnTo>
                      <a:lnTo>
                        <a:pt x="61" y="17"/>
                      </a:lnTo>
                      <a:lnTo>
                        <a:pt x="61" y="17"/>
                      </a:lnTo>
                      <a:close/>
                    </a:path>
                  </a:pathLst>
                </a:custGeom>
                <a:solidFill>
                  <a:srgbClr val="01AAE5"/>
                </a:solidFill>
                <a:ln>
                  <a:noFill/>
                </a:ln>
                <a:extLst/>
              </p:spPr>
              <p:txBody>
                <a:bodyPr/>
                <a:lstStyle/>
                <a:p>
                  <a:pPr eaLnBrk="1" hangingPunct="1">
                    <a:defRPr/>
                  </a:pPr>
                  <a:endParaRPr lang="zh-CN" altLang="en-US" sz="1050"/>
                </a:p>
              </p:txBody>
            </p:sp>
            <p:sp>
              <p:nvSpPr>
                <p:cNvPr id="4883" name="Freeform 1825"/>
                <p:cNvSpPr>
                  <a:spLocks/>
                </p:cNvSpPr>
                <p:nvPr/>
              </p:nvSpPr>
              <p:spPr bwMode="auto">
                <a:xfrm>
                  <a:off x="10174" y="2360"/>
                  <a:ext cx="58" cy="26"/>
                </a:xfrm>
                <a:custGeom>
                  <a:avLst/>
                  <a:gdLst>
                    <a:gd name="T0" fmla="*/ 59 w 59"/>
                    <a:gd name="T1" fmla="*/ 17 h 17"/>
                    <a:gd name="T2" fmla="*/ 0 w 59"/>
                    <a:gd name="T3" fmla="*/ 0 h 17"/>
                    <a:gd name="T4" fmla="*/ 0 w 59"/>
                    <a:gd name="T5" fmla="*/ 3 h 17"/>
                    <a:gd name="T6" fmla="*/ 59 w 59"/>
                    <a:gd name="T7" fmla="*/ 17 h 17"/>
                    <a:gd name="T8" fmla="*/ 59 w 59"/>
                    <a:gd name="T9" fmla="*/ 17 h 17"/>
                  </a:gdLst>
                  <a:ahLst/>
                  <a:cxnLst>
                    <a:cxn ang="0">
                      <a:pos x="T0" y="T1"/>
                    </a:cxn>
                    <a:cxn ang="0">
                      <a:pos x="T2" y="T3"/>
                    </a:cxn>
                    <a:cxn ang="0">
                      <a:pos x="T4" y="T5"/>
                    </a:cxn>
                    <a:cxn ang="0">
                      <a:pos x="T6" y="T7"/>
                    </a:cxn>
                    <a:cxn ang="0">
                      <a:pos x="T8" y="T9"/>
                    </a:cxn>
                  </a:cxnLst>
                  <a:rect l="0" t="0" r="r" b="b"/>
                  <a:pathLst>
                    <a:path w="59" h="17">
                      <a:moveTo>
                        <a:pt x="59" y="17"/>
                      </a:moveTo>
                      <a:lnTo>
                        <a:pt x="0" y="0"/>
                      </a:lnTo>
                      <a:lnTo>
                        <a:pt x="0" y="3"/>
                      </a:lnTo>
                      <a:lnTo>
                        <a:pt x="59" y="17"/>
                      </a:lnTo>
                      <a:lnTo>
                        <a:pt x="59" y="17"/>
                      </a:lnTo>
                      <a:close/>
                    </a:path>
                  </a:pathLst>
                </a:custGeom>
                <a:solidFill>
                  <a:srgbClr val="01AAE5"/>
                </a:solidFill>
                <a:ln>
                  <a:noFill/>
                </a:ln>
                <a:extLst/>
              </p:spPr>
              <p:txBody>
                <a:bodyPr/>
                <a:lstStyle/>
                <a:p>
                  <a:pPr eaLnBrk="1" hangingPunct="1">
                    <a:defRPr/>
                  </a:pPr>
                  <a:endParaRPr lang="zh-CN" altLang="en-US" sz="1050"/>
                </a:p>
              </p:txBody>
            </p:sp>
            <p:sp>
              <p:nvSpPr>
                <p:cNvPr id="4884" name="Freeform 1826"/>
                <p:cNvSpPr>
                  <a:spLocks/>
                </p:cNvSpPr>
                <p:nvPr/>
              </p:nvSpPr>
              <p:spPr bwMode="auto">
                <a:xfrm>
                  <a:off x="10174" y="2377"/>
                  <a:ext cx="50" cy="9"/>
                </a:xfrm>
                <a:custGeom>
                  <a:avLst/>
                  <a:gdLst>
                    <a:gd name="T0" fmla="*/ 52 w 52"/>
                    <a:gd name="T1" fmla="*/ 12 h 14"/>
                    <a:gd name="T2" fmla="*/ 0 w 52"/>
                    <a:gd name="T3" fmla="*/ 0 h 14"/>
                    <a:gd name="T4" fmla="*/ 0 w 52"/>
                    <a:gd name="T5" fmla="*/ 2 h 14"/>
                    <a:gd name="T6" fmla="*/ 52 w 52"/>
                    <a:gd name="T7" fmla="*/ 14 h 14"/>
                    <a:gd name="T8" fmla="*/ 52 w 52"/>
                    <a:gd name="T9" fmla="*/ 12 h 14"/>
                  </a:gdLst>
                  <a:ahLst/>
                  <a:cxnLst>
                    <a:cxn ang="0">
                      <a:pos x="T0" y="T1"/>
                    </a:cxn>
                    <a:cxn ang="0">
                      <a:pos x="T2" y="T3"/>
                    </a:cxn>
                    <a:cxn ang="0">
                      <a:pos x="T4" y="T5"/>
                    </a:cxn>
                    <a:cxn ang="0">
                      <a:pos x="T6" y="T7"/>
                    </a:cxn>
                    <a:cxn ang="0">
                      <a:pos x="T8" y="T9"/>
                    </a:cxn>
                  </a:cxnLst>
                  <a:rect l="0" t="0" r="r" b="b"/>
                  <a:pathLst>
                    <a:path w="52" h="14">
                      <a:moveTo>
                        <a:pt x="52" y="12"/>
                      </a:moveTo>
                      <a:lnTo>
                        <a:pt x="0" y="0"/>
                      </a:lnTo>
                      <a:lnTo>
                        <a:pt x="0" y="2"/>
                      </a:lnTo>
                      <a:lnTo>
                        <a:pt x="52" y="14"/>
                      </a:lnTo>
                      <a:lnTo>
                        <a:pt x="52" y="12"/>
                      </a:lnTo>
                      <a:close/>
                    </a:path>
                  </a:pathLst>
                </a:custGeom>
                <a:solidFill>
                  <a:srgbClr val="01AAE5"/>
                </a:solidFill>
                <a:ln>
                  <a:noFill/>
                </a:ln>
                <a:extLst/>
              </p:spPr>
              <p:txBody>
                <a:bodyPr/>
                <a:lstStyle/>
                <a:p>
                  <a:pPr eaLnBrk="1" hangingPunct="1">
                    <a:defRPr/>
                  </a:pPr>
                  <a:endParaRPr lang="zh-CN" altLang="en-US" sz="1050"/>
                </a:p>
              </p:txBody>
            </p:sp>
            <p:sp>
              <p:nvSpPr>
                <p:cNvPr id="4885" name="Freeform 1827"/>
                <p:cNvSpPr>
                  <a:spLocks/>
                </p:cNvSpPr>
                <p:nvPr/>
              </p:nvSpPr>
              <p:spPr bwMode="auto">
                <a:xfrm>
                  <a:off x="10174" y="2369"/>
                  <a:ext cx="58" cy="17"/>
                </a:xfrm>
                <a:custGeom>
                  <a:avLst/>
                  <a:gdLst>
                    <a:gd name="T0" fmla="*/ 56 w 56"/>
                    <a:gd name="T1" fmla="*/ 14 h 14"/>
                    <a:gd name="T2" fmla="*/ 0 w 56"/>
                    <a:gd name="T3" fmla="*/ 0 h 14"/>
                    <a:gd name="T4" fmla="*/ 0 w 56"/>
                    <a:gd name="T5" fmla="*/ 0 h 14"/>
                    <a:gd name="T6" fmla="*/ 56 w 56"/>
                    <a:gd name="T7" fmla="*/ 14 h 14"/>
                    <a:gd name="T8" fmla="*/ 56 w 56"/>
                    <a:gd name="T9" fmla="*/ 14 h 14"/>
                  </a:gdLst>
                  <a:ahLst/>
                  <a:cxnLst>
                    <a:cxn ang="0">
                      <a:pos x="T0" y="T1"/>
                    </a:cxn>
                    <a:cxn ang="0">
                      <a:pos x="T2" y="T3"/>
                    </a:cxn>
                    <a:cxn ang="0">
                      <a:pos x="T4" y="T5"/>
                    </a:cxn>
                    <a:cxn ang="0">
                      <a:pos x="T6" y="T7"/>
                    </a:cxn>
                    <a:cxn ang="0">
                      <a:pos x="T8" y="T9"/>
                    </a:cxn>
                  </a:cxnLst>
                  <a:rect l="0" t="0" r="r" b="b"/>
                  <a:pathLst>
                    <a:path w="56" h="14">
                      <a:moveTo>
                        <a:pt x="56" y="14"/>
                      </a:moveTo>
                      <a:lnTo>
                        <a:pt x="0" y="0"/>
                      </a:lnTo>
                      <a:lnTo>
                        <a:pt x="0" y="0"/>
                      </a:lnTo>
                      <a:lnTo>
                        <a:pt x="56" y="14"/>
                      </a:lnTo>
                      <a:lnTo>
                        <a:pt x="56" y="14"/>
                      </a:lnTo>
                      <a:close/>
                    </a:path>
                  </a:pathLst>
                </a:custGeom>
                <a:solidFill>
                  <a:srgbClr val="01AAE5"/>
                </a:solidFill>
                <a:ln>
                  <a:noFill/>
                </a:ln>
                <a:extLst/>
              </p:spPr>
              <p:txBody>
                <a:bodyPr/>
                <a:lstStyle/>
                <a:p>
                  <a:pPr eaLnBrk="1" hangingPunct="1">
                    <a:defRPr/>
                  </a:pPr>
                  <a:endParaRPr lang="zh-CN" altLang="en-US" sz="1050"/>
                </a:p>
              </p:txBody>
            </p:sp>
            <p:sp>
              <p:nvSpPr>
                <p:cNvPr id="4886" name="Freeform 1828"/>
                <p:cNvSpPr>
                  <a:spLocks/>
                </p:cNvSpPr>
                <p:nvPr/>
              </p:nvSpPr>
              <p:spPr bwMode="auto">
                <a:xfrm>
                  <a:off x="10748"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87" name="Freeform 1829"/>
                <p:cNvSpPr>
                  <a:spLocks/>
                </p:cNvSpPr>
                <p:nvPr/>
              </p:nvSpPr>
              <p:spPr bwMode="auto">
                <a:xfrm>
                  <a:off x="10781" y="3240"/>
                  <a:ext cx="0" cy="17"/>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88" name="Freeform 1830"/>
                <p:cNvSpPr>
                  <a:spLocks/>
                </p:cNvSpPr>
                <p:nvPr/>
              </p:nvSpPr>
              <p:spPr bwMode="auto">
                <a:xfrm>
                  <a:off x="10756"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89" name="Freeform 1831"/>
                <p:cNvSpPr>
                  <a:spLocks/>
                </p:cNvSpPr>
                <p:nvPr/>
              </p:nvSpPr>
              <p:spPr bwMode="auto">
                <a:xfrm>
                  <a:off x="10723" y="3240"/>
                  <a:ext cx="8" cy="0"/>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90" name="Freeform 1832"/>
                <p:cNvSpPr>
                  <a:spLocks/>
                </p:cNvSpPr>
                <p:nvPr/>
              </p:nvSpPr>
              <p:spPr bwMode="auto">
                <a:xfrm>
                  <a:off x="10781" y="3240"/>
                  <a:ext cx="0" cy="17"/>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4891" name="Freeform 1833"/>
                <p:cNvSpPr>
                  <a:spLocks/>
                </p:cNvSpPr>
                <p:nvPr/>
              </p:nvSpPr>
              <p:spPr bwMode="auto">
                <a:xfrm>
                  <a:off x="10731" y="3240"/>
                  <a:ext cx="8" cy="9"/>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92" name="Freeform 1834"/>
                <p:cNvSpPr>
                  <a:spLocks/>
                </p:cNvSpPr>
                <p:nvPr/>
              </p:nvSpPr>
              <p:spPr bwMode="auto">
                <a:xfrm>
                  <a:off x="10739" y="3240"/>
                  <a:ext cx="8" cy="9"/>
                </a:xfrm>
                <a:custGeom>
                  <a:avLst/>
                  <a:gdLst>
                    <a:gd name="T0" fmla="*/ 5 w 5"/>
                    <a:gd name="T1" fmla="*/ 0 h 12"/>
                    <a:gd name="T2" fmla="*/ 0 w 5"/>
                    <a:gd name="T3" fmla="*/ 12 h 12"/>
                    <a:gd name="T4" fmla="*/ 2 w 5"/>
                    <a:gd name="T5" fmla="*/ 12 h 12"/>
                    <a:gd name="T6" fmla="*/ 5 w 5"/>
                    <a:gd name="T7" fmla="*/ 2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2"/>
                      </a:lnTo>
                      <a:lnTo>
                        <a:pt x="2" y="12"/>
                      </a:lnTo>
                      <a:lnTo>
                        <a:pt x="5" y="2"/>
                      </a:lnTo>
                      <a:lnTo>
                        <a:pt x="5" y="0"/>
                      </a:lnTo>
                      <a:close/>
                    </a:path>
                  </a:pathLst>
                </a:custGeom>
                <a:solidFill>
                  <a:srgbClr val="01AAE5"/>
                </a:solidFill>
                <a:ln>
                  <a:noFill/>
                </a:ln>
                <a:extLst/>
              </p:spPr>
              <p:txBody>
                <a:bodyPr/>
                <a:lstStyle/>
                <a:p>
                  <a:pPr eaLnBrk="1" hangingPunct="1">
                    <a:defRPr/>
                  </a:pPr>
                  <a:endParaRPr lang="zh-CN" altLang="en-US" sz="1050"/>
                </a:p>
              </p:txBody>
            </p:sp>
            <p:sp>
              <p:nvSpPr>
                <p:cNvPr id="4893" name="Rectangle 1835"/>
                <p:cNvSpPr>
                  <a:spLocks noChangeArrowheads="1"/>
                </p:cNvSpPr>
                <p:nvPr/>
              </p:nvSpPr>
              <p:spPr bwMode="auto">
                <a:xfrm>
                  <a:off x="10839"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4894" name="Freeform 1836"/>
                <p:cNvSpPr>
                  <a:spLocks/>
                </p:cNvSpPr>
                <p:nvPr/>
              </p:nvSpPr>
              <p:spPr bwMode="auto">
                <a:xfrm>
                  <a:off x="10839" y="3249"/>
                  <a:ext cx="0" cy="17"/>
                </a:xfrm>
                <a:custGeom>
                  <a:avLst/>
                  <a:gdLst>
                    <a:gd name="T0" fmla="*/ 3 w 3"/>
                    <a:gd name="T1" fmla="*/ 0 h 12"/>
                    <a:gd name="T2" fmla="*/ 0 w 3"/>
                    <a:gd name="T3" fmla="*/ 12 h 12"/>
                    <a:gd name="T4" fmla="*/ 3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3"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95" name="Freeform 1837"/>
                <p:cNvSpPr>
                  <a:spLocks/>
                </p:cNvSpPr>
                <p:nvPr/>
              </p:nvSpPr>
              <p:spPr bwMode="auto">
                <a:xfrm>
                  <a:off x="10839" y="3249"/>
                  <a:ext cx="0" cy="17"/>
                </a:xfrm>
                <a:custGeom>
                  <a:avLst/>
                  <a:gdLst>
                    <a:gd name="T0" fmla="*/ 3 w 5"/>
                    <a:gd name="T1" fmla="*/ 0 h 12"/>
                    <a:gd name="T2" fmla="*/ 0 w 5"/>
                    <a:gd name="T3" fmla="*/ 12 h 12"/>
                    <a:gd name="T4" fmla="*/ 3 w 5"/>
                    <a:gd name="T5" fmla="*/ 12 h 12"/>
                    <a:gd name="T6" fmla="*/ 5 w 5"/>
                    <a:gd name="T7" fmla="*/ 2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96" name="Freeform 1838"/>
                <p:cNvSpPr>
                  <a:spLocks/>
                </p:cNvSpPr>
                <p:nvPr/>
              </p:nvSpPr>
              <p:spPr bwMode="auto">
                <a:xfrm>
                  <a:off x="10814" y="3249"/>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897" name="Freeform 1839"/>
                <p:cNvSpPr>
                  <a:spLocks/>
                </p:cNvSpPr>
                <p:nvPr/>
              </p:nvSpPr>
              <p:spPr bwMode="auto">
                <a:xfrm>
                  <a:off x="10806" y="3249"/>
                  <a:ext cx="0" cy="17"/>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898" name="Freeform 1840"/>
                <p:cNvSpPr>
                  <a:spLocks/>
                </p:cNvSpPr>
                <p:nvPr/>
              </p:nvSpPr>
              <p:spPr bwMode="auto">
                <a:xfrm>
                  <a:off x="10839" y="3249"/>
                  <a:ext cx="0" cy="17"/>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4899" name="Freeform 1841"/>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00" name="Freeform 1842"/>
                <p:cNvSpPr>
                  <a:spLocks/>
                </p:cNvSpPr>
                <p:nvPr/>
              </p:nvSpPr>
              <p:spPr bwMode="auto">
                <a:xfrm>
                  <a:off x="10789" y="3240"/>
                  <a:ext cx="0" cy="17"/>
                </a:xfrm>
                <a:custGeom>
                  <a:avLst/>
                  <a:gdLst>
                    <a:gd name="T0" fmla="*/ 3 w 5"/>
                    <a:gd name="T1" fmla="*/ 0 h 12"/>
                    <a:gd name="T2" fmla="*/ 0 w 5"/>
                    <a:gd name="T3" fmla="*/ 12 h 12"/>
                    <a:gd name="T4" fmla="*/ 3 w 5"/>
                    <a:gd name="T5" fmla="*/ 12 h 12"/>
                    <a:gd name="T6" fmla="*/ 5 w 5"/>
                    <a:gd name="T7" fmla="*/ 3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3"/>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01" name="Freeform 1843"/>
                <p:cNvSpPr>
                  <a:spLocks/>
                </p:cNvSpPr>
                <p:nvPr/>
              </p:nvSpPr>
              <p:spPr bwMode="auto">
                <a:xfrm>
                  <a:off x="10781" y="3240"/>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02" name="Freeform 1844"/>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03" name="Freeform 1845"/>
                <p:cNvSpPr>
                  <a:spLocks/>
                </p:cNvSpPr>
                <p:nvPr/>
              </p:nvSpPr>
              <p:spPr bwMode="auto">
                <a:xfrm>
                  <a:off x="10748" y="3240"/>
                  <a:ext cx="0" cy="9"/>
                </a:xfrm>
                <a:custGeom>
                  <a:avLst/>
                  <a:gdLst>
                    <a:gd name="T0" fmla="*/ 2 w 5"/>
                    <a:gd name="T1" fmla="*/ 0 h 12"/>
                    <a:gd name="T2" fmla="*/ 0 w 5"/>
                    <a:gd name="T3" fmla="*/ 12 h 12"/>
                    <a:gd name="T4" fmla="*/ 2 w 5"/>
                    <a:gd name="T5" fmla="*/ 12 h 12"/>
                    <a:gd name="T6" fmla="*/ 5 w 5"/>
                    <a:gd name="T7" fmla="*/ 0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4904" name="Freeform 1846"/>
                <p:cNvSpPr>
                  <a:spLocks/>
                </p:cNvSpPr>
                <p:nvPr/>
              </p:nvSpPr>
              <p:spPr bwMode="auto">
                <a:xfrm>
                  <a:off x="10631" y="3196"/>
                  <a:ext cx="17" cy="44"/>
                </a:xfrm>
                <a:custGeom>
                  <a:avLst/>
                  <a:gdLst>
                    <a:gd name="T0" fmla="*/ 19 w 19"/>
                    <a:gd name="T1" fmla="*/ 0 h 43"/>
                    <a:gd name="T2" fmla="*/ 0 w 19"/>
                    <a:gd name="T3" fmla="*/ 43 h 43"/>
                    <a:gd name="T4" fmla="*/ 2 w 19"/>
                    <a:gd name="T5" fmla="*/ 43 h 43"/>
                    <a:gd name="T6" fmla="*/ 19 w 19"/>
                    <a:gd name="T7" fmla="*/ 0 h 43"/>
                    <a:gd name="T8" fmla="*/ 19 w 19"/>
                    <a:gd name="T9" fmla="*/ 0 h 43"/>
                  </a:gdLst>
                  <a:ahLst/>
                  <a:cxnLst>
                    <a:cxn ang="0">
                      <a:pos x="T0" y="T1"/>
                    </a:cxn>
                    <a:cxn ang="0">
                      <a:pos x="T2" y="T3"/>
                    </a:cxn>
                    <a:cxn ang="0">
                      <a:pos x="T4" y="T5"/>
                    </a:cxn>
                    <a:cxn ang="0">
                      <a:pos x="T6" y="T7"/>
                    </a:cxn>
                    <a:cxn ang="0">
                      <a:pos x="T8" y="T9"/>
                    </a:cxn>
                  </a:cxnLst>
                  <a:rect l="0" t="0" r="r" b="b"/>
                  <a:pathLst>
                    <a:path w="19" h="43">
                      <a:moveTo>
                        <a:pt x="19" y="0"/>
                      </a:moveTo>
                      <a:lnTo>
                        <a:pt x="0" y="43"/>
                      </a:lnTo>
                      <a:lnTo>
                        <a:pt x="2" y="4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905" name="Freeform 1847"/>
                <p:cNvSpPr>
                  <a:spLocks/>
                </p:cNvSpPr>
                <p:nvPr/>
              </p:nvSpPr>
              <p:spPr bwMode="auto">
                <a:xfrm>
                  <a:off x="10640" y="3205"/>
                  <a:ext cx="17" cy="35"/>
                </a:xfrm>
                <a:custGeom>
                  <a:avLst/>
                  <a:gdLst>
                    <a:gd name="T0" fmla="*/ 14 w 17"/>
                    <a:gd name="T1" fmla="*/ 0 h 36"/>
                    <a:gd name="T2" fmla="*/ 0 w 17"/>
                    <a:gd name="T3" fmla="*/ 36 h 36"/>
                    <a:gd name="T4" fmla="*/ 3 w 17"/>
                    <a:gd name="T5" fmla="*/ 36 h 36"/>
                    <a:gd name="T6" fmla="*/ 17 w 17"/>
                    <a:gd name="T7" fmla="*/ 0 h 36"/>
                    <a:gd name="T8" fmla="*/ 14 w 17"/>
                    <a:gd name="T9" fmla="*/ 0 h 36"/>
                  </a:gdLst>
                  <a:ahLst/>
                  <a:cxnLst>
                    <a:cxn ang="0">
                      <a:pos x="T0" y="T1"/>
                    </a:cxn>
                    <a:cxn ang="0">
                      <a:pos x="T2" y="T3"/>
                    </a:cxn>
                    <a:cxn ang="0">
                      <a:pos x="T4" y="T5"/>
                    </a:cxn>
                    <a:cxn ang="0">
                      <a:pos x="T6" y="T7"/>
                    </a:cxn>
                    <a:cxn ang="0">
                      <a:pos x="T8" y="T9"/>
                    </a:cxn>
                  </a:cxnLst>
                  <a:rect l="0" t="0" r="r" b="b"/>
                  <a:pathLst>
                    <a:path w="17" h="36">
                      <a:moveTo>
                        <a:pt x="14" y="0"/>
                      </a:moveTo>
                      <a:lnTo>
                        <a:pt x="0" y="36"/>
                      </a:lnTo>
                      <a:lnTo>
                        <a:pt x="3" y="36"/>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906" name="Freeform 1848"/>
                <p:cNvSpPr>
                  <a:spLocks/>
                </p:cNvSpPr>
                <p:nvPr/>
              </p:nvSpPr>
              <p:spPr bwMode="auto">
                <a:xfrm>
                  <a:off x="10631" y="3196"/>
                  <a:ext cx="25" cy="44"/>
                </a:xfrm>
                <a:custGeom>
                  <a:avLst/>
                  <a:gdLst>
                    <a:gd name="T0" fmla="*/ 17 w 19"/>
                    <a:gd name="T1" fmla="*/ 0 h 40"/>
                    <a:gd name="T2" fmla="*/ 0 w 19"/>
                    <a:gd name="T3" fmla="*/ 40 h 40"/>
                    <a:gd name="T4" fmla="*/ 2 w 19"/>
                    <a:gd name="T5" fmla="*/ 40 h 40"/>
                    <a:gd name="T6" fmla="*/ 19 w 19"/>
                    <a:gd name="T7" fmla="*/ 2 h 40"/>
                    <a:gd name="T8" fmla="*/ 17 w 19"/>
                    <a:gd name="T9" fmla="*/ 0 h 40"/>
                  </a:gdLst>
                  <a:ahLst/>
                  <a:cxnLst>
                    <a:cxn ang="0">
                      <a:pos x="T0" y="T1"/>
                    </a:cxn>
                    <a:cxn ang="0">
                      <a:pos x="T2" y="T3"/>
                    </a:cxn>
                    <a:cxn ang="0">
                      <a:pos x="T4" y="T5"/>
                    </a:cxn>
                    <a:cxn ang="0">
                      <a:pos x="T6" y="T7"/>
                    </a:cxn>
                    <a:cxn ang="0">
                      <a:pos x="T8" y="T9"/>
                    </a:cxn>
                  </a:cxnLst>
                  <a:rect l="0" t="0" r="r" b="b"/>
                  <a:pathLst>
                    <a:path w="19" h="40">
                      <a:moveTo>
                        <a:pt x="17" y="0"/>
                      </a:moveTo>
                      <a:lnTo>
                        <a:pt x="0" y="40"/>
                      </a:lnTo>
                      <a:lnTo>
                        <a:pt x="2" y="40"/>
                      </a:lnTo>
                      <a:lnTo>
                        <a:pt x="19" y="2"/>
                      </a:lnTo>
                      <a:lnTo>
                        <a:pt x="17" y="0"/>
                      </a:lnTo>
                      <a:close/>
                    </a:path>
                  </a:pathLst>
                </a:custGeom>
                <a:solidFill>
                  <a:srgbClr val="01AAE5"/>
                </a:solidFill>
                <a:ln>
                  <a:noFill/>
                </a:ln>
                <a:extLst/>
              </p:spPr>
              <p:txBody>
                <a:bodyPr/>
                <a:lstStyle/>
                <a:p>
                  <a:pPr eaLnBrk="1" hangingPunct="1">
                    <a:defRPr/>
                  </a:pPr>
                  <a:endParaRPr lang="zh-CN" altLang="en-US" sz="1050"/>
                </a:p>
              </p:txBody>
            </p:sp>
            <p:sp>
              <p:nvSpPr>
                <p:cNvPr id="4907" name="Freeform 1849"/>
                <p:cNvSpPr>
                  <a:spLocks/>
                </p:cNvSpPr>
                <p:nvPr/>
              </p:nvSpPr>
              <p:spPr bwMode="auto">
                <a:xfrm>
                  <a:off x="10656" y="3205"/>
                  <a:ext cx="0" cy="35"/>
                </a:xfrm>
                <a:custGeom>
                  <a:avLst/>
                  <a:gdLst>
                    <a:gd name="T0" fmla="*/ 11 w 11"/>
                    <a:gd name="T1" fmla="*/ 0 h 33"/>
                    <a:gd name="T2" fmla="*/ 0 w 11"/>
                    <a:gd name="T3" fmla="*/ 33 h 33"/>
                    <a:gd name="T4" fmla="*/ 0 w 11"/>
                    <a:gd name="T5" fmla="*/ 33 h 33"/>
                    <a:gd name="T6" fmla="*/ 11 w 11"/>
                    <a:gd name="T7" fmla="*/ 2 h 33"/>
                    <a:gd name="T8" fmla="*/ 11 w 11"/>
                    <a:gd name="T9" fmla="*/ 0 h 33"/>
                  </a:gdLst>
                  <a:ahLst/>
                  <a:cxnLst>
                    <a:cxn ang="0">
                      <a:pos x="T0" y="T1"/>
                    </a:cxn>
                    <a:cxn ang="0">
                      <a:pos x="T2" y="T3"/>
                    </a:cxn>
                    <a:cxn ang="0">
                      <a:pos x="T4" y="T5"/>
                    </a:cxn>
                    <a:cxn ang="0">
                      <a:pos x="T6" y="T7"/>
                    </a:cxn>
                    <a:cxn ang="0">
                      <a:pos x="T8" y="T9"/>
                    </a:cxn>
                  </a:cxnLst>
                  <a:rect l="0" t="0" r="r" b="b"/>
                  <a:pathLst>
                    <a:path w="11" h="33">
                      <a:moveTo>
                        <a:pt x="11" y="0"/>
                      </a:moveTo>
                      <a:lnTo>
                        <a:pt x="0" y="33"/>
                      </a:lnTo>
                      <a:lnTo>
                        <a:pt x="0" y="33"/>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4908" name="Freeform 1850"/>
                <p:cNvSpPr>
                  <a:spLocks/>
                </p:cNvSpPr>
                <p:nvPr/>
              </p:nvSpPr>
              <p:spPr bwMode="auto">
                <a:xfrm>
                  <a:off x="10615" y="3179"/>
                  <a:ext cx="17" cy="61"/>
                </a:xfrm>
                <a:custGeom>
                  <a:avLst/>
                  <a:gdLst>
                    <a:gd name="T0" fmla="*/ 21 w 21"/>
                    <a:gd name="T1" fmla="*/ 0 h 52"/>
                    <a:gd name="T2" fmla="*/ 0 w 21"/>
                    <a:gd name="T3" fmla="*/ 49 h 52"/>
                    <a:gd name="T4" fmla="*/ 2 w 21"/>
                    <a:gd name="T5" fmla="*/ 52 h 52"/>
                    <a:gd name="T6" fmla="*/ 21 w 21"/>
                    <a:gd name="T7" fmla="*/ 2 h 52"/>
                    <a:gd name="T8" fmla="*/ 21 w 21"/>
                    <a:gd name="T9" fmla="*/ 0 h 52"/>
                  </a:gdLst>
                  <a:ahLst/>
                  <a:cxnLst>
                    <a:cxn ang="0">
                      <a:pos x="T0" y="T1"/>
                    </a:cxn>
                    <a:cxn ang="0">
                      <a:pos x="T2" y="T3"/>
                    </a:cxn>
                    <a:cxn ang="0">
                      <a:pos x="T4" y="T5"/>
                    </a:cxn>
                    <a:cxn ang="0">
                      <a:pos x="T6" y="T7"/>
                    </a:cxn>
                    <a:cxn ang="0">
                      <a:pos x="T8" y="T9"/>
                    </a:cxn>
                  </a:cxnLst>
                  <a:rect l="0" t="0" r="r" b="b"/>
                  <a:pathLst>
                    <a:path w="21" h="52">
                      <a:moveTo>
                        <a:pt x="21" y="0"/>
                      </a:moveTo>
                      <a:lnTo>
                        <a:pt x="0" y="49"/>
                      </a:lnTo>
                      <a:lnTo>
                        <a:pt x="2" y="52"/>
                      </a:lnTo>
                      <a:lnTo>
                        <a:pt x="21"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909" name="Freeform 1851"/>
                <p:cNvSpPr>
                  <a:spLocks/>
                </p:cNvSpPr>
                <p:nvPr/>
              </p:nvSpPr>
              <p:spPr bwMode="auto">
                <a:xfrm>
                  <a:off x="10606" y="3179"/>
                  <a:ext cx="25" cy="61"/>
                </a:xfrm>
                <a:custGeom>
                  <a:avLst/>
                  <a:gdLst>
                    <a:gd name="T0" fmla="*/ 23 w 23"/>
                    <a:gd name="T1" fmla="*/ 0 h 52"/>
                    <a:gd name="T2" fmla="*/ 0 w 23"/>
                    <a:gd name="T3" fmla="*/ 52 h 52"/>
                    <a:gd name="T4" fmla="*/ 2 w 23"/>
                    <a:gd name="T5" fmla="*/ 52 h 52"/>
                    <a:gd name="T6" fmla="*/ 23 w 23"/>
                    <a:gd name="T7" fmla="*/ 0 h 52"/>
                    <a:gd name="T8" fmla="*/ 23 w 23"/>
                    <a:gd name="T9" fmla="*/ 0 h 52"/>
                  </a:gdLst>
                  <a:ahLst/>
                  <a:cxnLst>
                    <a:cxn ang="0">
                      <a:pos x="T0" y="T1"/>
                    </a:cxn>
                    <a:cxn ang="0">
                      <a:pos x="T2" y="T3"/>
                    </a:cxn>
                    <a:cxn ang="0">
                      <a:pos x="T4" y="T5"/>
                    </a:cxn>
                    <a:cxn ang="0">
                      <a:pos x="T6" y="T7"/>
                    </a:cxn>
                    <a:cxn ang="0">
                      <a:pos x="T8" y="T9"/>
                    </a:cxn>
                  </a:cxnLst>
                  <a:rect l="0" t="0" r="r" b="b"/>
                  <a:pathLst>
                    <a:path w="23" h="52">
                      <a:moveTo>
                        <a:pt x="23" y="0"/>
                      </a:moveTo>
                      <a:lnTo>
                        <a:pt x="0" y="52"/>
                      </a:lnTo>
                      <a:lnTo>
                        <a:pt x="2" y="52"/>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4910" name="Freeform 1852"/>
                <p:cNvSpPr>
                  <a:spLocks/>
                </p:cNvSpPr>
                <p:nvPr/>
              </p:nvSpPr>
              <p:spPr bwMode="auto">
                <a:xfrm>
                  <a:off x="10623" y="3188"/>
                  <a:ext cx="17" cy="52"/>
                </a:xfrm>
                <a:custGeom>
                  <a:avLst/>
                  <a:gdLst>
                    <a:gd name="T0" fmla="*/ 19 w 21"/>
                    <a:gd name="T1" fmla="*/ 0 h 47"/>
                    <a:gd name="T2" fmla="*/ 0 w 21"/>
                    <a:gd name="T3" fmla="*/ 47 h 47"/>
                    <a:gd name="T4" fmla="*/ 2 w 21"/>
                    <a:gd name="T5" fmla="*/ 47 h 47"/>
                    <a:gd name="T6" fmla="*/ 21 w 21"/>
                    <a:gd name="T7" fmla="*/ 0 h 47"/>
                    <a:gd name="T8" fmla="*/ 19 w 21"/>
                    <a:gd name="T9" fmla="*/ 0 h 47"/>
                  </a:gdLst>
                  <a:ahLst/>
                  <a:cxnLst>
                    <a:cxn ang="0">
                      <a:pos x="T0" y="T1"/>
                    </a:cxn>
                    <a:cxn ang="0">
                      <a:pos x="T2" y="T3"/>
                    </a:cxn>
                    <a:cxn ang="0">
                      <a:pos x="T4" y="T5"/>
                    </a:cxn>
                    <a:cxn ang="0">
                      <a:pos x="T6" y="T7"/>
                    </a:cxn>
                    <a:cxn ang="0">
                      <a:pos x="T8" y="T9"/>
                    </a:cxn>
                  </a:cxnLst>
                  <a:rect l="0" t="0" r="r" b="b"/>
                  <a:pathLst>
                    <a:path w="21" h="47">
                      <a:moveTo>
                        <a:pt x="19" y="0"/>
                      </a:moveTo>
                      <a:lnTo>
                        <a:pt x="0" y="47"/>
                      </a:lnTo>
                      <a:lnTo>
                        <a:pt x="2" y="47"/>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911" name="Freeform 1853"/>
                <p:cNvSpPr>
                  <a:spLocks/>
                </p:cNvSpPr>
                <p:nvPr/>
              </p:nvSpPr>
              <p:spPr bwMode="auto">
                <a:xfrm>
                  <a:off x="10656" y="3214"/>
                  <a:ext cx="17" cy="26"/>
                </a:xfrm>
                <a:custGeom>
                  <a:avLst/>
                  <a:gdLst>
                    <a:gd name="T0" fmla="*/ 9 w 12"/>
                    <a:gd name="T1" fmla="*/ 0 h 29"/>
                    <a:gd name="T2" fmla="*/ 0 w 12"/>
                    <a:gd name="T3" fmla="*/ 29 h 29"/>
                    <a:gd name="T4" fmla="*/ 0 w 12"/>
                    <a:gd name="T5" fmla="*/ 29 h 29"/>
                    <a:gd name="T6" fmla="*/ 12 w 12"/>
                    <a:gd name="T7" fmla="*/ 0 h 29"/>
                    <a:gd name="T8" fmla="*/ 9 w 12"/>
                    <a:gd name="T9" fmla="*/ 0 h 29"/>
                  </a:gdLst>
                  <a:ahLst/>
                  <a:cxnLst>
                    <a:cxn ang="0">
                      <a:pos x="T0" y="T1"/>
                    </a:cxn>
                    <a:cxn ang="0">
                      <a:pos x="T2" y="T3"/>
                    </a:cxn>
                    <a:cxn ang="0">
                      <a:pos x="T4" y="T5"/>
                    </a:cxn>
                    <a:cxn ang="0">
                      <a:pos x="T6" y="T7"/>
                    </a:cxn>
                    <a:cxn ang="0">
                      <a:pos x="T8" y="T9"/>
                    </a:cxn>
                  </a:cxnLst>
                  <a:rect l="0" t="0" r="r" b="b"/>
                  <a:pathLst>
                    <a:path w="12" h="29">
                      <a:moveTo>
                        <a:pt x="9" y="0"/>
                      </a:moveTo>
                      <a:lnTo>
                        <a:pt x="0" y="29"/>
                      </a:lnTo>
                      <a:lnTo>
                        <a:pt x="0" y="29"/>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912" name="Freeform 1854"/>
                <p:cNvSpPr>
                  <a:spLocks/>
                </p:cNvSpPr>
                <p:nvPr/>
              </p:nvSpPr>
              <p:spPr bwMode="auto">
                <a:xfrm>
                  <a:off x="10673" y="3214"/>
                  <a:ext cx="8" cy="26"/>
                </a:xfrm>
                <a:custGeom>
                  <a:avLst/>
                  <a:gdLst>
                    <a:gd name="T0" fmla="*/ 7 w 9"/>
                    <a:gd name="T1" fmla="*/ 0 h 21"/>
                    <a:gd name="T2" fmla="*/ 0 w 9"/>
                    <a:gd name="T3" fmla="*/ 21 h 21"/>
                    <a:gd name="T4" fmla="*/ 2 w 9"/>
                    <a:gd name="T5" fmla="*/ 21 h 21"/>
                    <a:gd name="T6" fmla="*/ 9 w 9"/>
                    <a:gd name="T7" fmla="*/ 0 h 21"/>
                    <a:gd name="T8" fmla="*/ 7 w 9"/>
                    <a:gd name="T9" fmla="*/ 0 h 21"/>
                  </a:gdLst>
                  <a:ahLst/>
                  <a:cxnLst>
                    <a:cxn ang="0">
                      <a:pos x="T0" y="T1"/>
                    </a:cxn>
                    <a:cxn ang="0">
                      <a:pos x="T2" y="T3"/>
                    </a:cxn>
                    <a:cxn ang="0">
                      <a:pos x="T4" y="T5"/>
                    </a:cxn>
                    <a:cxn ang="0">
                      <a:pos x="T6" y="T7"/>
                    </a:cxn>
                    <a:cxn ang="0">
                      <a:pos x="T8" y="T9"/>
                    </a:cxn>
                  </a:cxnLst>
                  <a:rect l="0" t="0" r="r" b="b"/>
                  <a:pathLst>
                    <a:path w="9" h="21">
                      <a:moveTo>
                        <a:pt x="7" y="0"/>
                      </a:moveTo>
                      <a:lnTo>
                        <a:pt x="0" y="21"/>
                      </a:lnTo>
                      <a:lnTo>
                        <a:pt x="2" y="21"/>
                      </a:lnTo>
                      <a:lnTo>
                        <a:pt x="9"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4913" name="Freeform 1855"/>
                <p:cNvSpPr>
                  <a:spLocks/>
                </p:cNvSpPr>
                <p:nvPr/>
              </p:nvSpPr>
              <p:spPr bwMode="auto">
                <a:xfrm>
                  <a:off x="10606" y="3179"/>
                  <a:ext cx="25" cy="61"/>
                </a:xfrm>
                <a:custGeom>
                  <a:avLst/>
                  <a:gdLst>
                    <a:gd name="T0" fmla="*/ 23 w 26"/>
                    <a:gd name="T1" fmla="*/ 0 h 56"/>
                    <a:gd name="T2" fmla="*/ 0 w 26"/>
                    <a:gd name="T3" fmla="*/ 54 h 56"/>
                    <a:gd name="T4" fmla="*/ 2 w 26"/>
                    <a:gd name="T5" fmla="*/ 56 h 56"/>
                    <a:gd name="T6" fmla="*/ 26 w 26"/>
                    <a:gd name="T7" fmla="*/ 2 h 56"/>
                    <a:gd name="T8" fmla="*/ 23 w 26"/>
                    <a:gd name="T9" fmla="*/ 0 h 56"/>
                  </a:gdLst>
                  <a:ahLst/>
                  <a:cxnLst>
                    <a:cxn ang="0">
                      <a:pos x="T0" y="T1"/>
                    </a:cxn>
                    <a:cxn ang="0">
                      <a:pos x="T2" y="T3"/>
                    </a:cxn>
                    <a:cxn ang="0">
                      <a:pos x="T4" y="T5"/>
                    </a:cxn>
                    <a:cxn ang="0">
                      <a:pos x="T6" y="T7"/>
                    </a:cxn>
                    <a:cxn ang="0">
                      <a:pos x="T8" y="T9"/>
                    </a:cxn>
                  </a:cxnLst>
                  <a:rect l="0" t="0" r="r" b="b"/>
                  <a:pathLst>
                    <a:path w="26" h="56">
                      <a:moveTo>
                        <a:pt x="23" y="0"/>
                      </a:moveTo>
                      <a:lnTo>
                        <a:pt x="0" y="54"/>
                      </a:lnTo>
                      <a:lnTo>
                        <a:pt x="2" y="56"/>
                      </a:lnTo>
                      <a:lnTo>
                        <a:pt x="26" y="2"/>
                      </a:lnTo>
                      <a:lnTo>
                        <a:pt x="23" y="0"/>
                      </a:lnTo>
                      <a:close/>
                    </a:path>
                  </a:pathLst>
                </a:custGeom>
                <a:solidFill>
                  <a:srgbClr val="01AAE5"/>
                </a:solidFill>
                <a:ln>
                  <a:noFill/>
                </a:ln>
                <a:extLst/>
              </p:spPr>
              <p:txBody>
                <a:bodyPr/>
                <a:lstStyle/>
                <a:p>
                  <a:pPr eaLnBrk="1" hangingPunct="1">
                    <a:defRPr/>
                  </a:pPr>
                  <a:endParaRPr lang="zh-CN" altLang="en-US" sz="1050"/>
                </a:p>
              </p:txBody>
            </p:sp>
            <p:sp>
              <p:nvSpPr>
                <p:cNvPr id="4914" name="Freeform 1856"/>
                <p:cNvSpPr>
                  <a:spLocks/>
                </p:cNvSpPr>
                <p:nvPr/>
              </p:nvSpPr>
              <p:spPr bwMode="auto">
                <a:xfrm>
                  <a:off x="10665" y="3214"/>
                  <a:ext cx="8" cy="26"/>
                </a:xfrm>
                <a:custGeom>
                  <a:avLst/>
                  <a:gdLst>
                    <a:gd name="T0" fmla="*/ 9 w 9"/>
                    <a:gd name="T1" fmla="*/ 0 h 26"/>
                    <a:gd name="T2" fmla="*/ 0 w 9"/>
                    <a:gd name="T3" fmla="*/ 26 h 26"/>
                    <a:gd name="T4" fmla="*/ 0 w 9"/>
                    <a:gd name="T5" fmla="*/ 26 h 26"/>
                    <a:gd name="T6" fmla="*/ 9 w 9"/>
                    <a:gd name="T7" fmla="*/ 2 h 26"/>
                    <a:gd name="T8" fmla="*/ 9 w 9"/>
                    <a:gd name="T9" fmla="*/ 0 h 26"/>
                  </a:gdLst>
                  <a:ahLst/>
                  <a:cxnLst>
                    <a:cxn ang="0">
                      <a:pos x="T0" y="T1"/>
                    </a:cxn>
                    <a:cxn ang="0">
                      <a:pos x="T2" y="T3"/>
                    </a:cxn>
                    <a:cxn ang="0">
                      <a:pos x="T4" y="T5"/>
                    </a:cxn>
                    <a:cxn ang="0">
                      <a:pos x="T6" y="T7"/>
                    </a:cxn>
                    <a:cxn ang="0">
                      <a:pos x="T8" y="T9"/>
                    </a:cxn>
                  </a:cxnLst>
                  <a:rect l="0" t="0" r="r" b="b"/>
                  <a:pathLst>
                    <a:path w="9" h="26">
                      <a:moveTo>
                        <a:pt x="9" y="0"/>
                      </a:moveTo>
                      <a:lnTo>
                        <a:pt x="0" y="26"/>
                      </a:lnTo>
                      <a:lnTo>
                        <a:pt x="0" y="26"/>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915" name="Freeform 1857"/>
                <p:cNvSpPr>
                  <a:spLocks/>
                </p:cNvSpPr>
                <p:nvPr/>
              </p:nvSpPr>
              <p:spPr bwMode="auto">
                <a:xfrm>
                  <a:off x="10698"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16" name="Freeform 1858"/>
                <p:cNvSpPr>
                  <a:spLocks/>
                </p:cNvSpPr>
                <p:nvPr/>
              </p:nvSpPr>
              <p:spPr bwMode="auto">
                <a:xfrm>
                  <a:off x="10714" y="3231"/>
                  <a:ext cx="0" cy="9"/>
                </a:xfrm>
                <a:custGeom>
                  <a:avLst/>
                  <a:gdLst>
                    <a:gd name="T0" fmla="*/ 5 w 5"/>
                    <a:gd name="T1" fmla="*/ 0 h 12"/>
                    <a:gd name="T2" fmla="*/ 0 w 5"/>
                    <a:gd name="T3" fmla="*/ 10 h 12"/>
                    <a:gd name="T4" fmla="*/ 2 w 5"/>
                    <a:gd name="T5" fmla="*/ 12 h 12"/>
                    <a:gd name="T6" fmla="*/ 5 w 5"/>
                    <a:gd name="T7" fmla="*/ 0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0"/>
                      </a:lnTo>
                      <a:lnTo>
                        <a:pt x="2" y="12"/>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4917" name="Freeform 1859"/>
                <p:cNvSpPr>
                  <a:spLocks/>
                </p:cNvSpPr>
                <p:nvPr/>
              </p:nvSpPr>
              <p:spPr bwMode="auto">
                <a:xfrm>
                  <a:off x="10706"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4918" name="Freeform 1860"/>
                <p:cNvSpPr>
                  <a:spLocks/>
                </p:cNvSpPr>
                <p:nvPr/>
              </p:nvSpPr>
              <p:spPr bwMode="auto">
                <a:xfrm>
                  <a:off x="10690" y="3222"/>
                  <a:ext cx="0" cy="17"/>
                </a:xfrm>
                <a:custGeom>
                  <a:avLst/>
                  <a:gdLst>
                    <a:gd name="T0" fmla="*/ 5 w 7"/>
                    <a:gd name="T1" fmla="*/ 0 h 16"/>
                    <a:gd name="T2" fmla="*/ 0 w 7"/>
                    <a:gd name="T3" fmla="*/ 14 h 16"/>
                    <a:gd name="T4" fmla="*/ 2 w 7"/>
                    <a:gd name="T5" fmla="*/ 16 h 16"/>
                    <a:gd name="T6" fmla="*/ 7 w 7"/>
                    <a:gd name="T7" fmla="*/ 0 h 16"/>
                    <a:gd name="T8" fmla="*/ 5 w 7"/>
                    <a:gd name="T9" fmla="*/ 0 h 16"/>
                  </a:gdLst>
                  <a:ahLst/>
                  <a:cxnLst>
                    <a:cxn ang="0">
                      <a:pos x="T0" y="T1"/>
                    </a:cxn>
                    <a:cxn ang="0">
                      <a:pos x="T2" y="T3"/>
                    </a:cxn>
                    <a:cxn ang="0">
                      <a:pos x="T4" y="T5"/>
                    </a:cxn>
                    <a:cxn ang="0">
                      <a:pos x="T6" y="T7"/>
                    </a:cxn>
                    <a:cxn ang="0">
                      <a:pos x="T8" y="T9"/>
                    </a:cxn>
                  </a:cxnLst>
                  <a:rect l="0" t="0" r="r" b="b"/>
                  <a:pathLst>
                    <a:path w="7" h="16">
                      <a:moveTo>
                        <a:pt x="5" y="0"/>
                      </a:moveTo>
                      <a:lnTo>
                        <a:pt x="0" y="14"/>
                      </a:lnTo>
                      <a:lnTo>
                        <a:pt x="2" y="16"/>
                      </a:lnTo>
                      <a:lnTo>
                        <a:pt x="7"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4919" name="Freeform 1861"/>
                <p:cNvSpPr>
                  <a:spLocks/>
                </p:cNvSpPr>
                <p:nvPr/>
              </p:nvSpPr>
              <p:spPr bwMode="auto">
                <a:xfrm>
                  <a:off x="10714" y="3231"/>
                  <a:ext cx="8" cy="9"/>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4920" name="Freeform 1862"/>
                <p:cNvSpPr>
                  <a:spLocks/>
                </p:cNvSpPr>
                <p:nvPr/>
              </p:nvSpPr>
              <p:spPr bwMode="auto">
                <a:xfrm>
                  <a:off x="10681" y="3214"/>
                  <a:ext cx="8" cy="26"/>
                </a:xfrm>
                <a:custGeom>
                  <a:avLst/>
                  <a:gdLst>
                    <a:gd name="T0" fmla="*/ 7 w 7"/>
                    <a:gd name="T1" fmla="*/ 0 h 19"/>
                    <a:gd name="T2" fmla="*/ 0 w 7"/>
                    <a:gd name="T3" fmla="*/ 19 h 19"/>
                    <a:gd name="T4" fmla="*/ 2 w 7"/>
                    <a:gd name="T5" fmla="*/ 19 h 19"/>
                    <a:gd name="T6" fmla="*/ 7 w 7"/>
                    <a:gd name="T7" fmla="*/ 2 h 19"/>
                    <a:gd name="T8" fmla="*/ 7 w 7"/>
                    <a:gd name="T9" fmla="*/ 0 h 19"/>
                  </a:gdLst>
                  <a:ahLst/>
                  <a:cxnLst>
                    <a:cxn ang="0">
                      <a:pos x="T0" y="T1"/>
                    </a:cxn>
                    <a:cxn ang="0">
                      <a:pos x="T2" y="T3"/>
                    </a:cxn>
                    <a:cxn ang="0">
                      <a:pos x="T4" y="T5"/>
                    </a:cxn>
                    <a:cxn ang="0">
                      <a:pos x="T6" y="T7"/>
                    </a:cxn>
                    <a:cxn ang="0">
                      <a:pos x="T8" y="T9"/>
                    </a:cxn>
                  </a:cxnLst>
                  <a:rect l="0" t="0" r="r" b="b"/>
                  <a:pathLst>
                    <a:path w="7" h="19">
                      <a:moveTo>
                        <a:pt x="7" y="0"/>
                      </a:moveTo>
                      <a:lnTo>
                        <a:pt x="0" y="19"/>
                      </a:lnTo>
                      <a:lnTo>
                        <a:pt x="2" y="19"/>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921" name="Freeform 1863"/>
                <p:cNvSpPr>
                  <a:spLocks/>
                </p:cNvSpPr>
                <p:nvPr/>
              </p:nvSpPr>
              <p:spPr bwMode="auto">
                <a:xfrm>
                  <a:off x="10690" y="3222"/>
                  <a:ext cx="8" cy="17"/>
                </a:xfrm>
                <a:custGeom>
                  <a:avLst/>
                  <a:gdLst>
                    <a:gd name="T0" fmla="*/ 5 w 5"/>
                    <a:gd name="T1" fmla="*/ 0 h 14"/>
                    <a:gd name="T2" fmla="*/ 0 w 5"/>
                    <a:gd name="T3" fmla="*/ 14 h 14"/>
                    <a:gd name="T4" fmla="*/ 2 w 5"/>
                    <a:gd name="T5" fmla="*/ 14 h 14"/>
                    <a:gd name="T6" fmla="*/ 5 w 5"/>
                    <a:gd name="T7" fmla="*/ 0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lnTo>
                        <a:pt x="0" y="14"/>
                      </a:lnTo>
                      <a:lnTo>
                        <a:pt x="2" y="14"/>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4922" name="Freeform 1864"/>
                <p:cNvSpPr>
                  <a:spLocks/>
                </p:cNvSpPr>
                <p:nvPr/>
              </p:nvSpPr>
              <p:spPr bwMode="auto">
                <a:xfrm>
                  <a:off x="11031" y="3249"/>
                  <a:ext cx="8" cy="17"/>
                </a:xfrm>
                <a:custGeom>
                  <a:avLst/>
                  <a:gdLst>
                    <a:gd name="T0" fmla="*/ 0 w 5"/>
                    <a:gd name="T1" fmla="*/ 0 h 19"/>
                    <a:gd name="T2" fmla="*/ 3 w 5"/>
                    <a:gd name="T3" fmla="*/ 19 h 19"/>
                    <a:gd name="T4" fmla="*/ 5 w 5"/>
                    <a:gd name="T5" fmla="*/ 19 h 19"/>
                    <a:gd name="T6" fmla="*/ 3 w 5"/>
                    <a:gd name="T7" fmla="*/ 0 h 19"/>
                    <a:gd name="T8" fmla="*/ 0 w 5"/>
                    <a:gd name="T9" fmla="*/ 0 h 19"/>
                  </a:gdLst>
                  <a:ahLst/>
                  <a:cxnLst>
                    <a:cxn ang="0">
                      <a:pos x="T0" y="T1"/>
                    </a:cxn>
                    <a:cxn ang="0">
                      <a:pos x="T2" y="T3"/>
                    </a:cxn>
                    <a:cxn ang="0">
                      <a:pos x="T4" y="T5"/>
                    </a:cxn>
                    <a:cxn ang="0">
                      <a:pos x="T6" y="T7"/>
                    </a:cxn>
                    <a:cxn ang="0">
                      <a:pos x="T8" y="T9"/>
                    </a:cxn>
                  </a:cxnLst>
                  <a:rect l="0" t="0" r="r" b="b"/>
                  <a:pathLst>
                    <a:path w="5" h="19">
                      <a:moveTo>
                        <a:pt x="0" y="0"/>
                      </a:moveTo>
                      <a:lnTo>
                        <a:pt x="3" y="19"/>
                      </a:lnTo>
                      <a:lnTo>
                        <a:pt x="5" y="19"/>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3" name="Freeform 1865"/>
                <p:cNvSpPr>
                  <a:spLocks/>
                </p:cNvSpPr>
                <p:nvPr/>
              </p:nvSpPr>
              <p:spPr bwMode="auto">
                <a:xfrm>
                  <a:off x="11039" y="3249"/>
                  <a:ext cx="0" cy="17"/>
                </a:xfrm>
                <a:custGeom>
                  <a:avLst/>
                  <a:gdLst>
                    <a:gd name="T0" fmla="*/ 0 w 5"/>
                    <a:gd name="T1" fmla="*/ 0 h 16"/>
                    <a:gd name="T2" fmla="*/ 3 w 5"/>
                    <a:gd name="T3" fmla="*/ 16 h 16"/>
                    <a:gd name="T4" fmla="*/ 5 w 5"/>
                    <a:gd name="T5" fmla="*/ 16 h 16"/>
                    <a:gd name="T6" fmla="*/ 3 w 5"/>
                    <a:gd name="T7" fmla="*/ 0 h 16"/>
                    <a:gd name="T8" fmla="*/ 0 w 5"/>
                    <a:gd name="T9" fmla="*/ 0 h 16"/>
                  </a:gdLst>
                  <a:ahLst/>
                  <a:cxnLst>
                    <a:cxn ang="0">
                      <a:pos x="T0" y="T1"/>
                    </a:cxn>
                    <a:cxn ang="0">
                      <a:pos x="T2" y="T3"/>
                    </a:cxn>
                    <a:cxn ang="0">
                      <a:pos x="T4" y="T5"/>
                    </a:cxn>
                    <a:cxn ang="0">
                      <a:pos x="T6" y="T7"/>
                    </a:cxn>
                    <a:cxn ang="0">
                      <a:pos x="T8" y="T9"/>
                    </a:cxn>
                  </a:cxnLst>
                  <a:rect l="0" t="0" r="r" b="b"/>
                  <a:pathLst>
                    <a:path w="5" h="16">
                      <a:moveTo>
                        <a:pt x="0" y="0"/>
                      </a:moveTo>
                      <a:lnTo>
                        <a:pt x="3" y="16"/>
                      </a:lnTo>
                      <a:lnTo>
                        <a:pt x="5" y="1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4" name="Freeform 1866"/>
                <p:cNvSpPr>
                  <a:spLocks/>
                </p:cNvSpPr>
                <p:nvPr/>
              </p:nvSpPr>
              <p:spPr bwMode="auto">
                <a:xfrm>
                  <a:off x="11047" y="3249"/>
                  <a:ext cx="0" cy="17"/>
                </a:xfrm>
                <a:custGeom>
                  <a:avLst/>
                  <a:gdLst>
                    <a:gd name="T0" fmla="*/ 0 w 3"/>
                    <a:gd name="T1" fmla="*/ 0 h 14"/>
                    <a:gd name="T2" fmla="*/ 3 w 3"/>
                    <a:gd name="T3" fmla="*/ 14 h 14"/>
                    <a:gd name="T4" fmla="*/ 3 w 3"/>
                    <a:gd name="T5" fmla="*/ 14 h 14"/>
                    <a:gd name="T6" fmla="*/ 3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5" name="Freeform 1867"/>
                <p:cNvSpPr>
                  <a:spLocks/>
                </p:cNvSpPr>
                <p:nvPr/>
              </p:nvSpPr>
              <p:spPr bwMode="auto">
                <a:xfrm>
                  <a:off x="11022" y="3240"/>
                  <a:ext cx="0" cy="26"/>
                </a:xfrm>
                <a:custGeom>
                  <a:avLst/>
                  <a:gdLst>
                    <a:gd name="T0" fmla="*/ 0 w 5"/>
                    <a:gd name="T1" fmla="*/ 0 h 26"/>
                    <a:gd name="T2" fmla="*/ 2 w 5"/>
                    <a:gd name="T3" fmla="*/ 26 h 26"/>
                    <a:gd name="T4" fmla="*/ 5 w 5"/>
                    <a:gd name="T5" fmla="*/ 24 h 26"/>
                    <a:gd name="T6" fmla="*/ 2 w 5"/>
                    <a:gd name="T7" fmla="*/ 0 h 26"/>
                    <a:gd name="T8" fmla="*/ 0 w 5"/>
                    <a:gd name="T9" fmla="*/ 0 h 26"/>
                  </a:gdLst>
                  <a:ahLst/>
                  <a:cxnLst>
                    <a:cxn ang="0">
                      <a:pos x="T0" y="T1"/>
                    </a:cxn>
                    <a:cxn ang="0">
                      <a:pos x="T2" y="T3"/>
                    </a:cxn>
                    <a:cxn ang="0">
                      <a:pos x="T4" y="T5"/>
                    </a:cxn>
                    <a:cxn ang="0">
                      <a:pos x="T6" y="T7"/>
                    </a:cxn>
                    <a:cxn ang="0">
                      <a:pos x="T8" y="T9"/>
                    </a:cxn>
                  </a:cxnLst>
                  <a:rect l="0" t="0" r="r" b="b"/>
                  <a:pathLst>
                    <a:path w="5" h="26">
                      <a:moveTo>
                        <a:pt x="0" y="0"/>
                      </a:moveTo>
                      <a:lnTo>
                        <a:pt x="2" y="26"/>
                      </a:lnTo>
                      <a:lnTo>
                        <a:pt x="5"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6" name="Freeform 1868"/>
                <p:cNvSpPr>
                  <a:spLocks/>
                </p:cNvSpPr>
                <p:nvPr/>
              </p:nvSpPr>
              <p:spPr bwMode="auto">
                <a:xfrm>
                  <a:off x="11014" y="3240"/>
                  <a:ext cx="0" cy="35"/>
                </a:xfrm>
                <a:custGeom>
                  <a:avLst/>
                  <a:gdLst>
                    <a:gd name="T0" fmla="*/ 0 w 5"/>
                    <a:gd name="T1" fmla="*/ 0 h 29"/>
                    <a:gd name="T2" fmla="*/ 5 w 5"/>
                    <a:gd name="T3" fmla="*/ 29 h 29"/>
                    <a:gd name="T4" fmla="*/ 5 w 5"/>
                    <a:gd name="T5" fmla="*/ 26 h 29"/>
                    <a:gd name="T6" fmla="*/ 2 w 5"/>
                    <a:gd name="T7" fmla="*/ 0 h 29"/>
                    <a:gd name="T8" fmla="*/ 0 w 5"/>
                    <a:gd name="T9" fmla="*/ 0 h 29"/>
                  </a:gdLst>
                  <a:ahLst/>
                  <a:cxnLst>
                    <a:cxn ang="0">
                      <a:pos x="T0" y="T1"/>
                    </a:cxn>
                    <a:cxn ang="0">
                      <a:pos x="T2" y="T3"/>
                    </a:cxn>
                    <a:cxn ang="0">
                      <a:pos x="T4" y="T5"/>
                    </a:cxn>
                    <a:cxn ang="0">
                      <a:pos x="T6" y="T7"/>
                    </a:cxn>
                    <a:cxn ang="0">
                      <a:pos x="T8" y="T9"/>
                    </a:cxn>
                  </a:cxnLst>
                  <a:rect l="0" t="0" r="r" b="b"/>
                  <a:pathLst>
                    <a:path w="5" h="29">
                      <a:moveTo>
                        <a:pt x="0" y="0"/>
                      </a:moveTo>
                      <a:lnTo>
                        <a:pt x="5" y="29"/>
                      </a:lnTo>
                      <a:lnTo>
                        <a:pt x="5"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7" name="Freeform 1869"/>
                <p:cNvSpPr>
                  <a:spLocks/>
                </p:cNvSpPr>
                <p:nvPr/>
              </p:nvSpPr>
              <p:spPr bwMode="auto">
                <a:xfrm>
                  <a:off x="11006" y="3240"/>
                  <a:ext cx="8" cy="35"/>
                </a:xfrm>
                <a:custGeom>
                  <a:avLst/>
                  <a:gdLst>
                    <a:gd name="T0" fmla="*/ 0 w 5"/>
                    <a:gd name="T1" fmla="*/ 0 h 35"/>
                    <a:gd name="T2" fmla="*/ 3 w 5"/>
                    <a:gd name="T3" fmla="*/ 35 h 35"/>
                    <a:gd name="T4" fmla="*/ 5 w 5"/>
                    <a:gd name="T5" fmla="*/ 33 h 35"/>
                    <a:gd name="T6" fmla="*/ 0 w 5"/>
                    <a:gd name="T7" fmla="*/ 0 h 35"/>
                    <a:gd name="T8" fmla="*/ 0 w 5"/>
                    <a:gd name="T9" fmla="*/ 0 h 35"/>
                  </a:gdLst>
                  <a:ahLst/>
                  <a:cxnLst>
                    <a:cxn ang="0">
                      <a:pos x="T0" y="T1"/>
                    </a:cxn>
                    <a:cxn ang="0">
                      <a:pos x="T2" y="T3"/>
                    </a:cxn>
                    <a:cxn ang="0">
                      <a:pos x="T4" y="T5"/>
                    </a:cxn>
                    <a:cxn ang="0">
                      <a:pos x="T6" y="T7"/>
                    </a:cxn>
                    <a:cxn ang="0">
                      <a:pos x="T8" y="T9"/>
                    </a:cxn>
                  </a:cxnLst>
                  <a:rect l="0" t="0" r="r" b="b"/>
                  <a:pathLst>
                    <a:path w="5" h="35">
                      <a:moveTo>
                        <a:pt x="0" y="0"/>
                      </a:moveTo>
                      <a:lnTo>
                        <a:pt x="3" y="35"/>
                      </a:lnTo>
                      <a:lnTo>
                        <a:pt x="5" y="3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8" name="Freeform 1870"/>
                <p:cNvSpPr>
                  <a:spLocks/>
                </p:cNvSpPr>
                <p:nvPr/>
              </p:nvSpPr>
              <p:spPr bwMode="auto">
                <a:xfrm>
                  <a:off x="11014" y="3240"/>
                  <a:ext cx="0" cy="35"/>
                </a:xfrm>
                <a:custGeom>
                  <a:avLst/>
                  <a:gdLst>
                    <a:gd name="T0" fmla="*/ 0 w 3"/>
                    <a:gd name="T1" fmla="*/ 0 h 31"/>
                    <a:gd name="T2" fmla="*/ 3 w 3"/>
                    <a:gd name="T3" fmla="*/ 31 h 31"/>
                    <a:gd name="T4" fmla="*/ 3 w 3"/>
                    <a:gd name="T5" fmla="*/ 29 h 31"/>
                    <a:gd name="T6" fmla="*/ 0 w 3"/>
                    <a:gd name="T7" fmla="*/ 0 h 31"/>
                    <a:gd name="T8" fmla="*/ 0 w 3"/>
                    <a:gd name="T9" fmla="*/ 0 h 31"/>
                  </a:gdLst>
                  <a:ahLst/>
                  <a:cxnLst>
                    <a:cxn ang="0">
                      <a:pos x="T0" y="T1"/>
                    </a:cxn>
                    <a:cxn ang="0">
                      <a:pos x="T2" y="T3"/>
                    </a:cxn>
                    <a:cxn ang="0">
                      <a:pos x="T4" y="T5"/>
                    </a:cxn>
                    <a:cxn ang="0">
                      <a:pos x="T6" y="T7"/>
                    </a:cxn>
                    <a:cxn ang="0">
                      <a:pos x="T8" y="T9"/>
                    </a:cxn>
                  </a:cxnLst>
                  <a:rect l="0" t="0" r="r" b="b"/>
                  <a:pathLst>
                    <a:path w="3" h="31">
                      <a:moveTo>
                        <a:pt x="0" y="0"/>
                      </a:moveTo>
                      <a:lnTo>
                        <a:pt x="3" y="31"/>
                      </a:lnTo>
                      <a:lnTo>
                        <a:pt x="3" y="2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29" name="Freeform 1871"/>
                <p:cNvSpPr>
                  <a:spLocks/>
                </p:cNvSpPr>
                <p:nvPr/>
              </p:nvSpPr>
              <p:spPr bwMode="auto">
                <a:xfrm>
                  <a:off x="11047" y="3249"/>
                  <a:ext cx="8" cy="17"/>
                </a:xfrm>
                <a:custGeom>
                  <a:avLst/>
                  <a:gdLst>
                    <a:gd name="T0" fmla="*/ 0 w 3"/>
                    <a:gd name="T1" fmla="*/ 0 h 14"/>
                    <a:gd name="T2" fmla="*/ 3 w 3"/>
                    <a:gd name="T3" fmla="*/ 14 h 14"/>
                    <a:gd name="T4" fmla="*/ 3 w 3"/>
                    <a:gd name="T5" fmla="*/ 11 h 14"/>
                    <a:gd name="T6" fmla="*/ 0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0" name="Freeform 1872"/>
                <p:cNvSpPr>
                  <a:spLocks/>
                </p:cNvSpPr>
                <p:nvPr/>
              </p:nvSpPr>
              <p:spPr bwMode="auto">
                <a:xfrm>
                  <a:off x="11064"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1" name="Freeform 1873"/>
                <p:cNvSpPr>
                  <a:spLocks/>
                </p:cNvSpPr>
                <p:nvPr/>
              </p:nvSpPr>
              <p:spPr bwMode="auto">
                <a:xfrm>
                  <a:off x="11081" y="3240"/>
                  <a:ext cx="8" cy="17"/>
                </a:xfrm>
                <a:custGeom>
                  <a:avLst/>
                  <a:gdLst>
                    <a:gd name="T0" fmla="*/ 0 w 2"/>
                    <a:gd name="T1" fmla="*/ 0 h 12"/>
                    <a:gd name="T2" fmla="*/ 2 w 2"/>
                    <a:gd name="T3" fmla="*/ 12 h 12"/>
                    <a:gd name="T4" fmla="*/ 2 w 2"/>
                    <a:gd name="T5" fmla="*/ 9 h 12"/>
                    <a:gd name="T6" fmla="*/ 0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2" y="12"/>
                      </a:lnTo>
                      <a:lnTo>
                        <a:pt x="2" y="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2" name="Freeform 1874"/>
                <p:cNvSpPr>
                  <a:spLocks/>
                </p:cNvSpPr>
                <p:nvPr/>
              </p:nvSpPr>
              <p:spPr bwMode="auto">
                <a:xfrm>
                  <a:off x="11097" y="3240"/>
                  <a:ext cx="0" cy="9"/>
                </a:xfrm>
                <a:custGeom>
                  <a:avLst/>
                  <a:gdLst>
                    <a:gd name="T0" fmla="*/ 0 w 5"/>
                    <a:gd name="T1" fmla="*/ 3 h 12"/>
                    <a:gd name="T2" fmla="*/ 3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3"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933" name="Freeform 1875"/>
                <p:cNvSpPr>
                  <a:spLocks/>
                </p:cNvSpPr>
                <p:nvPr/>
              </p:nvSpPr>
              <p:spPr bwMode="auto">
                <a:xfrm>
                  <a:off x="11089" y="3240"/>
                  <a:ext cx="8" cy="9"/>
                </a:xfrm>
                <a:custGeom>
                  <a:avLst/>
                  <a:gdLst>
                    <a:gd name="T0" fmla="*/ 0 w 5"/>
                    <a:gd name="T1" fmla="*/ 0 h 11"/>
                    <a:gd name="T2" fmla="*/ 3 w 5"/>
                    <a:gd name="T3" fmla="*/ 11 h 11"/>
                    <a:gd name="T4" fmla="*/ 5 w 5"/>
                    <a:gd name="T5" fmla="*/ 11 h 11"/>
                    <a:gd name="T6" fmla="*/ 3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3" y="11"/>
                      </a:lnTo>
                      <a:lnTo>
                        <a:pt x="5"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4" name="Freeform 1876"/>
                <p:cNvSpPr>
                  <a:spLocks/>
                </p:cNvSpPr>
                <p:nvPr/>
              </p:nvSpPr>
              <p:spPr bwMode="auto">
                <a:xfrm>
                  <a:off x="11105" y="3240"/>
                  <a:ext cx="0"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5" name="Freeform 1877"/>
                <p:cNvSpPr>
                  <a:spLocks/>
                </p:cNvSpPr>
                <p:nvPr/>
              </p:nvSpPr>
              <p:spPr bwMode="auto">
                <a:xfrm>
                  <a:off x="11072"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6" name="Freeform 1878"/>
                <p:cNvSpPr>
                  <a:spLocks/>
                </p:cNvSpPr>
                <p:nvPr/>
              </p:nvSpPr>
              <p:spPr bwMode="auto">
                <a:xfrm>
                  <a:off x="11056" y="3249"/>
                  <a:ext cx="8" cy="9"/>
                </a:xfrm>
                <a:custGeom>
                  <a:avLst/>
                  <a:gdLst>
                    <a:gd name="T0" fmla="*/ 0 w 2"/>
                    <a:gd name="T1" fmla="*/ 0 h 11"/>
                    <a:gd name="T2" fmla="*/ 0 w 2"/>
                    <a:gd name="T3" fmla="*/ 11 h 11"/>
                    <a:gd name="T4" fmla="*/ 2 w 2"/>
                    <a:gd name="T5" fmla="*/ 11 h 11"/>
                    <a:gd name="T6" fmla="*/ 0 w 2"/>
                    <a:gd name="T7" fmla="*/ 0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1"/>
                      </a:lnTo>
                      <a:lnTo>
                        <a:pt x="2"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7" name="Freeform 1879"/>
                <p:cNvSpPr>
                  <a:spLocks/>
                </p:cNvSpPr>
                <p:nvPr/>
              </p:nvSpPr>
              <p:spPr bwMode="auto">
                <a:xfrm>
                  <a:off x="10997" y="3240"/>
                  <a:ext cx="0" cy="44"/>
                </a:xfrm>
                <a:custGeom>
                  <a:avLst/>
                  <a:gdLst>
                    <a:gd name="T0" fmla="*/ 0 w 5"/>
                    <a:gd name="T1" fmla="*/ 0 h 38"/>
                    <a:gd name="T2" fmla="*/ 2 w 5"/>
                    <a:gd name="T3" fmla="*/ 38 h 38"/>
                    <a:gd name="T4" fmla="*/ 5 w 5"/>
                    <a:gd name="T5" fmla="*/ 35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8" name="Freeform 1880"/>
                <p:cNvSpPr>
                  <a:spLocks/>
                </p:cNvSpPr>
                <p:nvPr/>
              </p:nvSpPr>
              <p:spPr bwMode="auto">
                <a:xfrm>
                  <a:off x="11072" y="3240"/>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39" name="Rectangle 1881"/>
                <p:cNvSpPr>
                  <a:spLocks noChangeArrowheads="1"/>
                </p:cNvSpPr>
                <p:nvPr/>
              </p:nvSpPr>
              <p:spPr bwMode="auto">
                <a:xfrm>
                  <a:off x="10956"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4940" name="Rectangle 1882"/>
                <p:cNvSpPr>
                  <a:spLocks noChangeArrowheads="1"/>
                </p:cNvSpPr>
                <p:nvPr/>
              </p:nvSpPr>
              <p:spPr bwMode="auto">
                <a:xfrm>
                  <a:off x="10897" y="3257"/>
                  <a:ext cx="0" cy="9"/>
                </a:xfrm>
                <a:prstGeom prst="rect">
                  <a:avLst/>
                </a:prstGeom>
                <a:solidFill>
                  <a:srgbClr val="01AAE5"/>
                </a:solidFill>
                <a:ln>
                  <a:noFill/>
                </a:ln>
                <a:extLst/>
              </p:spPr>
              <p:txBody>
                <a:bodyPr/>
                <a:lstStyle/>
                <a:p>
                  <a:pPr eaLnBrk="1" hangingPunct="1">
                    <a:defRPr/>
                  </a:pPr>
                  <a:endParaRPr lang="zh-CN" altLang="en-US" sz="1050"/>
                </a:p>
              </p:txBody>
            </p:sp>
            <p:sp>
              <p:nvSpPr>
                <p:cNvPr id="4941" name="Freeform 1883"/>
                <p:cNvSpPr>
                  <a:spLocks/>
                </p:cNvSpPr>
                <p:nvPr/>
              </p:nvSpPr>
              <p:spPr bwMode="auto">
                <a:xfrm>
                  <a:off x="10897" y="3257"/>
                  <a:ext cx="0" cy="9"/>
                </a:xfrm>
                <a:custGeom>
                  <a:avLst/>
                  <a:gdLst>
                    <a:gd name="T0" fmla="*/ 2 w 2"/>
                    <a:gd name="T1" fmla="*/ 0 h 14"/>
                    <a:gd name="T2" fmla="*/ 0 w 2"/>
                    <a:gd name="T3" fmla="*/ 12 h 14"/>
                    <a:gd name="T4" fmla="*/ 2 w 2"/>
                    <a:gd name="T5" fmla="*/ 14 h 14"/>
                    <a:gd name="T6" fmla="*/ 2 w 2"/>
                    <a:gd name="T7" fmla="*/ 0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lnTo>
                        <a:pt x="0" y="12"/>
                      </a:lnTo>
                      <a:lnTo>
                        <a:pt x="2" y="14"/>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4942" name="Freeform 1884"/>
                <p:cNvSpPr>
                  <a:spLocks/>
                </p:cNvSpPr>
                <p:nvPr/>
              </p:nvSpPr>
              <p:spPr bwMode="auto">
                <a:xfrm>
                  <a:off x="10989" y="3240"/>
                  <a:ext cx="0" cy="44"/>
                </a:xfrm>
                <a:custGeom>
                  <a:avLst/>
                  <a:gdLst>
                    <a:gd name="T0" fmla="*/ 0 w 5"/>
                    <a:gd name="T1" fmla="*/ 0 h 38"/>
                    <a:gd name="T2" fmla="*/ 2 w 5"/>
                    <a:gd name="T3" fmla="*/ 38 h 38"/>
                    <a:gd name="T4" fmla="*/ 5 w 5"/>
                    <a:gd name="T5" fmla="*/ 38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43" name="Rectangle 1885"/>
                <p:cNvSpPr>
                  <a:spLocks noChangeArrowheads="1"/>
                </p:cNvSpPr>
                <p:nvPr/>
              </p:nvSpPr>
              <p:spPr bwMode="auto">
                <a:xfrm>
                  <a:off x="1089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4944" name="Freeform 1886"/>
                <p:cNvSpPr>
                  <a:spLocks/>
                </p:cNvSpPr>
                <p:nvPr/>
              </p:nvSpPr>
              <p:spPr bwMode="auto">
                <a:xfrm>
                  <a:off x="10889"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45" name="Freeform 1887"/>
                <p:cNvSpPr>
                  <a:spLocks/>
                </p:cNvSpPr>
                <p:nvPr/>
              </p:nvSpPr>
              <p:spPr bwMode="auto">
                <a:xfrm>
                  <a:off x="10897" y="3257"/>
                  <a:ext cx="0" cy="9"/>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4946" name="Freeform 1888"/>
                <p:cNvSpPr>
                  <a:spLocks/>
                </p:cNvSpPr>
                <p:nvPr/>
              </p:nvSpPr>
              <p:spPr bwMode="auto">
                <a:xfrm>
                  <a:off x="10939" y="3249"/>
                  <a:ext cx="0" cy="26"/>
                </a:xfrm>
                <a:custGeom>
                  <a:avLst/>
                  <a:gdLst>
                    <a:gd name="T0" fmla="*/ 0 w 2"/>
                    <a:gd name="T1" fmla="*/ 0 h 26"/>
                    <a:gd name="T2" fmla="*/ 0 w 2"/>
                    <a:gd name="T3" fmla="*/ 26 h 26"/>
                    <a:gd name="T4" fmla="*/ 0 w 2"/>
                    <a:gd name="T5" fmla="*/ 26 h 26"/>
                    <a:gd name="T6" fmla="*/ 2 w 2"/>
                    <a:gd name="T7" fmla="*/ 0 h 26"/>
                    <a:gd name="T8" fmla="*/ 0 w 2"/>
                    <a:gd name="T9" fmla="*/ 0 h 26"/>
                  </a:gdLst>
                  <a:ahLst/>
                  <a:cxnLst>
                    <a:cxn ang="0">
                      <a:pos x="T0" y="T1"/>
                    </a:cxn>
                    <a:cxn ang="0">
                      <a:pos x="T2" y="T3"/>
                    </a:cxn>
                    <a:cxn ang="0">
                      <a:pos x="T4" y="T5"/>
                    </a:cxn>
                    <a:cxn ang="0">
                      <a:pos x="T6" y="T7"/>
                    </a:cxn>
                    <a:cxn ang="0">
                      <a:pos x="T8" y="T9"/>
                    </a:cxn>
                  </a:cxnLst>
                  <a:rect l="0" t="0" r="r" b="b"/>
                  <a:pathLst>
                    <a:path w="2" h="26">
                      <a:moveTo>
                        <a:pt x="0" y="0"/>
                      </a:moveTo>
                      <a:lnTo>
                        <a:pt x="0" y="26"/>
                      </a:lnTo>
                      <a:lnTo>
                        <a:pt x="0"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47" name="Freeform 1889"/>
                <p:cNvSpPr>
                  <a:spLocks/>
                </p:cNvSpPr>
                <p:nvPr/>
              </p:nvSpPr>
              <p:spPr bwMode="auto">
                <a:xfrm>
                  <a:off x="10897"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48" name="Rectangle 1890"/>
                <p:cNvSpPr>
                  <a:spLocks noChangeArrowheads="1"/>
                </p:cNvSpPr>
                <p:nvPr/>
              </p:nvSpPr>
              <p:spPr bwMode="auto">
                <a:xfrm>
                  <a:off x="10897"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4949" name="Freeform 1891"/>
                <p:cNvSpPr>
                  <a:spLocks/>
                </p:cNvSpPr>
                <p:nvPr/>
              </p:nvSpPr>
              <p:spPr bwMode="auto">
                <a:xfrm>
                  <a:off x="10981" y="3240"/>
                  <a:ext cx="0" cy="44"/>
                </a:xfrm>
                <a:custGeom>
                  <a:avLst/>
                  <a:gdLst>
                    <a:gd name="T0" fmla="*/ 0 w 3"/>
                    <a:gd name="T1" fmla="*/ 0 h 40"/>
                    <a:gd name="T2" fmla="*/ 0 w 3"/>
                    <a:gd name="T3" fmla="*/ 40 h 40"/>
                    <a:gd name="T4" fmla="*/ 3 w 3"/>
                    <a:gd name="T5" fmla="*/ 40 h 40"/>
                    <a:gd name="T6" fmla="*/ 0 w 3"/>
                    <a:gd name="T7" fmla="*/ 0 h 40"/>
                    <a:gd name="T8" fmla="*/ 0 w 3"/>
                    <a:gd name="T9" fmla="*/ 0 h 40"/>
                  </a:gdLst>
                  <a:ahLst/>
                  <a:cxnLst>
                    <a:cxn ang="0">
                      <a:pos x="T0" y="T1"/>
                    </a:cxn>
                    <a:cxn ang="0">
                      <a:pos x="T2" y="T3"/>
                    </a:cxn>
                    <a:cxn ang="0">
                      <a:pos x="T4" y="T5"/>
                    </a:cxn>
                    <a:cxn ang="0">
                      <a:pos x="T6" y="T7"/>
                    </a:cxn>
                    <a:cxn ang="0">
                      <a:pos x="T8" y="T9"/>
                    </a:cxn>
                  </a:cxnLst>
                  <a:rect l="0" t="0" r="r" b="b"/>
                  <a:pathLst>
                    <a:path w="3" h="40">
                      <a:moveTo>
                        <a:pt x="0" y="0"/>
                      </a:moveTo>
                      <a:lnTo>
                        <a:pt x="0" y="40"/>
                      </a:lnTo>
                      <a:lnTo>
                        <a:pt x="3"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50" name="Freeform 1892"/>
                <p:cNvSpPr>
                  <a:spLocks/>
                </p:cNvSpPr>
                <p:nvPr/>
              </p:nvSpPr>
              <p:spPr bwMode="auto">
                <a:xfrm>
                  <a:off x="10972" y="3240"/>
                  <a:ext cx="0" cy="44"/>
                </a:xfrm>
                <a:custGeom>
                  <a:avLst/>
                  <a:gdLst>
                    <a:gd name="T0" fmla="*/ 0 w 2"/>
                    <a:gd name="T1" fmla="*/ 0 h 40"/>
                    <a:gd name="T2" fmla="*/ 0 w 2"/>
                    <a:gd name="T3" fmla="*/ 40 h 40"/>
                    <a:gd name="T4" fmla="*/ 2 w 2"/>
                    <a:gd name="T5" fmla="*/ 40 h 40"/>
                    <a:gd name="T6" fmla="*/ 0 w 2"/>
                    <a:gd name="T7" fmla="*/ 0 h 40"/>
                    <a:gd name="T8" fmla="*/ 0 w 2"/>
                    <a:gd name="T9" fmla="*/ 0 h 40"/>
                  </a:gdLst>
                  <a:ahLst/>
                  <a:cxnLst>
                    <a:cxn ang="0">
                      <a:pos x="T0" y="T1"/>
                    </a:cxn>
                    <a:cxn ang="0">
                      <a:pos x="T2" y="T3"/>
                    </a:cxn>
                    <a:cxn ang="0">
                      <a:pos x="T4" y="T5"/>
                    </a:cxn>
                    <a:cxn ang="0">
                      <a:pos x="T6" y="T7"/>
                    </a:cxn>
                    <a:cxn ang="0">
                      <a:pos x="T8" y="T9"/>
                    </a:cxn>
                  </a:cxnLst>
                  <a:rect l="0" t="0" r="r" b="b"/>
                  <a:pathLst>
                    <a:path w="2" h="40">
                      <a:moveTo>
                        <a:pt x="0" y="0"/>
                      </a:moveTo>
                      <a:lnTo>
                        <a:pt x="0" y="40"/>
                      </a:lnTo>
                      <a:lnTo>
                        <a:pt x="2"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51" name="Freeform 1893"/>
                <p:cNvSpPr>
                  <a:spLocks/>
                </p:cNvSpPr>
                <p:nvPr/>
              </p:nvSpPr>
              <p:spPr bwMode="auto">
                <a:xfrm>
                  <a:off x="11105" y="3240"/>
                  <a:ext cx="8"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52" name="Rectangle 1894"/>
                <p:cNvSpPr>
                  <a:spLocks noChangeArrowheads="1"/>
                </p:cNvSpPr>
                <p:nvPr/>
              </p:nvSpPr>
              <p:spPr bwMode="auto">
                <a:xfrm>
                  <a:off x="1094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4953" name="Freeform 1895"/>
                <p:cNvSpPr>
                  <a:spLocks/>
                </p:cNvSpPr>
                <p:nvPr/>
              </p:nvSpPr>
              <p:spPr bwMode="auto">
                <a:xfrm>
                  <a:off x="10947" y="3249"/>
                  <a:ext cx="0" cy="35"/>
                </a:xfrm>
                <a:custGeom>
                  <a:avLst/>
                  <a:gdLst>
                    <a:gd name="T0" fmla="*/ 0 w 2"/>
                    <a:gd name="T1" fmla="*/ 0 h 33"/>
                    <a:gd name="T2" fmla="*/ 2 w 2"/>
                    <a:gd name="T3" fmla="*/ 30 h 33"/>
                    <a:gd name="T4" fmla="*/ 2 w 2"/>
                    <a:gd name="T5" fmla="*/ 33 h 33"/>
                    <a:gd name="T6" fmla="*/ 2 w 2"/>
                    <a:gd name="T7" fmla="*/ 0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2" y="30"/>
                      </a:lnTo>
                      <a:lnTo>
                        <a:pt x="2"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54" name="Rectangle 1896"/>
                <p:cNvSpPr>
                  <a:spLocks noChangeArrowheads="1"/>
                </p:cNvSpPr>
                <p:nvPr/>
              </p:nvSpPr>
              <p:spPr bwMode="auto">
                <a:xfrm>
                  <a:off x="10881" y="3257"/>
                  <a:ext cx="0" cy="9"/>
                </a:xfrm>
                <a:prstGeom prst="rect">
                  <a:avLst/>
                </a:prstGeom>
                <a:solidFill>
                  <a:srgbClr val="01AAE5"/>
                </a:solidFill>
                <a:ln>
                  <a:noFill/>
                </a:ln>
                <a:extLst/>
              </p:spPr>
              <p:txBody>
                <a:bodyPr/>
                <a:lstStyle/>
                <a:p>
                  <a:pPr eaLnBrk="1" hangingPunct="1">
                    <a:defRPr/>
                  </a:pPr>
                  <a:endParaRPr lang="zh-CN" altLang="en-US" sz="1050"/>
                </a:p>
              </p:txBody>
            </p:sp>
            <p:sp>
              <p:nvSpPr>
                <p:cNvPr id="4955" name="Rectangle 1897"/>
                <p:cNvSpPr>
                  <a:spLocks noChangeArrowheads="1"/>
                </p:cNvSpPr>
                <p:nvPr/>
              </p:nvSpPr>
              <p:spPr bwMode="auto">
                <a:xfrm>
                  <a:off x="10964"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4956" name="Freeform 1898"/>
                <p:cNvSpPr>
                  <a:spLocks/>
                </p:cNvSpPr>
                <p:nvPr/>
              </p:nvSpPr>
              <p:spPr bwMode="auto">
                <a:xfrm>
                  <a:off x="10989" y="3240"/>
                  <a:ext cx="0" cy="44"/>
                </a:xfrm>
                <a:custGeom>
                  <a:avLst/>
                  <a:gdLst>
                    <a:gd name="T0" fmla="*/ 0 w 5"/>
                    <a:gd name="T1" fmla="*/ 0 h 40"/>
                    <a:gd name="T2" fmla="*/ 2 w 5"/>
                    <a:gd name="T3" fmla="*/ 40 h 40"/>
                    <a:gd name="T4" fmla="*/ 5 w 5"/>
                    <a:gd name="T5" fmla="*/ 40 h 40"/>
                    <a:gd name="T6" fmla="*/ 2 w 5"/>
                    <a:gd name="T7" fmla="*/ 0 h 40"/>
                    <a:gd name="T8" fmla="*/ 0 w 5"/>
                    <a:gd name="T9" fmla="*/ 0 h 40"/>
                  </a:gdLst>
                  <a:ahLst/>
                  <a:cxnLst>
                    <a:cxn ang="0">
                      <a:pos x="T0" y="T1"/>
                    </a:cxn>
                    <a:cxn ang="0">
                      <a:pos x="T2" y="T3"/>
                    </a:cxn>
                    <a:cxn ang="0">
                      <a:pos x="T4" y="T5"/>
                    </a:cxn>
                    <a:cxn ang="0">
                      <a:pos x="T6" y="T7"/>
                    </a:cxn>
                    <a:cxn ang="0">
                      <a:pos x="T8" y="T9"/>
                    </a:cxn>
                  </a:cxnLst>
                  <a:rect l="0" t="0" r="r" b="b"/>
                  <a:pathLst>
                    <a:path w="5" h="40">
                      <a:moveTo>
                        <a:pt x="0" y="0"/>
                      </a:moveTo>
                      <a:lnTo>
                        <a:pt x="2" y="40"/>
                      </a:lnTo>
                      <a:lnTo>
                        <a:pt x="5" y="4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957" name="Freeform 1899"/>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4958" name="Freeform 1900"/>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path>
                  </a:pathLst>
                </a:custGeom>
                <a:noFill/>
                <a:ln>
                  <a:noFill/>
                </a:ln>
                <a:extLst/>
              </p:spPr>
              <p:txBody>
                <a:bodyPr/>
                <a:lstStyle/>
                <a:p>
                  <a:pPr eaLnBrk="1" hangingPunct="1">
                    <a:defRPr/>
                  </a:pPr>
                  <a:endParaRPr lang="zh-CN" altLang="en-US" sz="1050"/>
                </a:p>
              </p:txBody>
            </p:sp>
            <p:sp>
              <p:nvSpPr>
                <p:cNvPr id="4959" name="Freeform 1901"/>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4960" name="Freeform 1902"/>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path>
                  </a:pathLst>
                </a:custGeom>
                <a:noFill/>
                <a:ln>
                  <a:noFill/>
                </a:ln>
                <a:extLst/>
              </p:spPr>
              <p:txBody>
                <a:bodyPr/>
                <a:lstStyle/>
                <a:p>
                  <a:pPr eaLnBrk="1" hangingPunct="1">
                    <a:defRPr/>
                  </a:pPr>
                  <a:endParaRPr lang="zh-CN" altLang="en-US" sz="1050"/>
                </a:p>
              </p:txBody>
            </p:sp>
            <p:sp>
              <p:nvSpPr>
                <p:cNvPr id="4961" name="Freeform 1903"/>
                <p:cNvSpPr>
                  <a:spLocks/>
                </p:cNvSpPr>
                <p:nvPr/>
              </p:nvSpPr>
              <p:spPr bwMode="auto">
                <a:xfrm>
                  <a:off x="10340" y="2996"/>
                  <a:ext cx="33" cy="9"/>
                </a:xfrm>
                <a:custGeom>
                  <a:avLst/>
                  <a:gdLst>
                    <a:gd name="T0" fmla="*/ 22 w 24"/>
                    <a:gd name="T1" fmla="*/ 0 h 19"/>
                    <a:gd name="T2" fmla="*/ 0 w 24"/>
                    <a:gd name="T3" fmla="*/ 19 h 19"/>
                    <a:gd name="T4" fmla="*/ 0 w 24"/>
                    <a:gd name="T5" fmla="*/ 19 h 19"/>
                    <a:gd name="T6" fmla="*/ 24 w 24"/>
                    <a:gd name="T7" fmla="*/ 2 h 19"/>
                    <a:gd name="T8" fmla="*/ 22 w 24"/>
                    <a:gd name="T9" fmla="*/ 0 h 19"/>
                  </a:gdLst>
                  <a:ahLst/>
                  <a:cxnLst>
                    <a:cxn ang="0">
                      <a:pos x="T0" y="T1"/>
                    </a:cxn>
                    <a:cxn ang="0">
                      <a:pos x="T2" y="T3"/>
                    </a:cxn>
                    <a:cxn ang="0">
                      <a:pos x="T4" y="T5"/>
                    </a:cxn>
                    <a:cxn ang="0">
                      <a:pos x="T6" y="T7"/>
                    </a:cxn>
                    <a:cxn ang="0">
                      <a:pos x="T8" y="T9"/>
                    </a:cxn>
                  </a:cxnLst>
                  <a:rect l="0" t="0" r="r" b="b"/>
                  <a:pathLst>
                    <a:path w="24" h="19">
                      <a:moveTo>
                        <a:pt x="22" y="0"/>
                      </a:moveTo>
                      <a:lnTo>
                        <a:pt x="0" y="19"/>
                      </a:lnTo>
                      <a:lnTo>
                        <a:pt x="0" y="19"/>
                      </a:lnTo>
                      <a:lnTo>
                        <a:pt x="24" y="2"/>
                      </a:lnTo>
                      <a:lnTo>
                        <a:pt x="22" y="0"/>
                      </a:lnTo>
                      <a:close/>
                    </a:path>
                  </a:pathLst>
                </a:custGeom>
                <a:solidFill>
                  <a:srgbClr val="01AAE5"/>
                </a:solidFill>
                <a:ln>
                  <a:noFill/>
                </a:ln>
                <a:extLst/>
              </p:spPr>
              <p:txBody>
                <a:bodyPr/>
                <a:lstStyle/>
                <a:p>
                  <a:pPr eaLnBrk="1" hangingPunct="1">
                    <a:defRPr/>
                  </a:pPr>
                  <a:endParaRPr lang="zh-CN" altLang="en-US" sz="1050"/>
                </a:p>
              </p:txBody>
            </p:sp>
            <p:sp>
              <p:nvSpPr>
                <p:cNvPr id="4962" name="Freeform 1904"/>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963" name="Freeform 1905"/>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path>
                  </a:pathLst>
                </a:custGeom>
                <a:noFill/>
                <a:ln>
                  <a:noFill/>
                </a:ln>
                <a:extLst/>
              </p:spPr>
              <p:txBody>
                <a:bodyPr/>
                <a:lstStyle/>
                <a:p>
                  <a:pPr eaLnBrk="1" hangingPunct="1">
                    <a:defRPr/>
                  </a:pPr>
                  <a:endParaRPr lang="zh-CN" altLang="en-US" sz="1050"/>
                </a:p>
              </p:txBody>
            </p:sp>
            <p:sp>
              <p:nvSpPr>
                <p:cNvPr id="4964" name="Freeform 1906"/>
                <p:cNvSpPr>
                  <a:spLocks/>
                </p:cNvSpPr>
                <p:nvPr/>
              </p:nvSpPr>
              <p:spPr bwMode="auto">
                <a:xfrm>
                  <a:off x="10340" y="2987"/>
                  <a:ext cx="25" cy="17"/>
                </a:xfrm>
                <a:custGeom>
                  <a:avLst/>
                  <a:gdLst>
                    <a:gd name="T0" fmla="*/ 21 w 21"/>
                    <a:gd name="T1" fmla="*/ 0 h 19"/>
                    <a:gd name="T2" fmla="*/ 0 w 21"/>
                    <a:gd name="T3" fmla="*/ 17 h 19"/>
                    <a:gd name="T4" fmla="*/ 2 w 21"/>
                    <a:gd name="T5" fmla="*/ 19 h 19"/>
                    <a:gd name="T6" fmla="*/ 21 w 21"/>
                    <a:gd name="T7" fmla="*/ 3 h 19"/>
                    <a:gd name="T8" fmla="*/ 21 w 21"/>
                    <a:gd name="T9" fmla="*/ 0 h 19"/>
                  </a:gdLst>
                  <a:ahLst/>
                  <a:cxnLst>
                    <a:cxn ang="0">
                      <a:pos x="T0" y="T1"/>
                    </a:cxn>
                    <a:cxn ang="0">
                      <a:pos x="T2" y="T3"/>
                    </a:cxn>
                    <a:cxn ang="0">
                      <a:pos x="T4" y="T5"/>
                    </a:cxn>
                    <a:cxn ang="0">
                      <a:pos x="T6" y="T7"/>
                    </a:cxn>
                    <a:cxn ang="0">
                      <a:pos x="T8" y="T9"/>
                    </a:cxn>
                  </a:cxnLst>
                  <a:rect l="0" t="0" r="r" b="b"/>
                  <a:pathLst>
                    <a:path w="21" h="19">
                      <a:moveTo>
                        <a:pt x="21" y="0"/>
                      </a:moveTo>
                      <a:lnTo>
                        <a:pt x="0" y="17"/>
                      </a:lnTo>
                      <a:lnTo>
                        <a:pt x="2" y="19"/>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965" name="Freeform 1907"/>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966" name="Freeform 1908"/>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path>
                  </a:pathLst>
                </a:custGeom>
                <a:noFill/>
                <a:ln>
                  <a:noFill/>
                </a:ln>
                <a:extLst/>
              </p:spPr>
              <p:txBody>
                <a:bodyPr/>
                <a:lstStyle/>
                <a:p>
                  <a:pPr eaLnBrk="1" hangingPunct="1">
                    <a:defRPr/>
                  </a:pPr>
                  <a:endParaRPr lang="zh-CN" altLang="en-US" sz="1050"/>
                </a:p>
              </p:txBody>
            </p:sp>
            <p:sp>
              <p:nvSpPr>
                <p:cNvPr id="4967" name="Freeform 1909"/>
                <p:cNvSpPr>
                  <a:spLocks/>
                </p:cNvSpPr>
                <p:nvPr/>
              </p:nvSpPr>
              <p:spPr bwMode="auto">
                <a:xfrm>
                  <a:off x="10340" y="2979"/>
                  <a:ext cx="8" cy="17"/>
                </a:xfrm>
                <a:custGeom>
                  <a:avLst/>
                  <a:gdLst>
                    <a:gd name="T0" fmla="*/ 17 w 17"/>
                    <a:gd name="T1" fmla="*/ 0 h 12"/>
                    <a:gd name="T2" fmla="*/ 0 w 17"/>
                    <a:gd name="T3" fmla="*/ 12 h 12"/>
                    <a:gd name="T4" fmla="*/ 0 w 17"/>
                    <a:gd name="T5" fmla="*/ 12 h 12"/>
                    <a:gd name="T6" fmla="*/ 17 w 17"/>
                    <a:gd name="T7" fmla="*/ 0 h 12"/>
                    <a:gd name="T8" fmla="*/ 17 w 17"/>
                    <a:gd name="T9" fmla="*/ 0 h 12"/>
                  </a:gdLst>
                  <a:ahLst/>
                  <a:cxnLst>
                    <a:cxn ang="0">
                      <a:pos x="T0" y="T1"/>
                    </a:cxn>
                    <a:cxn ang="0">
                      <a:pos x="T2" y="T3"/>
                    </a:cxn>
                    <a:cxn ang="0">
                      <a:pos x="T4" y="T5"/>
                    </a:cxn>
                    <a:cxn ang="0">
                      <a:pos x="T6" y="T7"/>
                    </a:cxn>
                    <a:cxn ang="0">
                      <a:pos x="T8" y="T9"/>
                    </a:cxn>
                  </a:cxnLst>
                  <a:rect l="0" t="0" r="r" b="b"/>
                  <a:pathLst>
                    <a:path w="17" h="12">
                      <a:moveTo>
                        <a:pt x="17" y="0"/>
                      </a:moveTo>
                      <a:lnTo>
                        <a:pt x="0" y="12"/>
                      </a:lnTo>
                      <a:lnTo>
                        <a:pt x="0" y="12"/>
                      </a:lnTo>
                      <a:lnTo>
                        <a:pt x="17" y="0"/>
                      </a:lnTo>
                      <a:lnTo>
                        <a:pt x="17" y="0"/>
                      </a:lnTo>
                      <a:close/>
                    </a:path>
                  </a:pathLst>
                </a:custGeom>
                <a:solidFill>
                  <a:srgbClr val="01AAE5"/>
                </a:solidFill>
                <a:ln>
                  <a:noFill/>
                </a:ln>
                <a:extLst/>
              </p:spPr>
              <p:txBody>
                <a:bodyPr/>
                <a:lstStyle/>
                <a:p>
                  <a:pPr eaLnBrk="1" hangingPunct="1">
                    <a:defRPr/>
                  </a:pPr>
                  <a:endParaRPr lang="zh-CN" altLang="en-US" sz="1050"/>
                </a:p>
              </p:txBody>
            </p:sp>
            <p:sp>
              <p:nvSpPr>
                <p:cNvPr id="4968" name="Freeform 1910"/>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969" name="Freeform 1911"/>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path>
                  </a:pathLst>
                </a:custGeom>
                <a:noFill/>
                <a:ln>
                  <a:noFill/>
                </a:ln>
                <a:extLst/>
              </p:spPr>
              <p:txBody>
                <a:bodyPr/>
                <a:lstStyle/>
                <a:p>
                  <a:pPr eaLnBrk="1" hangingPunct="1">
                    <a:defRPr/>
                  </a:pPr>
                  <a:endParaRPr lang="zh-CN" altLang="en-US" sz="1050"/>
                </a:p>
              </p:txBody>
            </p:sp>
            <p:sp>
              <p:nvSpPr>
                <p:cNvPr id="4970" name="Freeform 1912"/>
                <p:cNvSpPr>
                  <a:spLocks/>
                </p:cNvSpPr>
                <p:nvPr/>
              </p:nvSpPr>
              <p:spPr bwMode="auto">
                <a:xfrm>
                  <a:off x="10398" y="3048"/>
                  <a:ext cx="25" cy="26"/>
                </a:xfrm>
                <a:custGeom>
                  <a:avLst/>
                  <a:gdLst>
                    <a:gd name="T0" fmla="*/ 26 w 26"/>
                    <a:gd name="T1" fmla="*/ 0 h 26"/>
                    <a:gd name="T2" fmla="*/ 0 w 26"/>
                    <a:gd name="T3" fmla="*/ 23 h 26"/>
                    <a:gd name="T4" fmla="*/ 3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3"/>
                      </a:lnTo>
                      <a:lnTo>
                        <a:pt x="3"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grpSp>
          <p:grpSp>
            <p:nvGrpSpPr>
              <p:cNvPr id="35" name="Group 2114"/>
              <p:cNvGrpSpPr>
                <a:grpSpLocks/>
              </p:cNvGrpSpPr>
              <p:nvPr/>
            </p:nvGrpSpPr>
            <p:grpSpPr bwMode="auto">
              <a:xfrm>
                <a:off x="16309976" y="4051300"/>
                <a:ext cx="2141538" cy="1106488"/>
                <a:chOff x="10274" y="2552"/>
                <a:chExt cx="1349" cy="697"/>
              </a:xfrm>
            </p:grpSpPr>
            <p:sp>
              <p:nvSpPr>
                <p:cNvPr id="4571" name="Freeform 1914"/>
                <p:cNvSpPr>
                  <a:spLocks/>
                </p:cNvSpPr>
                <p:nvPr/>
              </p:nvSpPr>
              <p:spPr bwMode="auto">
                <a:xfrm>
                  <a:off x="10415" y="3039"/>
                  <a:ext cx="33" cy="35"/>
                </a:xfrm>
                <a:custGeom>
                  <a:avLst/>
                  <a:gdLst>
                    <a:gd name="T0" fmla="*/ 26 w 26"/>
                    <a:gd name="T1" fmla="*/ 0 h 26"/>
                    <a:gd name="T2" fmla="*/ 0 w 26"/>
                    <a:gd name="T3" fmla="*/ 26 h 26"/>
                    <a:gd name="T4" fmla="*/ 2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6"/>
                      </a:lnTo>
                      <a:lnTo>
                        <a:pt x="2"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572" name="Freeform 1915"/>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573" name="Freeform 1916"/>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path>
                  </a:pathLst>
                </a:custGeom>
                <a:noFill/>
                <a:ln>
                  <a:noFill/>
                </a:ln>
                <a:extLst/>
              </p:spPr>
              <p:txBody>
                <a:bodyPr/>
                <a:lstStyle/>
                <a:p>
                  <a:pPr eaLnBrk="1" hangingPunct="1">
                    <a:defRPr/>
                  </a:pPr>
                  <a:endParaRPr lang="zh-CN" altLang="en-US" sz="1050"/>
                </a:p>
              </p:txBody>
            </p:sp>
            <p:sp>
              <p:nvSpPr>
                <p:cNvPr id="4574" name="Freeform 1917"/>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575" name="Freeform 1918"/>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path>
                  </a:pathLst>
                </a:custGeom>
                <a:noFill/>
                <a:ln>
                  <a:noFill/>
                </a:ln>
                <a:extLst/>
              </p:spPr>
              <p:txBody>
                <a:bodyPr/>
                <a:lstStyle/>
                <a:p>
                  <a:pPr eaLnBrk="1" hangingPunct="1">
                    <a:defRPr/>
                  </a:pPr>
                  <a:endParaRPr lang="zh-CN" altLang="en-US" sz="1050"/>
                </a:p>
              </p:txBody>
            </p:sp>
            <p:sp>
              <p:nvSpPr>
                <p:cNvPr id="4576" name="Freeform 1919"/>
                <p:cNvSpPr>
                  <a:spLocks/>
                </p:cNvSpPr>
                <p:nvPr/>
              </p:nvSpPr>
              <p:spPr bwMode="auto">
                <a:xfrm>
                  <a:off x="10365" y="2979"/>
                  <a:ext cx="8" cy="9"/>
                </a:xfrm>
                <a:custGeom>
                  <a:avLst/>
                  <a:gdLst>
                    <a:gd name="T0" fmla="*/ 14 w 17"/>
                    <a:gd name="T1" fmla="*/ 0 h 11"/>
                    <a:gd name="T2" fmla="*/ 0 w 17"/>
                    <a:gd name="T3" fmla="*/ 9 h 11"/>
                    <a:gd name="T4" fmla="*/ 3 w 17"/>
                    <a:gd name="T5" fmla="*/ 11 h 11"/>
                    <a:gd name="T6" fmla="*/ 17 w 17"/>
                    <a:gd name="T7" fmla="*/ 0 h 11"/>
                    <a:gd name="T8" fmla="*/ 14 w 17"/>
                    <a:gd name="T9" fmla="*/ 0 h 11"/>
                  </a:gdLst>
                  <a:ahLst/>
                  <a:cxnLst>
                    <a:cxn ang="0">
                      <a:pos x="T0" y="T1"/>
                    </a:cxn>
                    <a:cxn ang="0">
                      <a:pos x="T2" y="T3"/>
                    </a:cxn>
                    <a:cxn ang="0">
                      <a:pos x="T4" y="T5"/>
                    </a:cxn>
                    <a:cxn ang="0">
                      <a:pos x="T6" y="T7"/>
                    </a:cxn>
                    <a:cxn ang="0">
                      <a:pos x="T8" y="T9"/>
                    </a:cxn>
                  </a:cxnLst>
                  <a:rect l="0" t="0" r="r" b="b"/>
                  <a:pathLst>
                    <a:path w="17" h="11">
                      <a:moveTo>
                        <a:pt x="14" y="0"/>
                      </a:moveTo>
                      <a:lnTo>
                        <a:pt x="0" y="9"/>
                      </a:lnTo>
                      <a:lnTo>
                        <a:pt x="3" y="11"/>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577" name="Freeform 1920"/>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close/>
                    </a:path>
                  </a:pathLst>
                </a:custGeom>
                <a:solidFill>
                  <a:srgbClr val="01AAE5"/>
                </a:solidFill>
                <a:ln>
                  <a:noFill/>
                </a:ln>
                <a:extLst/>
              </p:spPr>
              <p:txBody>
                <a:bodyPr/>
                <a:lstStyle/>
                <a:p>
                  <a:pPr eaLnBrk="1" hangingPunct="1">
                    <a:defRPr/>
                  </a:pPr>
                  <a:endParaRPr lang="zh-CN" altLang="en-US" sz="1050"/>
                </a:p>
              </p:txBody>
            </p:sp>
            <p:sp>
              <p:nvSpPr>
                <p:cNvPr id="4578" name="Freeform 1921"/>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path>
                  </a:pathLst>
                </a:custGeom>
                <a:noFill/>
                <a:ln>
                  <a:noFill/>
                </a:ln>
                <a:extLst/>
              </p:spPr>
              <p:txBody>
                <a:bodyPr/>
                <a:lstStyle/>
                <a:p>
                  <a:pPr eaLnBrk="1" hangingPunct="1">
                    <a:defRPr/>
                  </a:pPr>
                  <a:endParaRPr lang="zh-CN" altLang="en-US" sz="1050"/>
                </a:p>
              </p:txBody>
            </p:sp>
            <p:sp>
              <p:nvSpPr>
                <p:cNvPr id="4579" name="Freeform 1922"/>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580" name="Freeform 1923"/>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4581" name="Freeform 1924"/>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582" name="Freeform 1925"/>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4583" name="Freeform 1926"/>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584" name="Freeform 1927"/>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4585" name="Freeform 1928"/>
                <p:cNvSpPr>
                  <a:spLocks/>
                </p:cNvSpPr>
                <p:nvPr/>
              </p:nvSpPr>
              <p:spPr bwMode="auto">
                <a:xfrm>
                  <a:off x="10332" y="2926"/>
                  <a:ext cx="0" cy="0"/>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86" name="Freeform 1929"/>
                <p:cNvSpPr>
                  <a:spLocks/>
                </p:cNvSpPr>
                <p:nvPr/>
              </p:nvSpPr>
              <p:spPr bwMode="auto">
                <a:xfrm>
                  <a:off x="10365" y="2970"/>
                  <a:ext cx="8" cy="9"/>
                </a:xfrm>
                <a:custGeom>
                  <a:avLst/>
                  <a:gdLst>
                    <a:gd name="T0" fmla="*/ 12 w 14"/>
                    <a:gd name="T1" fmla="*/ 0 h 9"/>
                    <a:gd name="T2" fmla="*/ 0 w 14"/>
                    <a:gd name="T3" fmla="*/ 9 h 9"/>
                    <a:gd name="T4" fmla="*/ 0 w 14"/>
                    <a:gd name="T5" fmla="*/ 9 h 9"/>
                    <a:gd name="T6" fmla="*/ 14 w 14"/>
                    <a:gd name="T7" fmla="*/ 0 h 9"/>
                    <a:gd name="T8" fmla="*/ 12 w 14"/>
                    <a:gd name="T9" fmla="*/ 0 h 9"/>
                  </a:gdLst>
                  <a:ahLst/>
                  <a:cxnLst>
                    <a:cxn ang="0">
                      <a:pos x="T0" y="T1"/>
                    </a:cxn>
                    <a:cxn ang="0">
                      <a:pos x="T2" y="T3"/>
                    </a:cxn>
                    <a:cxn ang="0">
                      <a:pos x="T4" y="T5"/>
                    </a:cxn>
                    <a:cxn ang="0">
                      <a:pos x="T6" y="T7"/>
                    </a:cxn>
                    <a:cxn ang="0">
                      <a:pos x="T8" y="T9"/>
                    </a:cxn>
                  </a:cxnLst>
                  <a:rect l="0" t="0" r="r" b="b"/>
                  <a:pathLst>
                    <a:path w="14" h="9">
                      <a:moveTo>
                        <a:pt x="12" y="0"/>
                      </a:moveTo>
                      <a:lnTo>
                        <a:pt x="0" y="9"/>
                      </a:lnTo>
                      <a:lnTo>
                        <a:pt x="0" y="9"/>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587" name="Freeform 1930"/>
                <p:cNvSpPr>
                  <a:spLocks/>
                </p:cNvSpPr>
                <p:nvPr/>
              </p:nvSpPr>
              <p:spPr bwMode="auto">
                <a:xfrm>
                  <a:off x="10323" y="2909"/>
                  <a:ext cx="0" cy="9"/>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88" name="Freeform 1931"/>
                <p:cNvSpPr>
                  <a:spLocks/>
                </p:cNvSpPr>
                <p:nvPr/>
              </p:nvSpPr>
              <p:spPr bwMode="auto">
                <a:xfrm>
                  <a:off x="10415" y="3048"/>
                  <a:ext cx="17" cy="26"/>
                </a:xfrm>
                <a:custGeom>
                  <a:avLst/>
                  <a:gdLst>
                    <a:gd name="T0" fmla="*/ 23 w 23"/>
                    <a:gd name="T1" fmla="*/ 0 h 25"/>
                    <a:gd name="T2" fmla="*/ 0 w 23"/>
                    <a:gd name="T3" fmla="*/ 23 h 25"/>
                    <a:gd name="T4" fmla="*/ 0 w 23"/>
                    <a:gd name="T5" fmla="*/ 25 h 25"/>
                    <a:gd name="T6" fmla="*/ 23 w 23"/>
                    <a:gd name="T7" fmla="*/ 0 h 25"/>
                    <a:gd name="T8" fmla="*/ 23 w 23"/>
                    <a:gd name="T9" fmla="*/ 0 h 25"/>
                  </a:gdLst>
                  <a:ahLst/>
                  <a:cxnLst>
                    <a:cxn ang="0">
                      <a:pos x="T0" y="T1"/>
                    </a:cxn>
                    <a:cxn ang="0">
                      <a:pos x="T2" y="T3"/>
                    </a:cxn>
                    <a:cxn ang="0">
                      <a:pos x="T4" y="T5"/>
                    </a:cxn>
                    <a:cxn ang="0">
                      <a:pos x="T6" y="T7"/>
                    </a:cxn>
                    <a:cxn ang="0">
                      <a:pos x="T8" y="T9"/>
                    </a:cxn>
                  </a:cxnLst>
                  <a:rect l="0" t="0" r="r" b="b"/>
                  <a:pathLst>
                    <a:path w="23" h="25">
                      <a:moveTo>
                        <a:pt x="23" y="0"/>
                      </a:moveTo>
                      <a:lnTo>
                        <a:pt x="0" y="23"/>
                      </a:lnTo>
                      <a:lnTo>
                        <a:pt x="0" y="25"/>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4589" name="Freeform 1932"/>
                <p:cNvSpPr>
                  <a:spLocks/>
                </p:cNvSpPr>
                <p:nvPr/>
              </p:nvSpPr>
              <p:spPr bwMode="auto">
                <a:xfrm>
                  <a:off x="10315" y="2900"/>
                  <a:ext cx="17" cy="9"/>
                </a:xfrm>
                <a:custGeom>
                  <a:avLst/>
                  <a:gdLst>
                    <a:gd name="T0" fmla="*/ 10 w 10"/>
                    <a:gd name="T1" fmla="*/ 0 h 7"/>
                    <a:gd name="T2" fmla="*/ 0 w 10"/>
                    <a:gd name="T3" fmla="*/ 4 h 7"/>
                    <a:gd name="T4" fmla="*/ 0 w 10"/>
                    <a:gd name="T5" fmla="*/ 7 h 7"/>
                    <a:gd name="T6" fmla="*/ 10 w 10"/>
                    <a:gd name="T7" fmla="*/ 0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4"/>
                      </a:lnTo>
                      <a:lnTo>
                        <a:pt x="0" y="7"/>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590" name="Freeform 1933"/>
                <p:cNvSpPr>
                  <a:spLocks/>
                </p:cNvSpPr>
                <p:nvPr/>
              </p:nvSpPr>
              <p:spPr bwMode="auto">
                <a:xfrm>
                  <a:off x="10332" y="2926"/>
                  <a:ext cx="8" cy="9"/>
                </a:xfrm>
                <a:custGeom>
                  <a:avLst/>
                  <a:gdLst>
                    <a:gd name="T0" fmla="*/ 9 w 9"/>
                    <a:gd name="T1" fmla="*/ 0 h 7"/>
                    <a:gd name="T2" fmla="*/ 0 w 9"/>
                    <a:gd name="T3" fmla="*/ 5 h 7"/>
                    <a:gd name="T4" fmla="*/ 0 w 9"/>
                    <a:gd name="T5" fmla="*/ 7 h 7"/>
                    <a:gd name="T6" fmla="*/ 9 w 9"/>
                    <a:gd name="T7" fmla="*/ 0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5"/>
                      </a:lnTo>
                      <a:lnTo>
                        <a:pt x="0" y="7"/>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91" name="Freeform 1934"/>
                <p:cNvSpPr>
                  <a:spLocks/>
                </p:cNvSpPr>
                <p:nvPr/>
              </p:nvSpPr>
              <p:spPr bwMode="auto">
                <a:xfrm>
                  <a:off x="11289" y="3100"/>
                  <a:ext cx="58" cy="87"/>
                </a:xfrm>
                <a:custGeom>
                  <a:avLst/>
                  <a:gdLst>
                    <a:gd name="T0" fmla="*/ 0 w 57"/>
                    <a:gd name="T1" fmla="*/ 0 h 81"/>
                    <a:gd name="T2" fmla="*/ 0 w 57"/>
                    <a:gd name="T3" fmla="*/ 0 h 81"/>
                    <a:gd name="T4" fmla="*/ 57 w 57"/>
                    <a:gd name="T5" fmla="*/ 81 h 81"/>
                    <a:gd name="T6" fmla="*/ 57 w 57"/>
                    <a:gd name="T7" fmla="*/ 81 h 81"/>
                    <a:gd name="T8" fmla="*/ 2 w 57"/>
                    <a:gd name="T9" fmla="*/ 0 h 81"/>
                    <a:gd name="T10" fmla="*/ 0 w 57"/>
                    <a:gd name="T11" fmla="*/ 0 h 81"/>
                  </a:gdLst>
                  <a:ahLst/>
                  <a:cxnLst>
                    <a:cxn ang="0">
                      <a:pos x="T0" y="T1"/>
                    </a:cxn>
                    <a:cxn ang="0">
                      <a:pos x="T2" y="T3"/>
                    </a:cxn>
                    <a:cxn ang="0">
                      <a:pos x="T4" y="T5"/>
                    </a:cxn>
                    <a:cxn ang="0">
                      <a:pos x="T6" y="T7"/>
                    </a:cxn>
                    <a:cxn ang="0">
                      <a:pos x="T8" y="T9"/>
                    </a:cxn>
                    <a:cxn ang="0">
                      <a:pos x="T10" y="T11"/>
                    </a:cxn>
                  </a:cxnLst>
                  <a:rect l="0" t="0" r="r" b="b"/>
                  <a:pathLst>
                    <a:path w="57" h="81">
                      <a:moveTo>
                        <a:pt x="0" y="0"/>
                      </a:moveTo>
                      <a:lnTo>
                        <a:pt x="0" y="0"/>
                      </a:lnTo>
                      <a:lnTo>
                        <a:pt x="57" y="81"/>
                      </a:lnTo>
                      <a:lnTo>
                        <a:pt x="57" y="8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592" name="Freeform 1935"/>
                <p:cNvSpPr>
                  <a:spLocks/>
                </p:cNvSpPr>
                <p:nvPr/>
              </p:nvSpPr>
              <p:spPr bwMode="auto">
                <a:xfrm>
                  <a:off x="10307" y="2891"/>
                  <a:ext cx="17" cy="9"/>
                </a:xfrm>
                <a:custGeom>
                  <a:avLst/>
                  <a:gdLst>
                    <a:gd name="T0" fmla="*/ 9 w 11"/>
                    <a:gd name="T1" fmla="*/ 0 h 7"/>
                    <a:gd name="T2" fmla="*/ 0 w 11"/>
                    <a:gd name="T3" fmla="*/ 7 h 7"/>
                    <a:gd name="T4" fmla="*/ 2 w 11"/>
                    <a:gd name="T5" fmla="*/ 7 h 7"/>
                    <a:gd name="T6" fmla="*/ 11 w 11"/>
                    <a:gd name="T7" fmla="*/ 2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lnTo>
                        <a:pt x="0" y="7"/>
                      </a:lnTo>
                      <a:lnTo>
                        <a:pt x="2" y="7"/>
                      </a:lnTo>
                      <a:lnTo>
                        <a:pt x="11"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93" name="Freeform 1936"/>
                <p:cNvSpPr>
                  <a:spLocks/>
                </p:cNvSpPr>
                <p:nvPr/>
              </p:nvSpPr>
              <p:spPr bwMode="auto">
                <a:xfrm>
                  <a:off x="10307" y="2891"/>
                  <a:ext cx="17" cy="9"/>
                </a:xfrm>
                <a:custGeom>
                  <a:avLst/>
                  <a:gdLst>
                    <a:gd name="T0" fmla="*/ 10 w 10"/>
                    <a:gd name="T1" fmla="*/ 0 h 7"/>
                    <a:gd name="T2" fmla="*/ 0 w 10"/>
                    <a:gd name="T3" fmla="*/ 5 h 7"/>
                    <a:gd name="T4" fmla="*/ 0 w 10"/>
                    <a:gd name="T5" fmla="*/ 7 h 7"/>
                    <a:gd name="T6" fmla="*/ 10 w 10"/>
                    <a:gd name="T7" fmla="*/ 2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5"/>
                      </a:lnTo>
                      <a:lnTo>
                        <a:pt x="0" y="7"/>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594" name="Freeform 1937"/>
                <p:cNvSpPr>
                  <a:spLocks/>
                </p:cNvSpPr>
                <p:nvPr/>
              </p:nvSpPr>
              <p:spPr bwMode="auto">
                <a:xfrm>
                  <a:off x="10323" y="2918"/>
                  <a:ext cx="8" cy="9"/>
                </a:xfrm>
                <a:custGeom>
                  <a:avLst/>
                  <a:gdLst>
                    <a:gd name="T0" fmla="*/ 10 w 10"/>
                    <a:gd name="T1" fmla="*/ 0 h 8"/>
                    <a:gd name="T2" fmla="*/ 0 w 10"/>
                    <a:gd name="T3" fmla="*/ 5 h 8"/>
                    <a:gd name="T4" fmla="*/ 0 w 10"/>
                    <a:gd name="T5" fmla="*/ 8 h 8"/>
                    <a:gd name="T6" fmla="*/ 10 w 10"/>
                    <a:gd name="T7" fmla="*/ 0 h 8"/>
                    <a:gd name="T8" fmla="*/ 10 w 10"/>
                    <a:gd name="T9" fmla="*/ 0 h 8"/>
                  </a:gdLst>
                  <a:ahLst/>
                  <a:cxnLst>
                    <a:cxn ang="0">
                      <a:pos x="T0" y="T1"/>
                    </a:cxn>
                    <a:cxn ang="0">
                      <a:pos x="T2" y="T3"/>
                    </a:cxn>
                    <a:cxn ang="0">
                      <a:pos x="T4" y="T5"/>
                    </a:cxn>
                    <a:cxn ang="0">
                      <a:pos x="T6" y="T7"/>
                    </a:cxn>
                    <a:cxn ang="0">
                      <a:pos x="T8" y="T9"/>
                    </a:cxn>
                  </a:cxnLst>
                  <a:rect l="0" t="0" r="r" b="b"/>
                  <a:pathLst>
                    <a:path w="10" h="8">
                      <a:moveTo>
                        <a:pt x="10" y="0"/>
                      </a:moveTo>
                      <a:lnTo>
                        <a:pt x="0" y="5"/>
                      </a:lnTo>
                      <a:lnTo>
                        <a:pt x="0" y="8"/>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595" name="Freeform 1938"/>
                <p:cNvSpPr>
                  <a:spLocks/>
                </p:cNvSpPr>
                <p:nvPr/>
              </p:nvSpPr>
              <p:spPr bwMode="auto">
                <a:xfrm>
                  <a:off x="10357" y="2952"/>
                  <a:ext cx="8" cy="17"/>
                </a:xfrm>
                <a:custGeom>
                  <a:avLst/>
                  <a:gdLst>
                    <a:gd name="T0" fmla="*/ 9 w 12"/>
                    <a:gd name="T1" fmla="*/ 0 h 9"/>
                    <a:gd name="T2" fmla="*/ 0 w 12"/>
                    <a:gd name="T3" fmla="*/ 9 h 9"/>
                    <a:gd name="T4" fmla="*/ 0 w 12"/>
                    <a:gd name="T5" fmla="*/ 9 h 9"/>
                    <a:gd name="T6" fmla="*/ 12 w 12"/>
                    <a:gd name="T7" fmla="*/ 2 h 9"/>
                    <a:gd name="T8" fmla="*/ 9 w 12"/>
                    <a:gd name="T9" fmla="*/ 0 h 9"/>
                  </a:gdLst>
                  <a:ahLst/>
                  <a:cxnLst>
                    <a:cxn ang="0">
                      <a:pos x="T0" y="T1"/>
                    </a:cxn>
                    <a:cxn ang="0">
                      <a:pos x="T2" y="T3"/>
                    </a:cxn>
                    <a:cxn ang="0">
                      <a:pos x="T4" y="T5"/>
                    </a:cxn>
                    <a:cxn ang="0">
                      <a:pos x="T6" y="T7"/>
                    </a:cxn>
                    <a:cxn ang="0">
                      <a:pos x="T8" y="T9"/>
                    </a:cxn>
                  </a:cxnLst>
                  <a:rect l="0" t="0" r="r" b="b"/>
                  <a:pathLst>
                    <a:path w="12" h="9">
                      <a:moveTo>
                        <a:pt x="9" y="0"/>
                      </a:moveTo>
                      <a:lnTo>
                        <a:pt x="0" y="9"/>
                      </a:lnTo>
                      <a:lnTo>
                        <a:pt x="0" y="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96" name="Freeform 1939"/>
                <p:cNvSpPr>
                  <a:spLocks/>
                </p:cNvSpPr>
                <p:nvPr/>
              </p:nvSpPr>
              <p:spPr bwMode="auto">
                <a:xfrm>
                  <a:off x="10332" y="2935"/>
                  <a:ext cx="17" cy="9"/>
                </a:xfrm>
                <a:custGeom>
                  <a:avLst/>
                  <a:gdLst>
                    <a:gd name="T0" fmla="*/ 9 w 12"/>
                    <a:gd name="T1" fmla="*/ 0 h 7"/>
                    <a:gd name="T2" fmla="*/ 0 w 12"/>
                    <a:gd name="T3" fmla="*/ 7 h 7"/>
                    <a:gd name="T4" fmla="*/ 2 w 12"/>
                    <a:gd name="T5" fmla="*/ 7 h 7"/>
                    <a:gd name="T6" fmla="*/ 12 w 12"/>
                    <a:gd name="T7" fmla="*/ 2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2" y="7"/>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597" name="Freeform 1940"/>
                <p:cNvSpPr>
                  <a:spLocks/>
                </p:cNvSpPr>
                <p:nvPr/>
              </p:nvSpPr>
              <p:spPr bwMode="auto">
                <a:xfrm>
                  <a:off x="10357" y="2961"/>
                  <a:ext cx="8" cy="17"/>
                </a:xfrm>
                <a:custGeom>
                  <a:avLst/>
                  <a:gdLst>
                    <a:gd name="T0" fmla="*/ 12 w 14"/>
                    <a:gd name="T1" fmla="*/ 0 h 10"/>
                    <a:gd name="T2" fmla="*/ 0 w 14"/>
                    <a:gd name="T3" fmla="*/ 7 h 10"/>
                    <a:gd name="T4" fmla="*/ 3 w 14"/>
                    <a:gd name="T5" fmla="*/ 10 h 10"/>
                    <a:gd name="T6" fmla="*/ 14 w 14"/>
                    <a:gd name="T7" fmla="*/ 0 h 10"/>
                    <a:gd name="T8" fmla="*/ 12 w 14"/>
                    <a:gd name="T9" fmla="*/ 0 h 10"/>
                  </a:gdLst>
                  <a:ahLst/>
                  <a:cxnLst>
                    <a:cxn ang="0">
                      <a:pos x="T0" y="T1"/>
                    </a:cxn>
                    <a:cxn ang="0">
                      <a:pos x="T2" y="T3"/>
                    </a:cxn>
                    <a:cxn ang="0">
                      <a:pos x="T4" y="T5"/>
                    </a:cxn>
                    <a:cxn ang="0">
                      <a:pos x="T6" y="T7"/>
                    </a:cxn>
                    <a:cxn ang="0">
                      <a:pos x="T8" y="T9"/>
                    </a:cxn>
                  </a:cxnLst>
                  <a:rect l="0" t="0" r="r" b="b"/>
                  <a:pathLst>
                    <a:path w="14" h="10">
                      <a:moveTo>
                        <a:pt x="12" y="0"/>
                      </a:moveTo>
                      <a:lnTo>
                        <a:pt x="0" y="7"/>
                      </a:lnTo>
                      <a:lnTo>
                        <a:pt x="3" y="10"/>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598" name="Freeform 1941"/>
                <p:cNvSpPr>
                  <a:spLocks/>
                </p:cNvSpPr>
                <p:nvPr/>
              </p:nvSpPr>
              <p:spPr bwMode="auto">
                <a:xfrm>
                  <a:off x="10348" y="2952"/>
                  <a:ext cx="17" cy="9"/>
                </a:xfrm>
                <a:custGeom>
                  <a:avLst/>
                  <a:gdLst>
                    <a:gd name="T0" fmla="*/ 12 w 12"/>
                    <a:gd name="T1" fmla="*/ 0 h 10"/>
                    <a:gd name="T2" fmla="*/ 0 w 12"/>
                    <a:gd name="T3" fmla="*/ 7 h 10"/>
                    <a:gd name="T4" fmla="*/ 2 w 12"/>
                    <a:gd name="T5" fmla="*/ 10 h 10"/>
                    <a:gd name="T6" fmla="*/ 12 w 12"/>
                    <a:gd name="T7" fmla="*/ 3 h 10"/>
                    <a:gd name="T8" fmla="*/ 12 w 12"/>
                    <a:gd name="T9" fmla="*/ 0 h 10"/>
                  </a:gdLst>
                  <a:ahLst/>
                  <a:cxnLst>
                    <a:cxn ang="0">
                      <a:pos x="T0" y="T1"/>
                    </a:cxn>
                    <a:cxn ang="0">
                      <a:pos x="T2" y="T3"/>
                    </a:cxn>
                    <a:cxn ang="0">
                      <a:pos x="T4" y="T5"/>
                    </a:cxn>
                    <a:cxn ang="0">
                      <a:pos x="T6" y="T7"/>
                    </a:cxn>
                    <a:cxn ang="0">
                      <a:pos x="T8" y="T9"/>
                    </a:cxn>
                  </a:cxnLst>
                  <a:rect l="0" t="0" r="r" b="b"/>
                  <a:pathLst>
                    <a:path w="12" h="10">
                      <a:moveTo>
                        <a:pt x="12" y="0"/>
                      </a:moveTo>
                      <a:lnTo>
                        <a:pt x="0" y="7"/>
                      </a:lnTo>
                      <a:lnTo>
                        <a:pt x="2" y="10"/>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599" name="Freeform 1942"/>
                <p:cNvSpPr>
                  <a:spLocks/>
                </p:cNvSpPr>
                <p:nvPr/>
              </p:nvSpPr>
              <p:spPr bwMode="auto">
                <a:xfrm>
                  <a:off x="10332" y="2935"/>
                  <a:ext cx="17" cy="17"/>
                </a:xfrm>
                <a:custGeom>
                  <a:avLst/>
                  <a:gdLst>
                    <a:gd name="T0" fmla="*/ 9 w 9"/>
                    <a:gd name="T1" fmla="*/ 0 h 9"/>
                    <a:gd name="T2" fmla="*/ 0 w 9"/>
                    <a:gd name="T3" fmla="*/ 7 h 9"/>
                    <a:gd name="T4" fmla="*/ 0 w 9"/>
                    <a:gd name="T5" fmla="*/ 9 h 9"/>
                    <a:gd name="T6" fmla="*/ 9 w 9"/>
                    <a:gd name="T7" fmla="*/ 2 h 9"/>
                    <a:gd name="T8" fmla="*/ 9 w 9"/>
                    <a:gd name="T9" fmla="*/ 0 h 9"/>
                  </a:gdLst>
                  <a:ahLst/>
                  <a:cxnLst>
                    <a:cxn ang="0">
                      <a:pos x="T0" y="T1"/>
                    </a:cxn>
                    <a:cxn ang="0">
                      <a:pos x="T2" y="T3"/>
                    </a:cxn>
                    <a:cxn ang="0">
                      <a:pos x="T4" y="T5"/>
                    </a:cxn>
                    <a:cxn ang="0">
                      <a:pos x="T6" y="T7"/>
                    </a:cxn>
                    <a:cxn ang="0">
                      <a:pos x="T8" y="T9"/>
                    </a:cxn>
                  </a:cxnLst>
                  <a:rect l="0" t="0" r="r" b="b"/>
                  <a:pathLst>
                    <a:path w="9" h="9">
                      <a:moveTo>
                        <a:pt x="9" y="0"/>
                      </a:moveTo>
                      <a:lnTo>
                        <a:pt x="0" y="7"/>
                      </a:lnTo>
                      <a:lnTo>
                        <a:pt x="0" y="9"/>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00" name="Freeform 1943"/>
                <p:cNvSpPr>
                  <a:spLocks/>
                </p:cNvSpPr>
                <p:nvPr/>
              </p:nvSpPr>
              <p:spPr bwMode="auto">
                <a:xfrm>
                  <a:off x="10348" y="2952"/>
                  <a:ext cx="0" cy="0"/>
                </a:xfrm>
                <a:custGeom>
                  <a:avLst/>
                  <a:gdLst>
                    <a:gd name="T0" fmla="*/ 9 w 9"/>
                    <a:gd name="T1" fmla="*/ 0 h 7"/>
                    <a:gd name="T2" fmla="*/ 0 w 9"/>
                    <a:gd name="T3" fmla="*/ 7 h 7"/>
                    <a:gd name="T4" fmla="*/ 0 w 9"/>
                    <a:gd name="T5" fmla="*/ 7 h 7"/>
                    <a:gd name="T6" fmla="*/ 9 w 9"/>
                    <a:gd name="T7" fmla="*/ 2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7"/>
                      </a:lnTo>
                      <a:lnTo>
                        <a:pt x="0" y="7"/>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01" name="Freeform 1944"/>
                <p:cNvSpPr>
                  <a:spLocks/>
                </p:cNvSpPr>
                <p:nvPr/>
              </p:nvSpPr>
              <p:spPr bwMode="auto">
                <a:xfrm>
                  <a:off x="10340" y="2944"/>
                  <a:ext cx="17" cy="9"/>
                </a:xfrm>
                <a:custGeom>
                  <a:avLst/>
                  <a:gdLst>
                    <a:gd name="T0" fmla="*/ 9 w 12"/>
                    <a:gd name="T1" fmla="*/ 0 h 7"/>
                    <a:gd name="T2" fmla="*/ 0 w 12"/>
                    <a:gd name="T3" fmla="*/ 5 h 7"/>
                    <a:gd name="T4" fmla="*/ 2 w 12"/>
                    <a:gd name="T5" fmla="*/ 7 h 7"/>
                    <a:gd name="T6" fmla="*/ 12 w 12"/>
                    <a:gd name="T7" fmla="*/ 0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5"/>
                      </a:lnTo>
                      <a:lnTo>
                        <a:pt x="2" y="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02" name="Freeform 1945"/>
                <p:cNvSpPr>
                  <a:spLocks/>
                </p:cNvSpPr>
                <p:nvPr/>
              </p:nvSpPr>
              <p:spPr bwMode="auto">
                <a:xfrm>
                  <a:off x="10448" y="3092"/>
                  <a:ext cx="17" cy="17"/>
                </a:xfrm>
                <a:custGeom>
                  <a:avLst/>
                  <a:gdLst>
                    <a:gd name="T0" fmla="*/ 12 w 15"/>
                    <a:gd name="T1" fmla="*/ 0 h 16"/>
                    <a:gd name="T2" fmla="*/ 0 w 15"/>
                    <a:gd name="T3" fmla="*/ 14 h 16"/>
                    <a:gd name="T4" fmla="*/ 3 w 15"/>
                    <a:gd name="T5" fmla="*/ 16 h 16"/>
                    <a:gd name="T6" fmla="*/ 15 w 15"/>
                    <a:gd name="T7" fmla="*/ 2 h 16"/>
                    <a:gd name="T8" fmla="*/ 12 w 15"/>
                    <a:gd name="T9" fmla="*/ 0 h 16"/>
                  </a:gdLst>
                  <a:ahLst/>
                  <a:cxnLst>
                    <a:cxn ang="0">
                      <a:pos x="T0" y="T1"/>
                    </a:cxn>
                    <a:cxn ang="0">
                      <a:pos x="T2" y="T3"/>
                    </a:cxn>
                    <a:cxn ang="0">
                      <a:pos x="T4" y="T5"/>
                    </a:cxn>
                    <a:cxn ang="0">
                      <a:pos x="T6" y="T7"/>
                    </a:cxn>
                    <a:cxn ang="0">
                      <a:pos x="T8" y="T9"/>
                    </a:cxn>
                  </a:cxnLst>
                  <a:rect l="0" t="0" r="r" b="b"/>
                  <a:pathLst>
                    <a:path w="15" h="16">
                      <a:moveTo>
                        <a:pt x="12" y="0"/>
                      </a:moveTo>
                      <a:lnTo>
                        <a:pt x="0" y="14"/>
                      </a:lnTo>
                      <a:lnTo>
                        <a:pt x="3" y="16"/>
                      </a:lnTo>
                      <a:lnTo>
                        <a:pt x="15"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603" name="Freeform 1946"/>
                <p:cNvSpPr>
                  <a:spLocks/>
                </p:cNvSpPr>
                <p:nvPr/>
              </p:nvSpPr>
              <p:spPr bwMode="auto">
                <a:xfrm>
                  <a:off x="10548" y="3153"/>
                  <a:ext cx="8" cy="35"/>
                </a:xfrm>
                <a:custGeom>
                  <a:avLst/>
                  <a:gdLst>
                    <a:gd name="T0" fmla="*/ 21 w 23"/>
                    <a:gd name="T1" fmla="*/ 0 h 40"/>
                    <a:gd name="T2" fmla="*/ 0 w 23"/>
                    <a:gd name="T3" fmla="*/ 38 h 40"/>
                    <a:gd name="T4" fmla="*/ 2 w 23"/>
                    <a:gd name="T5" fmla="*/ 40 h 40"/>
                    <a:gd name="T6" fmla="*/ 23 w 23"/>
                    <a:gd name="T7" fmla="*/ 0 h 40"/>
                    <a:gd name="T8" fmla="*/ 21 w 23"/>
                    <a:gd name="T9" fmla="*/ 0 h 40"/>
                  </a:gdLst>
                  <a:ahLst/>
                  <a:cxnLst>
                    <a:cxn ang="0">
                      <a:pos x="T0" y="T1"/>
                    </a:cxn>
                    <a:cxn ang="0">
                      <a:pos x="T2" y="T3"/>
                    </a:cxn>
                    <a:cxn ang="0">
                      <a:pos x="T4" y="T5"/>
                    </a:cxn>
                    <a:cxn ang="0">
                      <a:pos x="T6" y="T7"/>
                    </a:cxn>
                    <a:cxn ang="0">
                      <a:pos x="T8" y="T9"/>
                    </a:cxn>
                  </a:cxnLst>
                  <a:rect l="0" t="0" r="r" b="b"/>
                  <a:pathLst>
                    <a:path w="23" h="40">
                      <a:moveTo>
                        <a:pt x="21" y="0"/>
                      </a:moveTo>
                      <a:lnTo>
                        <a:pt x="0" y="38"/>
                      </a:lnTo>
                      <a:lnTo>
                        <a:pt x="2" y="40"/>
                      </a:lnTo>
                      <a:lnTo>
                        <a:pt x="23"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604" name="Freeform 1947"/>
                <p:cNvSpPr>
                  <a:spLocks/>
                </p:cNvSpPr>
                <p:nvPr/>
              </p:nvSpPr>
              <p:spPr bwMode="auto">
                <a:xfrm>
                  <a:off x="10523" y="3144"/>
                  <a:ext cx="17" cy="35"/>
                </a:xfrm>
                <a:custGeom>
                  <a:avLst/>
                  <a:gdLst>
                    <a:gd name="T0" fmla="*/ 19 w 19"/>
                    <a:gd name="T1" fmla="*/ 0 h 31"/>
                    <a:gd name="T2" fmla="*/ 0 w 19"/>
                    <a:gd name="T3" fmla="*/ 31 h 31"/>
                    <a:gd name="T4" fmla="*/ 0 w 19"/>
                    <a:gd name="T5" fmla="*/ 31 h 31"/>
                    <a:gd name="T6" fmla="*/ 19 w 19"/>
                    <a:gd name="T7" fmla="*/ 0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lnTo>
                        <a:pt x="0" y="31"/>
                      </a:lnTo>
                      <a:lnTo>
                        <a:pt x="0" y="3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605" name="Freeform 1948"/>
                <p:cNvSpPr>
                  <a:spLocks/>
                </p:cNvSpPr>
                <p:nvPr/>
              </p:nvSpPr>
              <p:spPr bwMode="auto">
                <a:xfrm>
                  <a:off x="10531" y="3153"/>
                  <a:ext cx="17" cy="35"/>
                </a:xfrm>
                <a:custGeom>
                  <a:avLst/>
                  <a:gdLst>
                    <a:gd name="T0" fmla="*/ 19 w 21"/>
                    <a:gd name="T1" fmla="*/ 0 h 33"/>
                    <a:gd name="T2" fmla="*/ 0 w 21"/>
                    <a:gd name="T3" fmla="*/ 33 h 33"/>
                    <a:gd name="T4" fmla="*/ 0 w 21"/>
                    <a:gd name="T5" fmla="*/ 33 h 33"/>
                    <a:gd name="T6" fmla="*/ 21 w 21"/>
                    <a:gd name="T7" fmla="*/ 0 h 33"/>
                    <a:gd name="T8" fmla="*/ 19 w 21"/>
                    <a:gd name="T9" fmla="*/ 0 h 33"/>
                  </a:gdLst>
                  <a:ahLst/>
                  <a:cxnLst>
                    <a:cxn ang="0">
                      <a:pos x="T0" y="T1"/>
                    </a:cxn>
                    <a:cxn ang="0">
                      <a:pos x="T2" y="T3"/>
                    </a:cxn>
                    <a:cxn ang="0">
                      <a:pos x="T4" y="T5"/>
                    </a:cxn>
                    <a:cxn ang="0">
                      <a:pos x="T6" y="T7"/>
                    </a:cxn>
                    <a:cxn ang="0">
                      <a:pos x="T8" y="T9"/>
                    </a:cxn>
                  </a:cxnLst>
                  <a:rect l="0" t="0" r="r" b="b"/>
                  <a:pathLst>
                    <a:path w="21" h="33">
                      <a:moveTo>
                        <a:pt x="19" y="0"/>
                      </a:moveTo>
                      <a:lnTo>
                        <a:pt x="0" y="33"/>
                      </a:lnTo>
                      <a:lnTo>
                        <a:pt x="0" y="33"/>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606" name="Freeform 1949"/>
                <p:cNvSpPr>
                  <a:spLocks/>
                </p:cNvSpPr>
                <p:nvPr/>
              </p:nvSpPr>
              <p:spPr bwMode="auto">
                <a:xfrm>
                  <a:off x="10531" y="3153"/>
                  <a:ext cx="25" cy="35"/>
                </a:xfrm>
                <a:custGeom>
                  <a:avLst/>
                  <a:gdLst>
                    <a:gd name="T0" fmla="*/ 21 w 21"/>
                    <a:gd name="T1" fmla="*/ 0 h 38"/>
                    <a:gd name="T2" fmla="*/ 0 w 21"/>
                    <a:gd name="T3" fmla="*/ 35 h 38"/>
                    <a:gd name="T4" fmla="*/ 2 w 21"/>
                    <a:gd name="T5" fmla="*/ 38 h 38"/>
                    <a:gd name="T6" fmla="*/ 21 w 21"/>
                    <a:gd name="T7" fmla="*/ 0 h 38"/>
                    <a:gd name="T8" fmla="*/ 21 w 21"/>
                    <a:gd name="T9" fmla="*/ 0 h 38"/>
                  </a:gdLst>
                  <a:ahLst/>
                  <a:cxnLst>
                    <a:cxn ang="0">
                      <a:pos x="T0" y="T1"/>
                    </a:cxn>
                    <a:cxn ang="0">
                      <a:pos x="T2" y="T3"/>
                    </a:cxn>
                    <a:cxn ang="0">
                      <a:pos x="T4" y="T5"/>
                    </a:cxn>
                    <a:cxn ang="0">
                      <a:pos x="T6" y="T7"/>
                    </a:cxn>
                    <a:cxn ang="0">
                      <a:pos x="T8" y="T9"/>
                    </a:cxn>
                  </a:cxnLst>
                  <a:rect l="0" t="0" r="r" b="b"/>
                  <a:pathLst>
                    <a:path w="21" h="38">
                      <a:moveTo>
                        <a:pt x="21" y="0"/>
                      </a:moveTo>
                      <a:lnTo>
                        <a:pt x="0" y="35"/>
                      </a:lnTo>
                      <a:lnTo>
                        <a:pt x="2" y="38"/>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607" name="Freeform 1950"/>
                <p:cNvSpPr>
                  <a:spLocks/>
                </p:cNvSpPr>
                <p:nvPr/>
              </p:nvSpPr>
              <p:spPr bwMode="auto">
                <a:xfrm>
                  <a:off x="10523" y="3144"/>
                  <a:ext cx="17" cy="26"/>
                </a:xfrm>
                <a:custGeom>
                  <a:avLst/>
                  <a:gdLst>
                    <a:gd name="T0" fmla="*/ 16 w 19"/>
                    <a:gd name="T1" fmla="*/ 0 h 28"/>
                    <a:gd name="T2" fmla="*/ 0 w 19"/>
                    <a:gd name="T3" fmla="*/ 26 h 28"/>
                    <a:gd name="T4" fmla="*/ 0 w 19"/>
                    <a:gd name="T5" fmla="*/ 28 h 28"/>
                    <a:gd name="T6" fmla="*/ 19 w 19"/>
                    <a:gd name="T7" fmla="*/ 0 h 28"/>
                    <a:gd name="T8" fmla="*/ 16 w 19"/>
                    <a:gd name="T9" fmla="*/ 0 h 28"/>
                  </a:gdLst>
                  <a:ahLst/>
                  <a:cxnLst>
                    <a:cxn ang="0">
                      <a:pos x="T0" y="T1"/>
                    </a:cxn>
                    <a:cxn ang="0">
                      <a:pos x="T2" y="T3"/>
                    </a:cxn>
                    <a:cxn ang="0">
                      <a:pos x="T4" y="T5"/>
                    </a:cxn>
                    <a:cxn ang="0">
                      <a:pos x="T6" y="T7"/>
                    </a:cxn>
                    <a:cxn ang="0">
                      <a:pos x="T8" y="T9"/>
                    </a:cxn>
                  </a:cxnLst>
                  <a:rect l="0" t="0" r="r" b="b"/>
                  <a:pathLst>
                    <a:path w="19" h="28">
                      <a:moveTo>
                        <a:pt x="16" y="0"/>
                      </a:moveTo>
                      <a:lnTo>
                        <a:pt x="0" y="26"/>
                      </a:lnTo>
                      <a:lnTo>
                        <a:pt x="0" y="28"/>
                      </a:lnTo>
                      <a:lnTo>
                        <a:pt x="19"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4608" name="Freeform 1951"/>
                <p:cNvSpPr>
                  <a:spLocks/>
                </p:cNvSpPr>
                <p:nvPr/>
              </p:nvSpPr>
              <p:spPr bwMode="auto">
                <a:xfrm>
                  <a:off x="10506" y="3135"/>
                  <a:ext cx="17" cy="26"/>
                </a:xfrm>
                <a:custGeom>
                  <a:avLst/>
                  <a:gdLst>
                    <a:gd name="T0" fmla="*/ 12 w 15"/>
                    <a:gd name="T1" fmla="*/ 0 h 18"/>
                    <a:gd name="T2" fmla="*/ 0 w 15"/>
                    <a:gd name="T3" fmla="*/ 18 h 18"/>
                    <a:gd name="T4" fmla="*/ 0 w 15"/>
                    <a:gd name="T5" fmla="*/ 18 h 18"/>
                    <a:gd name="T6" fmla="*/ 15 w 15"/>
                    <a:gd name="T7" fmla="*/ 0 h 18"/>
                    <a:gd name="T8" fmla="*/ 12 w 15"/>
                    <a:gd name="T9" fmla="*/ 0 h 18"/>
                  </a:gdLst>
                  <a:ahLst/>
                  <a:cxnLst>
                    <a:cxn ang="0">
                      <a:pos x="T0" y="T1"/>
                    </a:cxn>
                    <a:cxn ang="0">
                      <a:pos x="T2" y="T3"/>
                    </a:cxn>
                    <a:cxn ang="0">
                      <a:pos x="T4" y="T5"/>
                    </a:cxn>
                    <a:cxn ang="0">
                      <a:pos x="T6" y="T7"/>
                    </a:cxn>
                    <a:cxn ang="0">
                      <a:pos x="T8" y="T9"/>
                    </a:cxn>
                  </a:cxnLst>
                  <a:rect l="0" t="0" r="r" b="b"/>
                  <a:pathLst>
                    <a:path w="15" h="18">
                      <a:moveTo>
                        <a:pt x="12" y="0"/>
                      </a:moveTo>
                      <a:lnTo>
                        <a:pt x="0" y="18"/>
                      </a:lnTo>
                      <a:lnTo>
                        <a:pt x="0" y="18"/>
                      </a:lnTo>
                      <a:lnTo>
                        <a:pt x="15"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609" name="Freeform 1952"/>
                <p:cNvSpPr>
                  <a:spLocks/>
                </p:cNvSpPr>
                <p:nvPr/>
              </p:nvSpPr>
              <p:spPr bwMode="auto">
                <a:xfrm>
                  <a:off x="10515" y="3144"/>
                  <a:ext cx="17" cy="17"/>
                </a:xfrm>
                <a:custGeom>
                  <a:avLst/>
                  <a:gdLst>
                    <a:gd name="T0" fmla="*/ 14 w 16"/>
                    <a:gd name="T1" fmla="*/ 0 h 26"/>
                    <a:gd name="T2" fmla="*/ 0 w 16"/>
                    <a:gd name="T3" fmla="*/ 24 h 26"/>
                    <a:gd name="T4" fmla="*/ 0 w 16"/>
                    <a:gd name="T5" fmla="*/ 26 h 26"/>
                    <a:gd name="T6" fmla="*/ 16 w 16"/>
                    <a:gd name="T7" fmla="*/ 0 h 26"/>
                    <a:gd name="T8" fmla="*/ 14 w 16"/>
                    <a:gd name="T9" fmla="*/ 0 h 26"/>
                  </a:gdLst>
                  <a:ahLst/>
                  <a:cxnLst>
                    <a:cxn ang="0">
                      <a:pos x="T0" y="T1"/>
                    </a:cxn>
                    <a:cxn ang="0">
                      <a:pos x="T2" y="T3"/>
                    </a:cxn>
                    <a:cxn ang="0">
                      <a:pos x="T4" y="T5"/>
                    </a:cxn>
                    <a:cxn ang="0">
                      <a:pos x="T6" y="T7"/>
                    </a:cxn>
                    <a:cxn ang="0">
                      <a:pos x="T8" y="T9"/>
                    </a:cxn>
                  </a:cxnLst>
                  <a:rect l="0" t="0" r="r" b="b"/>
                  <a:pathLst>
                    <a:path w="16" h="26">
                      <a:moveTo>
                        <a:pt x="14" y="0"/>
                      </a:moveTo>
                      <a:lnTo>
                        <a:pt x="0" y="24"/>
                      </a:lnTo>
                      <a:lnTo>
                        <a:pt x="0" y="26"/>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610" name="Freeform 1953"/>
                <p:cNvSpPr>
                  <a:spLocks/>
                </p:cNvSpPr>
                <p:nvPr/>
              </p:nvSpPr>
              <p:spPr bwMode="auto">
                <a:xfrm>
                  <a:off x="10515" y="3135"/>
                  <a:ext cx="17" cy="26"/>
                </a:xfrm>
                <a:custGeom>
                  <a:avLst/>
                  <a:gdLst>
                    <a:gd name="T0" fmla="*/ 14 w 14"/>
                    <a:gd name="T1" fmla="*/ 0 h 21"/>
                    <a:gd name="T2" fmla="*/ 0 w 14"/>
                    <a:gd name="T3" fmla="*/ 21 h 21"/>
                    <a:gd name="T4" fmla="*/ 0 w 14"/>
                    <a:gd name="T5" fmla="*/ 21 h 21"/>
                    <a:gd name="T6" fmla="*/ 14 w 14"/>
                    <a:gd name="T7" fmla="*/ 0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0" y="21"/>
                      </a:lnTo>
                      <a:lnTo>
                        <a:pt x="0" y="21"/>
                      </a:lnTo>
                      <a:lnTo>
                        <a:pt x="14"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611" name="Freeform 1954"/>
                <p:cNvSpPr>
                  <a:spLocks/>
                </p:cNvSpPr>
                <p:nvPr/>
              </p:nvSpPr>
              <p:spPr bwMode="auto">
                <a:xfrm>
                  <a:off x="10548" y="3161"/>
                  <a:ext cx="25" cy="35"/>
                </a:xfrm>
                <a:custGeom>
                  <a:avLst/>
                  <a:gdLst>
                    <a:gd name="T0" fmla="*/ 24 w 26"/>
                    <a:gd name="T1" fmla="*/ 0 h 43"/>
                    <a:gd name="T2" fmla="*/ 0 w 26"/>
                    <a:gd name="T3" fmla="*/ 41 h 43"/>
                    <a:gd name="T4" fmla="*/ 3 w 26"/>
                    <a:gd name="T5" fmla="*/ 43 h 43"/>
                    <a:gd name="T6" fmla="*/ 26 w 26"/>
                    <a:gd name="T7" fmla="*/ 0 h 43"/>
                    <a:gd name="T8" fmla="*/ 24 w 26"/>
                    <a:gd name="T9" fmla="*/ 0 h 43"/>
                  </a:gdLst>
                  <a:ahLst/>
                  <a:cxnLst>
                    <a:cxn ang="0">
                      <a:pos x="T0" y="T1"/>
                    </a:cxn>
                    <a:cxn ang="0">
                      <a:pos x="T2" y="T3"/>
                    </a:cxn>
                    <a:cxn ang="0">
                      <a:pos x="T4" y="T5"/>
                    </a:cxn>
                    <a:cxn ang="0">
                      <a:pos x="T6" y="T7"/>
                    </a:cxn>
                    <a:cxn ang="0">
                      <a:pos x="T8" y="T9"/>
                    </a:cxn>
                  </a:cxnLst>
                  <a:rect l="0" t="0" r="r" b="b"/>
                  <a:pathLst>
                    <a:path w="26" h="43">
                      <a:moveTo>
                        <a:pt x="24" y="0"/>
                      </a:moveTo>
                      <a:lnTo>
                        <a:pt x="0" y="41"/>
                      </a:lnTo>
                      <a:lnTo>
                        <a:pt x="3" y="43"/>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4612" name="Freeform 1955"/>
                <p:cNvSpPr>
                  <a:spLocks/>
                </p:cNvSpPr>
                <p:nvPr/>
              </p:nvSpPr>
              <p:spPr bwMode="auto">
                <a:xfrm>
                  <a:off x="10573" y="3170"/>
                  <a:ext cx="33" cy="52"/>
                </a:xfrm>
                <a:custGeom>
                  <a:avLst/>
                  <a:gdLst>
                    <a:gd name="T0" fmla="*/ 29 w 29"/>
                    <a:gd name="T1" fmla="*/ 0 h 54"/>
                    <a:gd name="T2" fmla="*/ 0 w 29"/>
                    <a:gd name="T3" fmla="*/ 54 h 54"/>
                    <a:gd name="T4" fmla="*/ 3 w 29"/>
                    <a:gd name="T5" fmla="*/ 54 h 54"/>
                    <a:gd name="T6" fmla="*/ 29 w 29"/>
                    <a:gd name="T7" fmla="*/ 0 h 54"/>
                    <a:gd name="T8" fmla="*/ 29 w 29"/>
                    <a:gd name="T9" fmla="*/ 0 h 54"/>
                  </a:gdLst>
                  <a:ahLst/>
                  <a:cxnLst>
                    <a:cxn ang="0">
                      <a:pos x="T0" y="T1"/>
                    </a:cxn>
                    <a:cxn ang="0">
                      <a:pos x="T2" y="T3"/>
                    </a:cxn>
                    <a:cxn ang="0">
                      <a:pos x="T4" y="T5"/>
                    </a:cxn>
                    <a:cxn ang="0">
                      <a:pos x="T6" y="T7"/>
                    </a:cxn>
                    <a:cxn ang="0">
                      <a:pos x="T8" y="T9"/>
                    </a:cxn>
                  </a:cxnLst>
                  <a:rect l="0" t="0" r="r" b="b"/>
                  <a:pathLst>
                    <a:path w="29" h="54">
                      <a:moveTo>
                        <a:pt x="29" y="0"/>
                      </a:moveTo>
                      <a:lnTo>
                        <a:pt x="0" y="54"/>
                      </a:lnTo>
                      <a:lnTo>
                        <a:pt x="3" y="54"/>
                      </a:lnTo>
                      <a:lnTo>
                        <a:pt x="29" y="0"/>
                      </a:lnTo>
                      <a:lnTo>
                        <a:pt x="29" y="0"/>
                      </a:lnTo>
                      <a:close/>
                    </a:path>
                  </a:pathLst>
                </a:custGeom>
                <a:solidFill>
                  <a:srgbClr val="01AAE5"/>
                </a:solidFill>
                <a:ln>
                  <a:noFill/>
                </a:ln>
                <a:extLst/>
              </p:spPr>
              <p:txBody>
                <a:bodyPr/>
                <a:lstStyle/>
                <a:p>
                  <a:pPr eaLnBrk="1" hangingPunct="1">
                    <a:defRPr/>
                  </a:pPr>
                  <a:endParaRPr lang="zh-CN" altLang="en-US" sz="1050"/>
                </a:p>
              </p:txBody>
            </p:sp>
            <p:sp>
              <p:nvSpPr>
                <p:cNvPr id="4613" name="Freeform 1956"/>
                <p:cNvSpPr>
                  <a:spLocks/>
                </p:cNvSpPr>
                <p:nvPr/>
              </p:nvSpPr>
              <p:spPr bwMode="auto">
                <a:xfrm>
                  <a:off x="10573" y="3161"/>
                  <a:ext cx="33" cy="61"/>
                </a:xfrm>
                <a:custGeom>
                  <a:avLst/>
                  <a:gdLst>
                    <a:gd name="T0" fmla="*/ 26 w 28"/>
                    <a:gd name="T1" fmla="*/ 0 h 55"/>
                    <a:gd name="T2" fmla="*/ 0 w 28"/>
                    <a:gd name="T3" fmla="*/ 52 h 55"/>
                    <a:gd name="T4" fmla="*/ 2 w 28"/>
                    <a:gd name="T5" fmla="*/ 55 h 55"/>
                    <a:gd name="T6" fmla="*/ 28 w 28"/>
                    <a:gd name="T7" fmla="*/ 0 h 55"/>
                    <a:gd name="T8" fmla="*/ 26 w 28"/>
                    <a:gd name="T9" fmla="*/ 0 h 55"/>
                  </a:gdLst>
                  <a:ahLst/>
                  <a:cxnLst>
                    <a:cxn ang="0">
                      <a:pos x="T0" y="T1"/>
                    </a:cxn>
                    <a:cxn ang="0">
                      <a:pos x="T2" y="T3"/>
                    </a:cxn>
                    <a:cxn ang="0">
                      <a:pos x="T4" y="T5"/>
                    </a:cxn>
                    <a:cxn ang="0">
                      <a:pos x="T6" y="T7"/>
                    </a:cxn>
                    <a:cxn ang="0">
                      <a:pos x="T8" y="T9"/>
                    </a:cxn>
                  </a:cxnLst>
                  <a:rect l="0" t="0" r="r" b="b"/>
                  <a:pathLst>
                    <a:path w="28" h="55">
                      <a:moveTo>
                        <a:pt x="26" y="0"/>
                      </a:moveTo>
                      <a:lnTo>
                        <a:pt x="0" y="52"/>
                      </a:lnTo>
                      <a:lnTo>
                        <a:pt x="2" y="55"/>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614" name="Freeform 1957"/>
                <p:cNvSpPr>
                  <a:spLocks/>
                </p:cNvSpPr>
                <p:nvPr/>
              </p:nvSpPr>
              <p:spPr bwMode="auto">
                <a:xfrm>
                  <a:off x="10565" y="3161"/>
                  <a:ext cx="25" cy="61"/>
                </a:xfrm>
                <a:custGeom>
                  <a:avLst/>
                  <a:gdLst>
                    <a:gd name="T0" fmla="*/ 28 w 28"/>
                    <a:gd name="T1" fmla="*/ 0 h 52"/>
                    <a:gd name="T2" fmla="*/ 0 w 28"/>
                    <a:gd name="T3" fmla="*/ 52 h 52"/>
                    <a:gd name="T4" fmla="*/ 2 w 28"/>
                    <a:gd name="T5" fmla="*/ 52 h 52"/>
                    <a:gd name="T6" fmla="*/ 28 w 28"/>
                    <a:gd name="T7" fmla="*/ 0 h 52"/>
                    <a:gd name="T8" fmla="*/ 28 w 28"/>
                    <a:gd name="T9" fmla="*/ 0 h 52"/>
                  </a:gdLst>
                  <a:ahLst/>
                  <a:cxnLst>
                    <a:cxn ang="0">
                      <a:pos x="T0" y="T1"/>
                    </a:cxn>
                    <a:cxn ang="0">
                      <a:pos x="T2" y="T3"/>
                    </a:cxn>
                    <a:cxn ang="0">
                      <a:pos x="T4" y="T5"/>
                    </a:cxn>
                    <a:cxn ang="0">
                      <a:pos x="T6" y="T7"/>
                    </a:cxn>
                    <a:cxn ang="0">
                      <a:pos x="T8" y="T9"/>
                    </a:cxn>
                  </a:cxnLst>
                  <a:rect l="0" t="0" r="r" b="b"/>
                  <a:pathLst>
                    <a:path w="28" h="52">
                      <a:moveTo>
                        <a:pt x="28" y="0"/>
                      </a:moveTo>
                      <a:lnTo>
                        <a:pt x="0" y="52"/>
                      </a:lnTo>
                      <a:lnTo>
                        <a:pt x="2" y="52"/>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4615" name="Freeform 1958"/>
                <p:cNvSpPr>
                  <a:spLocks/>
                </p:cNvSpPr>
                <p:nvPr/>
              </p:nvSpPr>
              <p:spPr bwMode="auto">
                <a:xfrm>
                  <a:off x="10590" y="3170"/>
                  <a:ext cx="25" cy="61"/>
                </a:xfrm>
                <a:custGeom>
                  <a:avLst/>
                  <a:gdLst>
                    <a:gd name="T0" fmla="*/ 26 w 29"/>
                    <a:gd name="T1" fmla="*/ 0 h 57"/>
                    <a:gd name="T2" fmla="*/ 0 w 29"/>
                    <a:gd name="T3" fmla="*/ 57 h 57"/>
                    <a:gd name="T4" fmla="*/ 3 w 29"/>
                    <a:gd name="T5" fmla="*/ 57 h 57"/>
                    <a:gd name="T6" fmla="*/ 29 w 29"/>
                    <a:gd name="T7" fmla="*/ 0 h 57"/>
                    <a:gd name="T8" fmla="*/ 26 w 29"/>
                    <a:gd name="T9" fmla="*/ 0 h 57"/>
                  </a:gdLst>
                  <a:ahLst/>
                  <a:cxnLst>
                    <a:cxn ang="0">
                      <a:pos x="T0" y="T1"/>
                    </a:cxn>
                    <a:cxn ang="0">
                      <a:pos x="T2" y="T3"/>
                    </a:cxn>
                    <a:cxn ang="0">
                      <a:pos x="T4" y="T5"/>
                    </a:cxn>
                    <a:cxn ang="0">
                      <a:pos x="T6" y="T7"/>
                    </a:cxn>
                    <a:cxn ang="0">
                      <a:pos x="T8" y="T9"/>
                    </a:cxn>
                  </a:cxnLst>
                  <a:rect l="0" t="0" r="r" b="b"/>
                  <a:pathLst>
                    <a:path w="29" h="57">
                      <a:moveTo>
                        <a:pt x="26" y="0"/>
                      </a:moveTo>
                      <a:lnTo>
                        <a:pt x="0" y="57"/>
                      </a:lnTo>
                      <a:lnTo>
                        <a:pt x="3" y="57"/>
                      </a:lnTo>
                      <a:lnTo>
                        <a:pt x="29"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616" name="Freeform 1959"/>
                <p:cNvSpPr>
                  <a:spLocks/>
                </p:cNvSpPr>
                <p:nvPr/>
              </p:nvSpPr>
              <p:spPr bwMode="auto">
                <a:xfrm>
                  <a:off x="10556" y="3161"/>
                  <a:ext cx="33" cy="52"/>
                </a:xfrm>
                <a:custGeom>
                  <a:avLst/>
                  <a:gdLst>
                    <a:gd name="T0" fmla="*/ 26 w 28"/>
                    <a:gd name="T1" fmla="*/ 0 h 49"/>
                    <a:gd name="T2" fmla="*/ 0 w 28"/>
                    <a:gd name="T3" fmla="*/ 49 h 49"/>
                    <a:gd name="T4" fmla="*/ 2 w 28"/>
                    <a:gd name="T5" fmla="*/ 49 h 49"/>
                    <a:gd name="T6" fmla="*/ 28 w 28"/>
                    <a:gd name="T7" fmla="*/ 0 h 49"/>
                    <a:gd name="T8" fmla="*/ 26 w 28"/>
                    <a:gd name="T9" fmla="*/ 0 h 49"/>
                  </a:gdLst>
                  <a:ahLst/>
                  <a:cxnLst>
                    <a:cxn ang="0">
                      <a:pos x="T0" y="T1"/>
                    </a:cxn>
                    <a:cxn ang="0">
                      <a:pos x="T2" y="T3"/>
                    </a:cxn>
                    <a:cxn ang="0">
                      <a:pos x="T4" y="T5"/>
                    </a:cxn>
                    <a:cxn ang="0">
                      <a:pos x="T6" y="T7"/>
                    </a:cxn>
                    <a:cxn ang="0">
                      <a:pos x="T8" y="T9"/>
                    </a:cxn>
                  </a:cxnLst>
                  <a:rect l="0" t="0" r="r" b="b"/>
                  <a:pathLst>
                    <a:path w="28" h="49">
                      <a:moveTo>
                        <a:pt x="26" y="0"/>
                      </a:moveTo>
                      <a:lnTo>
                        <a:pt x="0" y="49"/>
                      </a:lnTo>
                      <a:lnTo>
                        <a:pt x="2" y="49"/>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617" name="Freeform 1960"/>
                <p:cNvSpPr>
                  <a:spLocks/>
                </p:cNvSpPr>
                <p:nvPr/>
              </p:nvSpPr>
              <p:spPr bwMode="auto">
                <a:xfrm>
                  <a:off x="10548" y="3161"/>
                  <a:ext cx="25" cy="44"/>
                </a:xfrm>
                <a:custGeom>
                  <a:avLst/>
                  <a:gdLst>
                    <a:gd name="T0" fmla="*/ 24 w 24"/>
                    <a:gd name="T1" fmla="*/ 0 h 45"/>
                    <a:gd name="T2" fmla="*/ 0 w 24"/>
                    <a:gd name="T3" fmla="*/ 45 h 45"/>
                    <a:gd name="T4" fmla="*/ 0 w 24"/>
                    <a:gd name="T5" fmla="*/ 45 h 45"/>
                    <a:gd name="T6" fmla="*/ 24 w 24"/>
                    <a:gd name="T7" fmla="*/ 0 h 45"/>
                    <a:gd name="T8" fmla="*/ 24 w 24"/>
                    <a:gd name="T9" fmla="*/ 0 h 45"/>
                  </a:gdLst>
                  <a:ahLst/>
                  <a:cxnLst>
                    <a:cxn ang="0">
                      <a:pos x="T0" y="T1"/>
                    </a:cxn>
                    <a:cxn ang="0">
                      <a:pos x="T2" y="T3"/>
                    </a:cxn>
                    <a:cxn ang="0">
                      <a:pos x="T4" y="T5"/>
                    </a:cxn>
                    <a:cxn ang="0">
                      <a:pos x="T6" y="T7"/>
                    </a:cxn>
                    <a:cxn ang="0">
                      <a:pos x="T8" y="T9"/>
                    </a:cxn>
                  </a:cxnLst>
                  <a:rect l="0" t="0" r="r" b="b"/>
                  <a:pathLst>
                    <a:path w="24" h="45">
                      <a:moveTo>
                        <a:pt x="24" y="0"/>
                      </a:moveTo>
                      <a:lnTo>
                        <a:pt x="0" y="45"/>
                      </a:lnTo>
                      <a:lnTo>
                        <a:pt x="0" y="45"/>
                      </a:lnTo>
                      <a:lnTo>
                        <a:pt x="24"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4618" name="Freeform 1961"/>
                <p:cNvSpPr>
                  <a:spLocks/>
                </p:cNvSpPr>
                <p:nvPr/>
              </p:nvSpPr>
              <p:spPr bwMode="auto">
                <a:xfrm>
                  <a:off x="10556" y="3161"/>
                  <a:ext cx="33" cy="44"/>
                </a:xfrm>
                <a:custGeom>
                  <a:avLst/>
                  <a:gdLst>
                    <a:gd name="T0" fmla="*/ 24 w 26"/>
                    <a:gd name="T1" fmla="*/ 0 h 47"/>
                    <a:gd name="T2" fmla="*/ 0 w 26"/>
                    <a:gd name="T3" fmla="*/ 47 h 47"/>
                    <a:gd name="T4" fmla="*/ 0 w 26"/>
                    <a:gd name="T5" fmla="*/ 47 h 47"/>
                    <a:gd name="T6" fmla="*/ 26 w 26"/>
                    <a:gd name="T7" fmla="*/ 0 h 47"/>
                    <a:gd name="T8" fmla="*/ 24 w 26"/>
                    <a:gd name="T9" fmla="*/ 0 h 47"/>
                  </a:gdLst>
                  <a:ahLst/>
                  <a:cxnLst>
                    <a:cxn ang="0">
                      <a:pos x="T0" y="T1"/>
                    </a:cxn>
                    <a:cxn ang="0">
                      <a:pos x="T2" y="T3"/>
                    </a:cxn>
                    <a:cxn ang="0">
                      <a:pos x="T4" y="T5"/>
                    </a:cxn>
                    <a:cxn ang="0">
                      <a:pos x="T6" y="T7"/>
                    </a:cxn>
                    <a:cxn ang="0">
                      <a:pos x="T8" y="T9"/>
                    </a:cxn>
                  </a:cxnLst>
                  <a:rect l="0" t="0" r="r" b="b"/>
                  <a:pathLst>
                    <a:path w="26" h="47">
                      <a:moveTo>
                        <a:pt x="24" y="0"/>
                      </a:moveTo>
                      <a:lnTo>
                        <a:pt x="0" y="47"/>
                      </a:lnTo>
                      <a:lnTo>
                        <a:pt x="0" y="47"/>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4619" name="Freeform 1962"/>
                <p:cNvSpPr>
                  <a:spLocks/>
                </p:cNvSpPr>
                <p:nvPr/>
              </p:nvSpPr>
              <p:spPr bwMode="auto">
                <a:xfrm>
                  <a:off x="10506" y="3135"/>
                  <a:ext cx="8" cy="17"/>
                </a:xfrm>
                <a:custGeom>
                  <a:avLst/>
                  <a:gdLst>
                    <a:gd name="T0" fmla="*/ 9 w 12"/>
                    <a:gd name="T1" fmla="*/ 0 h 19"/>
                    <a:gd name="T2" fmla="*/ 0 w 12"/>
                    <a:gd name="T3" fmla="*/ 16 h 19"/>
                    <a:gd name="T4" fmla="*/ 0 w 12"/>
                    <a:gd name="T5" fmla="*/ 19 h 19"/>
                    <a:gd name="T6" fmla="*/ 12 w 12"/>
                    <a:gd name="T7" fmla="*/ 2 h 19"/>
                    <a:gd name="T8" fmla="*/ 9 w 12"/>
                    <a:gd name="T9" fmla="*/ 0 h 19"/>
                  </a:gdLst>
                  <a:ahLst/>
                  <a:cxnLst>
                    <a:cxn ang="0">
                      <a:pos x="T0" y="T1"/>
                    </a:cxn>
                    <a:cxn ang="0">
                      <a:pos x="T2" y="T3"/>
                    </a:cxn>
                    <a:cxn ang="0">
                      <a:pos x="T4" y="T5"/>
                    </a:cxn>
                    <a:cxn ang="0">
                      <a:pos x="T6" y="T7"/>
                    </a:cxn>
                    <a:cxn ang="0">
                      <a:pos x="T8" y="T9"/>
                    </a:cxn>
                  </a:cxnLst>
                  <a:rect l="0" t="0" r="r" b="b"/>
                  <a:pathLst>
                    <a:path w="12" h="19">
                      <a:moveTo>
                        <a:pt x="9" y="0"/>
                      </a:moveTo>
                      <a:lnTo>
                        <a:pt x="0" y="16"/>
                      </a:lnTo>
                      <a:lnTo>
                        <a:pt x="0" y="1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20" name="Freeform 1963"/>
                <p:cNvSpPr>
                  <a:spLocks/>
                </p:cNvSpPr>
                <p:nvPr/>
              </p:nvSpPr>
              <p:spPr bwMode="auto">
                <a:xfrm>
                  <a:off x="10490" y="3127"/>
                  <a:ext cx="8" cy="9"/>
                </a:xfrm>
                <a:custGeom>
                  <a:avLst/>
                  <a:gdLst>
                    <a:gd name="T0" fmla="*/ 7 w 9"/>
                    <a:gd name="T1" fmla="*/ 0 h 12"/>
                    <a:gd name="T2" fmla="*/ 0 w 9"/>
                    <a:gd name="T3" fmla="*/ 12 h 12"/>
                    <a:gd name="T4" fmla="*/ 0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2"/>
                      </a:lnTo>
                      <a:lnTo>
                        <a:pt x="0"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621" name="Freeform 1964"/>
                <p:cNvSpPr>
                  <a:spLocks/>
                </p:cNvSpPr>
                <p:nvPr/>
              </p:nvSpPr>
              <p:spPr bwMode="auto">
                <a:xfrm>
                  <a:off x="10448" y="3083"/>
                  <a:ext cx="17" cy="17"/>
                </a:xfrm>
                <a:custGeom>
                  <a:avLst/>
                  <a:gdLst>
                    <a:gd name="T0" fmla="*/ 14 w 16"/>
                    <a:gd name="T1" fmla="*/ 0 h 19"/>
                    <a:gd name="T2" fmla="*/ 0 w 16"/>
                    <a:gd name="T3" fmla="*/ 17 h 19"/>
                    <a:gd name="T4" fmla="*/ 2 w 16"/>
                    <a:gd name="T5" fmla="*/ 19 h 19"/>
                    <a:gd name="T6" fmla="*/ 16 w 16"/>
                    <a:gd name="T7" fmla="*/ 0 h 19"/>
                    <a:gd name="T8" fmla="*/ 14 w 16"/>
                    <a:gd name="T9" fmla="*/ 0 h 19"/>
                  </a:gdLst>
                  <a:ahLst/>
                  <a:cxnLst>
                    <a:cxn ang="0">
                      <a:pos x="T0" y="T1"/>
                    </a:cxn>
                    <a:cxn ang="0">
                      <a:pos x="T2" y="T3"/>
                    </a:cxn>
                    <a:cxn ang="0">
                      <a:pos x="T4" y="T5"/>
                    </a:cxn>
                    <a:cxn ang="0">
                      <a:pos x="T6" y="T7"/>
                    </a:cxn>
                    <a:cxn ang="0">
                      <a:pos x="T8" y="T9"/>
                    </a:cxn>
                  </a:cxnLst>
                  <a:rect l="0" t="0" r="r" b="b"/>
                  <a:pathLst>
                    <a:path w="16" h="19">
                      <a:moveTo>
                        <a:pt x="14" y="0"/>
                      </a:moveTo>
                      <a:lnTo>
                        <a:pt x="0" y="17"/>
                      </a:lnTo>
                      <a:lnTo>
                        <a:pt x="2" y="19"/>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4622" name="Freeform 1965"/>
                <p:cNvSpPr>
                  <a:spLocks/>
                </p:cNvSpPr>
                <p:nvPr/>
              </p:nvSpPr>
              <p:spPr bwMode="auto">
                <a:xfrm>
                  <a:off x="10448" y="3092"/>
                  <a:ext cx="17" cy="9"/>
                </a:xfrm>
                <a:custGeom>
                  <a:avLst/>
                  <a:gdLst>
                    <a:gd name="T0" fmla="*/ 11 w 14"/>
                    <a:gd name="T1" fmla="*/ 0 h 16"/>
                    <a:gd name="T2" fmla="*/ 0 w 14"/>
                    <a:gd name="T3" fmla="*/ 16 h 16"/>
                    <a:gd name="T4" fmla="*/ 0 w 14"/>
                    <a:gd name="T5" fmla="*/ 16 h 16"/>
                    <a:gd name="T6" fmla="*/ 14 w 14"/>
                    <a:gd name="T7" fmla="*/ 2 h 16"/>
                    <a:gd name="T8" fmla="*/ 11 w 14"/>
                    <a:gd name="T9" fmla="*/ 0 h 16"/>
                  </a:gdLst>
                  <a:ahLst/>
                  <a:cxnLst>
                    <a:cxn ang="0">
                      <a:pos x="T0" y="T1"/>
                    </a:cxn>
                    <a:cxn ang="0">
                      <a:pos x="T2" y="T3"/>
                    </a:cxn>
                    <a:cxn ang="0">
                      <a:pos x="T4" y="T5"/>
                    </a:cxn>
                    <a:cxn ang="0">
                      <a:pos x="T6" y="T7"/>
                    </a:cxn>
                    <a:cxn ang="0">
                      <a:pos x="T8" y="T9"/>
                    </a:cxn>
                  </a:cxnLst>
                  <a:rect l="0" t="0" r="r" b="b"/>
                  <a:pathLst>
                    <a:path w="14" h="16">
                      <a:moveTo>
                        <a:pt x="11" y="0"/>
                      </a:moveTo>
                      <a:lnTo>
                        <a:pt x="0" y="16"/>
                      </a:lnTo>
                      <a:lnTo>
                        <a:pt x="0" y="16"/>
                      </a:lnTo>
                      <a:lnTo>
                        <a:pt x="14"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4623" name="Freeform 1966"/>
                <p:cNvSpPr>
                  <a:spLocks/>
                </p:cNvSpPr>
                <p:nvPr/>
              </p:nvSpPr>
              <p:spPr bwMode="auto">
                <a:xfrm>
                  <a:off x="10590" y="3179"/>
                  <a:ext cx="25" cy="52"/>
                </a:xfrm>
                <a:custGeom>
                  <a:avLst/>
                  <a:gdLst>
                    <a:gd name="T0" fmla="*/ 26 w 26"/>
                    <a:gd name="T1" fmla="*/ 0 h 57"/>
                    <a:gd name="T2" fmla="*/ 0 w 26"/>
                    <a:gd name="T3" fmla="*/ 57 h 57"/>
                    <a:gd name="T4" fmla="*/ 2 w 26"/>
                    <a:gd name="T5" fmla="*/ 57 h 57"/>
                    <a:gd name="T6" fmla="*/ 26 w 26"/>
                    <a:gd name="T7" fmla="*/ 0 h 57"/>
                    <a:gd name="T8" fmla="*/ 26 w 26"/>
                    <a:gd name="T9" fmla="*/ 0 h 57"/>
                  </a:gdLst>
                  <a:ahLst/>
                  <a:cxnLst>
                    <a:cxn ang="0">
                      <a:pos x="T0" y="T1"/>
                    </a:cxn>
                    <a:cxn ang="0">
                      <a:pos x="T2" y="T3"/>
                    </a:cxn>
                    <a:cxn ang="0">
                      <a:pos x="T4" y="T5"/>
                    </a:cxn>
                    <a:cxn ang="0">
                      <a:pos x="T6" y="T7"/>
                    </a:cxn>
                    <a:cxn ang="0">
                      <a:pos x="T8" y="T9"/>
                    </a:cxn>
                  </a:cxnLst>
                  <a:rect l="0" t="0" r="r" b="b"/>
                  <a:pathLst>
                    <a:path w="26" h="57">
                      <a:moveTo>
                        <a:pt x="26" y="0"/>
                      </a:moveTo>
                      <a:lnTo>
                        <a:pt x="0" y="57"/>
                      </a:lnTo>
                      <a:lnTo>
                        <a:pt x="2" y="57"/>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624" name="Freeform 1967"/>
                <p:cNvSpPr>
                  <a:spLocks/>
                </p:cNvSpPr>
                <p:nvPr/>
              </p:nvSpPr>
              <p:spPr bwMode="auto">
                <a:xfrm>
                  <a:off x="10432" y="3074"/>
                  <a:ext cx="17" cy="26"/>
                </a:xfrm>
                <a:custGeom>
                  <a:avLst/>
                  <a:gdLst>
                    <a:gd name="T0" fmla="*/ 16 w 16"/>
                    <a:gd name="T1" fmla="*/ 0 h 19"/>
                    <a:gd name="T2" fmla="*/ 0 w 16"/>
                    <a:gd name="T3" fmla="*/ 19 h 19"/>
                    <a:gd name="T4" fmla="*/ 0 w 16"/>
                    <a:gd name="T5" fmla="*/ 19 h 19"/>
                    <a:gd name="T6" fmla="*/ 16 w 16"/>
                    <a:gd name="T7" fmla="*/ 0 h 19"/>
                    <a:gd name="T8" fmla="*/ 16 w 16"/>
                    <a:gd name="T9" fmla="*/ 0 h 19"/>
                  </a:gdLst>
                  <a:ahLst/>
                  <a:cxnLst>
                    <a:cxn ang="0">
                      <a:pos x="T0" y="T1"/>
                    </a:cxn>
                    <a:cxn ang="0">
                      <a:pos x="T2" y="T3"/>
                    </a:cxn>
                    <a:cxn ang="0">
                      <a:pos x="T4" y="T5"/>
                    </a:cxn>
                    <a:cxn ang="0">
                      <a:pos x="T6" y="T7"/>
                    </a:cxn>
                    <a:cxn ang="0">
                      <a:pos x="T8" y="T9"/>
                    </a:cxn>
                  </a:cxnLst>
                  <a:rect l="0" t="0" r="r" b="b"/>
                  <a:pathLst>
                    <a:path w="16" h="19">
                      <a:moveTo>
                        <a:pt x="16" y="0"/>
                      </a:moveTo>
                      <a:lnTo>
                        <a:pt x="0" y="19"/>
                      </a:lnTo>
                      <a:lnTo>
                        <a:pt x="0" y="19"/>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4625" name="Freeform 1968"/>
                <p:cNvSpPr>
                  <a:spLocks/>
                </p:cNvSpPr>
                <p:nvPr/>
              </p:nvSpPr>
              <p:spPr bwMode="auto">
                <a:xfrm>
                  <a:off x="10465" y="3100"/>
                  <a:ext cx="8" cy="9"/>
                </a:xfrm>
                <a:custGeom>
                  <a:avLst/>
                  <a:gdLst>
                    <a:gd name="T0" fmla="*/ 12 w 12"/>
                    <a:gd name="T1" fmla="*/ 0 h 15"/>
                    <a:gd name="T2" fmla="*/ 0 w 12"/>
                    <a:gd name="T3" fmla="*/ 15 h 15"/>
                    <a:gd name="T4" fmla="*/ 2 w 12"/>
                    <a:gd name="T5" fmla="*/ 15 h 15"/>
                    <a:gd name="T6" fmla="*/ 12 w 12"/>
                    <a:gd name="T7" fmla="*/ 3 h 15"/>
                    <a:gd name="T8" fmla="*/ 12 w 12"/>
                    <a:gd name="T9" fmla="*/ 0 h 15"/>
                  </a:gdLst>
                  <a:ahLst/>
                  <a:cxnLst>
                    <a:cxn ang="0">
                      <a:pos x="T0" y="T1"/>
                    </a:cxn>
                    <a:cxn ang="0">
                      <a:pos x="T2" y="T3"/>
                    </a:cxn>
                    <a:cxn ang="0">
                      <a:pos x="T4" y="T5"/>
                    </a:cxn>
                    <a:cxn ang="0">
                      <a:pos x="T6" y="T7"/>
                    </a:cxn>
                    <a:cxn ang="0">
                      <a:pos x="T8" y="T9"/>
                    </a:cxn>
                  </a:cxnLst>
                  <a:rect l="0" t="0" r="r" b="b"/>
                  <a:pathLst>
                    <a:path w="12" h="15">
                      <a:moveTo>
                        <a:pt x="12" y="0"/>
                      </a:moveTo>
                      <a:lnTo>
                        <a:pt x="0" y="15"/>
                      </a:lnTo>
                      <a:lnTo>
                        <a:pt x="2" y="15"/>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626" name="Freeform 1969"/>
                <p:cNvSpPr>
                  <a:spLocks/>
                </p:cNvSpPr>
                <p:nvPr/>
              </p:nvSpPr>
              <p:spPr bwMode="auto">
                <a:xfrm>
                  <a:off x="10415" y="3066"/>
                  <a:ext cx="33" cy="17"/>
                </a:xfrm>
                <a:custGeom>
                  <a:avLst/>
                  <a:gdLst>
                    <a:gd name="T0" fmla="*/ 21 w 24"/>
                    <a:gd name="T1" fmla="*/ 0 h 24"/>
                    <a:gd name="T2" fmla="*/ 0 w 24"/>
                    <a:gd name="T3" fmla="*/ 24 h 24"/>
                    <a:gd name="T4" fmla="*/ 2 w 24"/>
                    <a:gd name="T5" fmla="*/ 24 h 24"/>
                    <a:gd name="T6" fmla="*/ 24 w 24"/>
                    <a:gd name="T7" fmla="*/ 2 h 24"/>
                    <a:gd name="T8" fmla="*/ 21 w 24"/>
                    <a:gd name="T9" fmla="*/ 0 h 24"/>
                  </a:gdLst>
                  <a:ahLst/>
                  <a:cxnLst>
                    <a:cxn ang="0">
                      <a:pos x="T0" y="T1"/>
                    </a:cxn>
                    <a:cxn ang="0">
                      <a:pos x="T2" y="T3"/>
                    </a:cxn>
                    <a:cxn ang="0">
                      <a:pos x="T4" y="T5"/>
                    </a:cxn>
                    <a:cxn ang="0">
                      <a:pos x="T6" y="T7"/>
                    </a:cxn>
                    <a:cxn ang="0">
                      <a:pos x="T8" y="T9"/>
                    </a:cxn>
                  </a:cxnLst>
                  <a:rect l="0" t="0" r="r" b="b"/>
                  <a:pathLst>
                    <a:path w="24" h="24">
                      <a:moveTo>
                        <a:pt x="21" y="0"/>
                      </a:moveTo>
                      <a:lnTo>
                        <a:pt x="0" y="24"/>
                      </a:lnTo>
                      <a:lnTo>
                        <a:pt x="2" y="24"/>
                      </a:lnTo>
                      <a:lnTo>
                        <a:pt x="24"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627" name="Freeform 1970"/>
                <p:cNvSpPr>
                  <a:spLocks/>
                </p:cNvSpPr>
                <p:nvPr/>
              </p:nvSpPr>
              <p:spPr bwMode="auto">
                <a:xfrm>
                  <a:off x="10415" y="3074"/>
                  <a:ext cx="25" cy="17"/>
                </a:xfrm>
                <a:custGeom>
                  <a:avLst/>
                  <a:gdLst>
                    <a:gd name="T0" fmla="*/ 19 w 19"/>
                    <a:gd name="T1" fmla="*/ 0 h 23"/>
                    <a:gd name="T2" fmla="*/ 0 w 19"/>
                    <a:gd name="T3" fmla="*/ 21 h 23"/>
                    <a:gd name="T4" fmla="*/ 0 w 19"/>
                    <a:gd name="T5" fmla="*/ 23 h 23"/>
                    <a:gd name="T6" fmla="*/ 19 w 19"/>
                    <a:gd name="T7" fmla="*/ 2 h 23"/>
                    <a:gd name="T8" fmla="*/ 19 w 19"/>
                    <a:gd name="T9" fmla="*/ 0 h 23"/>
                  </a:gdLst>
                  <a:ahLst/>
                  <a:cxnLst>
                    <a:cxn ang="0">
                      <a:pos x="T0" y="T1"/>
                    </a:cxn>
                    <a:cxn ang="0">
                      <a:pos x="T2" y="T3"/>
                    </a:cxn>
                    <a:cxn ang="0">
                      <a:pos x="T4" y="T5"/>
                    </a:cxn>
                    <a:cxn ang="0">
                      <a:pos x="T6" y="T7"/>
                    </a:cxn>
                    <a:cxn ang="0">
                      <a:pos x="T8" y="T9"/>
                    </a:cxn>
                  </a:cxnLst>
                  <a:rect l="0" t="0" r="r" b="b"/>
                  <a:pathLst>
                    <a:path w="19" h="23">
                      <a:moveTo>
                        <a:pt x="19" y="0"/>
                      </a:moveTo>
                      <a:lnTo>
                        <a:pt x="0" y="21"/>
                      </a:lnTo>
                      <a:lnTo>
                        <a:pt x="0" y="23"/>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628" name="Freeform 1971"/>
                <p:cNvSpPr>
                  <a:spLocks/>
                </p:cNvSpPr>
                <p:nvPr/>
              </p:nvSpPr>
              <p:spPr bwMode="auto">
                <a:xfrm>
                  <a:off x="10432" y="3074"/>
                  <a:ext cx="17" cy="26"/>
                </a:xfrm>
                <a:custGeom>
                  <a:avLst/>
                  <a:gdLst>
                    <a:gd name="T0" fmla="*/ 19 w 19"/>
                    <a:gd name="T1" fmla="*/ 0 h 21"/>
                    <a:gd name="T2" fmla="*/ 0 w 19"/>
                    <a:gd name="T3" fmla="*/ 19 h 21"/>
                    <a:gd name="T4" fmla="*/ 2 w 19"/>
                    <a:gd name="T5" fmla="*/ 21 h 21"/>
                    <a:gd name="T6" fmla="*/ 19 w 19"/>
                    <a:gd name="T7" fmla="*/ 0 h 21"/>
                    <a:gd name="T8" fmla="*/ 19 w 19"/>
                    <a:gd name="T9" fmla="*/ 0 h 21"/>
                  </a:gdLst>
                  <a:ahLst/>
                  <a:cxnLst>
                    <a:cxn ang="0">
                      <a:pos x="T0" y="T1"/>
                    </a:cxn>
                    <a:cxn ang="0">
                      <a:pos x="T2" y="T3"/>
                    </a:cxn>
                    <a:cxn ang="0">
                      <a:pos x="T4" y="T5"/>
                    </a:cxn>
                    <a:cxn ang="0">
                      <a:pos x="T6" y="T7"/>
                    </a:cxn>
                    <a:cxn ang="0">
                      <a:pos x="T8" y="T9"/>
                    </a:cxn>
                  </a:cxnLst>
                  <a:rect l="0" t="0" r="r" b="b"/>
                  <a:pathLst>
                    <a:path w="19" h="21">
                      <a:moveTo>
                        <a:pt x="19" y="0"/>
                      </a:moveTo>
                      <a:lnTo>
                        <a:pt x="0" y="19"/>
                      </a:lnTo>
                      <a:lnTo>
                        <a:pt x="2" y="2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629" name="Freeform 1972"/>
                <p:cNvSpPr>
                  <a:spLocks/>
                </p:cNvSpPr>
                <p:nvPr/>
              </p:nvSpPr>
              <p:spPr bwMode="auto">
                <a:xfrm>
                  <a:off x="10465" y="3100"/>
                  <a:ext cx="8" cy="17"/>
                </a:xfrm>
                <a:custGeom>
                  <a:avLst/>
                  <a:gdLst>
                    <a:gd name="T0" fmla="*/ 10 w 10"/>
                    <a:gd name="T1" fmla="*/ 0 h 14"/>
                    <a:gd name="T2" fmla="*/ 0 w 10"/>
                    <a:gd name="T3" fmla="*/ 12 h 14"/>
                    <a:gd name="T4" fmla="*/ 3 w 10"/>
                    <a:gd name="T5" fmla="*/ 14 h 14"/>
                    <a:gd name="T6" fmla="*/ 10 w 10"/>
                    <a:gd name="T7" fmla="*/ 2 h 14"/>
                    <a:gd name="T8" fmla="*/ 10 w 10"/>
                    <a:gd name="T9" fmla="*/ 0 h 14"/>
                  </a:gdLst>
                  <a:ahLst/>
                  <a:cxnLst>
                    <a:cxn ang="0">
                      <a:pos x="T0" y="T1"/>
                    </a:cxn>
                    <a:cxn ang="0">
                      <a:pos x="T2" y="T3"/>
                    </a:cxn>
                    <a:cxn ang="0">
                      <a:pos x="T4" y="T5"/>
                    </a:cxn>
                    <a:cxn ang="0">
                      <a:pos x="T6" y="T7"/>
                    </a:cxn>
                    <a:cxn ang="0">
                      <a:pos x="T8" y="T9"/>
                    </a:cxn>
                  </a:cxnLst>
                  <a:rect l="0" t="0" r="r" b="b"/>
                  <a:pathLst>
                    <a:path w="10" h="14">
                      <a:moveTo>
                        <a:pt x="10" y="0"/>
                      </a:moveTo>
                      <a:lnTo>
                        <a:pt x="0" y="12"/>
                      </a:lnTo>
                      <a:lnTo>
                        <a:pt x="3" y="1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630" name="Freeform 1973"/>
                <p:cNvSpPr>
                  <a:spLocks/>
                </p:cNvSpPr>
                <p:nvPr/>
              </p:nvSpPr>
              <p:spPr bwMode="auto">
                <a:xfrm>
                  <a:off x="10415" y="3057"/>
                  <a:ext cx="33" cy="26"/>
                </a:xfrm>
                <a:custGeom>
                  <a:avLst/>
                  <a:gdLst>
                    <a:gd name="T0" fmla="*/ 22 w 24"/>
                    <a:gd name="T1" fmla="*/ 0 h 24"/>
                    <a:gd name="T2" fmla="*/ 0 w 24"/>
                    <a:gd name="T3" fmla="*/ 24 h 24"/>
                    <a:gd name="T4" fmla="*/ 3 w 24"/>
                    <a:gd name="T5" fmla="*/ 24 h 24"/>
                    <a:gd name="T6" fmla="*/ 24 w 24"/>
                    <a:gd name="T7" fmla="*/ 3 h 24"/>
                    <a:gd name="T8" fmla="*/ 22 w 24"/>
                    <a:gd name="T9" fmla="*/ 0 h 24"/>
                  </a:gdLst>
                  <a:ahLst/>
                  <a:cxnLst>
                    <a:cxn ang="0">
                      <a:pos x="T0" y="T1"/>
                    </a:cxn>
                    <a:cxn ang="0">
                      <a:pos x="T2" y="T3"/>
                    </a:cxn>
                    <a:cxn ang="0">
                      <a:pos x="T4" y="T5"/>
                    </a:cxn>
                    <a:cxn ang="0">
                      <a:pos x="T6" y="T7"/>
                    </a:cxn>
                    <a:cxn ang="0">
                      <a:pos x="T8" y="T9"/>
                    </a:cxn>
                  </a:cxnLst>
                  <a:rect l="0" t="0" r="r" b="b"/>
                  <a:pathLst>
                    <a:path w="24" h="24">
                      <a:moveTo>
                        <a:pt x="22" y="0"/>
                      </a:moveTo>
                      <a:lnTo>
                        <a:pt x="0" y="24"/>
                      </a:lnTo>
                      <a:lnTo>
                        <a:pt x="3" y="24"/>
                      </a:lnTo>
                      <a:lnTo>
                        <a:pt x="24" y="3"/>
                      </a:lnTo>
                      <a:lnTo>
                        <a:pt x="22" y="0"/>
                      </a:lnTo>
                      <a:close/>
                    </a:path>
                  </a:pathLst>
                </a:custGeom>
                <a:solidFill>
                  <a:srgbClr val="01AAE5"/>
                </a:solidFill>
                <a:ln>
                  <a:noFill/>
                </a:ln>
                <a:extLst/>
              </p:spPr>
              <p:txBody>
                <a:bodyPr/>
                <a:lstStyle/>
                <a:p>
                  <a:pPr eaLnBrk="1" hangingPunct="1">
                    <a:defRPr/>
                  </a:pPr>
                  <a:endParaRPr lang="zh-CN" altLang="en-US" sz="1050"/>
                </a:p>
              </p:txBody>
            </p:sp>
            <p:sp>
              <p:nvSpPr>
                <p:cNvPr id="4631" name="Freeform 1974"/>
                <p:cNvSpPr>
                  <a:spLocks/>
                </p:cNvSpPr>
                <p:nvPr/>
              </p:nvSpPr>
              <p:spPr bwMode="auto">
                <a:xfrm>
                  <a:off x="10490" y="3127"/>
                  <a:ext cx="0" cy="9"/>
                </a:xfrm>
                <a:custGeom>
                  <a:avLst/>
                  <a:gdLst>
                    <a:gd name="T0" fmla="*/ 7 w 7"/>
                    <a:gd name="T1" fmla="*/ 0 h 9"/>
                    <a:gd name="T2" fmla="*/ 0 w 7"/>
                    <a:gd name="T3" fmla="*/ 9 h 9"/>
                    <a:gd name="T4" fmla="*/ 0 w 7"/>
                    <a:gd name="T5" fmla="*/ 9 h 9"/>
                    <a:gd name="T6" fmla="*/ 7 w 7"/>
                    <a:gd name="T7" fmla="*/ 0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0" y="9"/>
                      </a:lnTo>
                      <a:lnTo>
                        <a:pt x="0" y="9"/>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4632" name="Freeform 1975"/>
                <p:cNvSpPr>
                  <a:spLocks/>
                </p:cNvSpPr>
                <p:nvPr/>
              </p:nvSpPr>
              <p:spPr bwMode="auto">
                <a:xfrm>
                  <a:off x="10490" y="3135"/>
                  <a:ext cx="17" cy="0"/>
                </a:xfrm>
                <a:custGeom>
                  <a:avLst/>
                  <a:gdLst>
                    <a:gd name="T0" fmla="*/ 7 w 10"/>
                    <a:gd name="T1" fmla="*/ 0 h 12"/>
                    <a:gd name="T2" fmla="*/ 0 w 10"/>
                    <a:gd name="T3" fmla="*/ 12 h 12"/>
                    <a:gd name="T4" fmla="*/ 0 w 10"/>
                    <a:gd name="T5" fmla="*/ 12 h 12"/>
                    <a:gd name="T6" fmla="*/ 10 w 10"/>
                    <a:gd name="T7" fmla="*/ 0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lnTo>
                        <a:pt x="0" y="12"/>
                      </a:lnTo>
                      <a:lnTo>
                        <a:pt x="0" y="12"/>
                      </a:lnTo>
                      <a:lnTo>
                        <a:pt x="10"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4633" name="Freeform 1976"/>
                <p:cNvSpPr>
                  <a:spLocks/>
                </p:cNvSpPr>
                <p:nvPr/>
              </p:nvSpPr>
              <p:spPr bwMode="auto">
                <a:xfrm>
                  <a:off x="10506" y="3135"/>
                  <a:ext cx="8" cy="9"/>
                </a:xfrm>
                <a:custGeom>
                  <a:avLst/>
                  <a:gdLst>
                    <a:gd name="T0" fmla="*/ 9 w 12"/>
                    <a:gd name="T1" fmla="*/ 0 h 17"/>
                    <a:gd name="T2" fmla="*/ 0 w 12"/>
                    <a:gd name="T3" fmla="*/ 15 h 17"/>
                    <a:gd name="T4" fmla="*/ 0 w 12"/>
                    <a:gd name="T5" fmla="*/ 17 h 17"/>
                    <a:gd name="T6" fmla="*/ 12 w 12"/>
                    <a:gd name="T7" fmla="*/ 0 h 17"/>
                    <a:gd name="T8" fmla="*/ 9 w 12"/>
                    <a:gd name="T9" fmla="*/ 0 h 17"/>
                  </a:gdLst>
                  <a:ahLst/>
                  <a:cxnLst>
                    <a:cxn ang="0">
                      <a:pos x="T0" y="T1"/>
                    </a:cxn>
                    <a:cxn ang="0">
                      <a:pos x="T2" y="T3"/>
                    </a:cxn>
                    <a:cxn ang="0">
                      <a:pos x="T4" y="T5"/>
                    </a:cxn>
                    <a:cxn ang="0">
                      <a:pos x="T6" y="T7"/>
                    </a:cxn>
                    <a:cxn ang="0">
                      <a:pos x="T8" y="T9"/>
                    </a:cxn>
                  </a:cxnLst>
                  <a:rect l="0" t="0" r="r" b="b"/>
                  <a:pathLst>
                    <a:path w="12" h="17">
                      <a:moveTo>
                        <a:pt x="9" y="0"/>
                      </a:moveTo>
                      <a:lnTo>
                        <a:pt x="0" y="15"/>
                      </a:lnTo>
                      <a:lnTo>
                        <a:pt x="0" y="1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34" name="Freeform 1977"/>
                <p:cNvSpPr>
                  <a:spLocks/>
                </p:cNvSpPr>
                <p:nvPr/>
              </p:nvSpPr>
              <p:spPr bwMode="auto">
                <a:xfrm>
                  <a:off x="10465" y="3100"/>
                  <a:ext cx="8" cy="17"/>
                </a:xfrm>
                <a:custGeom>
                  <a:avLst/>
                  <a:gdLst>
                    <a:gd name="T0" fmla="*/ 9 w 9"/>
                    <a:gd name="T1" fmla="*/ 0 h 12"/>
                    <a:gd name="T2" fmla="*/ 0 w 9"/>
                    <a:gd name="T3" fmla="*/ 12 h 12"/>
                    <a:gd name="T4" fmla="*/ 2 w 9"/>
                    <a:gd name="T5" fmla="*/ 12 h 12"/>
                    <a:gd name="T6" fmla="*/ 9 w 9"/>
                    <a:gd name="T7" fmla="*/ 2 h 12"/>
                    <a:gd name="T8" fmla="*/ 9 w 9"/>
                    <a:gd name="T9" fmla="*/ 0 h 12"/>
                  </a:gdLst>
                  <a:ahLst/>
                  <a:cxnLst>
                    <a:cxn ang="0">
                      <a:pos x="T0" y="T1"/>
                    </a:cxn>
                    <a:cxn ang="0">
                      <a:pos x="T2" y="T3"/>
                    </a:cxn>
                    <a:cxn ang="0">
                      <a:pos x="T4" y="T5"/>
                    </a:cxn>
                    <a:cxn ang="0">
                      <a:pos x="T6" y="T7"/>
                    </a:cxn>
                    <a:cxn ang="0">
                      <a:pos x="T8" y="T9"/>
                    </a:cxn>
                  </a:cxnLst>
                  <a:rect l="0" t="0" r="r" b="b"/>
                  <a:pathLst>
                    <a:path w="9" h="12">
                      <a:moveTo>
                        <a:pt x="9" y="0"/>
                      </a:moveTo>
                      <a:lnTo>
                        <a:pt x="0" y="12"/>
                      </a:lnTo>
                      <a:lnTo>
                        <a:pt x="2" y="12"/>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4635" name="Freeform 1978"/>
                <p:cNvSpPr>
                  <a:spLocks/>
                </p:cNvSpPr>
                <p:nvPr/>
              </p:nvSpPr>
              <p:spPr bwMode="auto">
                <a:xfrm>
                  <a:off x="10473" y="3118"/>
                  <a:ext cx="8" cy="17"/>
                </a:xfrm>
                <a:custGeom>
                  <a:avLst/>
                  <a:gdLst>
                    <a:gd name="T0" fmla="*/ 7 w 9"/>
                    <a:gd name="T1" fmla="*/ 0 h 12"/>
                    <a:gd name="T2" fmla="*/ 0 w 9"/>
                    <a:gd name="T3" fmla="*/ 10 h 12"/>
                    <a:gd name="T4" fmla="*/ 2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0"/>
                      </a:lnTo>
                      <a:lnTo>
                        <a:pt x="2"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4636" name="Freeform 1979"/>
                <p:cNvSpPr>
                  <a:spLocks/>
                </p:cNvSpPr>
                <p:nvPr/>
              </p:nvSpPr>
              <p:spPr bwMode="auto">
                <a:xfrm>
                  <a:off x="10473" y="3109"/>
                  <a:ext cx="0" cy="17"/>
                </a:xfrm>
                <a:custGeom>
                  <a:avLst/>
                  <a:gdLst>
                    <a:gd name="T0" fmla="*/ 7 w 9"/>
                    <a:gd name="T1" fmla="*/ 0 h 11"/>
                    <a:gd name="T2" fmla="*/ 0 w 9"/>
                    <a:gd name="T3" fmla="*/ 11 h 11"/>
                    <a:gd name="T4" fmla="*/ 0 w 9"/>
                    <a:gd name="T5" fmla="*/ 11 h 11"/>
                    <a:gd name="T6" fmla="*/ 9 w 9"/>
                    <a:gd name="T7" fmla="*/ 2 h 11"/>
                    <a:gd name="T8" fmla="*/ 7 w 9"/>
                    <a:gd name="T9" fmla="*/ 0 h 11"/>
                  </a:gdLst>
                  <a:ahLst/>
                  <a:cxnLst>
                    <a:cxn ang="0">
                      <a:pos x="T0" y="T1"/>
                    </a:cxn>
                    <a:cxn ang="0">
                      <a:pos x="T2" y="T3"/>
                    </a:cxn>
                    <a:cxn ang="0">
                      <a:pos x="T4" y="T5"/>
                    </a:cxn>
                    <a:cxn ang="0">
                      <a:pos x="T6" y="T7"/>
                    </a:cxn>
                    <a:cxn ang="0">
                      <a:pos x="T8" y="T9"/>
                    </a:cxn>
                  </a:cxnLst>
                  <a:rect l="0" t="0" r="r" b="b"/>
                  <a:pathLst>
                    <a:path w="9" h="11">
                      <a:moveTo>
                        <a:pt x="7" y="0"/>
                      </a:moveTo>
                      <a:lnTo>
                        <a:pt x="0" y="11"/>
                      </a:lnTo>
                      <a:lnTo>
                        <a:pt x="0" y="11"/>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4637" name="Freeform 1980"/>
                <p:cNvSpPr>
                  <a:spLocks/>
                </p:cNvSpPr>
                <p:nvPr/>
              </p:nvSpPr>
              <p:spPr bwMode="auto">
                <a:xfrm>
                  <a:off x="11588" y="2708"/>
                  <a:ext cx="17" cy="9"/>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38" name="Freeform 1981"/>
                <p:cNvSpPr>
                  <a:spLocks/>
                </p:cNvSpPr>
                <p:nvPr/>
              </p:nvSpPr>
              <p:spPr bwMode="auto">
                <a:xfrm>
                  <a:off x="11538" y="2848"/>
                  <a:ext cx="25" cy="9"/>
                </a:xfrm>
                <a:custGeom>
                  <a:avLst/>
                  <a:gdLst>
                    <a:gd name="T0" fmla="*/ 0 w 26"/>
                    <a:gd name="T1" fmla="*/ 0 h 11"/>
                    <a:gd name="T2" fmla="*/ 24 w 26"/>
                    <a:gd name="T3" fmla="*/ 11 h 11"/>
                    <a:gd name="T4" fmla="*/ 26 w 26"/>
                    <a:gd name="T5" fmla="*/ 11 h 11"/>
                    <a:gd name="T6" fmla="*/ 0 w 26"/>
                    <a:gd name="T7" fmla="*/ 0 h 11"/>
                    <a:gd name="T8" fmla="*/ 0 w 26"/>
                    <a:gd name="T9" fmla="*/ 0 h 11"/>
                  </a:gdLst>
                  <a:ahLst/>
                  <a:cxnLst>
                    <a:cxn ang="0">
                      <a:pos x="T0" y="T1"/>
                    </a:cxn>
                    <a:cxn ang="0">
                      <a:pos x="T2" y="T3"/>
                    </a:cxn>
                    <a:cxn ang="0">
                      <a:pos x="T4" y="T5"/>
                    </a:cxn>
                    <a:cxn ang="0">
                      <a:pos x="T6" y="T7"/>
                    </a:cxn>
                    <a:cxn ang="0">
                      <a:pos x="T8" y="T9"/>
                    </a:cxn>
                  </a:cxnLst>
                  <a:rect l="0" t="0" r="r" b="b"/>
                  <a:pathLst>
                    <a:path w="26" h="11">
                      <a:moveTo>
                        <a:pt x="0" y="0"/>
                      </a:moveTo>
                      <a:lnTo>
                        <a:pt x="24" y="11"/>
                      </a:lnTo>
                      <a:lnTo>
                        <a:pt x="26"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39" name="Freeform 1982"/>
                <p:cNvSpPr>
                  <a:spLocks/>
                </p:cNvSpPr>
                <p:nvPr/>
              </p:nvSpPr>
              <p:spPr bwMode="auto">
                <a:xfrm>
                  <a:off x="11463" y="2987"/>
                  <a:ext cx="8" cy="0"/>
                </a:xfrm>
                <a:custGeom>
                  <a:avLst/>
                  <a:gdLst>
                    <a:gd name="T0" fmla="*/ 0 w 10"/>
                    <a:gd name="T1" fmla="*/ 0 h 7"/>
                    <a:gd name="T2" fmla="*/ 10 w 10"/>
                    <a:gd name="T3" fmla="*/ 7 h 7"/>
                    <a:gd name="T4" fmla="*/ 10 w 10"/>
                    <a:gd name="T5" fmla="*/ 7 h 7"/>
                    <a:gd name="T6" fmla="*/ 2 w 10"/>
                    <a:gd name="T7" fmla="*/ 0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lnTo>
                        <a:pt x="10" y="7"/>
                      </a:lnTo>
                      <a:lnTo>
                        <a:pt x="10"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40" name="Freeform 1983"/>
                <p:cNvSpPr>
                  <a:spLocks/>
                </p:cNvSpPr>
                <p:nvPr/>
              </p:nvSpPr>
              <p:spPr bwMode="auto">
                <a:xfrm>
                  <a:off x="11538" y="2848"/>
                  <a:ext cx="17" cy="17"/>
                </a:xfrm>
                <a:custGeom>
                  <a:avLst/>
                  <a:gdLst>
                    <a:gd name="T0" fmla="*/ 0 w 24"/>
                    <a:gd name="T1" fmla="*/ 3 h 14"/>
                    <a:gd name="T2" fmla="*/ 24 w 24"/>
                    <a:gd name="T3" fmla="*/ 14 h 14"/>
                    <a:gd name="T4" fmla="*/ 24 w 24"/>
                    <a:gd name="T5" fmla="*/ 12 h 14"/>
                    <a:gd name="T6" fmla="*/ 2 w 24"/>
                    <a:gd name="T7" fmla="*/ 0 h 14"/>
                    <a:gd name="T8" fmla="*/ 0 w 24"/>
                    <a:gd name="T9" fmla="*/ 3 h 14"/>
                  </a:gdLst>
                  <a:ahLst/>
                  <a:cxnLst>
                    <a:cxn ang="0">
                      <a:pos x="T0" y="T1"/>
                    </a:cxn>
                    <a:cxn ang="0">
                      <a:pos x="T2" y="T3"/>
                    </a:cxn>
                    <a:cxn ang="0">
                      <a:pos x="T4" y="T5"/>
                    </a:cxn>
                    <a:cxn ang="0">
                      <a:pos x="T6" y="T7"/>
                    </a:cxn>
                    <a:cxn ang="0">
                      <a:pos x="T8" y="T9"/>
                    </a:cxn>
                  </a:cxnLst>
                  <a:rect l="0" t="0" r="r" b="b"/>
                  <a:pathLst>
                    <a:path w="24" h="14">
                      <a:moveTo>
                        <a:pt x="0" y="3"/>
                      </a:moveTo>
                      <a:lnTo>
                        <a:pt x="24" y="14"/>
                      </a:lnTo>
                      <a:lnTo>
                        <a:pt x="24" y="12"/>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41" name="Freeform 1984"/>
                <p:cNvSpPr>
                  <a:spLocks/>
                </p:cNvSpPr>
                <p:nvPr/>
              </p:nvSpPr>
              <p:spPr bwMode="auto">
                <a:xfrm>
                  <a:off x="11538" y="2839"/>
                  <a:ext cx="25" cy="17"/>
                </a:xfrm>
                <a:custGeom>
                  <a:avLst/>
                  <a:gdLst>
                    <a:gd name="T0" fmla="*/ 0 w 26"/>
                    <a:gd name="T1" fmla="*/ 3 h 15"/>
                    <a:gd name="T2" fmla="*/ 26 w 26"/>
                    <a:gd name="T3" fmla="*/ 15 h 15"/>
                    <a:gd name="T4" fmla="*/ 26 w 26"/>
                    <a:gd name="T5" fmla="*/ 12 h 15"/>
                    <a:gd name="T6" fmla="*/ 0 w 26"/>
                    <a:gd name="T7" fmla="*/ 0 h 15"/>
                    <a:gd name="T8" fmla="*/ 0 w 26"/>
                    <a:gd name="T9" fmla="*/ 3 h 15"/>
                  </a:gdLst>
                  <a:ahLst/>
                  <a:cxnLst>
                    <a:cxn ang="0">
                      <a:pos x="T0" y="T1"/>
                    </a:cxn>
                    <a:cxn ang="0">
                      <a:pos x="T2" y="T3"/>
                    </a:cxn>
                    <a:cxn ang="0">
                      <a:pos x="T4" y="T5"/>
                    </a:cxn>
                    <a:cxn ang="0">
                      <a:pos x="T6" y="T7"/>
                    </a:cxn>
                    <a:cxn ang="0">
                      <a:pos x="T8" y="T9"/>
                    </a:cxn>
                  </a:cxnLst>
                  <a:rect l="0" t="0" r="r" b="b"/>
                  <a:pathLst>
                    <a:path w="26" h="15">
                      <a:moveTo>
                        <a:pt x="0" y="3"/>
                      </a:moveTo>
                      <a:lnTo>
                        <a:pt x="26" y="15"/>
                      </a:lnTo>
                      <a:lnTo>
                        <a:pt x="26" y="12"/>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42" name="Freeform 1985"/>
                <p:cNvSpPr>
                  <a:spLocks/>
                </p:cNvSpPr>
                <p:nvPr/>
              </p:nvSpPr>
              <p:spPr bwMode="auto">
                <a:xfrm>
                  <a:off x="11072" y="3231"/>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43" name="Freeform 1986"/>
                <p:cNvSpPr>
                  <a:spLocks/>
                </p:cNvSpPr>
                <p:nvPr/>
              </p:nvSpPr>
              <p:spPr bwMode="auto">
                <a:xfrm>
                  <a:off x="11521" y="2874"/>
                  <a:ext cx="25" cy="17"/>
                </a:xfrm>
                <a:custGeom>
                  <a:avLst/>
                  <a:gdLst>
                    <a:gd name="T0" fmla="*/ 0 w 14"/>
                    <a:gd name="T1" fmla="*/ 3 h 10"/>
                    <a:gd name="T2" fmla="*/ 14 w 14"/>
                    <a:gd name="T3" fmla="*/ 10 h 10"/>
                    <a:gd name="T4" fmla="*/ 14 w 14"/>
                    <a:gd name="T5" fmla="*/ 7 h 10"/>
                    <a:gd name="T6" fmla="*/ 0 w 14"/>
                    <a:gd name="T7" fmla="*/ 0 h 10"/>
                    <a:gd name="T8" fmla="*/ 0 w 14"/>
                    <a:gd name="T9" fmla="*/ 3 h 10"/>
                  </a:gdLst>
                  <a:ahLst/>
                  <a:cxnLst>
                    <a:cxn ang="0">
                      <a:pos x="T0" y="T1"/>
                    </a:cxn>
                    <a:cxn ang="0">
                      <a:pos x="T2" y="T3"/>
                    </a:cxn>
                    <a:cxn ang="0">
                      <a:pos x="T4" y="T5"/>
                    </a:cxn>
                    <a:cxn ang="0">
                      <a:pos x="T6" y="T7"/>
                    </a:cxn>
                    <a:cxn ang="0">
                      <a:pos x="T8" y="T9"/>
                    </a:cxn>
                  </a:cxnLst>
                  <a:rect l="0" t="0" r="r" b="b"/>
                  <a:pathLst>
                    <a:path w="14" h="10">
                      <a:moveTo>
                        <a:pt x="0" y="3"/>
                      </a:moveTo>
                      <a:lnTo>
                        <a:pt x="14" y="10"/>
                      </a:lnTo>
                      <a:lnTo>
                        <a:pt x="14"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44" name="Freeform 1987"/>
                <p:cNvSpPr>
                  <a:spLocks/>
                </p:cNvSpPr>
                <p:nvPr/>
              </p:nvSpPr>
              <p:spPr bwMode="auto">
                <a:xfrm>
                  <a:off x="11530" y="2874"/>
                  <a:ext cx="17" cy="9"/>
                </a:xfrm>
                <a:custGeom>
                  <a:avLst/>
                  <a:gdLst>
                    <a:gd name="T0" fmla="*/ 0 w 17"/>
                    <a:gd name="T1" fmla="*/ 0 h 9"/>
                    <a:gd name="T2" fmla="*/ 14 w 17"/>
                    <a:gd name="T3" fmla="*/ 9 h 9"/>
                    <a:gd name="T4" fmla="*/ 17 w 17"/>
                    <a:gd name="T5" fmla="*/ 7 h 9"/>
                    <a:gd name="T6" fmla="*/ 0 w 17"/>
                    <a:gd name="T7" fmla="*/ 0 h 9"/>
                    <a:gd name="T8" fmla="*/ 0 w 17"/>
                    <a:gd name="T9" fmla="*/ 0 h 9"/>
                  </a:gdLst>
                  <a:ahLst/>
                  <a:cxnLst>
                    <a:cxn ang="0">
                      <a:pos x="T0" y="T1"/>
                    </a:cxn>
                    <a:cxn ang="0">
                      <a:pos x="T2" y="T3"/>
                    </a:cxn>
                    <a:cxn ang="0">
                      <a:pos x="T4" y="T5"/>
                    </a:cxn>
                    <a:cxn ang="0">
                      <a:pos x="T6" y="T7"/>
                    </a:cxn>
                    <a:cxn ang="0">
                      <a:pos x="T8" y="T9"/>
                    </a:cxn>
                  </a:cxnLst>
                  <a:rect l="0" t="0" r="r" b="b"/>
                  <a:pathLst>
                    <a:path w="17" h="9">
                      <a:moveTo>
                        <a:pt x="0" y="0"/>
                      </a:moveTo>
                      <a:lnTo>
                        <a:pt x="14" y="9"/>
                      </a:lnTo>
                      <a:lnTo>
                        <a:pt x="17"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45" name="Freeform 1988"/>
                <p:cNvSpPr>
                  <a:spLocks/>
                </p:cNvSpPr>
                <p:nvPr/>
              </p:nvSpPr>
              <p:spPr bwMode="auto">
                <a:xfrm>
                  <a:off x="11530" y="2865"/>
                  <a:ext cx="17" cy="9"/>
                </a:xfrm>
                <a:custGeom>
                  <a:avLst/>
                  <a:gdLst>
                    <a:gd name="T0" fmla="*/ 0 w 19"/>
                    <a:gd name="T1" fmla="*/ 3 h 10"/>
                    <a:gd name="T2" fmla="*/ 16 w 19"/>
                    <a:gd name="T3" fmla="*/ 10 h 10"/>
                    <a:gd name="T4" fmla="*/ 19 w 19"/>
                    <a:gd name="T5" fmla="*/ 10 h 10"/>
                    <a:gd name="T6" fmla="*/ 0 w 19"/>
                    <a:gd name="T7" fmla="*/ 0 h 10"/>
                    <a:gd name="T8" fmla="*/ 0 w 19"/>
                    <a:gd name="T9" fmla="*/ 3 h 10"/>
                  </a:gdLst>
                  <a:ahLst/>
                  <a:cxnLst>
                    <a:cxn ang="0">
                      <a:pos x="T0" y="T1"/>
                    </a:cxn>
                    <a:cxn ang="0">
                      <a:pos x="T2" y="T3"/>
                    </a:cxn>
                    <a:cxn ang="0">
                      <a:pos x="T4" y="T5"/>
                    </a:cxn>
                    <a:cxn ang="0">
                      <a:pos x="T6" y="T7"/>
                    </a:cxn>
                    <a:cxn ang="0">
                      <a:pos x="T8" y="T9"/>
                    </a:cxn>
                  </a:cxnLst>
                  <a:rect l="0" t="0" r="r" b="b"/>
                  <a:pathLst>
                    <a:path w="19" h="10">
                      <a:moveTo>
                        <a:pt x="0" y="3"/>
                      </a:moveTo>
                      <a:lnTo>
                        <a:pt x="16" y="10"/>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46" name="Freeform 1989"/>
                <p:cNvSpPr>
                  <a:spLocks/>
                </p:cNvSpPr>
                <p:nvPr/>
              </p:nvSpPr>
              <p:spPr bwMode="auto">
                <a:xfrm>
                  <a:off x="11555" y="2778"/>
                  <a:ext cx="42" cy="26"/>
                </a:xfrm>
                <a:custGeom>
                  <a:avLst/>
                  <a:gdLst>
                    <a:gd name="T0" fmla="*/ 0 w 40"/>
                    <a:gd name="T1" fmla="*/ 0 h 16"/>
                    <a:gd name="T2" fmla="*/ 0 w 40"/>
                    <a:gd name="T3" fmla="*/ 0 h 16"/>
                    <a:gd name="T4" fmla="*/ 40 w 40"/>
                    <a:gd name="T5" fmla="*/ 16 h 16"/>
                    <a:gd name="T6" fmla="*/ 40 w 40"/>
                    <a:gd name="T7" fmla="*/ 14 h 16"/>
                    <a:gd name="T8" fmla="*/ 0 w 40"/>
                    <a:gd name="T9" fmla="*/ 0 h 16"/>
                    <a:gd name="T10" fmla="*/ 0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0" y="0"/>
                      </a:moveTo>
                      <a:lnTo>
                        <a:pt x="0" y="0"/>
                      </a:lnTo>
                      <a:lnTo>
                        <a:pt x="40" y="16"/>
                      </a:lnTo>
                      <a:lnTo>
                        <a:pt x="40"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47" name="Freeform 1990"/>
                <p:cNvSpPr>
                  <a:spLocks/>
                </p:cNvSpPr>
                <p:nvPr/>
              </p:nvSpPr>
              <p:spPr bwMode="auto">
                <a:xfrm>
                  <a:off x="11546" y="2787"/>
                  <a:ext cx="50" cy="17"/>
                </a:xfrm>
                <a:custGeom>
                  <a:avLst/>
                  <a:gdLst>
                    <a:gd name="T0" fmla="*/ 0 w 40"/>
                    <a:gd name="T1" fmla="*/ 2 h 16"/>
                    <a:gd name="T2" fmla="*/ 40 w 40"/>
                    <a:gd name="T3" fmla="*/ 16 h 16"/>
                    <a:gd name="T4" fmla="*/ 40 w 40"/>
                    <a:gd name="T5" fmla="*/ 16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48" name="Freeform 1991"/>
                <p:cNvSpPr>
                  <a:spLocks/>
                </p:cNvSpPr>
                <p:nvPr/>
              </p:nvSpPr>
              <p:spPr bwMode="auto">
                <a:xfrm>
                  <a:off x="11546" y="2796"/>
                  <a:ext cx="42" cy="9"/>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49" name="Freeform 1992"/>
                <p:cNvSpPr>
                  <a:spLocks/>
                </p:cNvSpPr>
                <p:nvPr/>
              </p:nvSpPr>
              <p:spPr bwMode="auto">
                <a:xfrm>
                  <a:off x="11546" y="2804"/>
                  <a:ext cx="42" cy="9"/>
                </a:xfrm>
                <a:custGeom>
                  <a:avLst/>
                  <a:gdLst>
                    <a:gd name="T0" fmla="*/ 0 w 40"/>
                    <a:gd name="T1" fmla="*/ 0 h 16"/>
                    <a:gd name="T2" fmla="*/ 38 w 40"/>
                    <a:gd name="T3" fmla="*/ 16 h 16"/>
                    <a:gd name="T4" fmla="*/ 40 w 40"/>
                    <a:gd name="T5" fmla="*/ 14 h 16"/>
                    <a:gd name="T6" fmla="*/ 3 w 40"/>
                    <a:gd name="T7" fmla="*/ 0 h 16"/>
                    <a:gd name="T8" fmla="*/ 0 w 40"/>
                    <a:gd name="T9" fmla="*/ 0 h 16"/>
                  </a:gdLst>
                  <a:ahLst/>
                  <a:cxnLst>
                    <a:cxn ang="0">
                      <a:pos x="T0" y="T1"/>
                    </a:cxn>
                    <a:cxn ang="0">
                      <a:pos x="T2" y="T3"/>
                    </a:cxn>
                    <a:cxn ang="0">
                      <a:pos x="T4" y="T5"/>
                    </a:cxn>
                    <a:cxn ang="0">
                      <a:pos x="T6" y="T7"/>
                    </a:cxn>
                    <a:cxn ang="0">
                      <a:pos x="T8" y="T9"/>
                    </a:cxn>
                  </a:cxnLst>
                  <a:rect l="0" t="0" r="r" b="b"/>
                  <a:pathLst>
                    <a:path w="40" h="16">
                      <a:moveTo>
                        <a:pt x="0" y="0"/>
                      </a:moveTo>
                      <a:lnTo>
                        <a:pt x="38" y="16"/>
                      </a:lnTo>
                      <a:lnTo>
                        <a:pt x="40"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50" name="Freeform 1993"/>
                <p:cNvSpPr>
                  <a:spLocks/>
                </p:cNvSpPr>
                <p:nvPr/>
              </p:nvSpPr>
              <p:spPr bwMode="auto">
                <a:xfrm>
                  <a:off x="11546" y="2830"/>
                  <a:ext cx="25" cy="9"/>
                </a:xfrm>
                <a:custGeom>
                  <a:avLst/>
                  <a:gdLst>
                    <a:gd name="T0" fmla="*/ 0 w 33"/>
                    <a:gd name="T1" fmla="*/ 0 h 14"/>
                    <a:gd name="T2" fmla="*/ 31 w 33"/>
                    <a:gd name="T3" fmla="*/ 14 h 14"/>
                    <a:gd name="T4" fmla="*/ 33 w 33"/>
                    <a:gd name="T5" fmla="*/ 11 h 14"/>
                    <a:gd name="T6" fmla="*/ 2 w 33"/>
                    <a:gd name="T7" fmla="*/ 0 h 14"/>
                    <a:gd name="T8" fmla="*/ 0 w 33"/>
                    <a:gd name="T9" fmla="*/ 0 h 14"/>
                  </a:gdLst>
                  <a:ahLst/>
                  <a:cxnLst>
                    <a:cxn ang="0">
                      <a:pos x="T0" y="T1"/>
                    </a:cxn>
                    <a:cxn ang="0">
                      <a:pos x="T2" y="T3"/>
                    </a:cxn>
                    <a:cxn ang="0">
                      <a:pos x="T4" y="T5"/>
                    </a:cxn>
                    <a:cxn ang="0">
                      <a:pos x="T6" y="T7"/>
                    </a:cxn>
                    <a:cxn ang="0">
                      <a:pos x="T8" y="T9"/>
                    </a:cxn>
                  </a:cxnLst>
                  <a:rect l="0" t="0" r="r" b="b"/>
                  <a:pathLst>
                    <a:path w="33" h="14">
                      <a:moveTo>
                        <a:pt x="0" y="0"/>
                      </a:moveTo>
                      <a:lnTo>
                        <a:pt x="31" y="14"/>
                      </a:lnTo>
                      <a:lnTo>
                        <a:pt x="33" y="1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51" name="Freeform 1994"/>
                <p:cNvSpPr>
                  <a:spLocks/>
                </p:cNvSpPr>
                <p:nvPr/>
              </p:nvSpPr>
              <p:spPr bwMode="auto">
                <a:xfrm>
                  <a:off x="11521" y="2883"/>
                  <a:ext cx="17" cy="9"/>
                </a:xfrm>
                <a:custGeom>
                  <a:avLst/>
                  <a:gdLst>
                    <a:gd name="T0" fmla="*/ 0 w 11"/>
                    <a:gd name="T1" fmla="*/ 3 h 7"/>
                    <a:gd name="T2" fmla="*/ 11 w 11"/>
                    <a:gd name="T3" fmla="*/ 7 h 7"/>
                    <a:gd name="T4" fmla="*/ 11 w 11"/>
                    <a:gd name="T5" fmla="*/ 7 h 7"/>
                    <a:gd name="T6" fmla="*/ 0 w 11"/>
                    <a:gd name="T7" fmla="*/ 0 h 7"/>
                    <a:gd name="T8" fmla="*/ 0 w 11"/>
                    <a:gd name="T9" fmla="*/ 3 h 7"/>
                  </a:gdLst>
                  <a:ahLst/>
                  <a:cxnLst>
                    <a:cxn ang="0">
                      <a:pos x="T0" y="T1"/>
                    </a:cxn>
                    <a:cxn ang="0">
                      <a:pos x="T2" y="T3"/>
                    </a:cxn>
                    <a:cxn ang="0">
                      <a:pos x="T4" y="T5"/>
                    </a:cxn>
                    <a:cxn ang="0">
                      <a:pos x="T6" y="T7"/>
                    </a:cxn>
                    <a:cxn ang="0">
                      <a:pos x="T8" y="T9"/>
                    </a:cxn>
                  </a:cxnLst>
                  <a:rect l="0" t="0" r="r" b="b"/>
                  <a:pathLst>
                    <a:path w="11" h="7">
                      <a:moveTo>
                        <a:pt x="0" y="3"/>
                      </a:moveTo>
                      <a:lnTo>
                        <a:pt x="11" y="7"/>
                      </a:lnTo>
                      <a:lnTo>
                        <a:pt x="1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52" name="Freeform 1995"/>
                <p:cNvSpPr>
                  <a:spLocks/>
                </p:cNvSpPr>
                <p:nvPr/>
              </p:nvSpPr>
              <p:spPr bwMode="auto">
                <a:xfrm>
                  <a:off x="11546" y="2822"/>
                  <a:ext cx="25" cy="9"/>
                </a:xfrm>
                <a:custGeom>
                  <a:avLst/>
                  <a:gdLst>
                    <a:gd name="T0" fmla="*/ 0 w 34"/>
                    <a:gd name="T1" fmla="*/ 0 h 14"/>
                    <a:gd name="T2" fmla="*/ 34 w 34"/>
                    <a:gd name="T3" fmla="*/ 14 h 14"/>
                    <a:gd name="T4" fmla="*/ 34 w 34"/>
                    <a:gd name="T5" fmla="*/ 14 h 14"/>
                    <a:gd name="T6" fmla="*/ 0 w 34"/>
                    <a:gd name="T7" fmla="*/ 0 h 14"/>
                    <a:gd name="T8" fmla="*/ 0 w 34"/>
                    <a:gd name="T9" fmla="*/ 0 h 14"/>
                  </a:gdLst>
                  <a:ahLst/>
                  <a:cxnLst>
                    <a:cxn ang="0">
                      <a:pos x="T0" y="T1"/>
                    </a:cxn>
                    <a:cxn ang="0">
                      <a:pos x="T2" y="T3"/>
                    </a:cxn>
                    <a:cxn ang="0">
                      <a:pos x="T4" y="T5"/>
                    </a:cxn>
                    <a:cxn ang="0">
                      <a:pos x="T6" y="T7"/>
                    </a:cxn>
                    <a:cxn ang="0">
                      <a:pos x="T8" y="T9"/>
                    </a:cxn>
                  </a:cxnLst>
                  <a:rect l="0" t="0" r="r" b="b"/>
                  <a:pathLst>
                    <a:path w="34" h="14">
                      <a:moveTo>
                        <a:pt x="0" y="0"/>
                      </a:moveTo>
                      <a:lnTo>
                        <a:pt x="34" y="14"/>
                      </a:lnTo>
                      <a:lnTo>
                        <a:pt x="34"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53" name="Freeform 1996"/>
                <p:cNvSpPr>
                  <a:spLocks/>
                </p:cNvSpPr>
                <p:nvPr/>
              </p:nvSpPr>
              <p:spPr bwMode="auto">
                <a:xfrm>
                  <a:off x="11546" y="2813"/>
                  <a:ext cx="33" cy="17"/>
                </a:xfrm>
                <a:custGeom>
                  <a:avLst/>
                  <a:gdLst>
                    <a:gd name="T0" fmla="*/ 0 w 35"/>
                    <a:gd name="T1" fmla="*/ 2 h 16"/>
                    <a:gd name="T2" fmla="*/ 35 w 35"/>
                    <a:gd name="T3" fmla="*/ 16 h 16"/>
                    <a:gd name="T4" fmla="*/ 35 w 35"/>
                    <a:gd name="T5" fmla="*/ 14 h 16"/>
                    <a:gd name="T6" fmla="*/ 0 w 35"/>
                    <a:gd name="T7" fmla="*/ 0 h 16"/>
                    <a:gd name="T8" fmla="*/ 0 w 35"/>
                    <a:gd name="T9" fmla="*/ 2 h 16"/>
                  </a:gdLst>
                  <a:ahLst/>
                  <a:cxnLst>
                    <a:cxn ang="0">
                      <a:pos x="T0" y="T1"/>
                    </a:cxn>
                    <a:cxn ang="0">
                      <a:pos x="T2" y="T3"/>
                    </a:cxn>
                    <a:cxn ang="0">
                      <a:pos x="T4" y="T5"/>
                    </a:cxn>
                    <a:cxn ang="0">
                      <a:pos x="T6" y="T7"/>
                    </a:cxn>
                    <a:cxn ang="0">
                      <a:pos x="T8" y="T9"/>
                    </a:cxn>
                  </a:cxnLst>
                  <a:rect l="0" t="0" r="r" b="b"/>
                  <a:pathLst>
                    <a:path w="35" h="16">
                      <a:moveTo>
                        <a:pt x="0" y="2"/>
                      </a:moveTo>
                      <a:lnTo>
                        <a:pt x="35" y="16"/>
                      </a:lnTo>
                      <a:lnTo>
                        <a:pt x="35"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54" name="Freeform 1997"/>
                <p:cNvSpPr>
                  <a:spLocks/>
                </p:cNvSpPr>
                <p:nvPr/>
              </p:nvSpPr>
              <p:spPr bwMode="auto">
                <a:xfrm>
                  <a:off x="11546" y="2804"/>
                  <a:ext cx="33" cy="17"/>
                </a:xfrm>
                <a:custGeom>
                  <a:avLst/>
                  <a:gdLst>
                    <a:gd name="T0" fmla="*/ 0 w 36"/>
                    <a:gd name="T1" fmla="*/ 3 h 17"/>
                    <a:gd name="T2" fmla="*/ 36 w 36"/>
                    <a:gd name="T3" fmla="*/ 17 h 17"/>
                    <a:gd name="T4" fmla="*/ 36 w 36"/>
                    <a:gd name="T5" fmla="*/ 17 h 17"/>
                    <a:gd name="T6" fmla="*/ 0 w 36"/>
                    <a:gd name="T7" fmla="*/ 0 h 17"/>
                    <a:gd name="T8" fmla="*/ 0 w 36"/>
                    <a:gd name="T9" fmla="*/ 3 h 17"/>
                  </a:gdLst>
                  <a:ahLst/>
                  <a:cxnLst>
                    <a:cxn ang="0">
                      <a:pos x="T0" y="T1"/>
                    </a:cxn>
                    <a:cxn ang="0">
                      <a:pos x="T2" y="T3"/>
                    </a:cxn>
                    <a:cxn ang="0">
                      <a:pos x="T4" y="T5"/>
                    </a:cxn>
                    <a:cxn ang="0">
                      <a:pos x="T6" y="T7"/>
                    </a:cxn>
                    <a:cxn ang="0">
                      <a:pos x="T8" y="T9"/>
                    </a:cxn>
                  </a:cxnLst>
                  <a:rect l="0" t="0" r="r" b="b"/>
                  <a:pathLst>
                    <a:path w="36" h="17">
                      <a:moveTo>
                        <a:pt x="0" y="3"/>
                      </a:moveTo>
                      <a:lnTo>
                        <a:pt x="36" y="17"/>
                      </a:lnTo>
                      <a:lnTo>
                        <a:pt x="3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55" name="Freeform 1998"/>
                <p:cNvSpPr>
                  <a:spLocks/>
                </p:cNvSpPr>
                <p:nvPr/>
              </p:nvSpPr>
              <p:spPr bwMode="auto">
                <a:xfrm>
                  <a:off x="11505" y="2909"/>
                  <a:ext cx="17" cy="17"/>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56" name="Freeform 1999"/>
                <p:cNvSpPr>
                  <a:spLocks/>
                </p:cNvSpPr>
                <p:nvPr/>
              </p:nvSpPr>
              <p:spPr bwMode="auto">
                <a:xfrm>
                  <a:off x="11480" y="2952"/>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57" name="Freeform 2000"/>
                <p:cNvSpPr>
                  <a:spLocks/>
                </p:cNvSpPr>
                <p:nvPr/>
              </p:nvSpPr>
              <p:spPr bwMode="auto">
                <a:xfrm>
                  <a:off x="11488" y="2952"/>
                  <a:ext cx="8" cy="0"/>
                </a:xfrm>
                <a:custGeom>
                  <a:avLst/>
                  <a:gdLst>
                    <a:gd name="T0" fmla="*/ 0 w 12"/>
                    <a:gd name="T1" fmla="*/ 0 h 7"/>
                    <a:gd name="T2" fmla="*/ 9 w 12"/>
                    <a:gd name="T3" fmla="*/ 7 h 7"/>
                    <a:gd name="T4" fmla="*/ 12 w 12"/>
                    <a:gd name="T5" fmla="*/ 7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58" name="Freeform 2001"/>
                <p:cNvSpPr>
                  <a:spLocks/>
                </p:cNvSpPr>
                <p:nvPr/>
              </p:nvSpPr>
              <p:spPr bwMode="auto">
                <a:xfrm>
                  <a:off x="11521" y="2891"/>
                  <a:ext cx="17" cy="9"/>
                </a:xfrm>
                <a:custGeom>
                  <a:avLst/>
                  <a:gdLst>
                    <a:gd name="T0" fmla="*/ 0 w 12"/>
                    <a:gd name="T1" fmla="*/ 0 h 8"/>
                    <a:gd name="T2" fmla="*/ 10 w 12"/>
                    <a:gd name="T3" fmla="*/ 8 h 8"/>
                    <a:gd name="T4" fmla="*/ 12 w 12"/>
                    <a:gd name="T5" fmla="*/ 5 h 8"/>
                    <a:gd name="T6" fmla="*/ 0 w 12"/>
                    <a:gd name="T7" fmla="*/ 0 h 8"/>
                    <a:gd name="T8" fmla="*/ 0 w 12"/>
                    <a:gd name="T9" fmla="*/ 0 h 8"/>
                  </a:gdLst>
                  <a:ahLst/>
                  <a:cxnLst>
                    <a:cxn ang="0">
                      <a:pos x="T0" y="T1"/>
                    </a:cxn>
                    <a:cxn ang="0">
                      <a:pos x="T2" y="T3"/>
                    </a:cxn>
                    <a:cxn ang="0">
                      <a:pos x="T4" y="T5"/>
                    </a:cxn>
                    <a:cxn ang="0">
                      <a:pos x="T6" y="T7"/>
                    </a:cxn>
                    <a:cxn ang="0">
                      <a:pos x="T8" y="T9"/>
                    </a:cxn>
                  </a:cxnLst>
                  <a:rect l="0" t="0" r="r" b="b"/>
                  <a:pathLst>
                    <a:path w="12" h="8">
                      <a:moveTo>
                        <a:pt x="0" y="0"/>
                      </a:moveTo>
                      <a:lnTo>
                        <a:pt x="10" y="8"/>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59" name="Freeform 2002"/>
                <p:cNvSpPr>
                  <a:spLocks/>
                </p:cNvSpPr>
                <p:nvPr/>
              </p:nvSpPr>
              <p:spPr bwMode="auto">
                <a:xfrm>
                  <a:off x="11488" y="2944"/>
                  <a:ext cx="8" cy="9"/>
                </a:xfrm>
                <a:custGeom>
                  <a:avLst/>
                  <a:gdLst>
                    <a:gd name="T0" fmla="*/ 0 w 10"/>
                    <a:gd name="T1" fmla="*/ 2 h 10"/>
                    <a:gd name="T2" fmla="*/ 10 w 10"/>
                    <a:gd name="T3" fmla="*/ 10 h 10"/>
                    <a:gd name="T4" fmla="*/ 10 w 10"/>
                    <a:gd name="T5" fmla="*/ 7 h 10"/>
                    <a:gd name="T6" fmla="*/ 0 w 10"/>
                    <a:gd name="T7" fmla="*/ 0 h 10"/>
                    <a:gd name="T8" fmla="*/ 0 w 10"/>
                    <a:gd name="T9" fmla="*/ 2 h 10"/>
                  </a:gdLst>
                  <a:ahLst/>
                  <a:cxnLst>
                    <a:cxn ang="0">
                      <a:pos x="T0" y="T1"/>
                    </a:cxn>
                    <a:cxn ang="0">
                      <a:pos x="T2" y="T3"/>
                    </a:cxn>
                    <a:cxn ang="0">
                      <a:pos x="T4" y="T5"/>
                    </a:cxn>
                    <a:cxn ang="0">
                      <a:pos x="T6" y="T7"/>
                    </a:cxn>
                    <a:cxn ang="0">
                      <a:pos x="T8" y="T9"/>
                    </a:cxn>
                  </a:cxnLst>
                  <a:rect l="0" t="0" r="r" b="b"/>
                  <a:pathLst>
                    <a:path w="10" h="10">
                      <a:moveTo>
                        <a:pt x="0" y="2"/>
                      </a:moveTo>
                      <a:lnTo>
                        <a:pt x="10" y="10"/>
                      </a:lnTo>
                      <a:lnTo>
                        <a:pt x="10"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60" name="Freeform 2003"/>
                <p:cNvSpPr>
                  <a:spLocks/>
                </p:cNvSpPr>
                <p:nvPr/>
              </p:nvSpPr>
              <p:spPr bwMode="auto">
                <a:xfrm>
                  <a:off x="11488" y="2935"/>
                  <a:ext cx="17" cy="9"/>
                </a:xfrm>
                <a:custGeom>
                  <a:avLst/>
                  <a:gdLst>
                    <a:gd name="T0" fmla="*/ 0 w 12"/>
                    <a:gd name="T1" fmla="*/ 3 h 7"/>
                    <a:gd name="T2" fmla="*/ 9 w 12"/>
                    <a:gd name="T3" fmla="*/ 7 h 7"/>
                    <a:gd name="T4" fmla="*/ 12 w 12"/>
                    <a:gd name="T5" fmla="*/ 7 h 7"/>
                    <a:gd name="T6" fmla="*/ 2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9" y="7"/>
                      </a:lnTo>
                      <a:lnTo>
                        <a:pt x="12" y="7"/>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61" name="Freeform 2004"/>
                <p:cNvSpPr>
                  <a:spLocks/>
                </p:cNvSpPr>
                <p:nvPr/>
              </p:nvSpPr>
              <p:spPr bwMode="auto">
                <a:xfrm>
                  <a:off x="11472" y="2961"/>
                  <a:ext cx="17" cy="9"/>
                </a:xfrm>
                <a:custGeom>
                  <a:avLst/>
                  <a:gdLst>
                    <a:gd name="T0" fmla="*/ 0 w 12"/>
                    <a:gd name="T1" fmla="*/ 0 h 7"/>
                    <a:gd name="T2" fmla="*/ 9 w 12"/>
                    <a:gd name="T3" fmla="*/ 7 h 7"/>
                    <a:gd name="T4" fmla="*/ 12 w 12"/>
                    <a:gd name="T5" fmla="*/ 7 h 7"/>
                    <a:gd name="T6" fmla="*/ 2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62" name="Freeform 2005"/>
                <p:cNvSpPr>
                  <a:spLocks/>
                </p:cNvSpPr>
                <p:nvPr/>
              </p:nvSpPr>
              <p:spPr bwMode="auto">
                <a:xfrm>
                  <a:off x="11463" y="2979"/>
                  <a:ext cx="17" cy="9"/>
                </a:xfrm>
                <a:custGeom>
                  <a:avLst/>
                  <a:gdLst>
                    <a:gd name="T0" fmla="*/ 0 w 9"/>
                    <a:gd name="T1" fmla="*/ 3 h 10"/>
                    <a:gd name="T2" fmla="*/ 9 w 9"/>
                    <a:gd name="T3" fmla="*/ 10 h 10"/>
                    <a:gd name="T4" fmla="*/ 9 w 9"/>
                    <a:gd name="T5" fmla="*/ 7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63" name="Freeform 2006"/>
                <p:cNvSpPr>
                  <a:spLocks/>
                </p:cNvSpPr>
                <p:nvPr/>
              </p:nvSpPr>
              <p:spPr bwMode="auto">
                <a:xfrm>
                  <a:off x="11472" y="2970"/>
                  <a:ext cx="8" cy="9"/>
                </a:xfrm>
                <a:custGeom>
                  <a:avLst/>
                  <a:gdLst>
                    <a:gd name="T0" fmla="*/ 0 w 12"/>
                    <a:gd name="T1" fmla="*/ 3 h 10"/>
                    <a:gd name="T2" fmla="*/ 10 w 12"/>
                    <a:gd name="T3" fmla="*/ 10 h 10"/>
                    <a:gd name="T4" fmla="*/ 12 w 12"/>
                    <a:gd name="T5" fmla="*/ 8 h 10"/>
                    <a:gd name="T6" fmla="*/ 3 w 12"/>
                    <a:gd name="T7" fmla="*/ 0 h 10"/>
                    <a:gd name="T8" fmla="*/ 0 w 12"/>
                    <a:gd name="T9" fmla="*/ 3 h 10"/>
                  </a:gdLst>
                  <a:ahLst/>
                  <a:cxnLst>
                    <a:cxn ang="0">
                      <a:pos x="T0" y="T1"/>
                    </a:cxn>
                    <a:cxn ang="0">
                      <a:pos x="T2" y="T3"/>
                    </a:cxn>
                    <a:cxn ang="0">
                      <a:pos x="T4" y="T5"/>
                    </a:cxn>
                    <a:cxn ang="0">
                      <a:pos x="T6" y="T7"/>
                    </a:cxn>
                    <a:cxn ang="0">
                      <a:pos x="T8" y="T9"/>
                    </a:cxn>
                  </a:cxnLst>
                  <a:rect l="0" t="0" r="r" b="b"/>
                  <a:pathLst>
                    <a:path w="12" h="10">
                      <a:moveTo>
                        <a:pt x="0" y="3"/>
                      </a:moveTo>
                      <a:lnTo>
                        <a:pt x="10" y="10"/>
                      </a:lnTo>
                      <a:lnTo>
                        <a:pt x="12" y="8"/>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64" name="Freeform 2007"/>
                <p:cNvSpPr>
                  <a:spLocks/>
                </p:cNvSpPr>
                <p:nvPr/>
              </p:nvSpPr>
              <p:spPr bwMode="auto">
                <a:xfrm>
                  <a:off x="11480" y="2952"/>
                  <a:ext cx="17" cy="9"/>
                </a:xfrm>
                <a:custGeom>
                  <a:avLst/>
                  <a:gdLst>
                    <a:gd name="T0" fmla="*/ 0 w 9"/>
                    <a:gd name="T1" fmla="*/ 2 h 9"/>
                    <a:gd name="T2" fmla="*/ 9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9"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65" name="Freeform 2008"/>
                <p:cNvSpPr>
                  <a:spLocks/>
                </p:cNvSpPr>
                <p:nvPr/>
              </p:nvSpPr>
              <p:spPr bwMode="auto">
                <a:xfrm>
                  <a:off x="11496" y="2926"/>
                  <a:ext cx="8" cy="9"/>
                </a:xfrm>
                <a:custGeom>
                  <a:avLst/>
                  <a:gdLst>
                    <a:gd name="T0" fmla="*/ 0 w 9"/>
                    <a:gd name="T1" fmla="*/ 0 h 7"/>
                    <a:gd name="T2" fmla="*/ 9 w 9"/>
                    <a:gd name="T3" fmla="*/ 7 h 7"/>
                    <a:gd name="T4" fmla="*/ 9 w 9"/>
                    <a:gd name="T5" fmla="*/ 4 h 7"/>
                    <a:gd name="T6" fmla="*/ 0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66" name="Freeform 2009"/>
                <p:cNvSpPr>
                  <a:spLocks/>
                </p:cNvSpPr>
                <p:nvPr/>
              </p:nvSpPr>
              <p:spPr bwMode="auto">
                <a:xfrm>
                  <a:off x="11521" y="2900"/>
                  <a:ext cx="0" cy="9"/>
                </a:xfrm>
                <a:custGeom>
                  <a:avLst/>
                  <a:gdLst>
                    <a:gd name="T0" fmla="*/ 0 w 12"/>
                    <a:gd name="T1" fmla="*/ 0 h 7"/>
                    <a:gd name="T2" fmla="*/ 10 w 12"/>
                    <a:gd name="T3" fmla="*/ 7 h 7"/>
                    <a:gd name="T4" fmla="*/ 12 w 12"/>
                    <a:gd name="T5" fmla="*/ 5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67" name="Freeform 2010"/>
                <p:cNvSpPr>
                  <a:spLocks/>
                </p:cNvSpPr>
                <p:nvPr/>
              </p:nvSpPr>
              <p:spPr bwMode="auto">
                <a:xfrm>
                  <a:off x="11521" y="2891"/>
                  <a:ext cx="8" cy="9"/>
                </a:xfrm>
                <a:custGeom>
                  <a:avLst/>
                  <a:gdLst>
                    <a:gd name="T0" fmla="*/ 0 w 12"/>
                    <a:gd name="T1" fmla="*/ 3 h 7"/>
                    <a:gd name="T2" fmla="*/ 12 w 12"/>
                    <a:gd name="T3" fmla="*/ 7 h 7"/>
                    <a:gd name="T4" fmla="*/ 12 w 12"/>
                    <a:gd name="T5" fmla="*/ 7 h 7"/>
                    <a:gd name="T6" fmla="*/ 3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12" y="7"/>
                      </a:lnTo>
                      <a:lnTo>
                        <a:pt x="12" y="7"/>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68" name="Freeform 2011"/>
                <p:cNvSpPr>
                  <a:spLocks/>
                </p:cNvSpPr>
                <p:nvPr/>
              </p:nvSpPr>
              <p:spPr bwMode="auto">
                <a:xfrm>
                  <a:off x="11513" y="2909"/>
                  <a:ext cx="8" cy="9"/>
                </a:xfrm>
                <a:custGeom>
                  <a:avLst/>
                  <a:gdLst>
                    <a:gd name="T0" fmla="*/ 0 w 9"/>
                    <a:gd name="T1" fmla="*/ 2 h 7"/>
                    <a:gd name="T2" fmla="*/ 9 w 9"/>
                    <a:gd name="T3" fmla="*/ 7 h 7"/>
                    <a:gd name="T4" fmla="*/ 9 w 9"/>
                    <a:gd name="T5" fmla="*/ 7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69" name="Freeform 2012"/>
                <p:cNvSpPr>
                  <a:spLocks/>
                </p:cNvSpPr>
                <p:nvPr/>
              </p:nvSpPr>
              <p:spPr bwMode="auto">
                <a:xfrm>
                  <a:off x="11496" y="2926"/>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70" name="Freeform 2013"/>
                <p:cNvSpPr>
                  <a:spLocks/>
                </p:cNvSpPr>
                <p:nvPr/>
              </p:nvSpPr>
              <p:spPr bwMode="auto">
                <a:xfrm>
                  <a:off x="11555" y="2778"/>
                  <a:ext cx="42" cy="17"/>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71" name="Freeform 2014"/>
                <p:cNvSpPr>
                  <a:spLocks/>
                </p:cNvSpPr>
                <p:nvPr/>
              </p:nvSpPr>
              <p:spPr bwMode="auto">
                <a:xfrm>
                  <a:off x="11505" y="2926"/>
                  <a:ext cx="17" cy="0"/>
                </a:xfrm>
                <a:custGeom>
                  <a:avLst/>
                  <a:gdLst>
                    <a:gd name="T0" fmla="*/ 0 w 9"/>
                    <a:gd name="T1" fmla="*/ 2 h 7"/>
                    <a:gd name="T2" fmla="*/ 9 w 9"/>
                    <a:gd name="T3" fmla="*/ 7 h 7"/>
                    <a:gd name="T4" fmla="*/ 9 w 9"/>
                    <a:gd name="T5" fmla="*/ 5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5"/>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72" name="Freeform 2015"/>
                <p:cNvSpPr>
                  <a:spLocks/>
                </p:cNvSpPr>
                <p:nvPr/>
              </p:nvSpPr>
              <p:spPr bwMode="auto">
                <a:xfrm>
                  <a:off x="11546" y="2839"/>
                  <a:ext cx="25" cy="9"/>
                </a:xfrm>
                <a:custGeom>
                  <a:avLst/>
                  <a:gdLst>
                    <a:gd name="T0" fmla="*/ 0 w 28"/>
                    <a:gd name="T1" fmla="*/ 3 h 15"/>
                    <a:gd name="T2" fmla="*/ 28 w 28"/>
                    <a:gd name="T3" fmla="*/ 15 h 15"/>
                    <a:gd name="T4" fmla="*/ 28 w 28"/>
                    <a:gd name="T5" fmla="*/ 15 h 15"/>
                    <a:gd name="T6" fmla="*/ 0 w 28"/>
                    <a:gd name="T7" fmla="*/ 0 h 15"/>
                    <a:gd name="T8" fmla="*/ 0 w 28"/>
                    <a:gd name="T9" fmla="*/ 3 h 15"/>
                  </a:gdLst>
                  <a:ahLst/>
                  <a:cxnLst>
                    <a:cxn ang="0">
                      <a:pos x="T0" y="T1"/>
                    </a:cxn>
                    <a:cxn ang="0">
                      <a:pos x="T2" y="T3"/>
                    </a:cxn>
                    <a:cxn ang="0">
                      <a:pos x="T4" y="T5"/>
                    </a:cxn>
                    <a:cxn ang="0">
                      <a:pos x="T6" y="T7"/>
                    </a:cxn>
                    <a:cxn ang="0">
                      <a:pos x="T8" y="T9"/>
                    </a:cxn>
                  </a:cxnLst>
                  <a:rect l="0" t="0" r="r" b="b"/>
                  <a:pathLst>
                    <a:path w="28" h="15">
                      <a:moveTo>
                        <a:pt x="0" y="3"/>
                      </a:moveTo>
                      <a:lnTo>
                        <a:pt x="28" y="15"/>
                      </a:lnTo>
                      <a:lnTo>
                        <a:pt x="28" y="15"/>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73" name="Rectangle 2016"/>
                <p:cNvSpPr>
                  <a:spLocks noChangeArrowheads="1"/>
                </p:cNvSpPr>
                <p:nvPr/>
              </p:nvSpPr>
              <p:spPr bwMode="auto">
                <a:xfrm>
                  <a:off x="11605" y="2630"/>
                  <a:ext cx="8" cy="0"/>
                </a:xfrm>
                <a:prstGeom prst="rect">
                  <a:avLst/>
                </a:prstGeom>
                <a:solidFill>
                  <a:srgbClr val="01AAE5"/>
                </a:solidFill>
                <a:ln>
                  <a:noFill/>
                </a:ln>
                <a:extLst/>
              </p:spPr>
              <p:txBody>
                <a:bodyPr/>
                <a:lstStyle/>
                <a:p>
                  <a:pPr eaLnBrk="1" hangingPunct="1">
                    <a:defRPr/>
                  </a:pPr>
                  <a:endParaRPr lang="zh-CN" altLang="en-US" sz="1050"/>
                </a:p>
              </p:txBody>
            </p:sp>
            <p:sp>
              <p:nvSpPr>
                <p:cNvPr id="4674" name="Freeform 2017"/>
                <p:cNvSpPr>
                  <a:spLocks/>
                </p:cNvSpPr>
                <p:nvPr/>
              </p:nvSpPr>
              <p:spPr bwMode="auto">
                <a:xfrm>
                  <a:off x="11605" y="2621"/>
                  <a:ext cx="8" cy="0"/>
                </a:xfrm>
                <a:custGeom>
                  <a:avLst/>
                  <a:gdLst>
                    <a:gd name="T0" fmla="*/ 0 w 12"/>
                    <a:gd name="T1" fmla="*/ 3 h 3"/>
                    <a:gd name="T2" fmla="*/ 12 w 12"/>
                    <a:gd name="T3" fmla="*/ 3 h 3"/>
                    <a:gd name="T4" fmla="*/ 12 w 12"/>
                    <a:gd name="T5" fmla="*/ 3 h 3"/>
                    <a:gd name="T6" fmla="*/ 2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75" name="Freeform 2018"/>
                <p:cNvSpPr>
                  <a:spLocks/>
                </p:cNvSpPr>
                <p:nvPr/>
              </p:nvSpPr>
              <p:spPr bwMode="auto">
                <a:xfrm>
                  <a:off x="11605" y="2604"/>
                  <a:ext cx="17" cy="0"/>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76" name="Freeform 2019"/>
                <p:cNvSpPr>
                  <a:spLocks/>
                </p:cNvSpPr>
                <p:nvPr/>
              </p:nvSpPr>
              <p:spPr bwMode="auto">
                <a:xfrm>
                  <a:off x="11605" y="2613"/>
                  <a:ext cx="17" cy="0"/>
                </a:xfrm>
                <a:custGeom>
                  <a:avLst/>
                  <a:gdLst>
                    <a:gd name="T0" fmla="*/ 0 w 12"/>
                    <a:gd name="T1" fmla="*/ 3 h 3"/>
                    <a:gd name="T2" fmla="*/ 12 w 12"/>
                    <a:gd name="T3" fmla="*/ 3 h 3"/>
                    <a:gd name="T4" fmla="*/ 12 w 12"/>
                    <a:gd name="T5" fmla="*/ 3 h 3"/>
                    <a:gd name="T6" fmla="*/ 0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77" name="Freeform 2020"/>
                <p:cNvSpPr>
                  <a:spLocks/>
                </p:cNvSpPr>
                <p:nvPr/>
              </p:nvSpPr>
              <p:spPr bwMode="auto">
                <a:xfrm>
                  <a:off x="11605" y="2630"/>
                  <a:ext cx="8" cy="0"/>
                </a:xfrm>
                <a:custGeom>
                  <a:avLst/>
                  <a:gdLst>
                    <a:gd name="T0" fmla="*/ 0 w 12"/>
                    <a:gd name="T1" fmla="*/ 0 h 2"/>
                    <a:gd name="T2" fmla="*/ 12 w 12"/>
                    <a:gd name="T3" fmla="*/ 2 h 2"/>
                    <a:gd name="T4" fmla="*/ 12 w 12"/>
                    <a:gd name="T5" fmla="*/ 0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78" name="Freeform 2021"/>
                <p:cNvSpPr>
                  <a:spLocks/>
                </p:cNvSpPr>
                <p:nvPr/>
              </p:nvSpPr>
              <p:spPr bwMode="auto">
                <a:xfrm>
                  <a:off x="11605" y="2665"/>
                  <a:ext cx="8" cy="0"/>
                </a:xfrm>
                <a:custGeom>
                  <a:avLst/>
                  <a:gdLst>
                    <a:gd name="T0" fmla="*/ 0 w 12"/>
                    <a:gd name="T1" fmla="*/ 2 h 2"/>
                    <a:gd name="T2" fmla="*/ 12 w 12"/>
                    <a:gd name="T3" fmla="*/ 2 h 2"/>
                    <a:gd name="T4" fmla="*/ 12 w 12"/>
                    <a:gd name="T5" fmla="*/ 2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2"/>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79" name="Freeform 2022"/>
                <p:cNvSpPr>
                  <a:spLocks/>
                </p:cNvSpPr>
                <p:nvPr/>
              </p:nvSpPr>
              <p:spPr bwMode="auto">
                <a:xfrm>
                  <a:off x="11605" y="2647"/>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80" name="Freeform 2023"/>
                <p:cNvSpPr>
                  <a:spLocks/>
                </p:cNvSpPr>
                <p:nvPr/>
              </p:nvSpPr>
              <p:spPr bwMode="auto">
                <a:xfrm>
                  <a:off x="11605" y="2639"/>
                  <a:ext cx="8" cy="0"/>
                </a:xfrm>
                <a:custGeom>
                  <a:avLst/>
                  <a:gdLst>
                    <a:gd name="T0" fmla="*/ 0 w 11"/>
                    <a:gd name="T1" fmla="*/ 0 h 2"/>
                    <a:gd name="T2" fmla="*/ 11 w 11"/>
                    <a:gd name="T3" fmla="*/ 2 h 2"/>
                    <a:gd name="T4" fmla="*/ 11 w 11"/>
                    <a:gd name="T5" fmla="*/ 0 h 2"/>
                    <a:gd name="T6" fmla="*/ 2 w 11"/>
                    <a:gd name="T7" fmla="*/ 0 h 2"/>
                    <a:gd name="T8" fmla="*/ 0 w 11"/>
                    <a:gd name="T9" fmla="*/ 0 h 2"/>
                  </a:gdLst>
                  <a:ahLst/>
                  <a:cxnLst>
                    <a:cxn ang="0">
                      <a:pos x="T0" y="T1"/>
                    </a:cxn>
                    <a:cxn ang="0">
                      <a:pos x="T2" y="T3"/>
                    </a:cxn>
                    <a:cxn ang="0">
                      <a:pos x="T4" y="T5"/>
                    </a:cxn>
                    <a:cxn ang="0">
                      <a:pos x="T6" y="T7"/>
                    </a:cxn>
                    <a:cxn ang="0">
                      <a:pos x="T8" y="T9"/>
                    </a:cxn>
                  </a:cxnLst>
                  <a:rect l="0" t="0" r="r" b="b"/>
                  <a:pathLst>
                    <a:path w="11" h="2">
                      <a:moveTo>
                        <a:pt x="0" y="0"/>
                      </a:moveTo>
                      <a:lnTo>
                        <a:pt x="11" y="2"/>
                      </a:lnTo>
                      <a:lnTo>
                        <a:pt x="11" y="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81" name="Freeform 2024"/>
                <p:cNvSpPr>
                  <a:spLocks/>
                </p:cNvSpPr>
                <p:nvPr/>
              </p:nvSpPr>
              <p:spPr bwMode="auto">
                <a:xfrm>
                  <a:off x="11605" y="2656"/>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82" name="Rectangle 2025"/>
                <p:cNvSpPr>
                  <a:spLocks noChangeArrowheads="1"/>
                </p:cNvSpPr>
                <p:nvPr/>
              </p:nvSpPr>
              <p:spPr bwMode="auto">
                <a:xfrm>
                  <a:off x="11605"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4683" name="Rectangle 2026"/>
                <p:cNvSpPr>
                  <a:spLocks noChangeArrowheads="1"/>
                </p:cNvSpPr>
                <p:nvPr/>
              </p:nvSpPr>
              <p:spPr bwMode="auto">
                <a:xfrm>
                  <a:off x="11605"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4684" name="Freeform 2027"/>
                <p:cNvSpPr>
                  <a:spLocks/>
                </p:cNvSpPr>
                <p:nvPr/>
              </p:nvSpPr>
              <p:spPr bwMode="auto">
                <a:xfrm>
                  <a:off x="11605" y="2569"/>
                  <a:ext cx="17" cy="0"/>
                </a:xfrm>
                <a:custGeom>
                  <a:avLst/>
                  <a:gdLst>
                    <a:gd name="T0" fmla="*/ 0 w 11"/>
                    <a:gd name="T1" fmla="*/ 2 h 2"/>
                    <a:gd name="T2" fmla="*/ 11 w 11"/>
                    <a:gd name="T3" fmla="*/ 2 h 2"/>
                    <a:gd name="T4" fmla="*/ 11 w 11"/>
                    <a:gd name="T5" fmla="*/ 2 h 2"/>
                    <a:gd name="T6" fmla="*/ 0 w 11"/>
                    <a:gd name="T7" fmla="*/ 0 h 2"/>
                    <a:gd name="T8" fmla="*/ 0 w 11"/>
                    <a:gd name="T9" fmla="*/ 2 h 2"/>
                  </a:gdLst>
                  <a:ahLst/>
                  <a:cxnLst>
                    <a:cxn ang="0">
                      <a:pos x="T0" y="T1"/>
                    </a:cxn>
                    <a:cxn ang="0">
                      <a:pos x="T2" y="T3"/>
                    </a:cxn>
                    <a:cxn ang="0">
                      <a:pos x="T4" y="T5"/>
                    </a:cxn>
                    <a:cxn ang="0">
                      <a:pos x="T6" y="T7"/>
                    </a:cxn>
                    <a:cxn ang="0">
                      <a:pos x="T8" y="T9"/>
                    </a:cxn>
                  </a:cxnLst>
                  <a:rect l="0" t="0" r="r" b="b"/>
                  <a:pathLst>
                    <a:path w="11" h="2">
                      <a:moveTo>
                        <a:pt x="0" y="2"/>
                      </a:moveTo>
                      <a:lnTo>
                        <a:pt x="11" y="2"/>
                      </a:lnTo>
                      <a:lnTo>
                        <a:pt x="11"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85" name="Rectangle 2028"/>
                <p:cNvSpPr>
                  <a:spLocks noChangeArrowheads="1"/>
                </p:cNvSpPr>
                <p:nvPr/>
              </p:nvSpPr>
              <p:spPr bwMode="auto">
                <a:xfrm>
                  <a:off x="11605"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4686" name="Rectangle 2029"/>
                <p:cNvSpPr>
                  <a:spLocks noChangeArrowheads="1"/>
                </p:cNvSpPr>
                <p:nvPr/>
              </p:nvSpPr>
              <p:spPr bwMode="auto">
                <a:xfrm>
                  <a:off x="11605"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4687" name="Rectangle 2030"/>
                <p:cNvSpPr>
                  <a:spLocks noChangeArrowheads="1"/>
                </p:cNvSpPr>
                <p:nvPr/>
              </p:nvSpPr>
              <p:spPr bwMode="auto">
                <a:xfrm>
                  <a:off x="11605" y="2578"/>
                  <a:ext cx="17" cy="0"/>
                </a:xfrm>
                <a:prstGeom prst="rect">
                  <a:avLst/>
                </a:prstGeom>
                <a:solidFill>
                  <a:srgbClr val="01AAE5"/>
                </a:solidFill>
                <a:ln>
                  <a:noFill/>
                </a:ln>
                <a:extLst/>
              </p:spPr>
              <p:txBody>
                <a:bodyPr/>
                <a:lstStyle/>
                <a:p>
                  <a:pPr eaLnBrk="1" hangingPunct="1">
                    <a:defRPr/>
                  </a:pPr>
                  <a:endParaRPr lang="zh-CN" altLang="en-US" sz="1050"/>
                </a:p>
              </p:txBody>
            </p:sp>
            <p:sp>
              <p:nvSpPr>
                <p:cNvPr id="4688" name="Freeform 2031"/>
                <p:cNvSpPr>
                  <a:spLocks/>
                </p:cNvSpPr>
                <p:nvPr/>
              </p:nvSpPr>
              <p:spPr bwMode="auto">
                <a:xfrm>
                  <a:off x="11605" y="2595"/>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89" name="Freeform 2032"/>
                <p:cNvSpPr>
                  <a:spLocks/>
                </p:cNvSpPr>
                <p:nvPr/>
              </p:nvSpPr>
              <p:spPr bwMode="auto">
                <a:xfrm>
                  <a:off x="11605" y="2604"/>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90" name="Freeform 2033"/>
                <p:cNvSpPr>
                  <a:spLocks/>
                </p:cNvSpPr>
                <p:nvPr/>
              </p:nvSpPr>
              <p:spPr bwMode="auto">
                <a:xfrm>
                  <a:off x="11596" y="2700"/>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91" name="Freeform 2034"/>
                <p:cNvSpPr>
                  <a:spLocks/>
                </p:cNvSpPr>
                <p:nvPr/>
              </p:nvSpPr>
              <p:spPr bwMode="auto">
                <a:xfrm>
                  <a:off x="11580" y="2735"/>
                  <a:ext cx="17" cy="9"/>
                </a:xfrm>
                <a:custGeom>
                  <a:avLst/>
                  <a:gdLst>
                    <a:gd name="T0" fmla="*/ 0 w 19"/>
                    <a:gd name="T1" fmla="*/ 2 h 7"/>
                    <a:gd name="T2" fmla="*/ 19 w 19"/>
                    <a:gd name="T3" fmla="*/ 7 h 7"/>
                    <a:gd name="T4" fmla="*/ 19 w 19"/>
                    <a:gd name="T5" fmla="*/ 4 h 7"/>
                    <a:gd name="T6" fmla="*/ 0 w 19"/>
                    <a:gd name="T7" fmla="*/ 0 h 7"/>
                    <a:gd name="T8" fmla="*/ 0 w 19"/>
                    <a:gd name="T9" fmla="*/ 2 h 7"/>
                  </a:gdLst>
                  <a:ahLst/>
                  <a:cxnLst>
                    <a:cxn ang="0">
                      <a:pos x="T0" y="T1"/>
                    </a:cxn>
                    <a:cxn ang="0">
                      <a:pos x="T2" y="T3"/>
                    </a:cxn>
                    <a:cxn ang="0">
                      <a:pos x="T4" y="T5"/>
                    </a:cxn>
                    <a:cxn ang="0">
                      <a:pos x="T6" y="T7"/>
                    </a:cxn>
                    <a:cxn ang="0">
                      <a:pos x="T8" y="T9"/>
                    </a:cxn>
                  </a:cxnLst>
                  <a:rect l="0" t="0" r="r" b="b"/>
                  <a:pathLst>
                    <a:path w="19" h="7">
                      <a:moveTo>
                        <a:pt x="0" y="2"/>
                      </a:moveTo>
                      <a:lnTo>
                        <a:pt x="19" y="7"/>
                      </a:lnTo>
                      <a:lnTo>
                        <a:pt x="19" y="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92" name="Freeform 2035"/>
                <p:cNvSpPr>
                  <a:spLocks/>
                </p:cNvSpPr>
                <p:nvPr/>
              </p:nvSpPr>
              <p:spPr bwMode="auto">
                <a:xfrm>
                  <a:off x="11571" y="2743"/>
                  <a:ext cx="33" cy="0"/>
                </a:xfrm>
                <a:custGeom>
                  <a:avLst/>
                  <a:gdLst>
                    <a:gd name="T0" fmla="*/ 0 w 21"/>
                    <a:gd name="T1" fmla="*/ 3 h 10"/>
                    <a:gd name="T2" fmla="*/ 21 w 21"/>
                    <a:gd name="T3" fmla="*/ 10 h 10"/>
                    <a:gd name="T4" fmla="*/ 21 w 21"/>
                    <a:gd name="T5" fmla="*/ 7 h 10"/>
                    <a:gd name="T6" fmla="*/ 0 w 21"/>
                    <a:gd name="T7" fmla="*/ 0 h 10"/>
                    <a:gd name="T8" fmla="*/ 0 w 21"/>
                    <a:gd name="T9" fmla="*/ 3 h 10"/>
                  </a:gdLst>
                  <a:ahLst/>
                  <a:cxnLst>
                    <a:cxn ang="0">
                      <a:pos x="T0" y="T1"/>
                    </a:cxn>
                    <a:cxn ang="0">
                      <a:pos x="T2" y="T3"/>
                    </a:cxn>
                    <a:cxn ang="0">
                      <a:pos x="T4" y="T5"/>
                    </a:cxn>
                    <a:cxn ang="0">
                      <a:pos x="T6" y="T7"/>
                    </a:cxn>
                    <a:cxn ang="0">
                      <a:pos x="T8" y="T9"/>
                    </a:cxn>
                  </a:cxnLst>
                  <a:rect l="0" t="0" r="r" b="b"/>
                  <a:pathLst>
                    <a:path w="21" h="10">
                      <a:moveTo>
                        <a:pt x="0" y="3"/>
                      </a:moveTo>
                      <a:lnTo>
                        <a:pt x="21" y="10"/>
                      </a:lnTo>
                      <a:lnTo>
                        <a:pt x="2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93" name="Freeform 2036"/>
                <p:cNvSpPr>
                  <a:spLocks/>
                </p:cNvSpPr>
                <p:nvPr/>
              </p:nvSpPr>
              <p:spPr bwMode="auto">
                <a:xfrm>
                  <a:off x="11571" y="2743"/>
                  <a:ext cx="33" cy="9"/>
                </a:xfrm>
                <a:custGeom>
                  <a:avLst/>
                  <a:gdLst>
                    <a:gd name="T0" fmla="*/ 0 w 26"/>
                    <a:gd name="T1" fmla="*/ 0 h 10"/>
                    <a:gd name="T2" fmla="*/ 26 w 26"/>
                    <a:gd name="T3" fmla="*/ 10 h 10"/>
                    <a:gd name="T4" fmla="*/ 26 w 26"/>
                    <a:gd name="T5" fmla="*/ 7 h 10"/>
                    <a:gd name="T6" fmla="*/ 0 w 26"/>
                    <a:gd name="T7" fmla="*/ 0 h 10"/>
                    <a:gd name="T8" fmla="*/ 0 w 26"/>
                    <a:gd name="T9" fmla="*/ 0 h 10"/>
                  </a:gdLst>
                  <a:ahLst/>
                  <a:cxnLst>
                    <a:cxn ang="0">
                      <a:pos x="T0" y="T1"/>
                    </a:cxn>
                    <a:cxn ang="0">
                      <a:pos x="T2" y="T3"/>
                    </a:cxn>
                    <a:cxn ang="0">
                      <a:pos x="T4" y="T5"/>
                    </a:cxn>
                    <a:cxn ang="0">
                      <a:pos x="T6" y="T7"/>
                    </a:cxn>
                    <a:cxn ang="0">
                      <a:pos x="T8" y="T9"/>
                    </a:cxn>
                  </a:cxnLst>
                  <a:rect l="0" t="0" r="r" b="b"/>
                  <a:pathLst>
                    <a:path w="26" h="10">
                      <a:moveTo>
                        <a:pt x="0" y="0"/>
                      </a:moveTo>
                      <a:lnTo>
                        <a:pt x="26" y="10"/>
                      </a:lnTo>
                      <a:lnTo>
                        <a:pt x="26"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94" name="Freeform 2037"/>
                <p:cNvSpPr>
                  <a:spLocks/>
                </p:cNvSpPr>
                <p:nvPr/>
              </p:nvSpPr>
              <p:spPr bwMode="auto">
                <a:xfrm>
                  <a:off x="11580" y="2726"/>
                  <a:ext cx="17" cy="9"/>
                </a:xfrm>
                <a:custGeom>
                  <a:avLst/>
                  <a:gdLst>
                    <a:gd name="T0" fmla="*/ 0 w 16"/>
                    <a:gd name="T1" fmla="*/ 3 h 8"/>
                    <a:gd name="T2" fmla="*/ 16 w 16"/>
                    <a:gd name="T3" fmla="*/ 8 h 8"/>
                    <a:gd name="T4" fmla="*/ 16 w 16"/>
                    <a:gd name="T5" fmla="*/ 5 h 8"/>
                    <a:gd name="T6" fmla="*/ 2 w 16"/>
                    <a:gd name="T7" fmla="*/ 0 h 8"/>
                    <a:gd name="T8" fmla="*/ 0 w 16"/>
                    <a:gd name="T9" fmla="*/ 3 h 8"/>
                  </a:gdLst>
                  <a:ahLst/>
                  <a:cxnLst>
                    <a:cxn ang="0">
                      <a:pos x="T0" y="T1"/>
                    </a:cxn>
                    <a:cxn ang="0">
                      <a:pos x="T2" y="T3"/>
                    </a:cxn>
                    <a:cxn ang="0">
                      <a:pos x="T4" y="T5"/>
                    </a:cxn>
                    <a:cxn ang="0">
                      <a:pos x="T6" y="T7"/>
                    </a:cxn>
                    <a:cxn ang="0">
                      <a:pos x="T8" y="T9"/>
                    </a:cxn>
                  </a:cxnLst>
                  <a:rect l="0" t="0" r="r" b="b"/>
                  <a:pathLst>
                    <a:path w="16" h="8">
                      <a:moveTo>
                        <a:pt x="0" y="3"/>
                      </a:moveTo>
                      <a:lnTo>
                        <a:pt x="16" y="8"/>
                      </a:lnTo>
                      <a:lnTo>
                        <a:pt x="16" y="5"/>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695" name="Freeform 2038"/>
                <p:cNvSpPr>
                  <a:spLocks/>
                </p:cNvSpPr>
                <p:nvPr/>
              </p:nvSpPr>
              <p:spPr bwMode="auto">
                <a:xfrm>
                  <a:off x="11588" y="2726"/>
                  <a:ext cx="17" cy="0"/>
                </a:xfrm>
                <a:custGeom>
                  <a:avLst/>
                  <a:gdLst>
                    <a:gd name="T0" fmla="*/ 0 w 12"/>
                    <a:gd name="T1" fmla="*/ 0 h 4"/>
                    <a:gd name="T2" fmla="*/ 12 w 12"/>
                    <a:gd name="T3" fmla="*/ 4 h 4"/>
                    <a:gd name="T4" fmla="*/ 12 w 12"/>
                    <a:gd name="T5" fmla="*/ 2 h 4"/>
                    <a:gd name="T6" fmla="*/ 0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12" y="4"/>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96" name="Freeform 2039"/>
                <p:cNvSpPr>
                  <a:spLocks/>
                </p:cNvSpPr>
                <p:nvPr/>
              </p:nvSpPr>
              <p:spPr bwMode="auto">
                <a:xfrm>
                  <a:off x="11563" y="2761"/>
                  <a:ext cx="42" cy="17"/>
                </a:xfrm>
                <a:custGeom>
                  <a:avLst/>
                  <a:gdLst>
                    <a:gd name="T0" fmla="*/ 0 w 38"/>
                    <a:gd name="T1" fmla="*/ 2 h 14"/>
                    <a:gd name="T2" fmla="*/ 38 w 38"/>
                    <a:gd name="T3" fmla="*/ 14 h 14"/>
                    <a:gd name="T4" fmla="*/ 38 w 38"/>
                    <a:gd name="T5" fmla="*/ 12 h 14"/>
                    <a:gd name="T6" fmla="*/ 3 w 38"/>
                    <a:gd name="T7" fmla="*/ 0 h 14"/>
                    <a:gd name="T8" fmla="*/ 0 w 38"/>
                    <a:gd name="T9" fmla="*/ 2 h 14"/>
                  </a:gdLst>
                  <a:ahLst/>
                  <a:cxnLst>
                    <a:cxn ang="0">
                      <a:pos x="T0" y="T1"/>
                    </a:cxn>
                    <a:cxn ang="0">
                      <a:pos x="T2" y="T3"/>
                    </a:cxn>
                    <a:cxn ang="0">
                      <a:pos x="T4" y="T5"/>
                    </a:cxn>
                    <a:cxn ang="0">
                      <a:pos x="T6" y="T7"/>
                    </a:cxn>
                    <a:cxn ang="0">
                      <a:pos x="T8" y="T9"/>
                    </a:cxn>
                  </a:cxnLst>
                  <a:rect l="0" t="0" r="r" b="b"/>
                  <a:pathLst>
                    <a:path w="38" h="14">
                      <a:moveTo>
                        <a:pt x="0" y="2"/>
                      </a:moveTo>
                      <a:lnTo>
                        <a:pt x="38" y="14"/>
                      </a:lnTo>
                      <a:lnTo>
                        <a:pt x="38" y="1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97" name="Freeform 2040"/>
                <p:cNvSpPr>
                  <a:spLocks/>
                </p:cNvSpPr>
                <p:nvPr/>
              </p:nvSpPr>
              <p:spPr bwMode="auto">
                <a:xfrm>
                  <a:off x="11571" y="2752"/>
                  <a:ext cx="33" cy="9"/>
                </a:xfrm>
                <a:custGeom>
                  <a:avLst/>
                  <a:gdLst>
                    <a:gd name="T0" fmla="*/ 0 w 31"/>
                    <a:gd name="T1" fmla="*/ 2 h 12"/>
                    <a:gd name="T2" fmla="*/ 31 w 31"/>
                    <a:gd name="T3" fmla="*/ 12 h 12"/>
                    <a:gd name="T4" fmla="*/ 31 w 31"/>
                    <a:gd name="T5" fmla="*/ 10 h 12"/>
                    <a:gd name="T6" fmla="*/ 3 w 31"/>
                    <a:gd name="T7" fmla="*/ 0 h 12"/>
                    <a:gd name="T8" fmla="*/ 0 w 31"/>
                    <a:gd name="T9" fmla="*/ 2 h 12"/>
                  </a:gdLst>
                  <a:ahLst/>
                  <a:cxnLst>
                    <a:cxn ang="0">
                      <a:pos x="T0" y="T1"/>
                    </a:cxn>
                    <a:cxn ang="0">
                      <a:pos x="T2" y="T3"/>
                    </a:cxn>
                    <a:cxn ang="0">
                      <a:pos x="T4" y="T5"/>
                    </a:cxn>
                    <a:cxn ang="0">
                      <a:pos x="T6" y="T7"/>
                    </a:cxn>
                    <a:cxn ang="0">
                      <a:pos x="T8" y="T9"/>
                    </a:cxn>
                  </a:cxnLst>
                  <a:rect l="0" t="0" r="r" b="b"/>
                  <a:pathLst>
                    <a:path w="31" h="12">
                      <a:moveTo>
                        <a:pt x="0" y="2"/>
                      </a:moveTo>
                      <a:lnTo>
                        <a:pt x="31" y="12"/>
                      </a:lnTo>
                      <a:lnTo>
                        <a:pt x="31" y="1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698" name="Freeform 2041"/>
                <p:cNvSpPr>
                  <a:spLocks/>
                </p:cNvSpPr>
                <p:nvPr/>
              </p:nvSpPr>
              <p:spPr bwMode="auto">
                <a:xfrm>
                  <a:off x="11571" y="2761"/>
                  <a:ext cx="33" cy="17"/>
                </a:xfrm>
                <a:custGeom>
                  <a:avLst/>
                  <a:gdLst>
                    <a:gd name="T0" fmla="*/ 0 w 33"/>
                    <a:gd name="T1" fmla="*/ 0 h 12"/>
                    <a:gd name="T2" fmla="*/ 33 w 33"/>
                    <a:gd name="T3" fmla="*/ 12 h 12"/>
                    <a:gd name="T4" fmla="*/ 33 w 33"/>
                    <a:gd name="T5" fmla="*/ 10 h 12"/>
                    <a:gd name="T6" fmla="*/ 0 w 33"/>
                    <a:gd name="T7" fmla="*/ 0 h 12"/>
                    <a:gd name="T8" fmla="*/ 0 w 33"/>
                    <a:gd name="T9" fmla="*/ 0 h 12"/>
                  </a:gdLst>
                  <a:ahLst/>
                  <a:cxnLst>
                    <a:cxn ang="0">
                      <a:pos x="T0" y="T1"/>
                    </a:cxn>
                    <a:cxn ang="0">
                      <a:pos x="T2" y="T3"/>
                    </a:cxn>
                    <a:cxn ang="0">
                      <a:pos x="T4" y="T5"/>
                    </a:cxn>
                    <a:cxn ang="0">
                      <a:pos x="T6" y="T7"/>
                    </a:cxn>
                    <a:cxn ang="0">
                      <a:pos x="T8" y="T9"/>
                    </a:cxn>
                  </a:cxnLst>
                  <a:rect l="0" t="0" r="r" b="b"/>
                  <a:pathLst>
                    <a:path w="33" h="12">
                      <a:moveTo>
                        <a:pt x="0" y="0"/>
                      </a:moveTo>
                      <a:lnTo>
                        <a:pt x="33" y="12"/>
                      </a:lnTo>
                      <a:lnTo>
                        <a:pt x="33" y="1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699" name="Freeform 2042"/>
                <p:cNvSpPr>
                  <a:spLocks/>
                </p:cNvSpPr>
                <p:nvPr/>
              </p:nvSpPr>
              <p:spPr bwMode="auto">
                <a:xfrm>
                  <a:off x="11596" y="2700"/>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00" name="Freeform 2043"/>
                <p:cNvSpPr>
                  <a:spLocks/>
                </p:cNvSpPr>
                <p:nvPr/>
              </p:nvSpPr>
              <p:spPr bwMode="auto">
                <a:xfrm>
                  <a:off x="11596" y="2674"/>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01" name="Freeform 2044"/>
                <p:cNvSpPr>
                  <a:spLocks/>
                </p:cNvSpPr>
                <p:nvPr/>
              </p:nvSpPr>
              <p:spPr bwMode="auto">
                <a:xfrm>
                  <a:off x="11596" y="2682"/>
                  <a:ext cx="8" cy="0"/>
                </a:xfrm>
                <a:custGeom>
                  <a:avLst/>
                  <a:gdLst>
                    <a:gd name="T0" fmla="*/ 0 w 12"/>
                    <a:gd name="T1" fmla="*/ 2 h 4"/>
                    <a:gd name="T2" fmla="*/ 12 w 12"/>
                    <a:gd name="T3" fmla="*/ 4 h 4"/>
                    <a:gd name="T4" fmla="*/ 12 w 12"/>
                    <a:gd name="T5" fmla="*/ 2 h 4"/>
                    <a:gd name="T6" fmla="*/ 3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02" name="Freeform 2045"/>
                <p:cNvSpPr>
                  <a:spLocks/>
                </p:cNvSpPr>
                <p:nvPr/>
              </p:nvSpPr>
              <p:spPr bwMode="auto">
                <a:xfrm>
                  <a:off x="11596" y="2665"/>
                  <a:ext cx="8" cy="9"/>
                </a:xfrm>
                <a:custGeom>
                  <a:avLst/>
                  <a:gdLst>
                    <a:gd name="T0" fmla="*/ 0 w 12"/>
                    <a:gd name="T1" fmla="*/ 3 h 5"/>
                    <a:gd name="T2" fmla="*/ 12 w 12"/>
                    <a:gd name="T3" fmla="*/ 5 h 5"/>
                    <a:gd name="T4" fmla="*/ 12 w 12"/>
                    <a:gd name="T5" fmla="*/ 3 h 5"/>
                    <a:gd name="T6" fmla="*/ 2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03" name="Freeform 2046"/>
                <p:cNvSpPr>
                  <a:spLocks/>
                </p:cNvSpPr>
                <p:nvPr/>
              </p:nvSpPr>
              <p:spPr bwMode="auto">
                <a:xfrm>
                  <a:off x="11588" y="2717"/>
                  <a:ext cx="17" cy="0"/>
                </a:xfrm>
                <a:custGeom>
                  <a:avLst/>
                  <a:gdLst>
                    <a:gd name="T0" fmla="*/ 3 w 12"/>
                    <a:gd name="T1" fmla="*/ 0 h 4"/>
                    <a:gd name="T2" fmla="*/ 0 w 12"/>
                    <a:gd name="T3" fmla="*/ 2 h 4"/>
                    <a:gd name="T4" fmla="*/ 12 w 12"/>
                    <a:gd name="T5" fmla="*/ 4 h 4"/>
                    <a:gd name="T6" fmla="*/ 12 w 12"/>
                    <a:gd name="T7" fmla="*/ 2 h 4"/>
                    <a:gd name="T8" fmla="*/ 3 w 12"/>
                    <a:gd name="T9" fmla="*/ 0 h 4"/>
                  </a:gdLst>
                  <a:ahLst/>
                  <a:cxnLst>
                    <a:cxn ang="0">
                      <a:pos x="T0" y="T1"/>
                    </a:cxn>
                    <a:cxn ang="0">
                      <a:pos x="T2" y="T3"/>
                    </a:cxn>
                    <a:cxn ang="0">
                      <a:pos x="T4" y="T5"/>
                    </a:cxn>
                    <a:cxn ang="0">
                      <a:pos x="T6" y="T7"/>
                    </a:cxn>
                    <a:cxn ang="0">
                      <a:pos x="T8" y="T9"/>
                    </a:cxn>
                  </a:cxnLst>
                  <a:rect l="0" t="0" r="r" b="b"/>
                  <a:pathLst>
                    <a:path w="12" h="4">
                      <a:moveTo>
                        <a:pt x="3" y="0"/>
                      </a:moveTo>
                      <a:lnTo>
                        <a:pt x="0" y="2"/>
                      </a:lnTo>
                      <a:lnTo>
                        <a:pt x="12" y="4"/>
                      </a:lnTo>
                      <a:lnTo>
                        <a:pt x="12"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4704" name="Freeform 2047"/>
                <p:cNvSpPr>
                  <a:spLocks/>
                </p:cNvSpPr>
                <p:nvPr/>
              </p:nvSpPr>
              <p:spPr bwMode="auto">
                <a:xfrm>
                  <a:off x="11605" y="2665"/>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05" name="Freeform 2048"/>
                <p:cNvSpPr>
                  <a:spLocks/>
                </p:cNvSpPr>
                <p:nvPr/>
              </p:nvSpPr>
              <p:spPr bwMode="auto">
                <a:xfrm>
                  <a:off x="11563" y="2778"/>
                  <a:ext cx="33" cy="9"/>
                </a:xfrm>
                <a:custGeom>
                  <a:avLst/>
                  <a:gdLst>
                    <a:gd name="T0" fmla="*/ 0 w 38"/>
                    <a:gd name="T1" fmla="*/ 0 h 14"/>
                    <a:gd name="T2" fmla="*/ 38 w 38"/>
                    <a:gd name="T3" fmla="*/ 14 h 14"/>
                    <a:gd name="T4" fmla="*/ 38 w 38"/>
                    <a:gd name="T5" fmla="*/ 12 h 14"/>
                    <a:gd name="T6" fmla="*/ 0 w 38"/>
                    <a:gd name="T7" fmla="*/ 0 h 14"/>
                    <a:gd name="T8" fmla="*/ 0 w 38"/>
                    <a:gd name="T9" fmla="*/ 0 h 14"/>
                  </a:gdLst>
                  <a:ahLst/>
                  <a:cxnLst>
                    <a:cxn ang="0">
                      <a:pos x="T0" y="T1"/>
                    </a:cxn>
                    <a:cxn ang="0">
                      <a:pos x="T2" y="T3"/>
                    </a:cxn>
                    <a:cxn ang="0">
                      <a:pos x="T4" y="T5"/>
                    </a:cxn>
                    <a:cxn ang="0">
                      <a:pos x="T6" y="T7"/>
                    </a:cxn>
                    <a:cxn ang="0">
                      <a:pos x="T8" y="T9"/>
                    </a:cxn>
                  </a:cxnLst>
                  <a:rect l="0" t="0" r="r" b="b"/>
                  <a:pathLst>
                    <a:path w="38" h="14">
                      <a:moveTo>
                        <a:pt x="0" y="0"/>
                      </a:moveTo>
                      <a:lnTo>
                        <a:pt x="38" y="14"/>
                      </a:lnTo>
                      <a:lnTo>
                        <a:pt x="38"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06" name="Freeform 2049"/>
                <p:cNvSpPr>
                  <a:spLocks/>
                </p:cNvSpPr>
                <p:nvPr/>
              </p:nvSpPr>
              <p:spPr bwMode="auto">
                <a:xfrm>
                  <a:off x="11596" y="2691"/>
                  <a:ext cx="8" cy="0"/>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07" name="Freeform 2050"/>
                <p:cNvSpPr>
                  <a:spLocks/>
                </p:cNvSpPr>
                <p:nvPr/>
              </p:nvSpPr>
              <p:spPr bwMode="auto">
                <a:xfrm>
                  <a:off x="11538" y="2857"/>
                  <a:ext cx="8" cy="9"/>
                </a:xfrm>
                <a:custGeom>
                  <a:avLst/>
                  <a:gdLst>
                    <a:gd name="T0" fmla="*/ 0 w 19"/>
                    <a:gd name="T1" fmla="*/ 3 h 12"/>
                    <a:gd name="T2" fmla="*/ 19 w 19"/>
                    <a:gd name="T3" fmla="*/ 12 h 12"/>
                    <a:gd name="T4" fmla="*/ 19 w 19"/>
                    <a:gd name="T5" fmla="*/ 10 h 12"/>
                    <a:gd name="T6" fmla="*/ 0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9" y="12"/>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08" name="Freeform 2051"/>
                <p:cNvSpPr>
                  <a:spLocks/>
                </p:cNvSpPr>
                <p:nvPr/>
              </p:nvSpPr>
              <p:spPr bwMode="auto">
                <a:xfrm>
                  <a:off x="11264" y="3127"/>
                  <a:ext cx="50" cy="70"/>
                </a:xfrm>
                <a:custGeom>
                  <a:avLst/>
                  <a:gdLst>
                    <a:gd name="T0" fmla="*/ 0 w 50"/>
                    <a:gd name="T1" fmla="*/ 0 h 78"/>
                    <a:gd name="T2" fmla="*/ 50 w 50"/>
                    <a:gd name="T3" fmla="*/ 78 h 78"/>
                    <a:gd name="T4" fmla="*/ 50 w 50"/>
                    <a:gd name="T5" fmla="*/ 78 h 78"/>
                    <a:gd name="T6" fmla="*/ 0 w 50"/>
                    <a:gd name="T7" fmla="*/ 0 h 78"/>
                    <a:gd name="T8" fmla="*/ 0 w 50"/>
                    <a:gd name="T9" fmla="*/ 0 h 78"/>
                  </a:gdLst>
                  <a:ahLst/>
                  <a:cxnLst>
                    <a:cxn ang="0">
                      <a:pos x="T0" y="T1"/>
                    </a:cxn>
                    <a:cxn ang="0">
                      <a:pos x="T2" y="T3"/>
                    </a:cxn>
                    <a:cxn ang="0">
                      <a:pos x="T4" y="T5"/>
                    </a:cxn>
                    <a:cxn ang="0">
                      <a:pos x="T6" y="T7"/>
                    </a:cxn>
                    <a:cxn ang="0">
                      <a:pos x="T8" y="T9"/>
                    </a:cxn>
                  </a:cxnLst>
                  <a:rect l="0" t="0" r="r" b="b"/>
                  <a:pathLst>
                    <a:path w="50" h="78">
                      <a:moveTo>
                        <a:pt x="0" y="0"/>
                      </a:moveTo>
                      <a:lnTo>
                        <a:pt x="50" y="78"/>
                      </a:lnTo>
                      <a:lnTo>
                        <a:pt x="50"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09" name="Freeform 2052"/>
                <p:cNvSpPr>
                  <a:spLocks/>
                </p:cNvSpPr>
                <p:nvPr/>
              </p:nvSpPr>
              <p:spPr bwMode="auto">
                <a:xfrm>
                  <a:off x="11180" y="3196"/>
                  <a:ext cx="8" cy="26"/>
                </a:xfrm>
                <a:custGeom>
                  <a:avLst/>
                  <a:gdLst>
                    <a:gd name="T0" fmla="*/ 0 w 11"/>
                    <a:gd name="T1" fmla="*/ 0 h 24"/>
                    <a:gd name="T2" fmla="*/ 9 w 11"/>
                    <a:gd name="T3" fmla="*/ 24 h 24"/>
                    <a:gd name="T4" fmla="*/ 11 w 11"/>
                    <a:gd name="T5" fmla="*/ 24 h 24"/>
                    <a:gd name="T6" fmla="*/ 2 w 11"/>
                    <a:gd name="T7" fmla="*/ 0 h 24"/>
                    <a:gd name="T8" fmla="*/ 0 w 11"/>
                    <a:gd name="T9" fmla="*/ 0 h 24"/>
                  </a:gdLst>
                  <a:ahLst/>
                  <a:cxnLst>
                    <a:cxn ang="0">
                      <a:pos x="T0" y="T1"/>
                    </a:cxn>
                    <a:cxn ang="0">
                      <a:pos x="T2" y="T3"/>
                    </a:cxn>
                    <a:cxn ang="0">
                      <a:pos x="T4" y="T5"/>
                    </a:cxn>
                    <a:cxn ang="0">
                      <a:pos x="T6" y="T7"/>
                    </a:cxn>
                    <a:cxn ang="0">
                      <a:pos x="T8" y="T9"/>
                    </a:cxn>
                  </a:cxnLst>
                  <a:rect l="0" t="0" r="r" b="b"/>
                  <a:pathLst>
                    <a:path w="11" h="24">
                      <a:moveTo>
                        <a:pt x="0" y="0"/>
                      </a:moveTo>
                      <a:lnTo>
                        <a:pt x="9" y="24"/>
                      </a:lnTo>
                      <a:lnTo>
                        <a:pt x="11"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10" name="Freeform 2053"/>
                <p:cNvSpPr>
                  <a:spLocks/>
                </p:cNvSpPr>
                <p:nvPr/>
              </p:nvSpPr>
              <p:spPr bwMode="auto">
                <a:xfrm>
                  <a:off x="11214" y="3161"/>
                  <a:ext cx="25" cy="61"/>
                </a:xfrm>
                <a:custGeom>
                  <a:avLst/>
                  <a:gdLst>
                    <a:gd name="T0" fmla="*/ 0 w 23"/>
                    <a:gd name="T1" fmla="*/ 3 h 48"/>
                    <a:gd name="T2" fmla="*/ 21 w 23"/>
                    <a:gd name="T3" fmla="*/ 48 h 48"/>
                    <a:gd name="T4" fmla="*/ 23 w 23"/>
                    <a:gd name="T5" fmla="*/ 48 h 48"/>
                    <a:gd name="T6" fmla="*/ 0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21" y="48"/>
                      </a:lnTo>
                      <a:lnTo>
                        <a:pt x="23" y="4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11" name="Freeform 2054"/>
                <p:cNvSpPr>
                  <a:spLocks/>
                </p:cNvSpPr>
                <p:nvPr/>
              </p:nvSpPr>
              <p:spPr bwMode="auto">
                <a:xfrm>
                  <a:off x="11214" y="3161"/>
                  <a:ext cx="25" cy="61"/>
                </a:xfrm>
                <a:custGeom>
                  <a:avLst/>
                  <a:gdLst>
                    <a:gd name="T0" fmla="*/ 0 w 26"/>
                    <a:gd name="T1" fmla="*/ 2 h 52"/>
                    <a:gd name="T2" fmla="*/ 24 w 26"/>
                    <a:gd name="T3" fmla="*/ 52 h 52"/>
                    <a:gd name="T4" fmla="*/ 26 w 26"/>
                    <a:gd name="T5" fmla="*/ 49 h 52"/>
                    <a:gd name="T6" fmla="*/ 0 w 26"/>
                    <a:gd name="T7" fmla="*/ 0 h 52"/>
                    <a:gd name="T8" fmla="*/ 0 w 26"/>
                    <a:gd name="T9" fmla="*/ 2 h 52"/>
                  </a:gdLst>
                  <a:ahLst/>
                  <a:cxnLst>
                    <a:cxn ang="0">
                      <a:pos x="T0" y="T1"/>
                    </a:cxn>
                    <a:cxn ang="0">
                      <a:pos x="T2" y="T3"/>
                    </a:cxn>
                    <a:cxn ang="0">
                      <a:pos x="T4" y="T5"/>
                    </a:cxn>
                    <a:cxn ang="0">
                      <a:pos x="T6" y="T7"/>
                    </a:cxn>
                    <a:cxn ang="0">
                      <a:pos x="T8" y="T9"/>
                    </a:cxn>
                  </a:cxnLst>
                  <a:rect l="0" t="0" r="r" b="b"/>
                  <a:pathLst>
                    <a:path w="26" h="52">
                      <a:moveTo>
                        <a:pt x="0" y="2"/>
                      </a:moveTo>
                      <a:lnTo>
                        <a:pt x="24" y="52"/>
                      </a:lnTo>
                      <a:lnTo>
                        <a:pt x="26" y="49"/>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12" name="Freeform 2055"/>
                <p:cNvSpPr>
                  <a:spLocks/>
                </p:cNvSpPr>
                <p:nvPr/>
              </p:nvSpPr>
              <p:spPr bwMode="auto">
                <a:xfrm>
                  <a:off x="11189" y="3188"/>
                  <a:ext cx="17" cy="35"/>
                </a:xfrm>
                <a:custGeom>
                  <a:avLst/>
                  <a:gdLst>
                    <a:gd name="T0" fmla="*/ 0 w 15"/>
                    <a:gd name="T1" fmla="*/ 0 h 31"/>
                    <a:gd name="T2" fmla="*/ 15 w 15"/>
                    <a:gd name="T3" fmla="*/ 31 h 31"/>
                    <a:gd name="T4" fmla="*/ 15 w 15"/>
                    <a:gd name="T5" fmla="*/ 31 h 31"/>
                    <a:gd name="T6" fmla="*/ 0 w 15"/>
                    <a:gd name="T7" fmla="*/ 0 h 31"/>
                    <a:gd name="T8" fmla="*/ 0 w 15"/>
                    <a:gd name="T9" fmla="*/ 0 h 31"/>
                  </a:gdLst>
                  <a:ahLst/>
                  <a:cxnLst>
                    <a:cxn ang="0">
                      <a:pos x="T0" y="T1"/>
                    </a:cxn>
                    <a:cxn ang="0">
                      <a:pos x="T2" y="T3"/>
                    </a:cxn>
                    <a:cxn ang="0">
                      <a:pos x="T4" y="T5"/>
                    </a:cxn>
                    <a:cxn ang="0">
                      <a:pos x="T6" y="T7"/>
                    </a:cxn>
                    <a:cxn ang="0">
                      <a:pos x="T8" y="T9"/>
                    </a:cxn>
                  </a:cxnLst>
                  <a:rect l="0" t="0" r="r" b="b"/>
                  <a:pathLst>
                    <a:path w="15" h="31">
                      <a:moveTo>
                        <a:pt x="0" y="0"/>
                      </a:moveTo>
                      <a:lnTo>
                        <a:pt x="15" y="31"/>
                      </a:lnTo>
                      <a:lnTo>
                        <a:pt x="15" y="3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13" name="Freeform 2056"/>
                <p:cNvSpPr>
                  <a:spLocks/>
                </p:cNvSpPr>
                <p:nvPr/>
              </p:nvSpPr>
              <p:spPr bwMode="auto">
                <a:xfrm>
                  <a:off x="11197" y="3188"/>
                  <a:ext cx="17" cy="35"/>
                </a:xfrm>
                <a:custGeom>
                  <a:avLst/>
                  <a:gdLst>
                    <a:gd name="T0" fmla="*/ 0 w 17"/>
                    <a:gd name="T1" fmla="*/ 0 h 34"/>
                    <a:gd name="T2" fmla="*/ 17 w 17"/>
                    <a:gd name="T3" fmla="*/ 34 h 34"/>
                    <a:gd name="T4" fmla="*/ 17 w 17"/>
                    <a:gd name="T5" fmla="*/ 34 h 34"/>
                    <a:gd name="T6" fmla="*/ 2 w 17"/>
                    <a:gd name="T7" fmla="*/ 0 h 34"/>
                    <a:gd name="T8" fmla="*/ 0 w 17"/>
                    <a:gd name="T9" fmla="*/ 0 h 34"/>
                  </a:gdLst>
                  <a:ahLst/>
                  <a:cxnLst>
                    <a:cxn ang="0">
                      <a:pos x="T0" y="T1"/>
                    </a:cxn>
                    <a:cxn ang="0">
                      <a:pos x="T2" y="T3"/>
                    </a:cxn>
                    <a:cxn ang="0">
                      <a:pos x="T4" y="T5"/>
                    </a:cxn>
                    <a:cxn ang="0">
                      <a:pos x="T6" y="T7"/>
                    </a:cxn>
                    <a:cxn ang="0">
                      <a:pos x="T8" y="T9"/>
                    </a:cxn>
                  </a:cxnLst>
                  <a:rect l="0" t="0" r="r" b="b"/>
                  <a:pathLst>
                    <a:path w="17" h="34">
                      <a:moveTo>
                        <a:pt x="0" y="0"/>
                      </a:moveTo>
                      <a:lnTo>
                        <a:pt x="17" y="34"/>
                      </a:lnTo>
                      <a:lnTo>
                        <a:pt x="17" y="3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14" name="Freeform 2057"/>
                <p:cNvSpPr>
                  <a:spLocks/>
                </p:cNvSpPr>
                <p:nvPr/>
              </p:nvSpPr>
              <p:spPr bwMode="auto">
                <a:xfrm>
                  <a:off x="11180" y="3196"/>
                  <a:ext cx="17" cy="26"/>
                </a:xfrm>
                <a:custGeom>
                  <a:avLst/>
                  <a:gdLst>
                    <a:gd name="T0" fmla="*/ 0 w 14"/>
                    <a:gd name="T1" fmla="*/ 2 h 28"/>
                    <a:gd name="T2" fmla="*/ 12 w 14"/>
                    <a:gd name="T3" fmla="*/ 28 h 28"/>
                    <a:gd name="T4" fmla="*/ 14 w 14"/>
                    <a:gd name="T5" fmla="*/ 28 h 28"/>
                    <a:gd name="T6" fmla="*/ 3 w 14"/>
                    <a:gd name="T7" fmla="*/ 0 h 28"/>
                    <a:gd name="T8" fmla="*/ 0 w 14"/>
                    <a:gd name="T9" fmla="*/ 2 h 28"/>
                  </a:gdLst>
                  <a:ahLst/>
                  <a:cxnLst>
                    <a:cxn ang="0">
                      <a:pos x="T0" y="T1"/>
                    </a:cxn>
                    <a:cxn ang="0">
                      <a:pos x="T2" y="T3"/>
                    </a:cxn>
                    <a:cxn ang="0">
                      <a:pos x="T4" y="T5"/>
                    </a:cxn>
                    <a:cxn ang="0">
                      <a:pos x="T6" y="T7"/>
                    </a:cxn>
                    <a:cxn ang="0">
                      <a:pos x="T8" y="T9"/>
                    </a:cxn>
                  </a:cxnLst>
                  <a:rect l="0" t="0" r="r" b="b"/>
                  <a:pathLst>
                    <a:path w="14" h="28">
                      <a:moveTo>
                        <a:pt x="0" y="2"/>
                      </a:moveTo>
                      <a:lnTo>
                        <a:pt x="12" y="28"/>
                      </a:lnTo>
                      <a:lnTo>
                        <a:pt x="14" y="28"/>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15" name="Freeform 2058"/>
                <p:cNvSpPr>
                  <a:spLocks/>
                </p:cNvSpPr>
                <p:nvPr/>
              </p:nvSpPr>
              <p:spPr bwMode="auto">
                <a:xfrm>
                  <a:off x="11222" y="3161"/>
                  <a:ext cx="33" cy="52"/>
                </a:xfrm>
                <a:custGeom>
                  <a:avLst/>
                  <a:gdLst>
                    <a:gd name="T0" fmla="*/ 0 w 28"/>
                    <a:gd name="T1" fmla="*/ 2 h 54"/>
                    <a:gd name="T2" fmla="*/ 28 w 28"/>
                    <a:gd name="T3" fmla="*/ 54 h 54"/>
                    <a:gd name="T4" fmla="*/ 28 w 28"/>
                    <a:gd name="T5" fmla="*/ 54 h 54"/>
                    <a:gd name="T6" fmla="*/ 0 w 28"/>
                    <a:gd name="T7" fmla="*/ 0 h 54"/>
                    <a:gd name="T8" fmla="*/ 0 w 28"/>
                    <a:gd name="T9" fmla="*/ 2 h 54"/>
                  </a:gdLst>
                  <a:ahLst/>
                  <a:cxnLst>
                    <a:cxn ang="0">
                      <a:pos x="T0" y="T1"/>
                    </a:cxn>
                    <a:cxn ang="0">
                      <a:pos x="T2" y="T3"/>
                    </a:cxn>
                    <a:cxn ang="0">
                      <a:pos x="T4" y="T5"/>
                    </a:cxn>
                    <a:cxn ang="0">
                      <a:pos x="T6" y="T7"/>
                    </a:cxn>
                    <a:cxn ang="0">
                      <a:pos x="T8" y="T9"/>
                    </a:cxn>
                  </a:cxnLst>
                  <a:rect l="0" t="0" r="r" b="b"/>
                  <a:pathLst>
                    <a:path w="28" h="54">
                      <a:moveTo>
                        <a:pt x="0" y="2"/>
                      </a:moveTo>
                      <a:lnTo>
                        <a:pt x="28" y="54"/>
                      </a:lnTo>
                      <a:lnTo>
                        <a:pt x="28" y="5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16" name="Freeform 2059"/>
                <p:cNvSpPr>
                  <a:spLocks/>
                </p:cNvSpPr>
                <p:nvPr/>
              </p:nvSpPr>
              <p:spPr bwMode="auto">
                <a:xfrm>
                  <a:off x="11205" y="3170"/>
                  <a:ext cx="25" cy="52"/>
                </a:xfrm>
                <a:custGeom>
                  <a:avLst/>
                  <a:gdLst>
                    <a:gd name="T0" fmla="*/ 0 w 23"/>
                    <a:gd name="T1" fmla="*/ 2 h 43"/>
                    <a:gd name="T2" fmla="*/ 21 w 23"/>
                    <a:gd name="T3" fmla="*/ 43 h 43"/>
                    <a:gd name="T4" fmla="*/ 23 w 23"/>
                    <a:gd name="T5" fmla="*/ 43 h 43"/>
                    <a:gd name="T6" fmla="*/ 2 w 23"/>
                    <a:gd name="T7" fmla="*/ 0 h 43"/>
                    <a:gd name="T8" fmla="*/ 0 w 23"/>
                    <a:gd name="T9" fmla="*/ 2 h 43"/>
                  </a:gdLst>
                  <a:ahLst/>
                  <a:cxnLst>
                    <a:cxn ang="0">
                      <a:pos x="T0" y="T1"/>
                    </a:cxn>
                    <a:cxn ang="0">
                      <a:pos x="T2" y="T3"/>
                    </a:cxn>
                    <a:cxn ang="0">
                      <a:pos x="T4" y="T5"/>
                    </a:cxn>
                    <a:cxn ang="0">
                      <a:pos x="T6" y="T7"/>
                    </a:cxn>
                    <a:cxn ang="0">
                      <a:pos x="T8" y="T9"/>
                    </a:cxn>
                  </a:cxnLst>
                  <a:rect l="0" t="0" r="r" b="b"/>
                  <a:pathLst>
                    <a:path w="23" h="43">
                      <a:moveTo>
                        <a:pt x="0" y="2"/>
                      </a:moveTo>
                      <a:lnTo>
                        <a:pt x="21" y="43"/>
                      </a:lnTo>
                      <a:lnTo>
                        <a:pt x="23" y="43"/>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17" name="Freeform 2060"/>
                <p:cNvSpPr>
                  <a:spLocks/>
                </p:cNvSpPr>
                <p:nvPr/>
              </p:nvSpPr>
              <p:spPr bwMode="auto">
                <a:xfrm>
                  <a:off x="11247" y="3135"/>
                  <a:ext cx="42" cy="70"/>
                </a:xfrm>
                <a:custGeom>
                  <a:avLst/>
                  <a:gdLst>
                    <a:gd name="T0" fmla="*/ 0 w 42"/>
                    <a:gd name="T1" fmla="*/ 0 h 70"/>
                    <a:gd name="T2" fmla="*/ 42 w 42"/>
                    <a:gd name="T3" fmla="*/ 70 h 70"/>
                    <a:gd name="T4" fmla="*/ 42 w 42"/>
                    <a:gd name="T5" fmla="*/ 70 h 70"/>
                    <a:gd name="T6" fmla="*/ 2 w 42"/>
                    <a:gd name="T7" fmla="*/ 0 h 70"/>
                    <a:gd name="T8" fmla="*/ 0 w 42"/>
                    <a:gd name="T9" fmla="*/ 0 h 70"/>
                  </a:gdLst>
                  <a:ahLst/>
                  <a:cxnLst>
                    <a:cxn ang="0">
                      <a:pos x="T0" y="T1"/>
                    </a:cxn>
                    <a:cxn ang="0">
                      <a:pos x="T2" y="T3"/>
                    </a:cxn>
                    <a:cxn ang="0">
                      <a:pos x="T4" y="T5"/>
                    </a:cxn>
                    <a:cxn ang="0">
                      <a:pos x="T6" y="T7"/>
                    </a:cxn>
                    <a:cxn ang="0">
                      <a:pos x="T8" y="T9"/>
                    </a:cxn>
                  </a:cxnLst>
                  <a:rect l="0" t="0" r="r" b="b"/>
                  <a:pathLst>
                    <a:path w="42" h="70">
                      <a:moveTo>
                        <a:pt x="0" y="0"/>
                      </a:moveTo>
                      <a:lnTo>
                        <a:pt x="42" y="70"/>
                      </a:lnTo>
                      <a:lnTo>
                        <a:pt x="42" y="7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18" name="Freeform 2061"/>
                <p:cNvSpPr>
                  <a:spLocks/>
                </p:cNvSpPr>
                <p:nvPr/>
              </p:nvSpPr>
              <p:spPr bwMode="auto">
                <a:xfrm>
                  <a:off x="11230" y="3153"/>
                  <a:ext cx="33" cy="61"/>
                </a:xfrm>
                <a:custGeom>
                  <a:avLst/>
                  <a:gdLst>
                    <a:gd name="T0" fmla="*/ 0 w 33"/>
                    <a:gd name="T1" fmla="*/ 2 h 59"/>
                    <a:gd name="T2" fmla="*/ 31 w 33"/>
                    <a:gd name="T3" fmla="*/ 59 h 59"/>
                    <a:gd name="T4" fmla="*/ 33 w 33"/>
                    <a:gd name="T5" fmla="*/ 59 h 59"/>
                    <a:gd name="T6" fmla="*/ 2 w 33"/>
                    <a:gd name="T7" fmla="*/ 0 h 59"/>
                    <a:gd name="T8" fmla="*/ 0 w 33"/>
                    <a:gd name="T9" fmla="*/ 2 h 59"/>
                  </a:gdLst>
                  <a:ahLst/>
                  <a:cxnLst>
                    <a:cxn ang="0">
                      <a:pos x="T0" y="T1"/>
                    </a:cxn>
                    <a:cxn ang="0">
                      <a:pos x="T2" y="T3"/>
                    </a:cxn>
                    <a:cxn ang="0">
                      <a:pos x="T4" y="T5"/>
                    </a:cxn>
                    <a:cxn ang="0">
                      <a:pos x="T6" y="T7"/>
                    </a:cxn>
                    <a:cxn ang="0">
                      <a:pos x="T8" y="T9"/>
                    </a:cxn>
                  </a:cxnLst>
                  <a:rect l="0" t="0" r="r" b="b"/>
                  <a:pathLst>
                    <a:path w="33" h="59">
                      <a:moveTo>
                        <a:pt x="0" y="2"/>
                      </a:moveTo>
                      <a:lnTo>
                        <a:pt x="31" y="59"/>
                      </a:lnTo>
                      <a:lnTo>
                        <a:pt x="33" y="59"/>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19" name="Freeform 2062"/>
                <p:cNvSpPr>
                  <a:spLocks/>
                </p:cNvSpPr>
                <p:nvPr/>
              </p:nvSpPr>
              <p:spPr bwMode="auto">
                <a:xfrm>
                  <a:off x="11255" y="3135"/>
                  <a:ext cx="42" cy="70"/>
                </a:xfrm>
                <a:custGeom>
                  <a:avLst/>
                  <a:gdLst>
                    <a:gd name="T0" fmla="*/ 0 w 45"/>
                    <a:gd name="T1" fmla="*/ 0 h 73"/>
                    <a:gd name="T2" fmla="*/ 45 w 45"/>
                    <a:gd name="T3" fmla="*/ 73 h 73"/>
                    <a:gd name="T4" fmla="*/ 45 w 45"/>
                    <a:gd name="T5" fmla="*/ 73 h 73"/>
                    <a:gd name="T6" fmla="*/ 3 w 45"/>
                    <a:gd name="T7" fmla="*/ 0 h 73"/>
                    <a:gd name="T8" fmla="*/ 0 w 45"/>
                    <a:gd name="T9" fmla="*/ 0 h 73"/>
                  </a:gdLst>
                  <a:ahLst/>
                  <a:cxnLst>
                    <a:cxn ang="0">
                      <a:pos x="T0" y="T1"/>
                    </a:cxn>
                    <a:cxn ang="0">
                      <a:pos x="T2" y="T3"/>
                    </a:cxn>
                    <a:cxn ang="0">
                      <a:pos x="T4" y="T5"/>
                    </a:cxn>
                    <a:cxn ang="0">
                      <a:pos x="T6" y="T7"/>
                    </a:cxn>
                    <a:cxn ang="0">
                      <a:pos x="T8" y="T9"/>
                    </a:cxn>
                  </a:cxnLst>
                  <a:rect l="0" t="0" r="r" b="b"/>
                  <a:pathLst>
                    <a:path w="45" h="73">
                      <a:moveTo>
                        <a:pt x="0" y="0"/>
                      </a:moveTo>
                      <a:lnTo>
                        <a:pt x="45" y="73"/>
                      </a:lnTo>
                      <a:lnTo>
                        <a:pt x="45" y="73"/>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0" name="Freeform 2063"/>
                <p:cNvSpPr>
                  <a:spLocks/>
                </p:cNvSpPr>
                <p:nvPr/>
              </p:nvSpPr>
              <p:spPr bwMode="auto">
                <a:xfrm>
                  <a:off x="11264" y="3127"/>
                  <a:ext cx="50" cy="70"/>
                </a:xfrm>
                <a:custGeom>
                  <a:avLst/>
                  <a:gdLst>
                    <a:gd name="T0" fmla="*/ 0 w 52"/>
                    <a:gd name="T1" fmla="*/ 3 h 78"/>
                    <a:gd name="T2" fmla="*/ 50 w 52"/>
                    <a:gd name="T3" fmla="*/ 78 h 78"/>
                    <a:gd name="T4" fmla="*/ 52 w 52"/>
                    <a:gd name="T5" fmla="*/ 78 h 78"/>
                    <a:gd name="T6" fmla="*/ 2 w 52"/>
                    <a:gd name="T7" fmla="*/ 0 h 78"/>
                    <a:gd name="T8" fmla="*/ 0 w 52"/>
                    <a:gd name="T9" fmla="*/ 3 h 78"/>
                  </a:gdLst>
                  <a:ahLst/>
                  <a:cxnLst>
                    <a:cxn ang="0">
                      <a:pos x="T0" y="T1"/>
                    </a:cxn>
                    <a:cxn ang="0">
                      <a:pos x="T2" y="T3"/>
                    </a:cxn>
                    <a:cxn ang="0">
                      <a:pos x="T4" y="T5"/>
                    </a:cxn>
                    <a:cxn ang="0">
                      <a:pos x="T6" y="T7"/>
                    </a:cxn>
                    <a:cxn ang="0">
                      <a:pos x="T8" y="T9"/>
                    </a:cxn>
                  </a:cxnLst>
                  <a:rect l="0" t="0" r="r" b="b"/>
                  <a:pathLst>
                    <a:path w="52" h="78">
                      <a:moveTo>
                        <a:pt x="0" y="3"/>
                      </a:moveTo>
                      <a:lnTo>
                        <a:pt x="50" y="78"/>
                      </a:lnTo>
                      <a:lnTo>
                        <a:pt x="52" y="78"/>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21" name="Freeform 2064"/>
                <p:cNvSpPr>
                  <a:spLocks/>
                </p:cNvSpPr>
                <p:nvPr/>
              </p:nvSpPr>
              <p:spPr bwMode="auto">
                <a:xfrm>
                  <a:off x="11255" y="3135"/>
                  <a:ext cx="50" cy="70"/>
                </a:xfrm>
                <a:custGeom>
                  <a:avLst/>
                  <a:gdLst>
                    <a:gd name="T0" fmla="*/ 0 w 50"/>
                    <a:gd name="T1" fmla="*/ 2 h 76"/>
                    <a:gd name="T2" fmla="*/ 47 w 50"/>
                    <a:gd name="T3" fmla="*/ 76 h 76"/>
                    <a:gd name="T4" fmla="*/ 50 w 50"/>
                    <a:gd name="T5" fmla="*/ 76 h 76"/>
                    <a:gd name="T6" fmla="*/ 3 w 50"/>
                    <a:gd name="T7" fmla="*/ 0 h 76"/>
                    <a:gd name="T8" fmla="*/ 0 w 50"/>
                    <a:gd name="T9" fmla="*/ 2 h 76"/>
                  </a:gdLst>
                  <a:ahLst/>
                  <a:cxnLst>
                    <a:cxn ang="0">
                      <a:pos x="T0" y="T1"/>
                    </a:cxn>
                    <a:cxn ang="0">
                      <a:pos x="T2" y="T3"/>
                    </a:cxn>
                    <a:cxn ang="0">
                      <a:pos x="T4" y="T5"/>
                    </a:cxn>
                    <a:cxn ang="0">
                      <a:pos x="T6" y="T7"/>
                    </a:cxn>
                    <a:cxn ang="0">
                      <a:pos x="T8" y="T9"/>
                    </a:cxn>
                  </a:cxnLst>
                  <a:rect l="0" t="0" r="r" b="b"/>
                  <a:pathLst>
                    <a:path w="50" h="76">
                      <a:moveTo>
                        <a:pt x="0" y="2"/>
                      </a:moveTo>
                      <a:lnTo>
                        <a:pt x="47" y="76"/>
                      </a:lnTo>
                      <a:lnTo>
                        <a:pt x="50" y="76"/>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22" name="Freeform 2065"/>
                <p:cNvSpPr>
                  <a:spLocks/>
                </p:cNvSpPr>
                <p:nvPr/>
              </p:nvSpPr>
              <p:spPr bwMode="auto">
                <a:xfrm>
                  <a:off x="11239" y="3144"/>
                  <a:ext cx="42" cy="70"/>
                </a:xfrm>
                <a:custGeom>
                  <a:avLst/>
                  <a:gdLst>
                    <a:gd name="T0" fmla="*/ 0 w 40"/>
                    <a:gd name="T1" fmla="*/ 0 h 69"/>
                    <a:gd name="T2" fmla="*/ 38 w 40"/>
                    <a:gd name="T3" fmla="*/ 69 h 69"/>
                    <a:gd name="T4" fmla="*/ 40 w 40"/>
                    <a:gd name="T5" fmla="*/ 66 h 69"/>
                    <a:gd name="T6" fmla="*/ 2 w 40"/>
                    <a:gd name="T7" fmla="*/ 0 h 69"/>
                    <a:gd name="T8" fmla="*/ 0 w 40"/>
                    <a:gd name="T9" fmla="*/ 0 h 69"/>
                  </a:gdLst>
                  <a:ahLst/>
                  <a:cxnLst>
                    <a:cxn ang="0">
                      <a:pos x="T0" y="T1"/>
                    </a:cxn>
                    <a:cxn ang="0">
                      <a:pos x="T2" y="T3"/>
                    </a:cxn>
                    <a:cxn ang="0">
                      <a:pos x="T4" y="T5"/>
                    </a:cxn>
                    <a:cxn ang="0">
                      <a:pos x="T6" y="T7"/>
                    </a:cxn>
                    <a:cxn ang="0">
                      <a:pos x="T8" y="T9"/>
                    </a:cxn>
                  </a:cxnLst>
                  <a:rect l="0" t="0" r="r" b="b"/>
                  <a:pathLst>
                    <a:path w="40" h="69">
                      <a:moveTo>
                        <a:pt x="0" y="0"/>
                      </a:moveTo>
                      <a:lnTo>
                        <a:pt x="38" y="69"/>
                      </a:lnTo>
                      <a:lnTo>
                        <a:pt x="40" y="6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3" name="Freeform 2066"/>
                <p:cNvSpPr>
                  <a:spLocks/>
                </p:cNvSpPr>
                <p:nvPr/>
              </p:nvSpPr>
              <p:spPr bwMode="auto">
                <a:xfrm>
                  <a:off x="11239" y="3153"/>
                  <a:ext cx="25" cy="61"/>
                </a:xfrm>
                <a:custGeom>
                  <a:avLst/>
                  <a:gdLst>
                    <a:gd name="T0" fmla="*/ 0 w 35"/>
                    <a:gd name="T1" fmla="*/ 0 h 61"/>
                    <a:gd name="T2" fmla="*/ 33 w 35"/>
                    <a:gd name="T3" fmla="*/ 61 h 61"/>
                    <a:gd name="T4" fmla="*/ 35 w 35"/>
                    <a:gd name="T5" fmla="*/ 59 h 61"/>
                    <a:gd name="T6" fmla="*/ 2 w 35"/>
                    <a:gd name="T7" fmla="*/ 0 h 61"/>
                    <a:gd name="T8" fmla="*/ 0 w 35"/>
                    <a:gd name="T9" fmla="*/ 0 h 61"/>
                  </a:gdLst>
                  <a:ahLst/>
                  <a:cxnLst>
                    <a:cxn ang="0">
                      <a:pos x="T0" y="T1"/>
                    </a:cxn>
                    <a:cxn ang="0">
                      <a:pos x="T2" y="T3"/>
                    </a:cxn>
                    <a:cxn ang="0">
                      <a:pos x="T4" y="T5"/>
                    </a:cxn>
                    <a:cxn ang="0">
                      <a:pos x="T6" y="T7"/>
                    </a:cxn>
                    <a:cxn ang="0">
                      <a:pos x="T8" y="T9"/>
                    </a:cxn>
                  </a:cxnLst>
                  <a:rect l="0" t="0" r="r" b="b"/>
                  <a:pathLst>
                    <a:path w="35" h="61">
                      <a:moveTo>
                        <a:pt x="0" y="0"/>
                      </a:moveTo>
                      <a:lnTo>
                        <a:pt x="33" y="61"/>
                      </a:lnTo>
                      <a:lnTo>
                        <a:pt x="35" y="5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4" name="Freeform 2067"/>
                <p:cNvSpPr>
                  <a:spLocks/>
                </p:cNvSpPr>
                <p:nvPr/>
              </p:nvSpPr>
              <p:spPr bwMode="auto">
                <a:xfrm>
                  <a:off x="11239" y="3144"/>
                  <a:ext cx="33" cy="70"/>
                </a:xfrm>
                <a:custGeom>
                  <a:avLst/>
                  <a:gdLst>
                    <a:gd name="T0" fmla="*/ 0 w 38"/>
                    <a:gd name="T1" fmla="*/ 0 h 64"/>
                    <a:gd name="T2" fmla="*/ 36 w 38"/>
                    <a:gd name="T3" fmla="*/ 64 h 64"/>
                    <a:gd name="T4" fmla="*/ 38 w 38"/>
                    <a:gd name="T5" fmla="*/ 64 h 64"/>
                    <a:gd name="T6" fmla="*/ 3 w 38"/>
                    <a:gd name="T7" fmla="*/ 0 h 64"/>
                    <a:gd name="T8" fmla="*/ 0 w 38"/>
                    <a:gd name="T9" fmla="*/ 0 h 64"/>
                  </a:gdLst>
                  <a:ahLst/>
                  <a:cxnLst>
                    <a:cxn ang="0">
                      <a:pos x="T0" y="T1"/>
                    </a:cxn>
                    <a:cxn ang="0">
                      <a:pos x="T2" y="T3"/>
                    </a:cxn>
                    <a:cxn ang="0">
                      <a:pos x="T4" y="T5"/>
                    </a:cxn>
                    <a:cxn ang="0">
                      <a:pos x="T6" y="T7"/>
                    </a:cxn>
                    <a:cxn ang="0">
                      <a:pos x="T8" y="T9"/>
                    </a:cxn>
                  </a:cxnLst>
                  <a:rect l="0" t="0" r="r" b="b"/>
                  <a:pathLst>
                    <a:path w="38" h="64">
                      <a:moveTo>
                        <a:pt x="0" y="0"/>
                      </a:moveTo>
                      <a:lnTo>
                        <a:pt x="36" y="64"/>
                      </a:lnTo>
                      <a:lnTo>
                        <a:pt x="38" y="6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5" name="Freeform 2068"/>
                <p:cNvSpPr>
                  <a:spLocks/>
                </p:cNvSpPr>
                <p:nvPr/>
              </p:nvSpPr>
              <p:spPr bwMode="auto">
                <a:xfrm>
                  <a:off x="11205" y="3179"/>
                  <a:ext cx="17" cy="44"/>
                </a:xfrm>
                <a:custGeom>
                  <a:avLst/>
                  <a:gdLst>
                    <a:gd name="T0" fmla="*/ 0 w 21"/>
                    <a:gd name="T1" fmla="*/ 0 h 38"/>
                    <a:gd name="T2" fmla="*/ 19 w 21"/>
                    <a:gd name="T3" fmla="*/ 38 h 38"/>
                    <a:gd name="T4" fmla="*/ 21 w 21"/>
                    <a:gd name="T5" fmla="*/ 38 h 38"/>
                    <a:gd name="T6" fmla="*/ 2 w 21"/>
                    <a:gd name="T7" fmla="*/ 0 h 38"/>
                    <a:gd name="T8" fmla="*/ 0 w 21"/>
                    <a:gd name="T9" fmla="*/ 0 h 38"/>
                  </a:gdLst>
                  <a:ahLst/>
                  <a:cxnLst>
                    <a:cxn ang="0">
                      <a:pos x="T0" y="T1"/>
                    </a:cxn>
                    <a:cxn ang="0">
                      <a:pos x="T2" y="T3"/>
                    </a:cxn>
                    <a:cxn ang="0">
                      <a:pos x="T4" y="T5"/>
                    </a:cxn>
                    <a:cxn ang="0">
                      <a:pos x="T6" y="T7"/>
                    </a:cxn>
                    <a:cxn ang="0">
                      <a:pos x="T8" y="T9"/>
                    </a:cxn>
                  </a:cxnLst>
                  <a:rect l="0" t="0" r="r" b="b"/>
                  <a:pathLst>
                    <a:path w="21" h="38">
                      <a:moveTo>
                        <a:pt x="0" y="0"/>
                      </a:moveTo>
                      <a:lnTo>
                        <a:pt x="19" y="38"/>
                      </a:lnTo>
                      <a:lnTo>
                        <a:pt x="21"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6" name="Freeform 2069"/>
                <p:cNvSpPr>
                  <a:spLocks/>
                </p:cNvSpPr>
                <p:nvPr/>
              </p:nvSpPr>
              <p:spPr bwMode="auto">
                <a:xfrm>
                  <a:off x="11105" y="3222"/>
                  <a:ext cx="8" cy="17"/>
                </a:xfrm>
                <a:custGeom>
                  <a:avLst/>
                  <a:gdLst>
                    <a:gd name="T0" fmla="*/ 0 w 5"/>
                    <a:gd name="T1" fmla="*/ 0 h 12"/>
                    <a:gd name="T2" fmla="*/ 5 w 5"/>
                    <a:gd name="T3" fmla="*/ 12 h 12"/>
                    <a:gd name="T4" fmla="*/ 5 w 5"/>
                    <a:gd name="T5" fmla="*/ 10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0"/>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7" name="Freeform 2070"/>
                <p:cNvSpPr>
                  <a:spLocks/>
                </p:cNvSpPr>
                <p:nvPr/>
              </p:nvSpPr>
              <p:spPr bwMode="auto">
                <a:xfrm>
                  <a:off x="11114" y="3222"/>
                  <a:ext cx="8" cy="17"/>
                </a:xfrm>
                <a:custGeom>
                  <a:avLst/>
                  <a:gdLst>
                    <a:gd name="T0" fmla="*/ 0 w 5"/>
                    <a:gd name="T1" fmla="*/ 0 h 12"/>
                    <a:gd name="T2" fmla="*/ 3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28" name="Freeform 2071"/>
                <p:cNvSpPr>
                  <a:spLocks/>
                </p:cNvSpPr>
                <p:nvPr/>
              </p:nvSpPr>
              <p:spPr bwMode="auto">
                <a:xfrm>
                  <a:off x="11097" y="3222"/>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29" name="Freeform 2072"/>
                <p:cNvSpPr>
                  <a:spLocks/>
                </p:cNvSpPr>
                <p:nvPr/>
              </p:nvSpPr>
              <p:spPr bwMode="auto">
                <a:xfrm>
                  <a:off x="11122" y="3222"/>
                  <a:ext cx="8" cy="9"/>
                </a:xfrm>
                <a:custGeom>
                  <a:avLst/>
                  <a:gdLst>
                    <a:gd name="T0" fmla="*/ 0 w 5"/>
                    <a:gd name="T1" fmla="*/ 0 h 12"/>
                    <a:gd name="T2" fmla="*/ 5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0" name="Freeform 2073"/>
                <p:cNvSpPr>
                  <a:spLocks/>
                </p:cNvSpPr>
                <p:nvPr/>
              </p:nvSpPr>
              <p:spPr bwMode="auto">
                <a:xfrm>
                  <a:off x="11122" y="3222"/>
                  <a:ext cx="0" cy="9"/>
                </a:xfrm>
                <a:custGeom>
                  <a:avLst/>
                  <a:gdLst>
                    <a:gd name="T0" fmla="*/ 0 w 7"/>
                    <a:gd name="T1" fmla="*/ 0 h 11"/>
                    <a:gd name="T2" fmla="*/ 5 w 7"/>
                    <a:gd name="T3" fmla="*/ 11 h 11"/>
                    <a:gd name="T4" fmla="*/ 7 w 7"/>
                    <a:gd name="T5" fmla="*/ 11 h 11"/>
                    <a:gd name="T6" fmla="*/ 3 w 7"/>
                    <a:gd name="T7" fmla="*/ 0 h 11"/>
                    <a:gd name="T8" fmla="*/ 0 w 7"/>
                    <a:gd name="T9" fmla="*/ 0 h 11"/>
                  </a:gdLst>
                  <a:ahLst/>
                  <a:cxnLst>
                    <a:cxn ang="0">
                      <a:pos x="T0" y="T1"/>
                    </a:cxn>
                    <a:cxn ang="0">
                      <a:pos x="T2" y="T3"/>
                    </a:cxn>
                    <a:cxn ang="0">
                      <a:pos x="T4" y="T5"/>
                    </a:cxn>
                    <a:cxn ang="0">
                      <a:pos x="T6" y="T7"/>
                    </a:cxn>
                    <a:cxn ang="0">
                      <a:pos x="T8" y="T9"/>
                    </a:cxn>
                  </a:cxnLst>
                  <a:rect l="0" t="0" r="r" b="b"/>
                  <a:pathLst>
                    <a:path w="7" h="11">
                      <a:moveTo>
                        <a:pt x="0" y="0"/>
                      </a:moveTo>
                      <a:lnTo>
                        <a:pt x="5" y="11"/>
                      </a:lnTo>
                      <a:lnTo>
                        <a:pt x="7"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1" name="Freeform 2074"/>
                <p:cNvSpPr>
                  <a:spLocks/>
                </p:cNvSpPr>
                <p:nvPr/>
              </p:nvSpPr>
              <p:spPr bwMode="auto">
                <a:xfrm>
                  <a:off x="11180" y="3196"/>
                  <a:ext cx="0" cy="26"/>
                </a:xfrm>
                <a:custGeom>
                  <a:avLst/>
                  <a:gdLst>
                    <a:gd name="T0" fmla="*/ 0 w 9"/>
                    <a:gd name="T1" fmla="*/ 0 h 19"/>
                    <a:gd name="T2" fmla="*/ 7 w 9"/>
                    <a:gd name="T3" fmla="*/ 19 h 19"/>
                    <a:gd name="T4" fmla="*/ 9 w 9"/>
                    <a:gd name="T5" fmla="*/ 19 h 19"/>
                    <a:gd name="T6" fmla="*/ 0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2" name="Freeform 2075"/>
                <p:cNvSpPr>
                  <a:spLocks/>
                </p:cNvSpPr>
                <p:nvPr/>
              </p:nvSpPr>
              <p:spPr bwMode="auto">
                <a:xfrm>
                  <a:off x="11097" y="3231"/>
                  <a:ext cx="0"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3" name="Freeform 2076"/>
                <p:cNvSpPr>
                  <a:spLocks/>
                </p:cNvSpPr>
                <p:nvPr/>
              </p:nvSpPr>
              <p:spPr bwMode="auto">
                <a:xfrm>
                  <a:off x="11089" y="3231"/>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4" name="Freeform 2077"/>
                <p:cNvSpPr>
                  <a:spLocks/>
                </p:cNvSpPr>
                <p:nvPr/>
              </p:nvSpPr>
              <p:spPr bwMode="auto">
                <a:xfrm>
                  <a:off x="11081" y="3231"/>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5" name="Freeform 2078"/>
                <p:cNvSpPr>
                  <a:spLocks/>
                </p:cNvSpPr>
                <p:nvPr/>
              </p:nvSpPr>
              <p:spPr bwMode="auto">
                <a:xfrm>
                  <a:off x="11164" y="3205"/>
                  <a:ext cx="8" cy="17"/>
                </a:xfrm>
                <a:custGeom>
                  <a:avLst/>
                  <a:gdLst>
                    <a:gd name="T0" fmla="*/ 0 w 7"/>
                    <a:gd name="T1" fmla="*/ 2 h 16"/>
                    <a:gd name="T2" fmla="*/ 5 w 7"/>
                    <a:gd name="T3" fmla="*/ 16 h 16"/>
                    <a:gd name="T4" fmla="*/ 7 w 7"/>
                    <a:gd name="T5" fmla="*/ 16 h 16"/>
                    <a:gd name="T6" fmla="*/ 0 w 7"/>
                    <a:gd name="T7" fmla="*/ 0 h 16"/>
                    <a:gd name="T8" fmla="*/ 0 w 7"/>
                    <a:gd name="T9" fmla="*/ 2 h 16"/>
                  </a:gdLst>
                  <a:ahLst/>
                  <a:cxnLst>
                    <a:cxn ang="0">
                      <a:pos x="T0" y="T1"/>
                    </a:cxn>
                    <a:cxn ang="0">
                      <a:pos x="T2" y="T3"/>
                    </a:cxn>
                    <a:cxn ang="0">
                      <a:pos x="T4" y="T5"/>
                    </a:cxn>
                    <a:cxn ang="0">
                      <a:pos x="T6" y="T7"/>
                    </a:cxn>
                    <a:cxn ang="0">
                      <a:pos x="T8" y="T9"/>
                    </a:cxn>
                  </a:cxnLst>
                  <a:rect l="0" t="0" r="r" b="b"/>
                  <a:pathLst>
                    <a:path w="7" h="16">
                      <a:moveTo>
                        <a:pt x="0" y="2"/>
                      </a:moveTo>
                      <a:lnTo>
                        <a:pt x="5" y="16"/>
                      </a:lnTo>
                      <a:lnTo>
                        <a:pt x="7"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36" name="Freeform 2079"/>
                <p:cNvSpPr>
                  <a:spLocks/>
                </p:cNvSpPr>
                <p:nvPr/>
              </p:nvSpPr>
              <p:spPr bwMode="auto">
                <a:xfrm>
                  <a:off x="11155" y="3205"/>
                  <a:ext cx="8" cy="17"/>
                </a:xfrm>
                <a:custGeom>
                  <a:avLst/>
                  <a:gdLst>
                    <a:gd name="T0" fmla="*/ 0 w 7"/>
                    <a:gd name="T1" fmla="*/ 0 h 15"/>
                    <a:gd name="T2" fmla="*/ 7 w 7"/>
                    <a:gd name="T3" fmla="*/ 15 h 15"/>
                    <a:gd name="T4" fmla="*/ 7 w 7"/>
                    <a:gd name="T5" fmla="*/ 15 h 15"/>
                    <a:gd name="T6" fmla="*/ 2 w 7"/>
                    <a:gd name="T7" fmla="*/ 0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7" y="15"/>
                      </a:lnTo>
                      <a:lnTo>
                        <a:pt x="7" y="1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7" name="Freeform 2080"/>
                <p:cNvSpPr>
                  <a:spLocks/>
                </p:cNvSpPr>
                <p:nvPr/>
              </p:nvSpPr>
              <p:spPr bwMode="auto">
                <a:xfrm>
                  <a:off x="11130" y="3222"/>
                  <a:ext cx="8"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8" name="Freeform 2081"/>
                <p:cNvSpPr>
                  <a:spLocks/>
                </p:cNvSpPr>
                <p:nvPr/>
              </p:nvSpPr>
              <p:spPr bwMode="auto">
                <a:xfrm>
                  <a:off x="11172" y="3196"/>
                  <a:ext cx="8" cy="26"/>
                </a:xfrm>
                <a:custGeom>
                  <a:avLst/>
                  <a:gdLst>
                    <a:gd name="T0" fmla="*/ 0 w 9"/>
                    <a:gd name="T1" fmla="*/ 0 h 19"/>
                    <a:gd name="T2" fmla="*/ 7 w 9"/>
                    <a:gd name="T3" fmla="*/ 19 h 19"/>
                    <a:gd name="T4" fmla="*/ 9 w 9"/>
                    <a:gd name="T5" fmla="*/ 19 h 19"/>
                    <a:gd name="T6" fmla="*/ 2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39" name="Freeform 2082"/>
                <p:cNvSpPr>
                  <a:spLocks/>
                </p:cNvSpPr>
                <p:nvPr/>
              </p:nvSpPr>
              <p:spPr bwMode="auto">
                <a:xfrm>
                  <a:off x="11155" y="3214"/>
                  <a:ext cx="0" cy="9"/>
                </a:xfrm>
                <a:custGeom>
                  <a:avLst/>
                  <a:gdLst>
                    <a:gd name="T0" fmla="*/ 0 w 5"/>
                    <a:gd name="T1" fmla="*/ 0 h 12"/>
                    <a:gd name="T2" fmla="*/ 5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0" name="Freeform 2083"/>
                <p:cNvSpPr>
                  <a:spLocks/>
                </p:cNvSpPr>
                <p:nvPr/>
              </p:nvSpPr>
              <p:spPr bwMode="auto">
                <a:xfrm>
                  <a:off x="11139" y="3222"/>
                  <a:ext cx="8" cy="0"/>
                </a:xfrm>
                <a:custGeom>
                  <a:avLst/>
                  <a:gdLst>
                    <a:gd name="T0" fmla="*/ 0 w 5"/>
                    <a:gd name="T1" fmla="*/ 0 h 11"/>
                    <a:gd name="T2" fmla="*/ 0 w 5"/>
                    <a:gd name="T3" fmla="*/ 0 h 11"/>
                    <a:gd name="T4" fmla="*/ 3 w 5"/>
                    <a:gd name="T5" fmla="*/ 11 h 11"/>
                    <a:gd name="T6" fmla="*/ 5 w 5"/>
                    <a:gd name="T7" fmla="*/ 11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0" y="0"/>
                      </a:lnTo>
                      <a:lnTo>
                        <a:pt x="3" y="11"/>
                      </a:lnTo>
                      <a:lnTo>
                        <a:pt x="5" y="11"/>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1" name="Freeform 2084"/>
                <p:cNvSpPr>
                  <a:spLocks/>
                </p:cNvSpPr>
                <p:nvPr/>
              </p:nvSpPr>
              <p:spPr bwMode="auto">
                <a:xfrm>
                  <a:off x="11147" y="3214"/>
                  <a:ext cx="0" cy="9"/>
                </a:xfrm>
                <a:custGeom>
                  <a:avLst/>
                  <a:gdLst>
                    <a:gd name="T0" fmla="*/ 0 w 7"/>
                    <a:gd name="T1" fmla="*/ 0 h 12"/>
                    <a:gd name="T2" fmla="*/ 5 w 7"/>
                    <a:gd name="T3" fmla="*/ 12 h 12"/>
                    <a:gd name="T4" fmla="*/ 7 w 7"/>
                    <a:gd name="T5" fmla="*/ 12 h 12"/>
                    <a:gd name="T6" fmla="*/ 3 w 7"/>
                    <a:gd name="T7" fmla="*/ 0 h 12"/>
                    <a:gd name="T8" fmla="*/ 0 w 7"/>
                    <a:gd name="T9" fmla="*/ 0 h 12"/>
                  </a:gdLst>
                  <a:ahLst/>
                  <a:cxnLst>
                    <a:cxn ang="0">
                      <a:pos x="T0" y="T1"/>
                    </a:cxn>
                    <a:cxn ang="0">
                      <a:pos x="T2" y="T3"/>
                    </a:cxn>
                    <a:cxn ang="0">
                      <a:pos x="T4" y="T5"/>
                    </a:cxn>
                    <a:cxn ang="0">
                      <a:pos x="T6" y="T7"/>
                    </a:cxn>
                    <a:cxn ang="0">
                      <a:pos x="T8" y="T9"/>
                    </a:cxn>
                  </a:cxnLst>
                  <a:rect l="0" t="0" r="r" b="b"/>
                  <a:pathLst>
                    <a:path w="7" h="12">
                      <a:moveTo>
                        <a:pt x="0" y="0"/>
                      </a:moveTo>
                      <a:lnTo>
                        <a:pt x="5" y="12"/>
                      </a:lnTo>
                      <a:lnTo>
                        <a:pt x="7"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2" name="Freeform 2085"/>
                <p:cNvSpPr>
                  <a:spLocks/>
                </p:cNvSpPr>
                <p:nvPr/>
              </p:nvSpPr>
              <p:spPr bwMode="auto">
                <a:xfrm>
                  <a:off x="11397" y="3039"/>
                  <a:ext cx="25" cy="35"/>
                </a:xfrm>
                <a:custGeom>
                  <a:avLst/>
                  <a:gdLst>
                    <a:gd name="T0" fmla="*/ 0 w 24"/>
                    <a:gd name="T1" fmla="*/ 2 h 26"/>
                    <a:gd name="T2" fmla="*/ 24 w 24"/>
                    <a:gd name="T3" fmla="*/ 26 h 26"/>
                    <a:gd name="T4" fmla="*/ 24 w 24"/>
                    <a:gd name="T5" fmla="*/ 24 h 26"/>
                    <a:gd name="T6" fmla="*/ 0 w 24"/>
                    <a:gd name="T7" fmla="*/ 0 h 26"/>
                    <a:gd name="T8" fmla="*/ 0 w 24"/>
                    <a:gd name="T9" fmla="*/ 2 h 26"/>
                  </a:gdLst>
                  <a:ahLst/>
                  <a:cxnLst>
                    <a:cxn ang="0">
                      <a:pos x="T0" y="T1"/>
                    </a:cxn>
                    <a:cxn ang="0">
                      <a:pos x="T2" y="T3"/>
                    </a:cxn>
                    <a:cxn ang="0">
                      <a:pos x="T4" y="T5"/>
                    </a:cxn>
                    <a:cxn ang="0">
                      <a:pos x="T6" y="T7"/>
                    </a:cxn>
                    <a:cxn ang="0">
                      <a:pos x="T8" y="T9"/>
                    </a:cxn>
                  </a:cxnLst>
                  <a:rect l="0" t="0" r="r" b="b"/>
                  <a:pathLst>
                    <a:path w="24" h="26">
                      <a:moveTo>
                        <a:pt x="0" y="2"/>
                      </a:moveTo>
                      <a:lnTo>
                        <a:pt x="24" y="26"/>
                      </a:lnTo>
                      <a:lnTo>
                        <a:pt x="24" y="2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43" name="Freeform 2086"/>
                <p:cNvSpPr>
                  <a:spLocks/>
                </p:cNvSpPr>
                <p:nvPr/>
              </p:nvSpPr>
              <p:spPr bwMode="auto">
                <a:xfrm>
                  <a:off x="11405" y="3039"/>
                  <a:ext cx="17" cy="26"/>
                </a:xfrm>
                <a:custGeom>
                  <a:avLst/>
                  <a:gdLst>
                    <a:gd name="T0" fmla="*/ 0 w 21"/>
                    <a:gd name="T1" fmla="*/ 0 h 21"/>
                    <a:gd name="T2" fmla="*/ 21 w 21"/>
                    <a:gd name="T3" fmla="*/ 21 h 21"/>
                    <a:gd name="T4" fmla="*/ 21 w 21"/>
                    <a:gd name="T5" fmla="*/ 19 h 21"/>
                    <a:gd name="T6" fmla="*/ 2 w 21"/>
                    <a:gd name="T7" fmla="*/ 0 h 21"/>
                    <a:gd name="T8" fmla="*/ 0 w 21"/>
                    <a:gd name="T9" fmla="*/ 0 h 21"/>
                  </a:gdLst>
                  <a:ahLst/>
                  <a:cxnLst>
                    <a:cxn ang="0">
                      <a:pos x="T0" y="T1"/>
                    </a:cxn>
                    <a:cxn ang="0">
                      <a:pos x="T2" y="T3"/>
                    </a:cxn>
                    <a:cxn ang="0">
                      <a:pos x="T4" y="T5"/>
                    </a:cxn>
                    <a:cxn ang="0">
                      <a:pos x="T6" y="T7"/>
                    </a:cxn>
                    <a:cxn ang="0">
                      <a:pos x="T8" y="T9"/>
                    </a:cxn>
                  </a:cxnLst>
                  <a:rect l="0" t="0" r="r" b="b"/>
                  <a:pathLst>
                    <a:path w="21" h="21">
                      <a:moveTo>
                        <a:pt x="0" y="0"/>
                      </a:moveTo>
                      <a:lnTo>
                        <a:pt x="21" y="21"/>
                      </a:lnTo>
                      <a:lnTo>
                        <a:pt x="21"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4" name="Freeform 2087"/>
                <p:cNvSpPr>
                  <a:spLocks/>
                </p:cNvSpPr>
                <p:nvPr/>
              </p:nvSpPr>
              <p:spPr bwMode="auto">
                <a:xfrm>
                  <a:off x="11463" y="2987"/>
                  <a:ext cx="8" cy="0"/>
                </a:xfrm>
                <a:custGeom>
                  <a:avLst/>
                  <a:gdLst>
                    <a:gd name="T0" fmla="*/ 0 w 12"/>
                    <a:gd name="T1" fmla="*/ 0 h 7"/>
                    <a:gd name="T2" fmla="*/ 10 w 12"/>
                    <a:gd name="T3" fmla="*/ 7 h 7"/>
                    <a:gd name="T4" fmla="*/ 12 w 12"/>
                    <a:gd name="T5" fmla="*/ 7 h 7"/>
                    <a:gd name="T6" fmla="*/ 3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5" name="Freeform 2088"/>
                <p:cNvSpPr>
                  <a:spLocks/>
                </p:cNvSpPr>
                <p:nvPr/>
              </p:nvSpPr>
              <p:spPr bwMode="auto">
                <a:xfrm>
                  <a:off x="11405" y="3039"/>
                  <a:ext cx="25" cy="17"/>
                </a:xfrm>
                <a:custGeom>
                  <a:avLst/>
                  <a:gdLst>
                    <a:gd name="T0" fmla="*/ 0 w 22"/>
                    <a:gd name="T1" fmla="*/ 0 h 19"/>
                    <a:gd name="T2" fmla="*/ 19 w 22"/>
                    <a:gd name="T3" fmla="*/ 19 h 19"/>
                    <a:gd name="T4" fmla="*/ 22 w 22"/>
                    <a:gd name="T5" fmla="*/ 17 h 19"/>
                    <a:gd name="T6" fmla="*/ 3 w 22"/>
                    <a:gd name="T7" fmla="*/ 0 h 19"/>
                    <a:gd name="T8" fmla="*/ 0 w 22"/>
                    <a:gd name="T9" fmla="*/ 0 h 19"/>
                  </a:gdLst>
                  <a:ahLst/>
                  <a:cxnLst>
                    <a:cxn ang="0">
                      <a:pos x="T0" y="T1"/>
                    </a:cxn>
                    <a:cxn ang="0">
                      <a:pos x="T2" y="T3"/>
                    </a:cxn>
                    <a:cxn ang="0">
                      <a:pos x="T4" y="T5"/>
                    </a:cxn>
                    <a:cxn ang="0">
                      <a:pos x="T6" y="T7"/>
                    </a:cxn>
                    <a:cxn ang="0">
                      <a:pos x="T8" y="T9"/>
                    </a:cxn>
                  </a:cxnLst>
                  <a:rect l="0" t="0" r="r" b="b"/>
                  <a:pathLst>
                    <a:path w="22" h="19">
                      <a:moveTo>
                        <a:pt x="0" y="0"/>
                      </a:moveTo>
                      <a:lnTo>
                        <a:pt x="19" y="19"/>
                      </a:lnTo>
                      <a:lnTo>
                        <a:pt x="22" y="1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6" name="Freeform 2089"/>
                <p:cNvSpPr>
                  <a:spLocks/>
                </p:cNvSpPr>
                <p:nvPr/>
              </p:nvSpPr>
              <p:spPr bwMode="auto">
                <a:xfrm>
                  <a:off x="11413" y="3031"/>
                  <a:ext cx="17" cy="17"/>
                </a:xfrm>
                <a:custGeom>
                  <a:avLst/>
                  <a:gdLst>
                    <a:gd name="T0" fmla="*/ 0 w 16"/>
                    <a:gd name="T1" fmla="*/ 3 h 17"/>
                    <a:gd name="T2" fmla="*/ 16 w 16"/>
                    <a:gd name="T3" fmla="*/ 17 h 17"/>
                    <a:gd name="T4" fmla="*/ 16 w 16"/>
                    <a:gd name="T5" fmla="*/ 17 h 17"/>
                    <a:gd name="T6" fmla="*/ 0 w 16"/>
                    <a:gd name="T7" fmla="*/ 0 h 17"/>
                    <a:gd name="T8" fmla="*/ 0 w 16"/>
                    <a:gd name="T9" fmla="*/ 3 h 17"/>
                  </a:gdLst>
                  <a:ahLst/>
                  <a:cxnLst>
                    <a:cxn ang="0">
                      <a:pos x="T0" y="T1"/>
                    </a:cxn>
                    <a:cxn ang="0">
                      <a:pos x="T2" y="T3"/>
                    </a:cxn>
                    <a:cxn ang="0">
                      <a:pos x="T4" y="T5"/>
                    </a:cxn>
                    <a:cxn ang="0">
                      <a:pos x="T6" y="T7"/>
                    </a:cxn>
                    <a:cxn ang="0">
                      <a:pos x="T8" y="T9"/>
                    </a:cxn>
                  </a:cxnLst>
                  <a:rect l="0" t="0" r="r" b="b"/>
                  <a:pathLst>
                    <a:path w="16" h="17">
                      <a:moveTo>
                        <a:pt x="0" y="3"/>
                      </a:moveTo>
                      <a:lnTo>
                        <a:pt x="16" y="17"/>
                      </a:lnTo>
                      <a:lnTo>
                        <a:pt x="1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47" name="Freeform 2090"/>
                <p:cNvSpPr>
                  <a:spLocks/>
                </p:cNvSpPr>
                <p:nvPr/>
              </p:nvSpPr>
              <p:spPr bwMode="auto">
                <a:xfrm>
                  <a:off x="11380" y="3057"/>
                  <a:ext cx="25" cy="35"/>
                </a:xfrm>
                <a:custGeom>
                  <a:avLst/>
                  <a:gdLst>
                    <a:gd name="T0" fmla="*/ 0 w 33"/>
                    <a:gd name="T1" fmla="*/ 0 h 33"/>
                    <a:gd name="T2" fmla="*/ 33 w 33"/>
                    <a:gd name="T3" fmla="*/ 33 h 33"/>
                    <a:gd name="T4" fmla="*/ 33 w 33"/>
                    <a:gd name="T5" fmla="*/ 33 h 33"/>
                    <a:gd name="T6" fmla="*/ 2 w 33"/>
                    <a:gd name="T7" fmla="*/ 0 h 33"/>
                    <a:gd name="T8" fmla="*/ 0 w 33"/>
                    <a:gd name="T9" fmla="*/ 0 h 33"/>
                  </a:gdLst>
                  <a:ahLst/>
                  <a:cxnLst>
                    <a:cxn ang="0">
                      <a:pos x="T0" y="T1"/>
                    </a:cxn>
                    <a:cxn ang="0">
                      <a:pos x="T2" y="T3"/>
                    </a:cxn>
                    <a:cxn ang="0">
                      <a:pos x="T4" y="T5"/>
                    </a:cxn>
                    <a:cxn ang="0">
                      <a:pos x="T6" y="T7"/>
                    </a:cxn>
                    <a:cxn ang="0">
                      <a:pos x="T8" y="T9"/>
                    </a:cxn>
                  </a:cxnLst>
                  <a:rect l="0" t="0" r="r" b="b"/>
                  <a:pathLst>
                    <a:path w="33" h="33">
                      <a:moveTo>
                        <a:pt x="0" y="0"/>
                      </a:moveTo>
                      <a:lnTo>
                        <a:pt x="33" y="33"/>
                      </a:lnTo>
                      <a:lnTo>
                        <a:pt x="33"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8" name="Freeform 2091"/>
                <p:cNvSpPr>
                  <a:spLocks/>
                </p:cNvSpPr>
                <p:nvPr/>
              </p:nvSpPr>
              <p:spPr bwMode="auto">
                <a:xfrm>
                  <a:off x="11422" y="3031"/>
                  <a:ext cx="17" cy="9"/>
                </a:xfrm>
                <a:custGeom>
                  <a:avLst/>
                  <a:gdLst>
                    <a:gd name="T0" fmla="*/ 0 w 14"/>
                    <a:gd name="T1" fmla="*/ 0 h 14"/>
                    <a:gd name="T2" fmla="*/ 14 w 14"/>
                    <a:gd name="T3" fmla="*/ 14 h 14"/>
                    <a:gd name="T4" fmla="*/ 14 w 14"/>
                    <a:gd name="T5" fmla="*/ 12 h 14"/>
                    <a:gd name="T6" fmla="*/ 3 w 14"/>
                    <a:gd name="T7" fmla="*/ 0 h 14"/>
                    <a:gd name="T8" fmla="*/ 0 w 14"/>
                    <a:gd name="T9" fmla="*/ 0 h 14"/>
                  </a:gdLst>
                  <a:ahLst/>
                  <a:cxnLst>
                    <a:cxn ang="0">
                      <a:pos x="T0" y="T1"/>
                    </a:cxn>
                    <a:cxn ang="0">
                      <a:pos x="T2" y="T3"/>
                    </a:cxn>
                    <a:cxn ang="0">
                      <a:pos x="T4" y="T5"/>
                    </a:cxn>
                    <a:cxn ang="0">
                      <a:pos x="T6" y="T7"/>
                    </a:cxn>
                    <a:cxn ang="0">
                      <a:pos x="T8" y="T9"/>
                    </a:cxn>
                  </a:cxnLst>
                  <a:rect l="0" t="0" r="r" b="b"/>
                  <a:pathLst>
                    <a:path w="14" h="14">
                      <a:moveTo>
                        <a:pt x="0" y="0"/>
                      </a:moveTo>
                      <a:lnTo>
                        <a:pt x="14" y="14"/>
                      </a:lnTo>
                      <a:lnTo>
                        <a:pt x="14"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49" name="Freeform 2092"/>
                <p:cNvSpPr>
                  <a:spLocks/>
                </p:cNvSpPr>
                <p:nvPr/>
              </p:nvSpPr>
              <p:spPr bwMode="auto">
                <a:xfrm>
                  <a:off x="11388" y="3048"/>
                  <a:ext cx="33" cy="26"/>
                </a:xfrm>
                <a:custGeom>
                  <a:avLst/>
                  <a:gdLst>
                    <a:gd name="T0" fmla="*/ 0 w 28"/>
                    <a:gd name="T1" fmla="*/ 0 h 26"/>
                    <a:gd name="T2" fmla="*/ 26 w 28"/>
                    <a:gd name="T3" fmla="*/ 26 h 26"/>
                    <a:gd name="T4" fmla="*/ 28 w 28"/>
                    <a:gd name="T5" fmla="*/ 26 h 26"/>
                    <a:gd name="T6" fmla="*/ 2 w 28"/>
                    <a:gd name="T7" fmla="*/ 0 h 26"/>
                    <a:gd name="T8" fmla="*/ 0 w 28"/>
                    <a:gd name="T9" fmla="*/ 0 h 26"/>
                  </a:gdLst>
                  <a:ahLst/>
                  <a:cxnLst>
                    <a:cxn ang="0">
                      <a:pos x="T0" y="T1"/>
                    </a:cxn>
                    <a:cxn ang="0">
                      <a:pos x="T2" y="T3"/>
                    </a:cxn>
                    <a:cxn ang="0">
                      <a:pos x="T4" y="T5"/>
                    </a:cxn>
                    <a:cxn ang="0">
                      <a:pos x="T6" y="T7"/>
                    </a:cxn>
                    <a:cxn ang="0">
                      <a:pos x="T8" y="T9"/>
                    </a:cxn>
                  </a:cxnLst>
                  <a:rect l="0" t="0" r="r" b="b"/>
                  <a:pathLst>
                    <a:path w="28" h="26">
                      <a:moveTo>
                        <a:pt x="0" y="0"/>
                      </a:moveTo>
                      <a:lnTo>
                        <a:pt x="26" y="26"/>
                      </a:lnTo>
                      <a:lnTo>
                        <a:pt x="28"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0" name="Freeform 2093"/>
                <p:cNvSpPr>
                  <a:spLocks/>
                </p:cNvSpPr>
                <p:nvPr/>
              </p:nvSpPr>
              <p:spPr bwMode="auto">
                <a:xfrm>
                  <a:off x="11380" y="3048"/>
                  <a:ext cx="33" cy="35"/>
                </a:xfrm>
                <a:custGeom>
                  <a:avLst/>
                  <a:gdLst>
                    <a:gd name="T0" fmla="*/ 0 w 29"/>
                    <a:gd name="T1" fmla="*/ 3 h 31"/>
                    <a:gd name="T2" fmla="*/ 29 w 29"/>
                    <a:gd name="T3" fmla="*/ 31 h 31"/>
                    <a:gd name="T4" fmla="*/ 29 w 29"/>
                    <a:gd name="T5" fmla="*/ 31 h 31"/>
                    <a:gd name="T6" fmla="*/ 0 w 29"/>
                    <a:gd name="T7" fmla="*/ 0 h 31"/>
                    <a:gd name="T8" fmla="*/ 0 w 29"/>
                    <a:gd name="T9" fmla="*/ 3 h 31"/>
                  </a:gdLst>
                  <a:ahLst/>
                  <a:cxnLst>
                    <a:cxn ang="0">
                      <a:pos x="T0" y="T1"/>
                    </a:cxn>
                    <a:cxn ang="0">
                      <a:pos x="T2" y="T3"/>
                    </a:cxn>
                    <a:cxn ang="0">
                      <a:pos x="T4" y="T5"/>
                    </a:cxn>
                    <a:cxn ang="0">
                      <a:pos x="T6" y="T7"/>
                    </a:cxn>
                    <a:cxn ang="0">
                      <a:pos x="T8" y="T9"/>
                    </a:cxn>
                  </a:cxnLst>
                  <a:rect l="0" t="0" r="r" b="b"/>
                  <a:pathLst>
                    <a:path w="29" h="31">
                      <a:moveTo>
                        <a:pt x="0" y="3"/>
                      </a:moveTo>
                      <a:lnTo>
                        <a:pt x="29" y="31"/>
                      </a:lnTo>
                      <a:lnTo>
                        <a:pt x="29" y="31"/>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51" name="Freeform 2094"/>
                <p:cNvSpPr>
                  <a:spLocks/>
                </p:cNvSpPr>
                <p:nvPr/>
              </p:nvSpPr>
              <p:spPr bwMode="auto">
                <a:xfrm>
                  <a:off x="11438" y="3005"/>
                  <a:ext cx="17" cy="9"/>
                </a:xfrm>
                <a:custGeom>
                  <a:avLst/>
                  <a:gdLst>
                    <a:gd name="T0" fmla="*/ 0 w 9"/>
                    <a:gd name="T1" fmla="*/ 0 h 7"/>
                    <a:gd name="T2" fmla="*/ 9 w 9"/>
                    <a:gd name="T3" fmla="*/ 7 h 7"/>
                    <a:gd name="T4" fmla="*/ 9 w 9"/>
                    <a:gd name="T5" fmla="*/ 7 h 7"/>
                    <a:gd name="T6" fmla="*/ 2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2" name="Freeform 2095"/>
                <p:cNvSpPr>
                  <a:spLocks/>
                </p:cNvSpPr>
                <p:nvPr/>
              </p:nvSpPr>
              <p:spPr bwMode="auto">
                <a:xfrm>
                  <a:off x="11380" y="3057"/>
                  <a:ext cx="25" cy="44"/>
                </a:xfrm>
                <a:custGeom>
                  <a:avLst/>
                  <a:gdLst>
                    <a:gd name="T0" fmla="*/ 0 w 36"/>
                    <a:gd name="T1" fmla="*/ 0 h 38"/>
                    <a:gd name="T2" fmla="*/ 33 w 36"/>
                    <a:gd name="T3" fmla="*/ 38 h 38"/>
                    <a:gd name="T4" fmla="*/ 36 w 36"/>
                    <a:gd name="T5" fmla="*/ 36 h 38"/>
                    <a:gd name="T6" fmla="*/ 0 w 36"/>
                    <a:gd name="T7" fmla="*/ 0 h 38"/>
                    <a:gd name="T8" fmla="*/ 0 w 36"/>
                    <a:gd name="T9" fmla="*/ 0 h 38"/>
                  </a:gdLst>
                  <a:ahLst/>
                  <a:cxnLst>
                    <a:cxn ang="0">
                      <a:pos x="T0" y="T1"/>
                    </a:cxn>
                    <a:cxn ang="0">
                      <a:pos x="T2" y="T3"/>
                    </a:cxn>
                    <a:cxn ang="0">
                      <a:pos x="T4" y="T5"/>
                    </a:cxn>
                    <a:cxn ang="0">
                      <a:pos x="T6" y="T7"/>
                    </a:cxn>
                    <a:cxn ang="0">
                      <a:pos x="T8" y="T9"/>
                    </a:cxn>
                  </a:cxnLst>
                  <a:rect l="0" t="0" r="r" b="b"/>
                  <a:pathLst>
                    <a:path w="36" h="38">
                      <a:moveTo>
                        <a:pt x="0" y="0"/>
                      </a:moveTo>
                      <a:lnTo>
                        <a:pt x="33" y="38"/>
                      </a:lnTo>
                      <a:lnTo>
                        <a:pt x="36" y="36"/>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3" name="Freeform 2096"/>
                <p:cNvSpPr>
                  <a:spLocks/>
                </p:cNvSpPr>
                <p:nvPr/>
              </p:nvSpPr>
              <p:spPr bwMode="auto">
                <a:xfrm>
                  <a:off x="11455" y="2996"/>
                  <a:ext cx="8" cy="9"/>
                </a:xfrm>
                <a:custGeom>
                  <a:avLst/>
                  <a:gdLst>
                    <a:gd name="T0" fmla="*/ 0 w 10"/>
                    <a:gd name="T1" fmla="*/ 3 h 10"/>
                    <a:gd name="T2" fmla="*/ 10 w 10"/>
                    <a:gd name="T3" fmla="*/ 10 h 10"/>
                    <a:gd name="T4" fmla="*/ 10 w 10"/>
                    <a:gd name="T5" fmla="*/ 8 h 10"/>
                    <a:gd name="T6" fmla="*/ 0 w 10"/>
                    <a:gd name="T7" fmla="*/ 0 h 10"/>
                    <a:gd name="T8" fmla="*/ 0 w 10"/>
                    <a:gd name="T9" fmla="*/ 3 h 10"/>
                  </a:gdLst>
                  <a:ahLst/>
                  <a:cxnLst>
                    <a:cxn ang="0">
                      <a:pos x="T0" y="T1"/>
                    </a:cxn>
                    <a:cxn ang="0">
                      <a:pos x="T2" y="T3"/>
                    </a:cxn>
                    <a:cxn ang="0">
                      <a:pos x="T4" y="T5"/>
                    </a:cxn>
                    <a:cxn ang="0">
                      <a:pos x="T6" y="T7"/>
                    </a:cxn>
                    <a:cxn ang="0">
                      <a:pos x="T8" y="T9"/>
                    </a:cxn>
                  </a:cxnLst>
                  <a:rect l="0" t="0" r="r" b="b"/>
                  <a:pathLst>
                    <a:path w="10" h="10">
                      <a:moveTo>
                        <a:pt x="0" y="3"/>
                      </a:moveTo>
                      <a:lnTo>
                        <a:pt x="10" y="10"/>
                      </a:lnTo>
                      <a:lnTo>
                        <a:pt x="10" y="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54" name="Freeform 2097"/>
                <p:cNvSpPr>
                  <a:spLocks/>
                </p:cNvSpPr>
                <p:nvPr/>
              </p:nvSpPr>
              <p:spPr bwMode="auto">
                <a:xfrm>
                  <a:off x="11272" y="3118"/>
                  <a:ext cx="50" cy="78"/>
                </a:xfrm>
                <a:custGeom>
                  <a:avLst/>
                  <a:gdLst>
                    <a:gd name="T0" fmla="*/ 0 w 52"/>
                    <a:gd name="T1" fmla="*/ 0 h 81"/>
                    <a:gd name="T2" fmla="*/ 52 w 52"/>
                    <a:gd name="T3" fmla="*/ 81 h 81"/>
                    <a:gd name="T4" fmla="*/ 52 w 52"/>
                    <a:gd name="T5" fmla="*/ 81 h 81"/>
                    <a:gd name="T6" fmla="*/ 0 w 52"/>
                    <a:gd name="T7" fmla="*/ 0 h 81"/>
                    <a:gd name="T8" fmla="*/ 0 w 52"/>
                    <a:gd name="T9" fmla="*/ 0 h 81"/>
                  </a:gdLst>
                  <a:ahLst/>
                  <a:cxnLst>
                    <a:cxn ang="0">
                      <a:pos x="T0" y="T1"/>
                    </a:cxn>
                    <a:cxn ang="0">
                      <a:pos x="T2" y="T3"/>
                    </a:cxn>
                    <a:cxn ang="0">
                      <a:pos x="T4" y="T5"/>
                    </a:cxn>
                    <a:cxn ang="0">
                      <a:pos x="T6" y="T7"/>
                    </a:cxn>
                    <a:cxn ang="0">
                      <a:pos x="T8" y="T9"/>
                    </a:cxn>
                  </a:cxnLst>
                  <a:rect l="0" t="0" r="r" b="b"/>
                  <a:pathLst>
                    <a:path w="52" h="81">
                      <a:moveTo>
                        <a:pt x="0" y="0"/>
                      </a:moveTo>
                      <a:lnTo>
                        <a:pt x="52" y="81"/>
                      </a:lnTo>
                      <a:lnTo>
                        <a:pt x="52"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5" name="Freeform 2098"/>
                <p:cNvSpPr>
                  <a:spLocks/>
                </p:cNvSpPr>
                <p:nvPr/>
              </p:nvSpPr>
              <p:spPr bwMode="auto">
                <a:xfrm>
                  <a:off x="11455" y="2987"/>
                  <a:ext cx="8" cy="9"/>
                </a:xfrm>
                <a:custGeom>
                  <a:avLst/>
                  <a:gdLst>
                    <a:gd name="T0" fmla="*/ 0 w 9"/>
                    <a:gd name="T1" fmla="*/ 2 h 9"/>
                    <a:gd name="T2" fmla="*/ 7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7"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56" name="Freeform 2099"/>
                <p:cNvSpPr>
                  <a:spLocks/>
                </p:cNvSpPr>
                <p:nvPr/>
              </p:nvSpPr>
              <p:spPr bwMode="auto">
                <a:xfrm>
                  <a:off x="11438" y="3013"/>
                  <a:ext cx="8" cy="9"/>
                </a:xfrm>
                <a:custGeom>
                  <a:avLst/>
                  <a:gdLst>
                    <a:gd name="T0" fmla="*/ 0 w 12"/>
                    <a:gd name="T1" fmla="*/ 0 h 9"/>
                    <a:gd name="T2" fmla="*/ 12 w 12"/>
                    <a:gd name="T3" fmla="*/ 9 h 9"/>
                    <a:gd name="T4" fmla="*/ 12 w 12"/>
                    <a:gd name="T5" fmla="*/ 7 h 9"/>
                    <a:gd name="T6" fmla="*/ 3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2" y="9"/>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7" name="Freeform 2100"/>
                <p:cNvSpPr>
                  <a:spLocks/>
                </p:cNvSpPr>
                <p:nvPr/>
              </p:nvSpPr>
              <p:spPr bwMode="auto">
                <a:xfrm>
                  <a:off x="11430" y="3013"/>
                  <a:ext cx="8" cy="17"/>
                </a:xfrm>
                <a:custGeom>
                  <a:avLst/>
                  <a:gdLst>
                    <a:gd name="T0" fmla="*/ 0 w 11"/>
                    <a:gd name="T1" fmla="*/ 0 h 10"/>
                    <a:gd name="T2" fmla="*/ 11 w 11"/>
                    <a:gd name="T3" fmla="*/ 10 h 10"/>
                    <a:gd name="T4" fmla="*/ 11 w 11"/>
                    <a:gd name="T5" fmla="*/ 10 h 10"/>
                    <a:gd name="T6" fmla="*/ 2 w 11"/>
                    <a:gd name="T7" fmla="*/ 0 h 10"/>
                    <a:gd name="T8" fmla="*/ 0 w 11"/>
                    <a:gd name="T9" fmla="*/ 0 h 10"/>
                  </a:gdLst>
                  <a:ahLst/>
                  <a:cxnLst>
                    <a:cxn ang="0">
                      <a:pos x="T0" y="T1"/>
                    </a:cxn>
                    <a:cxn ang="0">
                      <a:pos x="T2" y="T3"/>
                    </a:cxn>
                    <a:cxn ang="0">
                      <a:pos x="T4" y="T5"/>
                    </a:cxn>
                    <a:cxn ang="0">
                      <a:pos x="T6" y="T7"/>
                    </a:cxn>
                    <a:cxn ang="0">
                      <a:pos x="T8" y="T9"/>
                    </a:cxn>
                  </a:cxnLst>
                  <a:rect l="0" t="0" r="r" b="b"/>
                  <a:pathLst>
                    <a:path w="11" h="10">
                      <a:moveTo>
                        <a:pt x="0" y="0"/>
                      </a:moveTo>
                      <a:lnTo>
                        <a:pt x="11" y="10"/>
                      </a:lnTo>
                      <a:lnTo>
                        <a:pt x="11"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8" name="Freeform 2101"/>
                <p:cNvSpPr>
                  <a:spLocks/>
                </p:cNvSpPr>
                <p:nvPr/>
              </p:nvSpPr>
              <p:spPr bwMode="auto">
                <a:xfrm>
                  <a:off x="11438" y="3013"/>
                  <a:ext cx="8" cy="0"/>
                </a:xfrm>
                <a:custGeom>
                  <a:avLst/>
                  <a:gdLst>
                    <a:gd name="T0" fmla="*/ 0 w 12"/>
                    <a:gd name="T1" fmla="*/ 0 h 9"/>
                    <a:gd name="T2" fmla="*/ 10 w 12"/>
                    <a:gd name="T3" fmla="*/ 9 h 9"/>
                    <a:gd name="T4" fmla="*/ 12 w 12"/>
                    <a:gd name="T5" fmla="*/ 7 h 9"/>
                    <a:gd name="T6" fmla="*/ 2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0" y="9"/>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59" name="Freeform 2102"/>
                <p:cNvSpPr>
                  <a:spLocks/>
                </p:cNvSpPr>
                <p:nvPr/>
              </p:nvSpPr>
              <p:spPr bwMode="auto">
                <a:xfrm>
                  <a:off x="11422" y="3022"/>
                  <a:ext cx="17" cy="17"/>
                </a:xfrm>
                <a:custGeom>
                  <a:avLst/>
                  <a:gdLst>
                    <a:gd name="T0" fmla="*/ 0 w 14"/>
                    <a:gd name="T1" fmla="*/ 0 h 12"/>
                    <a:gd name="T2" fmla="*/ 12 w 14"/>
                    <a:gd name="T3" fmla="*/ 12 h 12"/>
                    <a:gd name="T4" fmla="*/ 14 w 14"/>
                    <a:gd name="T5" fmla="*/ 10 h 12"/>
                    <a:gd name="T6" fmla="*/ 2 w 14"/>
                    <a:gd name="T7" fmla="*/ 0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12" y="12"/>
                      </a:lnTo>
                      <a:lnTo>
                        <a:pt x="14"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0" name="Freeform 2103"/>
                <p:cNvSpPr>
                  <a:spLocks/>
                </p:cNvSpPr>
                <p:nvPr/>
              </p:nvSpPr>
              <p:spPr bwMode="auto">
                <a:xfrm>
                  <a:off x="11447" y="2996"/>
                  <a:ext cx="8" cy="17"/>
                </a:xfrm>
                <a:custGeom>
                  <a:avLst/>
                  <a:gdLst>
                    <a:gd name="T0" fmla="*/ 0 w 9"/>
                    <a:gd name="T1" fmla="*/ 3 h 10"/>
                    <a:gd name="T2" fmla="*/ 9 w 9"/>
                    <a:gd name="T3" fmla="*/ 10 h 10"/>
                    <a:gd name="T4" fmla="*/ 9 w 9"/>
                    <a:gd name="T5" fmla="*/ 10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61" name="Freeform 2104"/>
                <p:cNvSpPr>
                  <a:spLocks/>
                </p:cNvSpPr>
                <p:nvPr/>
              </p:nvSpPr>
              <p:spPr bwMode="auto">
                <a:xfrm>
                  <a:off x="11305" y="3092"/>
                  <a:ext cx="58" cy="70"/>
                </a:xfrm>
                <a:custGeom>
                  <a:avLst/>
                  <a:gdLst>
                    <a:gd name="T0" fmla="*/ 0 w 59"/>
                    <a:gd name="T1" fmla="*/ 3 h 76"/>
                    <a:gd name="T2" fmla="*/ 57 w 59"/>
                    <a:gd name="T3" fmla="*/ 76 h 76"/>
                    <a:gd name="T4" fmla="*/ 59 w 59"/>
                    <a:gd name="T5" fmla="*/ 76 h 76"/>
                    <a:gd name="T6" fmla="*/ 3 w 59"/>
                    <a:gd name="T7" fmla="*/ 0 h 76"/>
                    <a:gd name="T8" fmla="*/ 0 w 59"/>
                    <a:gd name="T9" fmla="*/ 3 h 76"/>
                  </a:gdLst>
                  <a:ahLst/>
                  <a:cxnLst>
                    <a:cxn ang="0">
                      <a:pos x="T0" y="T1"/>
                    </a:cxn>
                    <a:cxn ang="0">
                      <a:pos x="T2" y="T3"/>
                    </a:cxn>
                    <a:cxn ang="0">
                      <a:pos x="T4" y="T5"/>
                    </a:cxn>
                    <a:cxn ang="0">
                      <a:pos x="T6" y="T7"/>
                    </a:cxn>
                    <a:cxn ang="0">
                      <a:pos x="T8" y="T9"/>
                    </a:cxn>
                  </a:cxnLst>
                  <a:rect l="0" t="0" r="r" b="b"/>
                  <a:pathLst>
                    <a:path w="59" h="76">
                      <a:moveTo>
                        <a:pt x="0" y="3"/>
                      </a:moveTo>
                      <a:lnTo>
                        <a:pt x="57" y="76"/>
                      </a:lnTo>
                      <a:lnTo>
                        <a:pt x="59" y="76"/>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762" name="Freeform 2105"/>
                <p:cNvSpPr>
                  <a:spLocks/>
                </p:cNvSpPr>
                <p:nvPr/>
              </p:nvSpPr>
              <p:spPr bwMode="auto">
                <a:xfrm>
                  <a:off x="11305" y="3100"/>
                  <a:ext cx="50" cy="70"/>
                </a:xfrm>
                <a:custGeom>
                  <a:avLst/>
                  <a:gdLst>
                    <a:gd name="T0" fmla="*/ 0 w 57"/>
                    <a:gd name="T1" fmla="*/ 0 h 76"/>
                    <a:gd name="T2" fmla="*/ 57 w 57"/>
                    <a:gd name="T3" fmla="*/ 76 h 76"/>
                    <a:gd name="T4" fmla="*/ 57 w 57"/>
                    <a:gd name="T5" fmla="*/ 76 h 76"/>
                    <a:gd name="T6" fmla="*/ 3 w 57"/>
                    <a:gd name="T7" fmla="*/ 0 h 76"/>
                    <a:gd name="T8" fmla="*/ 0 w 57"/>
                    <a:gd name="T9" fmla="*/ 0 h 76"/>
                  </a:gdLst>
                  <a:ahLst/>
                  <a:cxnLst>
                    <a:cxn ang="0">
                      <a:pos x="T0" y="T1"/>
                    </a:cxn>
                    <a:cxn ang="0">
                      <a:pos x="T2" y="T3"/>
                    </a:cxn>
                    <a:cxn ang="0">
                      <a:pos x="T4" y="T5"/>
                    </a:cxn>
                    <a:cxn ang="0">
                      <a:pos x="T6" y="T7"/>
                    </a:cxn>
                    <a:cxn ang="0">
                      <a:pos x="T8" y="T9"/>
                    </a:cxn>
                  </a:cxnLst>
                  <a:rect l="0" t="0" r="r" b="b"/>
                  <a:pathLst>
                    <a:path w="57" h="76">
                      <a:moveTo>
                        <a:pt x="0" y="0"/>
                      </a:moveTo>
                      <a:lnTo>
                        <a:pt x="57" y="76"/>
                      </a:lnTo>
                      <a:lnTo>
                        <a:pt x="57" y="7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3" name="Freeform 2106"/>
                <p:cNvSpPr>
                  <a:spLocks/>
                </p:cNvSpPr>
                <p:nvPr/>
              </p:nvSpPr>
              <p:spPr bwMode="auto">
                <a:xfrm>
                  <a:off x="11313" y="3092"/>
                  <a:ext cx="58" cy="70"/>
                </a:xfrm>
                <a:custGeom>
                  <a:avLst/>
                  <a:gdLst>
                    <a:gd name="T0" fmla="*/ 0 w 57"/>
                    <a:gd name="T1" fmla="*/ 0 h 73"/>
                    <a:gd name="T2" fmla="*/ 55 w 57"/>
                    <a:gd name="T3" fmla="*/ 73 h 73"/>
                    <a:gd name="T4" fmla="*/ 57 w 57"/>
                    <a:gd name="T5" fmla="*/ 71 h 73"/>
                    <a:gd name="T6" fmla="*/ 0 w 57"/>
                    <a:gd name="T7" fmla="*/ 0 h 73"/>
                    <a:gd name="T8" fmla="*/ 0 w 57"/>
                    <a:gd name="T9" fmla="*/ 0 h 73"/>
                  </a:gdLst>
                  <a:ahLst/>
                  <a:cxnLst>
                    <a:cxn ang="0">
                      <a:pos x="T0" y="T1"/>
                    </a:cxn>
                    <a:cxn ang="0">
                      <a:pos x="T2" y="T3"/>
                    </a:cxn>
                    <a:cxn ang="0">
                      <a:pos x="T4" y="T5"/>
                    </a:cxn>
                    <a:cxn ang="0">
                      <a:pos x="T6" y="T7"/>
                    </a:cxn>
                    <a:cxn ang="0">
                      <a:pos x="T8" y="T9"/>
                    </a:cxn>
                  </a:cxnLst>
                  <a:rect l="0" t="0" r="r" b="b"/>
                  <a:pathLst>
                    <a:path w="57" h="73">
                      <a:moveTo>
                        <a:pt x="0" y="0"/>
                      </a:moveTo>
                      <a:lnTo>
                        <a:pt x="55" y="73"/>
                      </a:lnTo>
                      <a:lnTo>
                        <a:pt x="57" y="7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4" name="Freeform 2107"/>
                <p:cNvSpPr>
                  <a:spLocks/>
                </p:cNvSpPr>
                <p:nvPr/>
              </p:nvSpPr>
              <p:spPr bwMode="auto">
                <a:xfrm>
                  <a:off x="11297" y="3100"/>
                  <a:ext cx="58" cy="78"/>
                </a:xfrm>
                <a:custGeom>
                  <a:avLst/>
                  <a:gdLst>
                    <a:gd name="T0" fmla="*/ 0 w 56"/>
                    <a:gd name="T1" fmla="*/ 0 h 81"/>
                    <a:gd name="T2" fmla="*/ 56 w 56"/>
                    <a:gd name="T3" fmla="*/ 81 h 81"/>
                    <a:gd name="T4" fmla="*/ 56 w 56"/>
                    <a:gd name="T5" fmla="*/ 78 h 81"/>
                    <a:gd name="T6" fmla="*/ 0 w 56"/>
                    <a:gd name="T7" fmla="*/ 0 h 81"/>
                    <a:gd name="T8" fmla="*/ 0 w 56"/>
                    <a:gd name="T9" fmla="*/ 0 h 81"/>
                  </a:gdLst>
                  <a:ahLst/>
                  <a:cxnLst>
                    <a:cxn ang="0">
                      <a:pos x="T0" y="T1"/>
                    </a:cxn>
                    <a:cxn ang="0">
                      <a:pos x="T2" y="T3"/>
                    </a:cxn>
                    <a:cxn ang="0">
                      <a:pos x="T4" y="T5"/>
                    </a:cxn>
                    <a:cxn ang="0">
                      <a:pos x="T6" y="T7"/>
                    </a:cxn>
                    <a:cxn ang="0">
                      <a:pos x="T8" y="T9"/>
                    </a:cxn>
                  </a:cxnLst>
                  <a:rect l="0" t="0" r="r" b="b"/>
                  <a:pathLst>
                    <a:path w="56" h="81">
                      <a:moveTo>
                        <a:pt x="0" y="0"/>
                      </a:moveTo>
                      <a:lnTo>
                        <a:pt x="56" y="81"/>
                      </a:lnTo>
                      <a:lnTo>
                        <a:pt x="56"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5" name="Freeform 2108"/>
                <p:cNvSpPr>
                  <a:spLocks/>
                </p:cNvSpPr>
                <p:nvPr/>
              </p:nvSpPr>
              <p:spPr bwMode="auto">
                <a:xfrm>
                  <a:off x="11280" y="3109"/>
                  <a:ext cx="50" cy="87"/>
                </a:xfrm>
                <a:custGeom>
                  <a:avLst/>
                  <a:gdLst>
                    <a:gd name="T0" fmla="*/ 0 w 55"/>
                    <a:gd name="T1" fmla="*/ 2 h 82"/>
                    <a:gd name="T2" fmla="*/ 52 w 55"/>
                    <a:gd name="T3" fmla="*/ 82 h 82"/>
                    <a:gd name="T4" fmla="*/ 55 w 55"/>
                    <a:gd name="T5" fmla="*/ 80 h 82"/>
                    <a:gd name="T6" fmla="*/ 0 w 55"/>
                    <a:gd name="T7" fmla="*/ 0 h 82"/>
                    <a:gd name="T8" fmla="*/ 0 w 55"/>
                    <a:gd name="T9" fmla="*/ 2 h 82"/>
                  </a:gdLst>
                  <a:ahLst/>
                  <a:cxnLst>
                    <a:cxn ang="0">
                      <a:pos x="T0" y="T1"/>
                    </a:cxn>
                    <a:cxn ang="0">
                      <a:pos x="T2" y="T3"/>
                    </a:cxn>
                    <a:cxn ang="0">
                      <a:pos x="T4" y="T5"/>
                    </a:cxn>
                    <a:cxn ang="0">
                      <a:pos x="T6" y="T7"/>
                    </a:cxn>
                    <a:cxn ang="0">
                      <a:pos x="T8" y="T9"/>
                    </a:cxn>
                  </a:cxnLst>
                  <a:rect l="0" t="0" r="r" b="b"/>
                  <a:pathLst>
                    <a:path w="55" h="82">
                      <a:moveTo>
                        <a:pt x="0" y="2"/>
                      </a:moveTo>
                      <a:lnTo>
                        <a:pt x="52" y="82"/>
                      </a:lnTo>
                      <a:lnTo>
                        <a:pt x="55" y="8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66" name="Freeform 2109"/>
                <p:cNvSpPr>
                  <a:spLocks/>
                </p:cNvSpPr>
                <p:nvPr/>
              </p:nvSpPr>
              <p:spPr bwMode="auto">
                <a:xfrm>
                  <a:off x="11322" y="3083"/>
                  <a:ext cx="58" cy="70"/>
                </a:xfrm>
                <a:custGeom>
                  <a:avLst/>
                  <a:gdLst>
                    <a:gd name="T0" fmla="*/ 0 w 57"/>
                    <a:gd name="T1" fmla="*/ 0 h 68"/>
                    <a:gd name="T2" fmla="*/ 54 w 57"/>
                    <a:gd name="T3" fmla="*/ 68 h 68"/>
                    <a:gd name="T4" fmla="*/ 57 w 57"/>
                    <a:gd name="T5" fmla="*/ 68 h 68"/>
                    <a:gd name="T6" fmla="*/ 2 w 57"/>
                    <a:gd name="T7" fmla="*/ 0 h 68"/>
                    <a:gd name="T8" fmla="*/ 0 w 57"/>
                    <a:gd name="T9" fmla="*/ 0 h 68"/>
                  </a:gdLst>
                  <a:ahLst/>
                  <a:cxnLst>
                    <a:cxn ang="0">
                      <a:pos x="T0" y="T1"/>
                    </a:cxn>
                    <a:cxn ang="0">
                      <a:pos x="T2" y="T3"/>
                    </a:cxn>
                    <a:cxn ang="0">
                      <a:pos x="T4" y="T5"/>
                    </a:cxn>
                    <a:cxn ang="0">
                      <a:pos x="T6" y="T7"/>
                    </a:cxn>
                    <a:cxn ang="0">
                      <a:pos x="T8" y="T9"/>
                    </a:cxn>
                  </a:cxnLst>
                  <a:rect l="0" t="0" r="r" b="b"/>
                  <a:pathLst>
                    <a:path w="57" h="68">
                      <a:moveTo>
                        <a:pt x="0" y="0"/>
                      </a:moveTo>
                      <a:lnTo>
                        <a:pt x="54" y="68"/>
                      </a:lnTo>
                      <a:lnTo>
                        <a:pt x="57" y="6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7" name="Freeform 2110"/>
                <p:cNvSpPr>
                  <a:spLocks/>
                </p:cNvSpPr>
                <p:nvPr/>
              </p:nvSpPr>
              <p:spPr bwMode="auto">
                <a:xfrm>
                  <a:off x="11280" y="3109"/>
                  <a:ext cx="58" cy="87"/>
                </a:xfrm>
                <a:custGeom>
                  <a:avLst/>
                  <a:gdLst>
                    <a:gd name="T0" fmla="*/ 0 w 57"/>
                    <a:gd name="T1" fmla="*/ 0 h 81"/>
                    <a:gd name="T2" fmla="*/ 55 w 57"/>
                    <a:gd name="T3" fmla="*/ 81 h 81"/>
                    <a:gd name="T4" fmla="*/ 57 w 57"/>
                    <a:gd name="T5" fmla="*/ 81 h 81"/>
                    <a:gd name="T6" fmla="*/ 0 w 57"/>
                    <a:gd name="T7" fmla="*/ 0 h 81"/>
                    <a:gd name="T8" fmla="*/ 0 w 57"/>
                    <a:gd name="T9" fmla="*/ 0 h 81"/>
                  </a:gdLst>
                  <a:ahLst/>
                  <a:cxnLst>
                    <a:cxn ang="0">
                      <a:pos x="T0" y="T1"/>
                    </a:cxn>
                    <a:cxn ang="0">
                      <a:pos x="T2" y="T3"/>
                    </a:cxn>
                    <a:cxn ang="0">
                      <a:pos x="T4" y="T5"/>
                    </a:cxn>
                    <a:cxn ang="0">
                      <a:pos x="T6" y="T7"/>
                    </a:cxn>
                    <a:cxn ang="0">
                      <a:pos x="T8" y="T9"/>
                    </a:cxn>
                  </a:cxnLst>
                  <a:rect l="0" t="0" r="r" b="b"/>
                  <a:pathLst>
                    <a:path w="57" h="81">
                      <a:moveTo>
                        <a:pt x="0" y="0"/>
                      </a:moveTo>
                      <a:lnTo>
                        <a:pt x="55" y="81"/>
                      </a:lnTo>
                      <a:lnTo>
                        <a:pt x="57"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768" name="Freeform 2111"/>
                <p:cNvSpPr>
                  <a:spLocks/>
                </p:cNvSpPr>
                <p:nvPr/>
              </p:nvSpPr>
              <p:spPr bwMode="auto">
                <a:xfrm>
                  <a:off x="11363" y="3066"/>
                  <a:ext cx="42" cy="35"/>
                </a:xfrm>
                <a:custGeom>
                  <a:avLst/>
                  <a:gdLst>
                    <a:gd name="T0" fmla="*/ 0 w 38"/>
                    <a:gd name="T1" fmla="*/ 2 h 42"/>
                    <a:gd name="T2" fmla="*/ 38 w 38"/>
                    <a:gd name="T3" fmla="*/ 42 h 42"/>
                    <a:gd name="T4" fmla="*/ 38 w 38"/>
                    <a:gd name="T5" fmla="*/ 40 h 42"/>
                    <a:gd name="T6" fmla="*/ 3 w 38"/>
                    <a:gd name="T7" fmla="*/ 0 h 42"/>
                    <a:gd name="T8" fmla="*/ 0 w 38"/>
                    <a:gd name="T9" fmla="*/ 2 h 42"/>
                  </a:gdLst>
                  <a:ahLst/>
                  <a:cxnLst>
                    <a:cxn ang="0">
                      <a:pos x="T0" y="T1"/>
                    </a:cxn>
                    <a:cxn ang="0">
                      <a:pos x="T2" y="T3"/>
                    </a:cxn>
                    <a:cxn ang="0">
                      <a:pos x="T4" y="T5"/>
                    </a:cxn>
                    <a:cxn ang="0">
                      <a:pos x="T6" y="T7"/>
                    </a:cxn>
                    <a:cxn ang="0">
                      <a:pos x="T8" y="T9"/>
                    </a:cxn>
                  </a:cxnLst>
                  <a:rect l="0" t="0" r="r" b="b"/>
                  <a:pathLst>
                    <a:path w="38" h="42">
                      <a:moveTo>
                        <a:pt x="0" y="2"/>
                      </a:moveTo>
                      <a:lnTo>
                        <a:pt x="38" y="42"/>
                      </a:lnTo>
                      <a:lnTo>
                        <a:pt x="38" y="4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69" name="Freeform 2112"/>
                <p:cNvSpPr>
                  <a:spLocks/>
                </p:cNvSpPr>
                <p:nvPr/>
              </p:nvSpPr>
              <p:spPr bwMode="auto">
                <a:xfrm>
                  <a:off x="11289" y="3100"/>
                  <a:ext cx="58" cy="87"/>
                </a:xfrm>
                <a:custGeom>
                  <a:avLst/>
                  <a:gdLst>
                    <a:gd name="T0" fmla="*/ 0 w 59"/>
                    <a:gd name="T1" fmla="*/ 2 h 82"/>
                    <a:gd name="T2" fmla="*/ 56 w 59"/>
                    <a:gd name="T3" fmla="*/ 82 h 82"/>
                    <a:gd name="T4" fmla="*/ 59 w 59"/>
                    <a:gd name="T5" fmla="*/ 80 h 82"/>
                    <a:gd name="T6" fmla="*/ 2 w 59"/>
                    <a:gd name="T7" fmla="*/ 0 h 82"/>
                    <a:gd name="T8" fmla="*/ 0 w 59"/>
                    <a:gd name="T9" fmla="*/ 2 h 82"/>
                  </a:gdLst>
                  <a:ahLst/>
                  <a:cxnLst>
                    <a:cxn ang="0">
                      <a:pos x="T0" y="T1"/>
                    </a:cxn>
                    <a:cxn ang="0">
                      <a:pos x="T2" y="T3"/>
                    </a:cxn>
                    <a:cxn ang="0">
                      <a:pos x="T4" y="T5"/>
                    </a:cxn>
                    <a:cxn ang="0">
                      <a:pos x="T6" y="T7"/>
                    </a:cxn>
                    <a:cxn ang="0">
                      <a:pos x="T8" y="T9"/>
                    </a:cxn>
                  </a:cxnLst>
                  <a:rect l="0" t="0" r="r" b="b"/>
                  <a:pathLst>
                    <a:path w="59" h="82">
                      <a:moveTo>
                        <a:pt x="0" y="2"/>
                      </a:moveTo>
                      <a:lnTo>
                        <a:pt x="56" y="82"/>
                      </a:lnTo>
                      <a:lnTo>
                        <a:pt x="59" y="80"/>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770" name="Freeform 2113"/>
                <p:cNvSpPr>
                  <a:spLocks/>
                </p:cNvSpPr>
                <p:nvPr/>
              </p:nvSpPr>
              <p:spPr bwMode="auto">
                <a:xfrm>
                  <a:off x="11347" y="3074"/>
                  <a:ext cx="50" cy="52"/>
                </a:xfrm>
                <a:custGeom>
                  <a:avLst/>
                  <a:gdLst>
                    <a:gd name="T0" fmla="*/ 0 w 45"/>
                    <a:gd name="T1" fmla="*/ 2 h 54"/>
                    <a:gd name="T2" fmla="*/ 45 w 45"/>
                    <a:gd name="T3" fmla="*/ 54 h 54"/>
                    <a:gd name="T4" fmla="*/ 45 w 45"/>
                    <a:gd name="T5" fmla="*/ 52 h 54"/>
                    <a:gd name="T6" fmla="*/ 0 w 45"/>
                    <a:gd name="T7" fmla="*/ 0 h 54"/>
                    <a:gd name="T8" fmla="*/ 0 w 45"/>
                    <a:gd name="T9" fmla="*/ 2 h 54"/>
                  </a:gdLst>
                  <a:ahLst/>
                  <a:cxnLst>
                    <a:cxn ang="0">
                      <a:pos x="T0" y="T1"/>
                    </a:cxn>
                    <a:cxn ang="0">
                      <a:pos x="T2" y="T3"/>
                    </a:cxn>
                    <a:cxn ang="0">
                      <a:pos x="T4" y="T5"/>
                    </a:cxn>
                    <a:cxn ang="0">
                      <a:pos x="T6" y="T7"/>
                    </a:cxn>
                    <a:cxn ang="0">
                      <a:pos x="T8" y="T9"/>
                    </a:cxn>
                  </a:cxnLst>
                  <a:rect l="0" t="0" r="r" b="b"/>
                  <a:pathLst>
                    <a:path w="45" h="54">
                      <a:moveTo>
                        <a:pt x="0" y="2"/>
                      </a:moveTo>
                      <a:lnTo>
                        <a:pt x="45" y="54"/>
                      </a:lnTo>
                      <a:lnTo>
                        <a:pt x="45" y="5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grpSp>
          <p:sp>
            <p:nvSpPr>
              <p:cNvPr id="4475" name="Freeform 2115"/>
              <p:cNvSpPr>
                <a:spLocks/>
              </p:cNvSpPr>
              <p:nvPr/>
            </p:nvSpPr>
            <p:spPr bwMode="auto">
              <a:xfrm>
                <a:off x="18039353" y="4866695"/>
                <a:ext cx="66039" cy="82991"/>
              </a:xfrm>
              <a:custGeom>
                <a:avLst/>
                <a:gdLst>
                  <a:gd name="T0" fmla="*/ 0 w 43"/>
                  <a:gd name="T1" fmla="*/ 0 h 49"/>
                  <a:gd name="T2" fmla="*/ 43 w 43"/>
                  <a:gd name="T3" fmla="*/ 49 h 49"/>
                  <a:gd name="T4" fmla="*/ 43 w 43"/>
                  <a:gd name="T5" fmla="*/ 47 h 49"/>
                  <a:gd name="T6" fmla="*/ 3 w 43"/>
                  <a:gd name="T7" fmla="*/ 0 h 49"/>
                  <a:gd name="T8" fmla="*/ 0 w 43"/>
                  <a:gd name="T9" fmla="*/ 0 h 49"/>
                </a:gdLst>
                <a:ahLst/>
                <a:cxnLst>
                  <a:cxn ang="0">
                    <a:pos x="T0" y="T1"/>
                  </a:cxn>
                  <a:cxn ang="0">
                    <a:pos x="T2" y="T3"/>
                  </a:cxn>
                  <a:cxn ang="0">
                    <a:pos x="T4" y="T5"/>
                  </a:cxn>
                  <a:cxn ang="0">
                    <a:pos x="T6" y="T7"/>
                  </a:cxn>
                  <a:cxn ang="0">
                    <a:pos x="T8" y="T9"/>
                  </a:cxn>
                </a:cxnLst>
                <a:rect l="0" t="0" r="r" b="b"/>
                <a:pathLst>
                  <a:path w="43" h="49">
                    <a:moveTo>
                      <a:pt x="0" y="0"/>
                    </a:moveTo>
                    <a:lnTo>
                      <a:pt x="43" y="49"/>
                    </a:lnTo>
                    <a:lnTo>
                      <a:pt x="43" y="4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476" name="Freeform 2116"/>
              <p:cNvSpPr>
                <a:spLocks/>
              </p:cNvSpPr>
              <p:nvPr/>
            </p:nvSpPr>
            <p:spPr bwMode="auto">
              <a:xfrm>
                <a:off x="18039353" y="4866695"/>
                <a:ext cx="66039" cy="69163"/>
              </a:xfrm>
              <a:custGeom>
                <a:avLst/>
                <a:gdLst>
                  <a:gd name="T0" fmla="*/ 0 w 40"/>
                  <a:gd name="T1" fmla="*/ 0 h 45"/>
                  <a:gd name="T2" fmla="*/ 40 w 40"/>
                  <a:gd name="T3" fmla="*/ 45 h 45"/>
                  <a:gd name="T4" fmla="*/ 40 w 40"/>
                  <a:gd name="T5" fmla="*/ 43 h 45"/>
                  <a:gd name="T6" fmla="*/ 0 w 40"/>
                  <a:gd name="T7" fmla="*/ 0 h 45"/>
                  <a:gd name="T8" fmla="*/ 0 w 40"/>
                  <a:gd name="T9" fmla="*/ 0 h 45"/>
                </a:gdLst>
                <a:ahLst/>
                <a:cxnLst>
                  <a:cxn ang="0">
                    <a:pos x="T0" y="T1"/>
                  </a:cxn>
                  <a:cxn ang="0">
                    <a:pos x="T2" y="T3"/>
                  </a:cxn>
                  <a:cxn ang="0">
                    <a:pos x="T4" y="T5"/>
                  </a:cxn>
                  <a:cxn ang="0">
                    <a:pos x="T6" y="T7"/>
                  </a:cxn>
                  <a:cxn ang="0">
                    <a:pos x="T8" y="T9"/>
                  </a:cxn>
                </a:cxnLst>
                <a:rect l="0" t="0" r="r" b="b"/>
                <a:pathLst>
                  <a:path w="40" h="45">
                    <a:moveTo>
                      <a:pt x="0" y="0"/>
                    </a:moveTo>
                    <a:lnTo>
                      <a:pt x="40" y="45"/>
                    </a:lnTo>
                    <a:lnTo>
                      <a:pt x="40" y="4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477" name="Freeform 2117"/>
              <p:cNvSpPr>
                <a:spLocks/>
              </p:cNvSpPr>
              <p:nvPr/>
            </p:nvSpPr>
            <p:spPr bwMode="auto">
              <a:xfrm>
                <a:off x="17999736" y="4894358"/>
                <a:ext cx="79242" cy="110655"/>
              </a:xfrm>
              <a:custGeom>
                <a:avLst/>
                <a:gdLst>
                  <a:gd name="T0" fmla="*/ 0 w 52"/>
                  <a:gd name="T1" fmla="*/ 2 h 68"/>
                  <a:gd name="T2" fmla="*/ 52 w 52"/>
                  <a:gd name="T3" fmla="*/ 68 h 68"/>
                  <a:gd name="T4" fmla="*/ 52 w 52"/>
                  <a:gd name="T5" fmla="*/ 66 h 68"/>
                  <a:gd name="T6" fmla="*/ 0 w 52"/>
                  <a:gd name="T7" fmla="*/ 0 h 68"/>
                  <a:gd name="T8" fmla="*/ 0 w 52"/>
                  <a:gd name="T9" fmla="*/ 2 h 68"/>
                </a:gdLst>
                <a:ahLst/>
                <a:cxnLst>
                  <a:cxn ang="0">
                    <a:pos x="T0" y="T1"/>
                  </a:cxn>
                  <a:cxn ang="0">
                    <a:pos x="T2" y="T3"/>
                  </a:cxn>
                  <a:cxn ang="0">
                    <a:pos x="T4" y="T5"/>
                  </a:cxn>
                  <a:cxn ang="0">
                    <a:pos x="T6" y="T7"/>
                  </a:cxn>
                  <a:cxn ang="0">
                    <a:pos x="T8" y="T9"/>
                  </a:cxn>
                </a:cxnLst>
                <a:rect l="0" t="0" r="r" b="b"/>
                <a:pathLst>
                  <a:path w="52" h="68">
                    <a:moveTo>
                      <a:pt x="0" y="2"/>
                    </a:moveTo>
                    <a:lnTo>
                      <a:pt x="52" y="68"/>
                    </a:lnTo>
                    <a:lnTo>
                      <a:pt x="52" y="6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478" name="Freeform 2118"/>
              <p:cNvSpPr>
                <a:spLocks/>
              </p:cNvSpPr>
              <p:nvPr/>
            </p:nvSpPr>
            <p:spPr bwMode="auto">
              <a:xfrm>
                <a:off x="17999736" y="4880531"/>
                <a:ext cx="79242" cy="110655"/>
              </a:xfrm>
              <a:custGeom>
                <a:avLst/>
                <a:gdLst>
                  <a:gd name="T0" fmla="*/ 0 w 52"/>
                  <a:gd name="T1" fmla="*/ 0 h 64"/>
                  <a:gd name="T2" fmla="*/ 52 w 52"/>
                  <a:gd name="T3" fmla="*/ 64 h 64"/>
                  <a:gd name="T4" fmla="*/ 52 w 52"/>
                  <a:gd name="T5" fmla="*/ 62 h 64"/>
                  <a:gd name="T6" fmla="*/ 2 w 52"/>
                  <a:gd name="T7" fmla="*/ 0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52" y="64"/>
                    </a:lnTo>
                    <a:lnTo>
                      <a:pt x="52" y="6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479" name="Freeform 2119"/>
              <p:cNvSpPr>
                <a:spLocks/>
              </p:cNvSpPr>
              <p:nvPr/>
            </p:nvSpPr>
            <p:spPr bwMode="auto">
              <a:xfrm>
                <a:off x="18012939" y="4880531"/>
                <a:ext cx="79242" cy="82991"/>
              </a:xfrm>
              <a:custGeom>
                <a:avLst/>
                <a:gdLst>
                  <a:gd name="T0" fmla="*/ 0 w 47"/>
                  <a:gd name="T1" fmla="*/ 0 h 56"/>
                  <a:gd name="T2" fmla="*/ 47 w 47"/>
                  <a:gd name="T3" fmla="*/ 56 h 56"/>
                  <a:gd name="T4" fmla="*/ 47 w 47"/>
                  <a:gd name="T5" fmla="*/ 54 h 56"/>
                  <a:gd name="T6" fmla="*/ 2 w 47"/>
                  <a:gd name="T7" fmla="*/ 0 h 56"/>
                  <a:gd name="T8" fmla="*/ 0 w 47"/>
                  <a:gd name="T9" fmla="*/ 0 h 56"/>
                </a:gdLst>
                <a:ahLst/>
                <a:cxnLst>
                  <a:cxn ang="0">
                    <a:pos x="T0" y="T1"/>
                  </a:cxn>
                  <a:cxn ang="0">
                    <a:pos x="T2" y="T3"/>
                  </a:cxn>
                  <a:cxn ang="0">
                    <a:pos x="T4" y="T5"/>
                  </a:cxn>
                  <a:cxn ang="0">
                    <a:pos x="T6" y="T7"/>
                  </a:cxn>
                  <a:cxn ang="0">
                    <a:pos x="T8" y="T9"/>
                  </a:cxn>
                </a:cxnLst>
                <a:rect l="0" t="0" r="r" b="b"/>
                <a:pathLst>
                  <a:path w="47" h="56">
                    <a:moveTo>
                      <a:pt x="0" y="0"/>
                    </a:moveTo>
                    <a:lnTo>
                      <a:pt x="47" y="56"/>
                    </a:lnTo>
                    <a:lnTo>
                      <a:pt x="47" y="5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480" name="Freeform 2120"/>
              <p:cNvSpPr>
                <a:spLocks/>
              </p:cNvSpPr>
              <p:nvPr/>
            </p:nvSpPr>
            <p:spPr bwMode="auto">
              <a:xfrm>
                <a:off x="17999736" y="4880531"/>
                <a:ext cx="92444" cy="96818"/>
              </a:xfrm>
              <a:custGeom>
                <a:avLst/>
                <a:gdLst>
                  <a:gd name="T0" fmla="*/ 0 w 50"/>
                  <a:gd name="T1" fmla="*/ 0 h 59"/>
                  <a:gd name="T2" fmla="*/ 47 w 50"/>
                  <a:gd name="T3" fmla="*/ 59 h 59"/>
                  <a:gd name="T4" fmla="*/ 50 w 50"/>
                  <a:gd name="T5" fmla="*/ 59 h 59"/>
                  <a:gd name="T6" fmla="*/ 0 w 50"/>
                  <a:gd name="T7" fmla="*/ 0 h 59"/>
                  <a:gd name="T8" fmla="*/ 0 w 50"/>
                  <a:gd name="T9" fmla="*/ 0 h 59"/>
                </a:gdLst>
                <a:ahLst/>
                <a:cxnLst>
                  <a:cxn ang="0">
                    <a:pos x="T0" y="T1"/>
                  </a:cxn>
                  <a:cxn ang="0">
                    <a:pos x="T2" y="T3"/>
                  </a:cxn>
                  <a:cxn ang="0">
                    <a:pos x="T4" y="T5"/>
                  </a:cxn>
                  <a:cxn ang="0">
                    <a:pos x="T6" y="T7"/>
                  </a:cxn>
                  <a:cxn ang="0">
                    <a:pos x="T8" y="T9"/>
                  </a:cxn>
                </a:cxnLst>
                <a:rect l="0" t="0" r="r" b="b"/>
                <a:pathLst>
                  <a:path w="50" h="59">
                    <a:moveTo>
                      <a:pt x="0" y="0"/>
                    </a:moveTo>
                    <a:lnTo>
                      <a:pt x="47" y="59"/>
                    </a:lnTo>
                    <a:lnTo>
                      <a:pt x="50" y="5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4481" name="Freeform 2121"/>
              <p:cNvSpPr>
                <a:spLocks/>
              </p:cNvSpPr>
              <p:nvPr/>
            </p:nvSpPr>
            <p:spPr bwMode="auto">
              <a:xfrm>
                <a:off x="16454522" y="2695105"/>
                <a:ext cx="1782938" cy="511773"/>
              </a:xfrm>
              <a:custGeom>
                <a:avLst/>
                <a:gdLst>
                  <a:gd name="T0" fmla="*/ 317 w 477"/>
                  <a:gd name="T1" fmla="*/ 53 h 136"/>
                  <a:gd name="T2" fmla="*/ 72 w 477"/>
                  <a:gd name="T3" fmla="*/ 97 h 136"/>
                  <a:gd name="T4" fmla="*/ 75 w 477"/>
                  <a:gd name="T5" fmla="*/ 94 h 136"/>
                  <a:gd name="T6" fmla="*/ 78 w 477"/>
                  <a:gd name="T7" fmla="*/ 93 h 136"/>
                  <a:gd name="T8" fmla="*/ 79 w 477"/>
                  <a:gd name="T9" fmla="*/ 88 h 136"/>
                  <a:gd name="T10" fmla="*/ 83 w 477"/>
                  <a:gd name="T11" fmla="*/ 90 h 136"/>
                  <a:gd name="T12" fmla="*/ 84 w 477"/>
                  <a:gd name="T13" fmla="*/ 83 h 136"/>
                  <a:gd name="T14" fmla="*/ 89 w 477"/>
                  <a:gd name="T15" fmla="*/ 87 h 136"/>
                  <a:gd name="T16" fmla="*/ 90 w 477"/>
                  <a:gd name="T17" fmla="*/ 80 h 136"/>
                  <a:gd name="T18" fmla="*/ 95 w 477"/>
                  <a:gd name="T19" fmla="*/ 84 h 136"/>
                  <a:gd name="T20" fmla="*/ 96 w 477"/>
                  <a:gd name="T21" fmla="*/ 78 h 136"/>
                  <a:gd name="T22" fmla="*/ 101 w 477"/>
                  <a:gd name="T23" fmla="*/ 81 h 136"/>
                  <a:gd name="T24" fmla="*/ 103 w 477"/>
                  <a:gd name="T25" fmla="*/ 76 h 136"/>
                  <a:gd name="T26" fmla="*/ 107 w 477"/>
                  <a:gd name="T27" fmla="*/ 79 h 136"/>
                  <a:gd name="T28" fmla="*/ 110 w 477"/>
                  <a:gd name="T29" fmla="*/ 75 h 136"/>
                  <a:gd name="T30" fmla="*/ 113 w 477"/>
                  <a:gd name="T31" fmla="*/ 76 h 136"/>
                  <a:gd name="T32" fmla="*/ 164 w 477"/>
                  <a:gd name="T33" fmla="*/ 60 h 136"/>
                  <a:gd name="T34" fmla="*/ 167 w 477"/>
                  <a:gd name="T35" fmla="*/ 59 h 136"/>
                  <a:gd name="T36" fmla="*/ 170 w 477"/>
                  <a:gd name="T37" fmla="*/ 58 h 136"/>
                  <a:gd name="T38" fmla="*/ 174 w 477"/>
                  <a:gd name="T39" fmla="*/ 58 h 136"/>
                  <a:gd name="T40" fmla="*/ 176 w 477"/>
                  <a:gd name="T41" fmla="*/ 57 h 136"/>
                  <a:gd name="T42" fmla="*/ 180 w 477"/>
                  <a:gd name="T43" fmla="*/ 57 h 136"/>
                  <a:gd name="T44" fmla="*/ 183 w 477"/>
                  <a:gd name="T45" fmla="*/ 57 h 136"/>
                  <a:gd name="T46" fmla="*/ 320 w 477"/>
                  <a:gd name="T47" fmla="*/ 66 h 136"/>
                  <a:gd name="T48" fmla="*/ 322 w 477"/>
                  <a:gd name="T49" fmla="*/ 66 h 136"/>
                  <a:gd name="T50" fmla="*/ 325 w 477"/>
                  <a:gd name="T51" fmla="*/ 67 h 136"/>
                  <a:gd name="T52" fmla="*/ 327 w 477"/>
                  <a:gd name="T53" fmla="*/ 67 h 136"/>
                  <a:gd name="T54" fmla="*/ 329 w 477"/>
                  <a:gd name="T55" fmla="*/ 69 h 136"/>
                  <a:gd name="T56" fmla="*/ 331 w 477"/>
                  <a:gd name="T57" fmla="*/ 69 h 136"/>
                  <a:gd name="T58" fmla="*/ 389 w 477"/>
                  <a:gd name="T59" fmla="*/ 97 h 136"/>
                  <a:gd name="T60" fmla="*/ 391 w 477"/>
                  <a:gd name="T61" fmla="*/ 97 h 136"/>
                  <a:gd name="T62" fmla="*/ 393 w 477"/>
                  <a:gd name="T63" fmla="*/ 99 h 136"/>
                  <a:gd name="T64" fmla="*/ 396 w 477"/>
                  <a:gd name="T65" fmla="*/ 98 h 136"/>
                  <a:gd name="T66" fmla="*/ 397 w 477"/>
                  <a:gd name="T67" fmla="*/ 101 h 136"/>
                  <a:gd name="T68" fmla="*/ 401 w 477"/>
                  <a:gd name="T69" fmla="*/ 98 h 136"/>
                  <a:gd name="T70" fmla="*/ 401 w 477"/>
                  <a:gd name="T71" fmla="*/ 104 h 136"/>
                  <a:gd name="T72" fmla="*/ 406 w 477"/>
                  <a:gd name="T73" fmla="*/ 100 h 136"/>
                  <a:gd name="T74" fmla="*/ 405 w 477"/>
                  <a:gd name="T75" fmla="*/ 106 h 136"/>
                  <a:gd name="T76" fmla="*/ 411 w 477"/>
                  <a:gd name="T77" fmla="*/ 101 h 136"/>
                  <a:gd name="T78" fmla="*/ 409 w 477"/>
                  <a:gd name="T79" fmla="*/ 109 h 136"/>
                  <a:gd name="T80" fmla="*/ 415 w 477"/>
                  <a:gd name="T81" fmla="*/ 103 h 136"/>
                  <a:gd name="T82" fmla="*/ 412 w 477"/>
                  <a:gd name="T83" fmla="*/ 112 h 136"/>
                  <a:gd name="T84" fmla="*/ 420 w 477"/>
                  <a:gd name="T85" fmla="*/ 105 h 136"/>
                  <a:gd name="T86" fmla="*/ 416 w 477"/>
                  <a:gd name="T87" fmla="*/ 115 h 136"/>
                  <a:gd name="T88" fmla="*/ 423 w 477"/>
                  <a:gd name="T89" fmla="*/ 109 h 136"/>
                  <a:gd name="T90" fmla="*/ 420 w 477"/>
                  <a:gd name="T91" fmla="*/ 117 h 136"/>
                  <a:gd name="T92" fmla="*/ 426 w 477"/>
                  <a:gd name="T93" fmla="*/ 112 h 136"/>
                  <a:gd name="T94" fmla="*/ 423 w 477"/>
                  <a:gd name="T95" fmla="*/ 120 h 136"/>
                  <a:gd name="T96" fmla="*/ 429 w 477"/>
                  <a:gd name="T97" fmla="*/ 116 h 136"/>
                  <a:gd name="T98" fmla="*/ 427 w 477"/>
                  <a:gd name="T99" fmla="*/ 123 h 136"/>
                  <a:gd name="T100" fmla="*/ 432 w 477"/>
                  <a:gd name="T101" fmla="*/ 121 h 136"/>
                  <a:gd name="T102" fmla="*/ 431 w 477"/>
                  <a:gd name="T103" fmla="*/ 126 h 136"/>
                  <a:gd name="T104" fmla="*/ 434 w 477"/>
                  <a:gd name="T105" fmla="*/ 125 h 136"/>
                  <a:gd name="T106" fmla="*/ 434 w 477"/>
                  <a:gd name="T107" fmla="*/ 129 h 136"/>
                  <a:gd name="T108" fmla="*/ 436 w 477"/>
                  <a:gd name="T109" fmla="*/ 130 h 136"/>
                  <a:gd name="T110" fmla="*/ 441 w 477"/>
                  <a:gd name="T11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7" h="136">
                    <a:moveTo>
                      <a:pt x="231" y="0"/>
                    </a:moveTo>
                    <a:cubicBezTo>
                      <a:pt x="143" y="0"/>
                      <a:pt x="63" y="31"/>
                      <a:pt x="0" y="83"/>
                    </a:cubicBezTo>
                    <a:cubicBezTo>
                      <a:pt x="10" y="95"/>
                      <a:pt x="10" y="95"/>
                      <a:pt x="10" y="95"/>
                    </a:cubicBezTo>
                    <a:cubicBezTo>
                      <a:pt x="70" y="46"/>
                      <a:pt x="147" y="16"/>
                      <a:pt x="231" y="16"/>
                    </a:cubicBezTo>
                    <a:cubicBezTo>
                      <a:pt x="263" y="16"/>
                      <a:pt x="294" y="20"/>
                      <a:pt x="324" y="29"/>
                    </a:cubicBezTo>
                    <a:cubicBezTo>
                      <a:pt x="317" y="53"/>
                      <a:pt x="317" y="53"/>
                      <a:pt x="317" y="53"/>
                    </a:cubicBezTo>
                    <a:cubicBezTo>
                      <a:pt x="290" y="45"/>
                      <a:pt x="261" y="41"/>
                      <a:pt x="231" y="41"/>
                    </a:cubicBezTo>
                    <a:cubicBezTo>
                      <a:pt x="153" y="41"/>
                      <a:pt x="82" y="69"/>
                      <a:pt x="26" y="115"/>
                    </a:cubicBezTo>
                    <a:cubicBezTo>
                      <a:pt x="34" y="124"/>
                      <a:pt x="34" y="124"/>
                      <a:pt x="34" y="124"/>
                    </a:cubicBezTo>
                    <a:cubicBezTo>
                      <a:pt x="46" y="114"/>
                      <a:pt x="58" y="105"/>
                      <a:pt x="72" y="97"/>
                    </a:cubicBezTo>
                    <a:cubicBezTo>
                      <a:pt x="72" y="97"/>
                      <a:pt x="72" y="97"/>
                      <a:pt x="72" y="97"/>
                    </a:cubicBezTo>
                    <a:cubicBezTo>
                      <a:pt x="72" y="97"/>
                      <a:pt x="72" y="97"/>
                      <a:pt x="72" y="97"/>
                    </a:cubicBezTo>
                    <a:cubicBezTo>
                      <a:pt x="72" y="97"/>
                      <a:pt x="73" y="96"/>
                      <a:pt x="73" y="96"/>
                    </a:cubicBezTo>
                    <a:cubicBezTo>
                      <a:pt x="73" y="95"/>
                      <a:pt x="73" y="95"/>
                      <a:pt x="73" y="95"/>
                    </a:cubicBezTo>
                    <a:cubicBezTo>
                      <a:pt x="73" y="95"/>
                      <a:pt x="73" y="95"/>
                      <a:pt x="73" y="95"/>
                    </a:cubicBezTo>
                    <a:cubicBezTo>
                      <a:pt x="74" y="96"/>
                      <a:pt x="74" y="96"/>
                      <a:pt x="74" y="96"/>
                    </a:cubicBezTo>
                    <a:cubicBezTo>
                      <a:pt x="74" y="95"/>
                      <a:pt x="75" y="95"/>
                      <a:pt x="75" y="95"/>
                    </a:cubicBezTo>
                    <a:cubicBezTo>
                      <a:pt x="75" y="94"/>
                      <a:pt x="75" y="94"/>
                      <a:pt x="75" y="94"/>
                    </a:cubicBezTo>
                    <a:cubicBezTo>
                      <a:pt x="75" y="93"/>
                      <a:pt x="75" y="93"/>
                      <a:pt x="75" y="93"/>
                    </a:cubicBezTo>
                    <a:cubicBezTo>
                      <a:pt x="76" y="95"/>
                      <a:pt x="76" y="95"/>
                      <a:pt x="76" y="95"/>
                    </a:cubicBezTo>
                    <a:cubicBezTo>
                      <a:pt x="76" y="94"/>
                      <a:pt x="77" y="94"/>
                      <a:pt x="77" y="94"/>
                    </a:cubicBezTo>
                    <a:cubicBezTo>
                      <a:pt x="76" y="92"/>
                      <a:pt x="76" y="92"/>
                      <a:pt x="76" y="92"/>
                    </a:cubicBezTo>
                    <a:cubicBezTo>
                      <a:pt x="76" y="91"/>
                      <a:pt x="76" y="91"/>
                      <a:pt x="76" y="91"/>
                    </a:cubicBezTo>
                    <a:cubicBezTo>
                      <a:pt x="78" y="93"/>
                      <a:pt x="78" y="93"/>
                      <a:pt x="78" y="93"/>
                    </a:cubicBezTo>
                    <a:cubicBezTo>
                      <a:pt x="78" y="93"/>
                      <a:pt x="79" y="93"/>
                      <a:pt x="79" y="93"/>
                    </a:cubicBezTo>
                    <a:cubicBezTo>
                      <a:pt x="78" y="90"/>
                      <a:pt x="78" y="90"/>
                      <a:pt x="78" y="90"/>
                    </a:cubicBezTo>
                    <a:cubicBezTo>
                      <a:pt x="78" y="90"/>
                      <a:pt x="78" y="90"/>
                      <a:pt x="78" y="90"/>
                    </a:cubicBezTo>
                    <a:cubicBezTo>
                      <a:pt x="80" y="92"/>
                      <a:pt x="80" y="92"/>
                      <a:pt x="80" y="92"/>
                    </a:cubicBezTo>
                    <a:cubicBezTo>
                      <a:pt x="80" y="92"/>
                      <a:pt x="81" y="92"/>
                      <a:pt x="81" y="92"/>
                    </a:cubicBezTo>
                    <a:cubicBezTo>
                      <a:pt x="79" y="88"/>
                      <a:pt x="79" y="88"/>
                      <a:pt x="79" y="88"/>
                    </a:cubicBezTo>
                    <a:cubicBezTo>
                      <a:pt x="80" y="88"/>
                      <a:pt x="80" y="88"/>
                      <a:pt x="80" y="88"/>
                    </a:cubicBezTo>
                    <a:cubicBezTo>
                      <a:pt x="82" y="91"/>
                      <a:pt x="82" y="91"/>
                      <a:pt x="82" y="91"/>
                    </a:cubicBezTo>
                    <a:cubicBezTo>
                      <a:pt x="82" y="91"/>
                      <a:pt x="82" y="91"/>
                      <a:pt x="83" y="91"/>
                    </a:cubicBezTo>
                    <a:cubicBezTo>
                      <a:pt x="81" y="87"/>
                      <a:pt x="81" y="87"/>
                      <a:pt x="81" y="87"/>
                    </a:cubicBezTo>
                    <a:cubicBezTo>
                      <a:pt x="81" y="86"/>
                      <a:pt x="81" y="86"/>
                      <a:pt x="81" y="86"/>
                    </a:cubicBezTo>
                    <a:cubicBezTo>
                      <a:pt x="83" y="90"/>
                      <a:pt x="83" y="90"/>
                      <a:pt x="83" y="90"/>
                    </a:cubicBezTo>
                    <a:cubicBezTo>
                      <a:pt x="84" y="90"/>
                      <a:pt x="84" y="90"/>
                      <a:pt x="85" y="89"/>
                    </a:cubicBezTo>
                    <a:cubicBezTo>
                      <a:pt x="82" y="85"/>
                      <a:pt x="82" y="85"/>
                      <a:pt x="82" y="85"/>
                    </a:cubicBezTo>
                    <a:cubicBezTo>
                      <a:pt x="83" y="84"/>
                      <a:pt x="83" y="84"/>
                      <a:pt x="83" y="84"/>
                    </a:cubicBezTo>
                    <a:cubicBezTo>
                      <a:pt x="85" y="89"/>
                      <a:pt x="85" y="89"/>
                      <a:pt x="85" y="89"/>
                    </a:cubicBezTo>
                    <a:cubicBezTo>
                      <a:pt x="86" y="89"/>
                      <a:pt x="86" y="89"/>
                      <a:pt x="87" y="88"/>
                    </a:cubicBezTo>
                    <a:cubicBezTo>
                      <a:pt x="84" y="83"/>
                      <a:pt x="84" y="83"/>
                      <a:pt x="84" y="83"/>
                    </a:cubicBezTo>
                    <a:cubicBezTo>
                      <a:pt x="85" y="83"/>
                      <a:pt x="85" y="83"/>
                      <a:pt x="85" y="83"/>
                    </a:cubicBezTo>
                    <a:cubicBezTo>
                      <a:pt x="87" y="88"/>
                      <a:pt x="87" y="88"/>
                      <a:pt x="87" y="88"/>
                    </a:cubicBezTo>
                    <a:cubicBezTo>
                      <a:pt x="88" y="88"/>
                      <a:pt x="88" y="88"/>
                      <a:pt x="89" y="87"/>
                    </a:cubicBezTo>
                    <a:cubicBezTo>
                      <a:pt x="86" y="82"/>
                      <a:pt x="86" y="82"/>
                      <a:pt x="86" y="82"/>
                    </a:cubicBezTo>
                    <a:cubicBezTo>
                      <a:pt x="86" y="82"/>
                      <a:pt x="86" y="82"/>
                      <a:pt x="86" y="82"/>
                    </a:cubicBezTo>
                    <a:cubicBezTo>
                      <a:pt x="89" y="87"/>
                      <a:pt x="89" y="87"/>
                      <a:pt x="89" y="87"/>
                    </a:cubicBezTo>
                    <a:cubicBezTo>
                      <a:pt x="90" y="87"/>
                      <a:pt x="90" y="87"/>
                      <a:pt x="91" y="86"/>
                    </a:cubicBezTo>
                    <a:cubicBezTo>
                      <a:pt x="88" y="81"/>
                      <a:pt x="88" y="81"/>
                      <a:pt x="88" y="81"/>
                    </a:cubicBezTo>
                    <a:cubicBezTo>
                      <a:pt x="88" y="80"/>
                      <a:pt x="88" y="80"/>
                      <a:pt x="88" y="80"/>
                    </a:cubicBezTo>
                    <a:cubicBezTo>
                      <a:pt x="91" y="86"/>
                      <a:pt x="91" y="86"/>
                      <a:pt x="91" y="86"/>
                    </a:cubicBezTo>
                    <a:cubicBezTo>
                      <a:pt x="92" y="86"/>
                      <a:pt x="92" y="86"/>
                      <a:pt x="93" y="85"/>
                    </a:cubicBezTo>
                    <a:cubicBezTo>
                      <a:pt x="90" y="80"/>
                      <a:pt x="90" y="80"/>
                      <a:pt x="90" y="80"/>
                    </a:cubicBezTo>
                    <a:cubicBezTo>
                      <a:pt x="90" y="79"/>
                      <a:pt x="90" y="79"/>
                      <a:pt x="90" y="79"/>
                    </a:cubicBezTo>
                    <a:cubicBezTo>
                      <a:pt x="93" y="85"/>
                      <a:pt x="93" y="85"/>
                      <a:pt x="93" y="85"/>
                    </a:cubicBezTo>
                    <a:cubicBezTo>
                      <a:pt x="94" y="85"/>
                      <a:pt x="94" y="85"/>
                      <a:pt x="95" y="84"/>
                    </a:cubicBezTo>
                    <a:cubicBezTo>
                      <a:pt x="92" y="79"/>
                      <a:pt x="92" y="79"/>
                      <a:pt x="92" y="79"/>
                    </a:cubicBezTo>
                    <a:cubicBezTo>
                      <a:pt x="92" y="79"/>
                      <a:pt x="92" y="79"/>
                      <a:pt x="92" y="79"/>
                    </a:cubicBezTo>
                    <a:cubicBezTo>
                      <a:pt x="95" y="84"/>
                      <a:pt x="95" y="84"/>
                      <a:pt x="95" y="84"/>
                    </a:cubicBezTo>
                    <a:cubicBezTo>
                      <a:pt x="96" y="84"/>
                      <a:pt x="96" y="84"/>
                      <a:pt x="97" y="83"/>
                    </a:cubicBezTo>
                    <a:cubicBezTo>
                      <a:pt x="94" y="78"/>
                      <a:pt x="94" y="78"/>
                      <a:pt x="94" y="78"/>
                    </a:cubicBezTo>
                    <a:cubicBezTo>
                      <a:pt x="95" y="78"/>
                      <a:pt x="95" y="78"/>
                      <a:pt x="95" y="78"/>
                    </a:cubicBezTo>
                    <a:cubicBezTo>
                      <a:pt x="97" y="83"/>
                      <a:pt x="97" y="83"/>
                      <a:pt x="97" y="83"/>
                    </a:cubicBezTo>
                    <a:cubicBezTo>
                      <a:pt x="98" y="83"/>
                      <a:pt x="98" y="83"/>
                      <a:pt x="99" y="83"/>
                    </a:cubicBezTo>
                    <a:cubicBezTo>
                      <a:pt x="96" y="78"/>
                      <a:pt x="96" y="78"/>
                      <a:pt x="96" y="78"/>
                    </a:cubicBezTo>
                    <a:cubicBezTo>
                      <a:pt x="97" y="78"/>
                      <a:pt x="97" y="78"/>
                      <a:pt x="97" y="78"/>
                    </a:cubicBezTo>
                    <a:cubicBezTo>
                      <a:pt x="99" y="82"/>
                      <a:pt x="99" y="82"/>
                      <a:pt x="99" y="82"/>
                    </a:cubicBezTo>
                    <a:cubicBezTo>
                      <a:pt x="100" y="82"/>
                      <a:pt x="100" y="82"/>
                      <a:pt x="101" y="82"/>
                    </a:cubicBezTo>
                    <a:cubicBezTo>
                      <a:pt x="99" y="77"/>
                      <a:pt x="99" y="77"/>
                      <a:pt x="99" y="77"/>
                    </a:cubicBezTo>
                    <a:cubicBezTo>
                      <a:pt x="99" y="77"/>
                      <a:pt x="99" y="77"/>
                      <a:pt x="99" y="77"/>
                    </a:cubicBezTo>
                    <a:cubicBezTo>
                      <a:pt x="101" y="81"/>
                      <a:pt x="101" y="81"/>
                      <a:pt x="101" y="81"/>
                    </a:cubicBezTo>
                    <a:cubicBezTo>
                      <a:pt x="102" y="81"/>
                      <a:pt x="102" y="81"/>
                      <a:pt x="103" y="81"/>
                    </a:cubicBezTo>
                    <a:cubicBezTo>
                      <a:pt x="101" y="77"/>
                      <a:pt x="101" y="77"/>
                      <a:pt x="101" y="77"/>
                    </a:cubicBezTo>
                    <a:cubicBezTo>
                      <a:pt x="101" y="77"/>
                      <a:pt x="101" y="77"/>
                      <a:pt x="101" y="77"/>
                    </a:cubicBezTo>
                    <a:cubicBezTo>
                      <a:pt x="103" y="80"/>
                      <a:pt x="103" y="80"/>
                      <a:pt x="103" y="80"/>
                    </a:cubicBezTo>
                    <a:cubicBezTo>
                      <a:pt x="104" y="80"/>
                      <a:pt x="104" y="80"/>
                      <a:pt x="105" y="80"/>
                    </a:cubicBezTo>
                    <a:cubicBezTo>
                      <a:pt x="103" y="76"/>
                      <a:pt x="103" y="76"/>
                      <a:pt x="103" y="76"/>
                    </a:cubicBezTo>
                    <a:cubicBezTo>
                      <a:pt x="104" y="76"/>
                      <a:pt x="104" y="76"/>
                      <a:pt x="104" y="76"/>
                    </a:cubicBezTo>
                    <a:cubicBezTo>
                      <a:pt x="105" y="80"/>
                      <a:pt x="105" y="80"/>
                      <a:pt x="105" y="80"/>
                    </a:cubicBezTo>
                    <a:cubicBezTo>
                      <a:pt x="106" y="79"/>
                      <a:pt x="106" y="79"/>
                      <a:pt x="107" y="79"/>
                    </a:cubicBezTo>
                    <a:cubicBezTo>
                      <a:pt x="105" y="76"/>
                      <a:pt x="105" y="76"/>
                      <a:pt x="105" y="76"/>
                    </a:cubicBezTo>
                    <a:cubicBezTo>
                      <a:pt x="106" y="76"/>
                      <a:pt x="106" y="76"/>
                      <a:pt x="106" y="76"/>
                    </a:cubicBezTo>
                    <a:cubicBezTo>
                      <a:pt x="107" y="79"/>
                      <a:pt x="107" y="79"/>
                      <a:pt x="107" y="79"/>
                    </a:cubicBezTo>
                    <a:cubicBezTo>
                      <a:pt x="108" y="78"/>
                      <a:pt x="108" y="78"/>
                      <a:pt x="109" y="78"/>
                    </a:cubicBezTo>
                    <a:cubicBezTo>
                      <a:pt x="108" y="76"/>
                      <a:pt x="108" y="76"/>
                      <a:pt x="108" y="76"/>
                    </a:cubicBezTo>
                    <a:cubicBezTo>
                      <a:pt x="108" y="76"/>
                      <a:pt x="108" y="76"/>
                      <a:pt x="108" y="76"/>
                    </a:cubicBezTo>
                    <a:cubicBezTo>
                      <a:pt x="109" y="78"/>
                      <a:pt x="109" y="78"/>
                      <a:pt x="109" y="78"/>
                    </a:cubicBezTo>
                    <a:cubicBezTo>
                      <a:pt x="110" y="78"/>
                      <a:pt x="110" y="77"/>
                      <a:pt x="111" y="77"/>
                    </a:cubicBezTo>
                    <a:cubicBezTo>
                      <a:pt x="110" y="75"/>
                      <a:pt x="110" y="75"/>
                      <a:pt x="110" y="75"/>
                    </a:cubicBezTo>
                    <a:cubicBezTo>
                      <a:pt x="111" y="75"/>
                      <a:pt x="111" y="75"/>
                      <a:pt x="111" y="75"/>
                    </a:cubicBezTo>
                    <a:cubicBezTo>
                      <a:pt x="111" y="77"/>
                      <a:pt x="111" y="77"/>
                      <a:pt x="111" y="77"/>
                    </a:cubicBezTo>
                    <a:cubicBezTo>
                      <a:pt x="112" y="77"/>
                      <a:pt x="112" y="76"/>
                      <a:pt x="113" y="76"/>
                    </a:cubicBezTo>
                    <a:cubicBezTo>
                      <a:pt x="112" y="75"/>
                      <a:pt x="112" y="75"/>
                      <a:pt x="112" y="75"/>
                    </a:cubicBezTo>
                    <a:cubicBezTo>
                      <a:pt x="113" y="75"/>
                      <a:pt x="113" y="75"/>
                      <a:pt x="113" y="75"/>
                    </a:cubicBezTo>
                    <a:cubicBezTo>
                      <a:pt x="113" y="76"/>
                      <a:pt x="113" y="76"/>
                      <a:pt x="113" y="76"/>
                    </a:cubicBezTo>
                    <a:cubicBezTo>
                      <a:pt x="114" y="76"/>
                      <a:pt x="114" y="76"/>
                      <a:pt x="115" y="75"/>
                    </a:cubicBezTo>
                    <a:cubicBezTo>
                      <a:pt x="115" y="75"/>
                      <a:pt x="115" y="75"/>
                      <a:pt x="115" y="75"/>
                    </a:cubicBezTo>
                    <a:cubicBezTo>
                      <a:pt x="115" y="75"/>
                      <a:pt x="115" y="75"/>
                      <a:pt x="115" y="75"/>
                    </a:cubicBezTo>
                    <a:cubicBezTo>
                      <a:pt x="115" y="75"/>
                      <a:pt x="115" y="75"/>
                      <a:pt x="115" y="75"/>
                    </a:cubicBezTo>
                    <a:cubicBezTo>
                      <a:pt x="131" y="69"/>
                      <a:pt x="147" y="64"/>
                      <a:pt x="163" y="60"/>
                    </a:cubicBezTo>
                    <a:cubicBezTo>
                      <a:pt x="164" y="60"/>
                      <a:pt x="164" y="60"/>
                      <a:pt x="164" y="60"/>
                    </a:cubicBezTo>
                    <a:cubicBezTo>
                      <a:pt x="164" y="60"/>
                      <a:pt x="164" y="60"/>
                      <a:pt x="164" y="60"/>
                    </a:cubicBezTo>
                    <a:cubicBezTo>
                      <a:pt x="164" y="60"/>
                      <a:pt x="165" y="60"/>
                      <a:pt x="165" y="60"/>
                    </a:cubicBezTo>
                    <a:cubicBezTo>
                      <a:pt x="165" y="60"/>
                      <a:pt x="165" y="60"/>
                      <a:pt x="165" y="60"/>
                    </a:cubicBezTo>
                    <a:cubicBezTo>
                      <a:pt x="166" y="60"/>
                      <a:pt x="166" y="60"/>
                      <a:pt x="166" y="60"/>
                    </a:cubicBezTo>
                    <a:cubicBezTo>
                      <a:pt x="166" y="60"/>
                      <a:pt x="166" y="60"/>
                      <a:pt x="166" y="60"/>
                    </a:cubicBezTo>
                    <a:cubicBezTo>
                      <a:pt x="166" y="60"/>
                      <a:pt x="167" y="60"/>
                      <a:pt x="167" y="59"/>
                    </a:cubicBezTo>
                    <a:cubicBezTo>
                      <a:pt x="167" y="59"/>
                      <a:pt x="167" y="59"/>
                      <a:pt x="167" y="59"/>
                    </a:cubicBezTo>
                    <a:cubicBezTo>
                      <a:pt x="168" y="59"/>
                      <a:pt x="168" y="59"/>
                      <a:pt x="168" y="59"/>
                    </a:cubicBezTo>
                    <a:cubicBezTo>
                      <a:pt x="168" y="59"/>
                      <a:pt x="168" y="59"/>
                      <a:pt x="168" y="59"/>
                    </a:cubicBezTo>
                    <a:cubicBezTo>
                      <a:pt x="168" y="59"/>
                      <a:pt x="169" y="59"/>
                      <a:pt x="170" y="59"/>
                    </a:cubicBezTo>
                    <a:cubicBezTo>
                      <a:pt x="169" y="59"/>
                      <a:pt x="169" y="59"/>
                      <a:pt x="169" y="59"/>
                    </a:cubicBezTo>
                    <a:cubicBezTo>
                      <a:pt x="170" y="58"/>
                      <a:pt x="170" y="58"/>
                      <a:pt x="170" y="58"/>
                    </a:cubicBezTo>
                    <a:cubicBezTo>
                      <a:pt x="170" y="59"/>
                      <a:pt x="170" y="59"/>
                      <a:pt x="170" y="59"/>
                    </a:cubicBezTo>
                    <a:cubicBezTo>
                      <a:pt x="171" y="59"/>
                      <a:pt x="171" y="59"/>
                      <a:pt x="172" y="59"/>
                    </a:cubicBezTo>
                    <a:cubicBezTo>
                      <a:pt x="172" y="58"/>
                      <a:pt x="172" y="58"/>
                      <a:pt x="172" y="58"/>
                    </a:cubicBezTo>
                    <a:cubicBezTo>
                      <a:pt x="172" y="58"/>
                      <a:pt x="172" y="58"/>
                      <a:pt x="172" y="58"/>
                    </a:cubicBezTo>
                    <a:cubicBezTo>
                      <a:pt x="172" y="58"/>
                      <a:pt x="172" y="58"/>
                      <a:pt x="172" y="58"/>
                    </a:cubicBezTo>
                    <a:cubicBezTo>
                      <a:pt x="173" y="58"/>
                      <a:pt x="173" y="58"/>
                      <a:pt x="174" y="58"/>
                    </a:cubicBezTo>
                    <a:cubicBezTo>
                      <a:pt x="174" y="58"/>
                      <a:pt x="174" y="58"/>
                      <a:pt x="174" y="58"/>
                    </a:cubicBezTo>
                    <a:cubicBezTo>
                      <a:pt x="174" y="57"/>
                      <a:pt x="174" y="57"/>
                      <a:pt x="174" y="57"/>
                    </a:cubicBezTo>
                    <a:cubicBezTo>
                      <a:pt x="174" y="58"/>
                      <a:pt x="174" y="58"/>
                      <a:pt x="174" y="58"/>
                    </a:cubicBezTo>
                    <a:cubicBezTo>
                      <a:pt x="175" y="58"/>
                      <a:pt x="175" y="58"/>
                      <a:pt x="176" y="58"/>
                    </a:cubicBezTo>
                    <a:cubicBezTo>
                      <a:pt x="176" y="57"/>
                      <a:pt x="176" y="57"/>
                      <a:pt x="176" y="57"/>
                    </a:cubicBezTo>
                    <a:cubicBezTo>
                      <a:pt x="176" y="57"/>
                      <a:pt x="176" y="57"/>
                      <a:pt x="176" y="57"/>
                    </a:cubicBezTo>
                    <a:cubicBezTo>
                      <a:pt x="177" y="58"/>
                      <a:pt x="177" y="58"/>
                      <a:pt x="177" y="58"/>
                    </a:cubicBezTo>
                    <a:cubicBezTo>
                      <a:pt x="177" y="58"/>
                      <a:pt x="178" y="57"/>
                      <a:pt x="178" y="57"/>
                    </a:cubicBezTo>
                    <a:cubicBezTo>
                      <a:pt x="178" y="57"/>
                      <a:pt x="178" y="57"/>
                      <a:pt x="178" y="57"/>
                    </a:cubicBezTo>
                    <a:cubicBezTo>
                      <a:pt x="179" y="57"/>
                      <a:pt x="179" y="57"/>
                      <a:pt x="179" y="57"/>
                    </a:cubicBezTo>
                    <a:cubicBezTo>
                      <a:pt x="179" y="57"/>
                      <a:pt x="179" y="57"/>
                      <a:pt x="179" y="57"/>
                    </a:cubicBezTo>
                    <a:cubicBezTo>
                      <a:pt x="179" y="57"/>
                      <a:pt x="180" y="57"/>
                      <a:pt x="180" y="57"/>
                    </a:cubicBezTo>
                    <a:cubicBezTo>
                      <a:pt x="180" y="57"/>
                      <a:pt x="180" y="57"/>
                      <a:pt x="180" y="57"/>
                    </a:cubicBezTo>
                    <a:cubicBezTo>
                      <a:pt x="181" y="57"/>
                      <a:pt x="181" y="57"/>
                      <a:pt x="181" y="57"/>
                    </a:cubicBezTo>
                    <a:cubicBezTo>
                      <a:pt x="181" y="57"/>
                      <a:pt x="181" y="57"/>
                      <a:pt x="181" y="57"/>
                    </a:cubicBezTo>
                    <a:cubicBezTo>
                      <a:pt x="181" y="57"/>
                      <a:pt x="182" y="57"/>
                      <a:pt x="183" y="57"/>
                    </a:cubicBezTo>
                    <a:cubicBezTo>
                      <a:pt x="183" y="57"/>
                      <a:pt x="183" y="57"/>
                      <a:pt x="183" y="57"/>
                    </a:cubicBezTo>
                    <a:cubicBezTo>
                      <a:pt x="183" y="57"/>
                      <a:pt x="183" y="57"/>
                      <a:pt x="183" y="57"/>
                    </a:cubicBezTo>
                    <a:cubicBezTo>
                      <a:pt x="198" y="54"/>
                      <a:pt x="215" y="53"/>
                      <a:pt x="231" y="53"/>
                    </a:cubicBezTo>
                    <a:cubicBezTo>
                      <a:pt x="261" y="53"/>
                      <a:pt x="291" y="57"/>
                      <a:pt x="319" y="66"/>
                    </a:cubicBezTo>
                    <a:cubicBezTo>
                      <a:pt x="319" y="65"/>
                      <a:pt x="319" y="65"/>
                      <a:pt x="319" y="65"/>
                    </a:cubicBezTo>
                    <a:cubicBezTo>
                      <a:pt x="319" y="65"/>
                      <a:pt x="319" y="65"/>
                      <a:pt x="319" y="65"/>
                    </a:cubicBezTo>
                    <a:cubicBezTo>
                      <a:pt x="319" y="66"/>
                      <a:pt x="319" y="66"/>
                      <a:pt x="319" y="66"/>
                    </a:cubicBezTo>
                    <a:cubicBezTo>
                      <a:pt x="319" y="66"/>
                      <a:pt x="320" y="66"/>
                      <a:pt x="320" y="66"/>
                    </a:cubicBezTo>
                    <a:cubicBezTo>
                      <a:pt x="320" y="65"/>
                      <a:pt x="320" y="65"/>
                      <a:pt x="320" y="65"/>
                    </a:cubicBezTo>
                    <a:cubicBezTo>
                      <a:pt x="321" y="65"/>
                      <a:pt x="321" y="65"/>
                      <a:pt x="321" y="65"/>
                    </a:cubicBezTo>
                    <a:cubicBezTo>
                      <a:pt x="321" y="66"/>
                      <a:pt x="321" y="66"/>
                      <a:pt x="321" y="66"/>
                    </a:cubicBezTo>
                    <a:cubicBezTo>
                      <a:pt x="321" y="66"/>
                      <a:pt x="321" y="66"/>
                      <a:pt x="322" y="66"/>
                    </a:cubicBezTo>
                    <a:cubicBezTo>
                      <a:pt x="322" y="66"/>
                      <a:pt x="322" y="66"/>
                      <a:pt x="322" y="66"/>
                    </a:cubicBezTo>
                    <a:cubicBezTo>
                      <a:pt x="322" y="66"/>
                      <a:pt x="322" y="66"/>
                      <a:pt x="322" y="66"/>
                    </a:cubicBezTo>
                    <a:cubicBezTo>
                      <a:pt x="322" y="67"/>
                      <a:pt x="322" y="67"/>
                      <a:pt x="322" y="67"/>
                    </a:cubicBezTo>
                    <a:cubicBezTo>
                      <a:pt x="322" y="67"/>
                      <a:pt x="323" y="67"/>
                      <a:pt x="323" y="67"/>
                    </a:cubicBezTo>
                    <a:cubicBezTo>
                      <a:pt x="323" y="66"/>
                      <a:pt x="323" y="66"/>
                      <a:pt x="323" y="66"/>
                    </a:cubicBezTo>
                    <a:cubicBezTo>
                      <a:pt x="324" y="66"/>
                      <a:pt x="324" y="66"/>
                      <a:pt x="324" y="66"/>
                    </a:cubicBezTo>
                    <a:cubicBezTo>
                      <a:pt x="323" y="67"/>
                      <a:pt x="323" y="67"/>
                      <a:pt x="323" y="67"/>
                    </a:cubicBezTo>
                    <a:cubicBezTo>
                      <a:pt x="324" y="67"/>
                      <a:pt x="324" y="67"/>
                      <a:pt x="325" y="67"/>
                    </a:cubicBezTo>
                    <a:cubicBezTo>
                      <a:pt x="325" y="66"/>
                      <a:pt x="325" y="66"/>
                      <a:pt x="325" y="66"/>
                    </a:cubicBezTo>
                    <a:cubicBezTo>
                      <a:pt x="325" y="67"/>
                      <a:pt x="325" y="67"/>
                      <a:pt x="325" y="67"/>
                    </a:cubicBezTo>
                    <a:cubicBezTo>
                      <a:pt x="325" y="68"/>
                      <a:pt x="325" y="68"/>
                      <a:pt x="325" y="68"/>
                    </a:cubicBezTo>
                    <a:cubicBezTo>
                      <a:pt x="325" y="68"/>
                      <a:pt x="326" y="68"/>
                      <a:pt x="326" y="68"/>
                    </a:cubicBezTo>
                    <a:cubicBezTo>
                      <a:pt x="326" y="67"/>
                      <a:pt x="326" y="67"/>
                      <a:pt x="326" y="67"/>
                    </a:cubicBezTo>
                    <a:cubicBezTo>
                      <a:pt x="327" y="67"/>
                      <a:pt x="327" y="67"/>
                      <a:pt x="327" y="67"/>
                    </a:cubicBezTo>
                    <a:cubicBezTo>
                      <a:pt x="326" y="68"/>
                      <a:pt x="326" y="68"/>
                      <a:pt x="326" y="68"/>
                    </a:cubicBezTo>
                    <a:cubicBezTo>
                      <a:pt x="327" y="68"/>
                      <a:pt x="327" y="68"/>
                      <a:pt x="328" y="68"/>
                    </a:cubicBezTo>
                    <a:cubicBezTo>
                      <a:pt x="328" y="68"/>
                      <a:pt x="328" y="68"/>
                      <a:pt x="328" y="68"/>
                    </a:cubicBezTo>
                    <a:cubicBezTo>
                      <a:pt x="328" y="68"/>
                      <a:pt x="328" y="68"/>
                      <a:pt x="328" y="68"/>
                    </a:cubicBezTo>
                    <a:cubicBezTo>
                      <a:pt x="328" y="68"/>
                      <a:pt x="328" y="68"/>
                      <a:pt x="328" y="68"/>
                    </a:cubicBezTo>
                    <a:cubicBezTo>
                      <a:pt x="328" y="69"/>
                      <a:pt x="329" y="69"/>
                      <a:pt x="329" y="69"/>
                    </a:cubicBezTo>
                    <a:cubicBezTo>
                      <a:pt x="329" y="68"/>
                      <a:pt x="329" y="68"/>
                      <a:pt x="329" y="68"/>
                    </a:cubicBezTo>
                    <a:cubicBezTo>
                      <a:pt x="330" y="68"/>
                      <a:pt x="330" y="68"/>
                      <a:pt x="330" y="68"/>
                    </a:cubicBezTo>
                    <a:cubicBezTo>
                      <a:pt x="329" y="69"/>
                      <a:pt x="329" y="69"/>
                      <a:pt x="329" y="69"/>
                    </a:cubicBezTo>
                    <a:cubicBezTo>
                      <a:pt x="330" y="69"/>
                      <a:pt x="330" y="69"/>
                      <a:pt x="330" y="69"/>
                    </a:cubicBezTo>
                    <a:cubicBezTo>
                      <a:pt x="331" y="69"/>
                      <a:pt x="331" y="69"/>
                      <a:pt x="331" y="69"/>
                    </a:cubicBezTo>
                    <a:cubicBezTo>
                      <a:pt x="331" y="69"/>
                      <a:pt x="331" y="69"/>
                      <a:pt x="331" y="69"/>
                    </a:cubicBezTo>
                    <a:cubicBezTo>
                      <a:pt x="331" y="69"/>
                      <a:pt x="331" y="69"/>
                      <a:pt x="331" y="69"/>
                    </a:cubicBezTo>
                    <a:cubicBezTo>
                      <a:pt x="331" y="70"/>
                      <a:pt x="332" y="70"/>
                      <a:pt x="332" y="70"/>
                    </a:cubicBezTo>
                    <a:cubicBezTo>
                      <a:pt x="332" y="70"/>
                      <a:pt x="332" y="70"/>
                      <a:pt x="332" y="70"/>
                    </a:cubicBezTo>
                    <a:cubicBezTo>
                      <a:pt x="332" y="70"/>
                      <a:pt x="332" y="70"/>
                      <a:pt x="332" y="70"/>
                    </a:cubicBezTo>
                    <a:cubicBezTo>
                      <a:pt x="332" y="70"/>
                      <a:pt x="332" y="70"/>
                      <a:pt x="332" y="70"/>
                    </a:cubicBezTo>
                    <a:cubicBezTo>
                      <a:pt x="352" y="77"/>
                      <a:pt x="371" y="86"/>
                      <a:pt x="389" y="97"/>
                    </a:cubicBezTo>
                    <a:cubicBezTo>
                      <a:pt x="389" y="96"/>
                      <a:pt x="389" y="96"/>
                      <a:pt x="389" y="96"/>
                    </a:cubicBezTo>
                    <a:cubicBezTo>
                      <a:pt x="390" y="96"/>
                      <a:pt x="390" y="96"/>
                      <a:pt x="390" y="96"/>
                    </a:cubicBezTo>
                    <a:cubicBezTo>
                      <a:pt x="390" y="97"/>
                      <a:pt x="390" y="97"/>
                      <a:pt x="390" y="97"/>
                    </a:cubicBezTo>
                    <a:cubicBezTo>
                      <a:pt x="390" y="97"/>
                      <a:pt x="390" y="97"/>
                      <a:pt x="391" y="97"/>
                    </a:cubicBezTo>
                    <a:cubicBezTo>
                      <a:pt x="391" y="97"/>
                      <a:pt x="391" y="97"/>
                      <a:pt x="391" y="97"/>
                    </a:cubicBezTo>
                    <a:cubicBezTo>
                      <a:pt x="391" y="97"/>
                      <a:pt x="391" y="97"/>
                      <a:pt x="391" y="97"/>
                    </a:cubicBezTo>
                    <a:cubicBezTo>
                      <a:pt x="391" y="98"/>
                      <a:pt x="391" y="98"/>
                      <a:pt x="391" y="98"/>
                    </a:cubicBezTo>
                    <a:cubicBezTo>
                      <a:pt x="391" y="98"/>
                      <a:pt x="392" y="98"/>
                      <a:pt x="392" y="98"/>
                    </a:cubicBezTo>
                    <a:cubicBezTo>
                      <a:pt x="393" y="97"/>
                      <a:pt x="393" y="97"/>
                      <a:pt x="393" y="97"/>
                    </a:cubicBezTo>
                    <a:cubicBezTo>
                      <a:pt x="393" y="97"/>
                      <a:pt x="393" y="97"/>
                      <a:pt x="393" y="97"/>
                    </a:cubicBezTo>
                    <a:cubicBezTo>
                      <a:pt x="392" y="98"/>
                      <a:pt x="392" y="98"/>
                      <a:pt x="392" y="98"/>
                    </a:cubicBezTo>
                    <a:cubicBezTo>
                      <a:pt x="393" y="99"/>
                      <a:pt x="393" y="99"/>
                      <a:pt x="393" y="99"/>
                    </a:cubicBezTo>
                    <a:cubicBezTo>
                      <a:pt x="394" y="97"/>
                      <a:pt x="394" y="97"/>
                      <a:pt x="394" y="97"/>
                    </a:cubicBezTo>
                    <a:cubicBezTo>
                      <a:pt x="395" y="97"/>
                      <a:pt x="395" y="97"/>
                      <a:pt x="395" y="97"/>
                    </a:cubicBezTo>
                    <a:cubicBezTo>
                      <a:pt x="393" y="99"/>
                      <a:pt x="393" y="99"/>
                      <a:pt x="393" y="99"/>
                    </a:cubicBezTo>
                    <a:cubicBezTo>
                      <a:pt x="394" y="99"/>
                      <a:pt x="394" y="100"/>
                      <a:pt x="394" y="100"/>
                    </a:cubicBezTo>
                    <a:cubicBezTo>
                      <a:pt x="396" y="98"/>
                      <a:pt x="396" y="98"/>
                      <a:pt x="396" y="98"/>
                    </a:cubicBezTo>
                    <a:cubicBezTo>
                      <a:pt x="396" y="98"/>
                      <a:pt x="396" y="98"/>
                      <a:pt x="396" y="98"/>
                    </a:cubicBezTo>
                    <a:cubicBezTo>
                      <a:pt x="395" y="100"/>
                      <a:pt x="395" y="100"/>
                      <a:pt x="395" y="100"/>
                    </a:cubicBezTo>
                    <a:cubicBezTo>
                      <a:pt x="395" y="100"/>
                      <a:pt x="395" y="100"/>
                      <a:pt x="396" y="101"/>
                    </a:cubicBezTo>
                    <a:cubicBezTo>
                      <a:pt x="398" y="98"/>
                      <a:pt x="398" y="98"/>
                      <a:pt x="398" y="98"/>
                    </a:cubicBezTo>
                    <a:cubicBezTo>
                      <a:pt x="398" y="98"/>
                      <a:pt x="398" y="98"/>
                      <a:pt x="398" y="98"/>
                    </a:cubicBezTo>
                    <a:cubicBezTo>
                      <a:pt x="396" y="101"/>
                      <a:pt x="396" y="101"/>
                      <a:pt x="396" y="101"/>
                    </a:cubicBezTo>
                    <a:cubicBezTo>
                      <a:pt x="396" y="101"/>
                      <a:pt x="397" y="101"/>
                      <a:pt x="397" y="101"/>
                    </a:cubicBezTo>
                    <a:cubicBezTo>
                      <a:pt x="399" y="98"/>
                      <a:pt x="399" y="98"/>
                      <a:pt x="399" y="98"/>
                    </a:cubicBezTo>
                    <a:cubicBezTo>
                      <a:pt x="400" y="98"/>
                      <a:pt x="400" y="98"/>
                      <a:pt x="400" y="98"/>
                    </a:cubicBezTo>
                    <a:cubicBezTo>
                      <a:pt x="397" y="102"/>
                      <a:pt x="397" y="102"/>
                      <a:pt x="397" y="102"/>
                    </a:cubicBezTo>
                    <a:cubicBezTo>
                      <a:pt x="398" y="102"/>
                      <a:pt x="398" y="102"/>
                      <a:pt x="398" y="102"/>
                    </a:cubicBezTo>
                    <a:cubicBezTo>
                      <a:pt x="401" y="98"/>
                      <a:pt x="401" y="98"/>
                      <a:pt x="401" y="98"/>
                    </a:cubicBezTo>
                    <a:cubicBezTo>
                      <a:pt x="401" y="98"/>
                      <a:pt x="401" y="98"/>
                      <a:pt x="401" y="98"/>
                    </a:cubicBezTo>
                    <a:cubicBezTo>
                      <a:pt x="399" y="102"/>
                      <a:pt x="399" y="102"/>
                      <a:pt x="399" y="102"/>
                    </a:cubicBezTo>
                    <a:cubicBezTo>
                      <a:pt x="399" y="103"/>
                      <a:pt x="399" y="103"/>
                      <a:pt x="400" y="103"/>
                    </a:cubicBezTo>
                    <a:cubicBezTo>
                      <a:pt x="402" y="99"/>
                      <a:pt x="402" y="99"/>
                      <a:pt x="402" y="99"/>
                    </a:cubicBezTo>
                    <a:cubicBezTo>
                      <a:pt x="403" y="99"/>
                      <a:pt x="403" y="99"/>
                      <a:pt x="403" y="99"/>
                    </a:cubicBezTo>
                    <a:cubicBezTo>
                      <a:pt x="400" y="103"/>
                      <a:pt x="400" y="103"/>
                      <a:pt x="400" y="103"/>
                    </a:cubicBezTo>
                    <a:cubicBezTo>
                      <a:pt x="400" y="103"/>
                      <a:pt x="401" y="104"/>
                      <a:pt x="401" y="104"/>
                    </a:cubicBezTo>
                    <a:cubicBezTo>
                      <a:pt x="404" y="99"/>
                      <a:pt x="404" y="99"/>
                      <a:pt x="404" y="99"/>
                    </a:cubicBezTo>
                    <a:cubicBezTo>
                      <a:pt x="405" y="99"/>
                      <a:pt x="405" y="99"/>
                      <a:pt x="405" y="99"/>
                    </a:cubicBezTo>
                    <a:cubicBezTo>
                      <a:pt x="401" y="104"/>
                      <a:pt x="401" y="104"/>
                      <a:pt x="401" y="104"/>
                    </a:cubicBezTo>
                    <a:cubicBezTo>
                      <a:pt x="402" y="104"/>
                      <a:pt x="402" y="105"/>
                      <a:pt x="402" y="105"/>
                    </a:cubicBezTo>
                    <a:cubicBezTo>
                      <a:pt x="406" y="99"/>
                      <a:pt x="406" y="99"/>
                      <a:pt x="406" y="99"/>
                    </a:cubicBezTo>
                    <a:cubicBezTo>
                      <a:pt x="406" y="100"/>
                      <a:pt x="406" y="100"/>
                      <a:pt x="406" y="100"/>
                    </a:cubicBezTo>
                    <a:cubicBezTo>
                      <a:pt x="403" y="105"/>
                      <a:pt x="403" y="105"/>
                      <a:pt x="403" y="105"/>
                    </a:cubicBezTo>
                    <a:cubicBezTo>
                      <a:pt x="403" y="105"/>
                      <a:pt x="403" y="105"/>
                      <a:pt x="404" y="106"/>
                    </a:cubicBezTo>
                    <a:cubicBezTo>
                      <a:pt x="407" y="100"/>
                      <a:pt x="407" y="100"/>
                      <a:pt x="407" y="100"/>
                    </a:cubicBezTo>
                    <a:cubicBezTo>
                      <a:pt x="408" y="100"/>
                      <a:pt x="408" y="100"/>
                      <a:pt x="408" y="100"/>
                    </a:cubicBezTo>
                    <a:cubicBezTo>
                      <a:pt x="404" y="106"/>
                      <a:pt x="404" y="106"/>
                      <a:pt x="404" y="106"/>
                    </a:cubicBezTo>
                    <a:cubicBezTo>
                      <a:pt x="404" y="106"/>
                      <a:pt x="404" y="106"/>
                      <a:pt x="405" y="106"/>
                    </a:cubicBezTo>
                    <a:cubicBezTo>
                      <a:pt x="409" y="100"/>
                      <a:pt x="409" y="100"/>
                      <a:pt x="409" y="100"/>
                    </a:cubicBezTo>
                    <a:cubicBezTo>
                      <a:pt x="409" y="100"/>
                      <a:pt x="409" y="100"/>
                      <a:pt x="409" y="100"/>
                    </a:cubicBezTo>
                    <a:cubicBezTo>
                      <a:pt x="405" y="107"/>
                      <a:pt x="405" y="107"/>
                      <a:pt x="405" y="107"/>
                    </a:cubicBezTo>
                    <a:cubicBezTo>
                      <a:pt x="405" y="107"/>
                      <a:pt x="406" y="107"/>
                      <a:pt x="406" y="107"/>
                    </a:cubicBezTo>
                    <a:cubicBezTo>
                      <a:pt x="411" y="101"/>
                      <a:pt x="411" y="101"/>
                      <a:pt x="411" y="101"/>
                    </a:cubicBezTo>
                    <a:cubicBezTo>
                      <a:pt x="411" y="101"/>
                      <a:pt x="411" y="101"/>
                      <a:pt x="411" y="101"/>
                    </a:cubicBezTo>
                    <a:cubicBezTo>
                      <a:pt x="406" y="108"/>
                      <a:pt x="406" y="108"/>
                      <a:pt x="406" y="108"/>
                    </a:cubicBezTo>
                    <a:cubicBezTo>
                      <a:pt x="407" y="108"/>
                      <a:pt x="407" y="108"/>
                      <a:pt x="407" y="108"/>
                    </a:cubicBezTo>
                    <a:cubicBezTo>
                      <a:pt x="412" y="101"/>
                      <a:pt x="412" y="101"/>
                      <a:pt x="412" y="101"/>
                    </a:cubicBezTo>
                    <a:cubicBezTo>
                      <a:pt x="412" y="102"/>
                      <a:pt x="412" y="102"/>
                      <a:pt x="412" y="102"/>
                    </a:cubicBezTo>
                    <a:cubicBezTo>
                      <a:pt x="408" y="108"/>
                      <a:pt x="408" y="108"/>
                      <a:pt x="408" y="108"/>
                    </a:cubicBezTo>
                    <a:cubicBezTo>
                      <a:pt x="408" y="109"/>
                      <a:pt x="408" y="109"/>
                      <a:pt x="409" y="109"/>
                    </a:cubicBezTo>
                    <a:cubicBezTo>
                      <a:pt x="414" y="102"/>
                      <a:pt x="414" y="102"/>
                      <a:pt x="414" y="102"/>
                    </a:cubicBezTo>
                    <a:cubicBezTo>
                      <a:pt x="414" y="102"/>
                      <a:pt x="414" y="102"/>
                      <a:pt x="414" y="102"/>
                    </a:cubicBezTo>
                    <a:cubicBezTo>
                      <a:pt x="409" y="109"/>
                      <a:pt x="409" y="109"/>
                      <a:pt x="409" y="109"/>
                    </a:cubicBezTo>
                    <a:cubicBezTo>
                      <a:pt x="409" y="110"/>
                      <a:pt x="410" y="110"/>
                      <a:pt x="410" y="110"/>
                    </a:cubicBezTo>
                    <a:cubicBezTo>
                      <a:pt x="415" y="103"/>
                      <a:pt x="415" y="103"/>
                      <a:pt x="415" y="103"/>
                    </a:cubicBezTo>
                    <a:cubicBezTo>
                      <a:pt x="415" y="103"/>
                      <a:pt x="415" y="103"/>
                      <a:pt x="415" y="103"/>
                    </a:cubicBezTo>
                    <a:cubicBezTo>
                      <a:pt x="410" y="110"/>
                      <a:pt x="410" y="110"/>
                      <a:pt x="410" y="110"/>
                    </a:cubicBezTo>
                    <a:cubicBezTo>
                      <a:pt x="411" y="110"/>
                      <a:pt x="411" y="111"/>
                      <a:pt x="411" y="111"/>
                    </a:cubicBezTo>
                    <a:cubicBezTo>
                      <a:pt x="416" y="103"/>
                      <a:pt x="416" y="103"/>
                      <a:pt x="416" y="103"/>
                    </a:cubicBezTo>
                    <a:cubicBezTo>
                      <a:pt x="417" y="104"/>
                      <a:pt x="417" y="104"/>
                      <a:pt x="417" y="104"/>
                    </a:cubicBezTo>
                    <a:cubicBezTo>
                      <a:pt x="411" y="111"/>
                      <a:pt x="411" y="111"/>
                      <a:pt x="411" y="111"/>
                    </a:cubicBezTo>
                    <a:cubicBezTo>
                      <a:pt x="412" y="111"/>
                      <a:pt x="412" y="112"/>
                      <a:pt x="412" y="112"/>
                    </a:cubicBezTo>
                    <a:cubicBezTo>
                      <a:pt x="418" y="104"/>
                      <a:pt x="418" y="104"/>
                      <a:pt x="418" y="104"/>
                    </a:cubicBezTo>
                    <a:cubicBezTo>
                      <a:pt x="418" y="104"/>
                      <a:pt x="418" y="104"/>
                      <a:pt x="418" y="104"/>
                    </a:cubicBezTo>
                    <a:cubicBezTo>
                      <a:pt x="413" y="112"/>
                      <a:pt x="413" y="112"/>
                      <a:pt x="413" y="112"/>
                    </a:cubicBezTo>
                    <a:cubicBezTo>
                      <a:pt x="413" y="112"/>
                      <a:pt x="413" y="112"/>
                      <a:pt x="414" y="113"/>
                    </a:cubicBezTo>
                    <a:cubicBezTo>
                      <a:pt x="419" y="105"/>
                      <a:pt x="419" y="105"/>
                      <a:pt x="419" y="105"/>
                    </a:cubicBezTo>
                    <a:cubicBezTo>
                      <a:pt x="420" y="105"/>
                      <a:pt x="420" y="105"/>
                      <a:pt x="420" y="105"/>
                    </a:cubicBezTo>
                    <a:cubicBezTo>
                      <a:pt x="414" y="113"/>
                      <a:pt x="414" y="113"/>
                      <a:pt x="414" y="113"/>
                    </a:cubicBezTo>
                    <a:cubicBezTo>
                      <a:pt x="414" y="113"/>
                      <a:pt x="415" y="113"/>
                      <a:pt x="415" y="114"/>
                    </a:cubicBezTo>
                    <a:cubicBezTo>
                      <a:pt x="420" y="106"/>
                      <a:pt x="420" y="106"/>
                      <a:pt x="420" y="106"/>
                    </a:cubicBezTo>
                    <a:cubicBezTo>
                      <a:pt x="421" y="106"/>
                      <a:pt x="421" y="106"/>
                      <a:pt x="421" y="106"/>
                    </a:cubicBezTo>
                    <a:cubicBezTo>
                      <a:pt x="415" y="114"/>
                      <a:pt x="415" y="114"/>
                      <a:pt x="415" y="114"/>
                    </a:cubicBezTo>
                    <a:cubicBezTo>
                      <a:pt x="415" y="114"/>
                      <a:pt x="416" y="114"/>
                      <a:pt x="416" y="115"/>
                    </a:cubicBezTo>
                    <a:cubicBezTo>
                      <a:pt x="422" y="107"/>
                      <a:pt x="422" y="107"/>
                      <a:pt x="422" y="107"/>
                    </a:cubicBezTo>
                    <a:cubicBezTo>
                      <a:pt x="422" y="107"/>
                      <a:pt x="422" y="107"/>
                      <a:pt x="422" y="107"/>
                    </a:cubicBezTo>
                    <a:cubicBezTo>
                      <a:pt x="416" y="115"/>
                      <a:pt x="416" y="115"/>
                      <a:pt x="416" y="115"/>
                    </a:cubicBezTo>
                    <a:cubicBezTo>
                      <a:pt x="417" y="115"/>
                      <a:pt x="417" y="115"/>
                      <a:pt x="417" y="116"/>
                    </a:cubicBezTo>
                    <a:cubicBezTo>
                      <a:pt x="423" y="108"/>
                      <a:pt x="423" y="108"/>
                      <a:pt x="423" y="108"/>
                    </a:cubicBezTo>
                    <a:cubicBezTo>
                      <a:pt x="423" y="109"/>
                      <a:pt x="423" y="109"/>
                      <a:pt x="423" y="109"/>
                    </a:cubicBezTo>
                    <a:cubicBezTo>
                      <a:pt x="418" y="116"/>
                      <a:pt x="418" y="116"/>
                      <a:pt x="418" y="116"/>
                    </a:cubicBezTo>
                    <a:cubicBezTo>
                      <a:pt x="418" y="116"/>
                      <a:pt x="418" y="116"/>
                      <a:pt x="419" y="116"/>
                    </a:cubicBezTo>
                    <a:cubicBezTo>
                      <a:pt x="424" y="109"/>
                      <a:pt x="424" y="109"/>
                      <a:pt x="424" y="109"/>
                    </a:cubicBezTo>
                    <a:cubicBezTo>
                      <a:pt x="424" y="110"/>
                      <a:pt x="424" y="110"/>
                      <a:pt x="424" y="110"/>
                    </a:cubicBezTo>
                    <a:cubicBezTo>
                      <a:pt x="419" y="117"/>
                      <a:pt x="419" y="117"/>
                      <a:pt x="419" y="117"/>
                    </a:cubicBezTo>
                    <a:cubicBezTo>
                      <a:pt x="419" y="117"/>
                      <a:pt x="420" y="117"/>
                      <a:pt x="420" y="117"/>
                    </a:cubicBezTo>
                    <a:cubicBezTo>
                      <a:pt x="425" y="111"/>
                      <a:pt x="425" y="111"/>
                      <a:pt x="425" y="111"/>
                    </a:cubicBezTo>
                    <a:cubicBezTo>
                      <a:pt x="425" y="111"/>
                      <a:pt x="425" y="111"/>
                      <a:pt x="425" y="111"/>
                    </a:cubicBezTo>
                    <a:cubicBezTo>
                      <a:pt x="420" y="118"/>
                      <a:pt x="420" y="118"/>
                      <a:pt x="420" y="118"/>
                    </a:cubicBezTo>
                    <a:cubicBezTo>
                      <a:pt x="420" y="118"/>
                      <a:pt x="421" y="118"/>
                      <a:pt x="421" y="118"/>
                    </a:cubicBezTo>
                    <a:cubicBezTo>
                      <a:pt x="426" y="112"/>
                      <a:pt x="426" y="112"/>
                      <a:pt x="426" y="112"/>
                    </a:cubicBezTo>
                    <a:cubicBezTo>
                      <a:pt x="426" y="112"/>
                      <a:pt x="426" y="112"/>
                      <a:pt x="426" y="112"/>
                    </a:cubicBezTo>
                    <a:cubicBezTo>
                      <a:pt x="421" y="119"/>
                      <a:pt x="421" y="119"/>
                      <a:pt x="421" y="119"/>
                    </a:cubicBezTo>
                    <a:cubicBezTo>
                      <a:pt x="422" y="119"/>
                      <a:pt x="422" y="119"/>
                      <a:pt x="422" y="119"/>
                    </a:cubicBezTo>
                    <a:cubicBezTo>
                      <a:pt x="427" y="113"/>
                      <a:pt x="427" y="113"/>
                      <a:pt x="427" y="113"/>
                    </a:cubicBezTo>
                    <a:cubicBezTo>
                      <a:pt x="427" y="114"/>
                      <a:pt x="427" y="114"/>
                      <a:pt x="427" y="114"/>
                    </a:cubicBezTo>
                    <a:cubicBezTo>
                      <a:pt x="423" y="120"/>
                      <a:pt x="423" y="120"/>
                      <a:pt x="423" y="120"/>
                    </a:cubicBezTo>
                    <a:cubicBezTo>
                      <a:pt x="423" y="120"/>
                      <a:pt x="423" y="120"/>
                      <a:pt x="423" y="120"/>
                    </a:cubicBezTo>
                    <a:cubicBezTo>
                      <a:pt x="428" y="115"/>
                      <a:pt x="428" y="115"/>
                      <a:pt x="428" y="115"/>
                    </a:cubicBezTo>
                    <a:cubicBezTo>
                      <a:pt x="428" y="115"/>
                      <a:pt x="428" y="115"/>
                      <a:pt x="428" y="115"/>
                    </a:cubicBezTo>
                    <a:cubicBezTo>
                      <a:pt x="424" y="120"/>
                      <a:pt x="424" y="120"/>
                      <a:pt x="424" y="120"/>
                    </a:cubicBezTo>
                    <a:cubicBezTo>
                      <a:pt x="424" y="121"/>
                      <a:pt x="424" y="121"/>
                      <a:pt x="425" y="121"/>
                    </a:cubicBezTo>
                    <a:cubicBezTo>
                      <a:pt x="429" y="116"/>
                      <a:pt x="429" y="116"/>
                      <a:pt x="429" y="116"/>
                    </a:cubicBezTo>
                    <a:cubicBezTo>
                      <a:pt x="429" y="116"/>
                      <a:pt x="429" y="116"/>
                      <a:pt x="429" y="116"/>
                    </a:cubicBezTo>
                    <a:cubicBezTo>
                      <a:pt x="425" y="121"/>
                      <a:pt x="425" y="121"/>
                      <a:pt x="425" y="121"/>
                    </a:cubicBezTo>
                    <a:cubicBezTo>
                      <a:pt x="425" y="122"/>
                      <a:pt x="426" y="122"/>
                      <a:pt x="426" y="122"/>
                    </a:cubicBezTo>
                    <a:cubicBezTo>
                      <a:pt x="430" y="117"/>
                      <a:pt x="430" y="117"/>
                      <a:pt x="430" y="117"/>
                    </a:cubicBezTo>
                    <a:cubicBezTo>
                      <a:pt x="430" y="118"/>
                      <a:pt x="430" y="118"/>
                      <a:pt x="430" y="118"/>
                    </a:cubicBezTo>
                    <a:cubicBezTo>
                      <a:pt x="426" y="122"/>
                      <a:pt x="426" y="122"/>
                      <a:pt x="426" y="122"/>
                    </a:cubicBezTo>
                    <a:cubicBezTo>
                      <a:pt x="426" y="123"/>
                      <a:pt x="427" y="123"/>
                      <a:pt x="427" y="123"/>
                    </a:cubicBezTo>
                    <a:cubicBezTo>
                      <a:pt x="430" y="119"/>
                      <a:pt x="430" y="119"/>
                      <a:pt x="430" y="119"/>
                    </a:cubicBezTo>
                    <a:cubicBezTo>
                      <a:pt x="431" y="119"/>
                      <a:pt x="431" y="119"/>
                      <a:pt x="431" y="119"/>
                    </a:cubicBezTo>
                    <a:cubicBezTo>
                      <a:pt x="427" y="123"/>
                      <a:pt x="427" y="123"/>
                      <a:pt x="427" y="123"/>
                    </a:cubicBezTo>
                    <a:cubicBezTo>
                      <a:pt x="428" y="124"/>
                      <a:pt x="428" y="124"/>
                      <a:pt x="428" y="124"/>
                    </a:cubicBezTo>
                    <a:cubicBezTo>
                      <a:pt x="431" y="120"/>
                      <a:pt x="431" y="120"/>
                      <a:pt x="431" y="120"/>
                    </a:cubicBezTo>
                    <a:cubicBezTo>
                      <a:pt x="432" y="121"/>
                      <a:pt x="432" y="121"/>
                      <a:pt x="432" y="121"/>
                    </a:cubicBezTo>
                    <a:cubicBezTo>
                      <a:pt x="429" y="124"/>
                      <a:pt x="429" y="124"/>
                      <a:pt x="429" y="124"/>
                    </a:cubicBezTo>
                    <a:cubicBezTo>
                      <a:pt x="429" y="125"/>
                      <a:pt x="429" y="125"/>
                      <a:pt x="429" y="125"/>
                    </a:cubicBezTo>
                    <a:cubicBezTo>
                      <a:pt x="432" y="122"/>
                      <a:pt x="432" y="122"/>
                      <a:pt x="432" y="122"/>
                    </a:cubicBezTo>
                    <a:cubicBezTo>
                      <a:pt x="432" y="122"/>
                      <a:pt x="432" y="122"/>
                      <a:pt x="432" y="122"/>
                    </a:cubicBezTo>
                    <a:cubicBezTo>
                      <a:pt x="430" y="125"/>
                      <a:pt x="430" y="125"/>
                      <a:pt x="430" y="125"/>
                    </a:cubicBezTo>
                    <a:cubicBezTo>
                      <a:pt x="430" y="126"/>
                      <a:pt x="430" y="126"/>
                      <a:pt x="431" y="126"/>
                    </a:cubicBezTo>
                    <a:cubicBezTo>
                      <a:pt x="433" y="123"/>
                      <a:pt x="433" y="123"/>
                      <a:pt x="433" y="123"/>
                    </a:cubicBezTo>
                    <a:cubicBezTo>
                      <a:pt x="433" y="124"/>
                      <a:pt x="433" y="124"/>
                      <a:pt x="433" y="124"/>
                    </a:cubicBezTo>
                    <a:cubicBezTo>
                      <a:pt x="431" y="126"/>
                      <a:pt x="431" y="126"/>
                      <a:pt x="431" y="126"/>
                    </a:cubicBezTo>
                    <a:cubicBezTo>
                      <a:pt x="431" y="127"/>
                      <a:pt x="431" y="127"/>
                      <a:pt x="432" y="127"/>
                    </a:cubicBezTo>
                    <a:cubicBezTo>
                      <a:pt x="434" y="125"/>
                      <a:pt x="434" y="125"/>
                      <a:pt x="434" y="125"/>
                    </a:cubicBezTo>
                    <a:cubicBezTo>
                      <a:pt x="434" y="125"/>
                      <a:pt x="434" y="125"/>
                      <a:pt x="434" y="125"/>
                    </a:cubicBezTo>
                    <a:cubicBezTo>
                      <a:pt x="432" y="127"/>
                      <a:pt x="432" y="127"/>
                      <a:pt x="432" y="127"/>
                    </a:cubicBezTo>
                    <a:cubicBezTo>
                      <a:pt x="432" y="128"/>
                      <a:pt x="433" y="128"/>
                      <a:pt x="433" y="128"/>
                    </a:cubicBezTo>
                    <a:cubicBezTo>
                      <a:pt x="434" y="126"/>
                      <a:pt x="434" y="126"/>
                      <a:pt x="434" y="126"/>
                    </a:cubicBezTo>
                    <a:cubicBezTo>
                      <a:pt x="435" y="127"/>
                      <a:pt x="435" y="127"/>
                      <a:pt x="435" y="127"/>
                    </a:cubicBezTo>
                    <a:cubicBezTo>
                      <a:pt x="433" y="128"/>
                      <a:pt x="433" y="128"/>
                      <a:pt x="433" y="128"/>
                    </a:cubicBezTo>
                    <a:cubicBezTo>
                      <a:pt x="434" y="129"/>
                      <a:pt x="434" y="129"/>
                      <a:pt x="434" y="129"/>
                    </a:cubicBezTo>
                    <a:cubicBezTo>
                      <a:pt x="435" y="128"/>
                      <a:pt x="435" y="128"/>
                      <a:pt x="435" y="128"/>
                    </a:cubicBezTo>
                    <a:cubicBezTo>
                      <a:pt x="435" y="128"/>
                      <a:pt x="435" y="128"/>
                      <a:pt x="435" y="128"/>
                    </a:cubicBezTo>
                    <a:cubicBezTo>
                      <a:pt x="434" y="129"/>
                      <a:pt x="434" y="129"/>
                      <a:pt x="434" y="129"/>
                    </a:cubicBezTo>
                    <a:cubicBezTo>
                      <a:pt x="435" y="130"/>
                      <a:pt x="435" y="130"/>
                      <a:pt x="435" y="130"/>
                    </a:cubicBezTo>
                    <a:cubicBezTo>
                      <a:pt x="436" y="129"/>
                      <a:pt x="436" y="129"/>
                      <a:pt x="436" y="129"/>
                    </a:cubicBezTo>
                    <a:cubicBezTo>
                      <a:pt x="436" y="130"/>
                      <a:pt x="436" y="130"/>
                      <a:pt x="436" y="130"/>
                    </a:cubicBezTo>
                    <a:cubicBezTo>
                      <a:pt x="436" y="130"/>
                      <a:pt x="436" y="130"/>
                      <a:pt x="436" y="130"/>
                    </a:cubicBezTo>
                    <a:cubicBezTo>
                      <a:pt x="436" y="131"/>
                      <a:pt x="436" y="131"/>
                      <a:pt x="436" y="131"/>
                    </a:cubicBezTo>
                    <a:cubicBezTo>
                      <a:pt x="437" y="131"/>
                      <a:pt x="437" y="131"/>
                      <a:pt x="437" y="131"/>
                    </a:cubicBezTo>
                    <a:cubicBezTo>
                      <a:pt x="437" y="131"/>
                      <a:pt x="437" y="131"/>
                      <a:pt x="437" y="131"/>
                    </a:cubicBezTo>
                    <a:cubicBezTo>
                      <a:pt x="437" y="131"/>
                      <a:pt x="437" y="131"/>
                      <a:pt x="437" y="131"/>
                    </a:cubicBezTo>
                    <a:cubicBezTo>
                      <a:pt x="438" y="133"/>
                      <a:pt x="440" y="134"/>
                      <a:pt x="441" y="136"/>
                    </a:cubicBezTo>
                    <a:cubicBezTo>
                      <a:pt x="477" y="97"/>
                      <a:pt x="477" y="97"/>
                      <a:pt x="477" y="97"/>
                    </a:cubicBezTo>
                    <a:cubicBezTo>
                      <a:pt x="413" y="36"/>
                      <a:pt x="326" y="0"/>
                      <a:pt x="231" y="0"/>
                    </a:cubicBezTo>
                  </a:path>
                </a:pathLst>
              </a:custGeom>
              <a:solidFill>
                <a:srgbClr val="01AAE5"/>
              </a:solidFill>
              <a:ln>
                <a:noFill/>
              </a:ln>
              <a:extLst/>
            </p:spPr>
            <p:txBody>
              <a:bodyPr/>
              <a:lstStyle/>
              <a:p>
                <a:pPr eaLnBrk="1" hangingPunct="1">
                  <a:defRPr/>
                </a:pPr>
                <a:endParaRPr lang="zh-CN" altLang="en-US" sz="1050"/>
              </a:p>
            </p:txBody>
          </p:sp>
          <p:sp>
            <p:nvSpPr>
              <p:cNvPr id="4482" name="Freeform 2122"/>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483" name="Freeform 2123"/>
              <p:cNvSpPr>
                <a:spLocks/>
              </p:cNvSpPr>
              <p:nvPr/>
            </p:nvSpPr>
            <p:spPr bwMode="auto">
              <a:xfrm>
                <a:off x="17656356" y="2944077"/>
                <a:ext cx="13203"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84" name="Freeform 2124"/>
              <p:cNvSpPr>
                <a:spLocks/>
              </p:cNvSpPr>
              <p:nvPr/>
            </p:nvSpPr>
            <p:spPr bwMode="auto">
              <a:xfrm>
                <a:off x="17669559" y="2944077"/>
                <a:ext cx="0" cy="0"/>
              </a:xfrm>
              <a:custGeom>
                <a:avLst/>
                <a:gdLst>
                  <a:gd name="T0" fmla="*/ 0 h 2"/>
                  <a:gd name="T1" fmla="*/ 1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1"/>
                      <a:pt x="0" y="1"/>
                      <a:pt x="0" y="1"/>
                    </a:cubicBezTo>
                    <a:cubicBezTo>
                      <a:pt x="0" y="1"/>
                      <a:pt x="0" y="1"/>
                      <a:pt x="0" y="2"/>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85" name="Freeform 2125"/>
              <p:cNvSpPr>
                <a:spLocks/>
              </p:cNvSpPr>
              <p:nvPr/>
            </p:nvSpPr>
            <p:spPr bwMode="auto">
              <a:xfrm>
                <a:off x="17669559" y="2944077"/>
                <a:ext cx="13211"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86" name="Oval 2126"/>
              <p:cNvSpPr>
                <a:spLocks noChangeArrowheads="1"/>
              </p:cNvSpPr>
              <p:nvPr/>
            </p:nvSpPr>
            <p:spPr bwMode="auto">
              <a:xfrm>
                <a:off x="17682770" y="2944077"/>
                <a:ext cx="0" cy="0"/>
              </a:xfrm>
              <a:prstGeom prst="ellipse">
                <a:avLst/>
              </a:prstGeom>
              <a:solidFill>
                <a:srgbClr val="02E3FC"/>
              </a:solidFill>
              <a:ln>
                <a:noFill/>
              </a:ln>
              <a:extLst/>
            </p:spPr>
            <p:txBody>
              <a:bodyPr/>
              <a:lstStyle/>
              <a:p>
                <a:pPr eaLnBrk="1" hangingPunct="1">
                  <a:defRPr/>
                </a:pPr>
                <a:endParaRPr lang="zh-CN" altLang="en-US" sz="1050"/>
              </a:p>
            </p:txBody>
          </p:sp>
          <p:sp>
            <p:nvSpPr>
              <p:cNvPr id="4487" name="Oval 2127"/>
              <p:cNvSpPr>
                <a:spLocks noChangeArrowheads="1"/>
              </p:cNvSpPr>
              <p:nvPr/>
            </p:nvSpPr>
            <p:spPr bwMode="auto">
              <a:xfrm>
                <a:off x="17682770" y="2957905"/>
                <a:ext cx="13203" cy="0"/>
              </a:xfrm>
              <a:prstGeom prst="ellipse">
                <a:avLst/>
              </a:prstGeom>
              <a:solidFill>
                <a:srgbClr val="02E3FC"/>
              </a:solidFill>
              <a:ln>
                <a:noFill/>
              </a:ln>
              <a:extLst/>
            </p:spPr>
            <p:txBody>
              <a:bodyPr/>
              <a:lstStyle/>
              <a:p>
                <a:pPr eaLnBrk="1" hangingPunct="1">
                  <a:defRPr/>
                </a:pPr>
                <a:endParaRPr lang="zh-CN" altLang="en-US" sz="1050"/>
              </a:p>
            </p:txBody>
          </p:sp>
          <p:sp>
            <p:nvSpPr>
              <p:cNvPr id="4488" name="Freeform 2128"/>
              <p:cNvSpPr>
                <a:spLocks/>
              </p:cNvSpPr>
              <p:nvPr/>
            </p:nvSpPr>
            <p:spPr bwMode="auto">
              <a:xfrm>
                <a:off x="17682770" y="2944077"/>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489" name="Freeform 2129"/>
              <p:cNvSpPr>
                <a:spLocks/>
              </p:cNvSpPr>
              <p:nvPr/>
            </p:nvSpPr>
            <p:spPr bwMode="auto">
              <a:xfrm>
                <a:off x="17682770" y="2944077"/>
                <a:ext cx="0"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90" name="Freeform 2130"/>
              <p:cNvSpPr>
                <a:spLocks/>
              </p:cNvSpPr>
              <p:nvPr/>
            </p:nvSpPr>
            <p:spPr bwMode="auto">
              <a:xfrm>
                <a:off x="17656356" y="2944077"/>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91" name="Freeform 2131"/>
              <p:cNvSpPr>
                <a:spLocks/>
              </p:cNvSpPr>
              <p:nvPr/>
            </p:nvSpPr>
            <p:spPr bwMode="auto">
              <a:xfrm>
                <a:off x="17643145" y="2944077"/>
                <a:ext cx="0" cy="0"/>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92" name="Freeform 2132"/>
              <p:cNvSpPr>
                <a:spLocks/>
              </p:cNvSpPr>
              <p:nvPr/>
            </p:nvSpPr>
            <p:spPr bwMode="auto">
              <a:xfrm>
                <a:off x="17643145" y="2944077"/>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493" name="Freeform 2133"/>
              <p:cNvSpPr>
                <a:spLocks/>
              </p:cNvSpPr>
              <p:nvPr/>
            </p:nvSpPr>
            <p:spPr bwMode="auto">
              <a:xfrm>
                <a:off x="18012939" y="3096223"/>
                <a:ext cx="26414" cy="41500"/>
              </a:xfrm>
              <a:custGeom>
                <a:avLst/>
                <a:gdLst>
                  <a:gd name="T0" fmla="*/ 5 w 5"/>
                  <a:gd name="T1" fmla="*/ 0 h 8"/>
                  <a:gd name="T2" fmla="*/ 0 w 5"/>
                  <a:gd name="T3" fmla="*/ 7 h 8"/>
                  <a:gd name="T4" fmla="*/ 0 w 5"/>
                  <a:gd name="T5" fmla="*/ 8 h 8"/>
                  <a:gd name="T6" fmla="*/ 5 w 5"/>
                  <a:gd name="T7" fmla="*/ 1 h 8"/>
                  <a:gd name="T8" fmla="*/ 5 w 5"/>
                  <a:gd name="T9" fmla="*/ 0 h 8"/>
                </a:gdLst>
                <a:ahLst/>
                <a:cxnLst>
                  <a:cxn ang="0">
                    <a:pos x="T0" y="T1"/>
                  </a:cxn>
                  <a:cxn ang="0">
                    <a:pos x="T2" y="T3"/>
                  </a:cxn>
                  <a:cxn ang="0">
                    <a:pos x="T4" y="T5"/>
                  </a:cxn>
                  <a:cxn ang="0">
                    <a:pos x="T6" y="T7"/>
                  </a:cxn>
                  <a:cxn ang="0">
                    <a:pos x="T8" y="T9"/>
                  </a:cxn>
                </a:cxnLst>
                <a:rect l="0" t="0" r="r" b="b"/>
                <a:pathLst>
                  <a:path w="5" h="8">
                    <a:moveTo>
                      <a:pt x="5" y="0"/>
                    </a:moveTo>
                    <a:cubicBezTo>
                      <a:pt x="0" y="7"/>
                      <a:pt x="0" y="7"/>
                      <a:pt x="0" y="7"/>
                    </a:cubicBezTo>
                    <a:cubicBezTo>
                      <a:pt x="0" y="8"/>
                      <a:pt x="0" y="8"/>
                      <a:pt x="0" y="8"/>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494" name="Freeform 2134"/>
              <p:cNvSpPr>
                <a:spLocks/>
              </p:cNvSpPr>
              <p:nvPr/>
            </p:nvSpPr>
            <p:spPr bwMode="auto">
              <a:xfrm>
                <a:off x="18065767" y="3165386"/>
                <a:ext cx="13211" cy="13827"/>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0" y="2"/>
                      <a:pt x="0" y="2"/>
                      <a:pt x="0"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495" name="Freeform 2135"/>
              <p:cNvSpPr>
                <a:spLocks/>
              </p:cNvSpPr>
              <p:nvPr/>
            </p:nvSpPr>
            <p:spPr bwMode="auto">
              <a:xfrm>
                <a:off x="18065767" y="3151550"/>
                <a:ext cx="13211" cy="13836"/>
              </a:xfrm>
              <a:custGeom>
                <a:avLst/>
                <a:gdLst>
                  <a:gd name="T0" fmla="*/ 2 w 2"/>
                  <a:gd name="T1" fmla="*/ 0 h 3"/>
                  <a:gd name="T2" fmla="*/ 0 w 2"/>
                  <a:gd name="T3" fmla="*/ 3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1"/>
                      <a:pt x="2" y="1"/>
                      <a:pt x="2" y="1"/>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496" name="Freeform 2136"/>
              <p:cNvSpPr>
                <a:spLocks/>
              </p:cNvSpPr>
              <p:nvPr/>
            </p:nvSpPr>
            <p:spPr bwMode="auto">
              <a:xfrm>
                <a:off x="18092180" y="3179214"/>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497" name="Freeform 2137"/>
              <p:cNvSpPr>
                <a:spLocks/>
              </p:cNvSpPr>
              <p:nvPr/>
            </p:nvSpPr>
            <p:spPr bwMode="auto">
              <a:xfrm>
                <a:off x="18078978" y="3179214"/>
                <a:ext cx="13203"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498" name="Freeform 2138"/>
              <p:cNvSpPr>
                <a:spLocks/>
              </p:cNvSpPr>
              <p:nvPr/>
            </p:nvSpPr>
            <p:spPr bwMode="auto">
              <a:xfrm>
                <a:off x="18052564" y="3151550"/>
                <a:ext cx="13203" cy="13836"/>
              </a:xfrm>
              <a:custGeom>
                <a:avLst/>
                <a:gdLst>
                  <a:gd name="T0" fmla="*/ 3 w 3"/>
                  <a:gd name="T1" fmla="*/ 0 h 3"/>
                  <a:gd name="T2" fmla="*/ 0 w 3"/>
                  <a:gd name="T3" fmla="*/ 3 h 3"/>
                  <a:gd name="T4" fmla="*/ 1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0" y="3"/>
                      <a:pt x="0" y="3"/>
                      <a:pt x="0" y="3"/>
                    </a:cubicBezTo>
                    <a:cubicBezTo>
                      <a:pt x="1" y="3"/>
                      <a:pt x="1" y="3"/>
                      <a:pt x="1" y="3"/>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499" name="Freeform 2139"/>
              <p:cNvSpPr>
                <a:spLocks/>
              </p:cNvSpPr>
              <p:nvPr/>
            </p:nvSpPr>
            <p:spPr bwMode="auto">
              <a:xfrm>
                <a:off x="18078978" y="3165386"/>
                <a:ext cx="0" cy="13827"/>
              </a:xfrm>
              <a:custGeom>
                <a:avLst/>
                <a:gdLst>
                  <a:gd name="T0" fmla="*/ 1 w 2"/>
                  <a:gd name="T1" fmla="*/ 0 h 2"/>
                  <a:gd name="T2" fmla="*/ 0 w 2"/>
                  <a:gd name="T3" fmla="*/ 2 h 2"/>
                  <a:gd name="T4" fmla="*/ 0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1"/>
                      <a:pt x="2" y="1"/>
                      <a:pt x="2"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00" name="Freeform 2140"/>
              <p:cNvSpPr>
                <a:spLocks/>
              </p:cNvSpPr>
              <p:nvPr/>
            </p:nvSpPr>
            <p:spPr bwMode="auto">
              <a:xfrm>
                <a:off x="18039353" y="3137723"/>
                <a:ext cx="13211" cy="0"/>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0" y="5"/>
                      <a:pt x="0" y="5"/>
                      <a:pt x="0" y="5"/>
                    </a:cubicBezTo>
                    <a:cubicBezTo>
                      <a:pt x="1" y="5"/>
                      <a:pt x="1" y="5"/>
                      <a:pt x="1" y="5"/>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01" name="Freeform 2141"/>
              <p:cNvSpPr>
                <a:spLocks/>
              </p:cNvSpPr>
              <p:nvPr/>
            </p:nvSpPr>
            <p:spPr bwMode="auto">
              <a:xfrm>
                <a:off x="18052564" y="3137723"/>
                <a:ext cx="13203" cy="27664"/>
              </a:xfrm>
              <a:custGeom>
                <a:avLst/>
                <a:gdLst>
                  <a:gd name="T0" fmla="*/ 3 w 4"/>
                  <a:gd name="T1" fmla="*/ 0 h 4"/>
                  <a:gd name="T2" fmla="*/ 0 w 4"/>
                  <a:gd name="T3" fmla="*/ 4 h 4"/>
                  <a:gd name="T4" fmla="*/ 1 w 4"/>
                  <a:gd name="T5" fmla="*/ 4 h 4"/>
                  <a:gd name="T6" fmla="*/ 4 w 4"/>
                  <a:gd name="T7" fmla="*/ 1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1" y="4"/>
                    </a:cubicBezTo>
                    <a:cubicBezTo>
                      <a:pt x="4" y="1"/>
                      <a:pt x="4" y="1"/>
                      <a:pt x="4" y="1"/>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502" name="Freeform 2142"/>
              <p:cNvSpPr>
                <a:spLocks/>
              </p:cNvSpPr>
              <p:nvPr/>
            </p:nvSpPr>
            <p:spPr bwMode="auto">
              <a:xfrm>
                <a:off x="18039353" y="3123886"/>
                <a:ext cx="0" cy="13836"/>
              </a:xfrm>
              <a:custGeom>
                <a:avLst/>
                <a:gdLst>
                  <a:gd name="T0" fmla="*/ 5 w 5"/>
                  <a:gd name="T1" fmla="*/ 0 h 7"/>
                  <a:gd name="T2" fmla="*/ 0 w 5"/>
                  <a:gd name="T3" fmla="*/ 6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03" name="Freeform 2143"/>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04" name="Freeform 2144"/>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05" name="Freeform 2145"/>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0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4506" name="Freeform 2146"/>
              <p:cNvSpPr>
                <a:spLocks/>
              </p:cNvSpPr>
              <p:nvPr/>
            </p:nvSpPr>
            <p:spPr bwMode="auto">
              <a:xfrm>
                <a:off x="18039353" y="3137723"/>
                <a:ext cx="26414" cy="13827"/>
              </a:xfrm>
              <a:custGeom>
                <a:avLst/>
                <a:gdLst>
                  <a:gd name="T0" fmla="*/ 3 w 4"/>
                  <a:gd name="T1" fmla="*/ 0 h 4"/>
                  <a:gd name="T2" fmla="*/ 0 w 4"/>
                  <a:gd name="T3" fmla="*/ 4 h 4"/>
                  <a:gd name="T4" fmla="*/ 0 w 4"/>
                  <a:gd name="T5" fmla="*/ 4 h 4"/>
                  <a:gd name="T6" fmla="*/ 4 w 4"/>
                  <a:gd name="T7" fmla="*/ 0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0" y="4"/>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507" name="Freeform 2147"/>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1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4508" name="Freeform 2148"/>
              <p:cNvSpPr>
                <a:spLocks/>
              </p:cNvSpPr>
              <p:nvPr/>
            </p:nvSpPr>
            <p:spPr bwMode="auto">
              <a:xfrm>
                <a:off x="18078978" y="3179214"/>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09" name="Freeform 2149"/>
              <p:cNvSpPr>
                <a:spLocks/>
              </p:cNvSpPr>
              <p:nvPr/>
            </p:nvSpPr>
            <p:spPr bwMode="auto">
              <a:xfrm>
                <a:off x="17907284" y="3054732"/>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10" name="Freeform 2150"/>
              <p:cNvSpPr>
                <a:spLocks/>
              </p:cNvSpPr>
              <p:nvPr/>
            </p:nvSpPr>
            <p:spPr bwMode="auto">
              <a:xfrm>
                <a:off x="17920495" y="3054732"/>
                <a:ext cx="13203" cy="13827"/>
              </a:xfrm>
              <a:custGeom>
                <a:avLst/>
                <a:gdLst>
                  <a:gd name="T0" fmla="*/ 1 w 2"/>
                  <a:gd name="T1" fmla="*/ 0 h 2"/>
                  <a:gd name="T2" fmla="*/ 0 w 2"/>
                  <a:gd name="T3" fmla="*/ 2 h 2"/>
                  <a:gd name="T4" fmla="*/ 0 w 2"/>
                  <a:gd name="T5" fmla="*/ 2 h 2"/>
                  <a:gd name="T6" fmla="*/ 2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0"/>
                      <a:pt x="2" y="0"/>
                      <a:pt x="2"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11" name="Freeform 2151"/>
              <p:cNvSpPr>
                <a:spLocks/>
              </p:cNvSpPr>
              <p:nvPr/>
            </p:nvSpPr>
            <p:spPr bwMode="auto">
              <a:xfrm>
                <a:off x="17907284" y="3054732"/>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12" name="Freeform 2152"/>
              <p:cNvSpPr>
                <a:spLocks/>
              </p:cNvSpPr>
              <p:nvPr/>
            </p:nvSpPr>
            <p:spPr bwMode="auto">
              <a:xfrm>
                <a:off x="17920495" y="3054732"/>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13" name="Freeform 2153"/>
              <p:cNvSpPr>
                <a:spLocks/>
              </p:cNvSpPr>
              <p:nvPr/>
            </p:nvSpPr>
            <p:spPr bwMode="auto">
              <a:xfrm>
                <a:off x="17920495" y="3054732"/>
                <a:ext cx="13203" cy="13827"/>
              </a:xfrm>
              <a:custGeom>
                <a:avLst/>
                <a:gdLst>
                  <a:gd name="T0" fmla="*/ 2 w 2"/>
                  <a:gd name="T1" fmla="*/ 0 h 2"/>
                  <a:gd name="T2" fmla="*/ 0 w 2"/>
                  <a:gd name="T3" fmla="*/ 2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1" y="2"/>
                      <a:pt x="1" y="2"/>
                      <a:pt x="1"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514" name="Freeform 2154"/>
              <p:cNvSpPr>
                <a:spLocks/>
              </p:cNvSpPr>
              <p:nvPr/>
            </p:nvSpPr>
            <p:spPr bwMode="auto">
              <a:xfrm>
                <a:off x="18012939" y="3096223"/>
                <a:ext cx="26414" cy="41500"/>
              </a:xfrm>
              <a:custGeom>
                <a:avLst/>
                <a:gdLst>
                  <a:gd name="T0" fmla="*/ 6 w 6"/>
                  <a:gd name="T1" fmla="*/ 0 h 8"/>
                  <a:gd name="T2" fmla="*/ 0 w 6"/>
                  <a:gd name="T3" fmla="*/ 8 h 8"/>
                  <a:gd name="T4" fmla="*/ 1 w 6"/>
                  <a:gd name="T5" fmla="*/ 8 h 8"/>
                  <a:gd name="T6" fmla="*/ 6 w 6"/>
                  <a:gd name="T7" fmla="*/ 1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1"/>
                      <a:pt x="6" y="1"/>
                      <a:pt x="6" y="1"/>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4515" name="Freeform 2155"/>
              <p:cNvSpPr>
                <a:spLocks/>
              </p:cNvSpPr>
              <p:nvPr/>
            </p:nvSpPr>
            <p:spPr bwMode="auto">
              <a:xfrm>
                <a:off x="17986525" y="3082395"/>
                <a:ext cx="13211" cy="13827"/>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16" name="Freeform 2156"/>
              <p:cNvSpPr>
                <a:spLocks/>
              </p:cNvSpPr>
              <p:nvPr/>
            </p:nvSpPr>
            <p:spPr bwMode="auto">
              <a:xfrm>
                <a:off x="17986525" y="3082395"/>
                <a:ext cx="13211" cy="27664"/>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17" name="Freeform 2157"/>
              <p:cNvSpPr>
                <a:spLocks/>
              </p:cNvSpPr>
              <p:nvPr/>
            </p:nvSpPr>
            <p:spPr bwMode="auto">
              <a:xfrm>
                <a:off x="17973322" y="3082395"/>
                <a:ext cx="26414" cy="13827"/>
              </a:xfrm>
              <a:custGeom>
                <a:avLst/>
                <a:gdLst>
                  <a:gd name="T0" fmla="*/ 5 w 5"/>
                  <a:gd name="T1" fmla="*/ 0 h 7"/>
                  <a:gd name="T2" fmla="*/ 0 w 5"/>
                  <a:gd name="T3" fmla="*/ 7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1" y="7"/>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18" name="Freeform 2158"/>
              <p:cNvSpPr>
                <a:spLocks/>
              </p:cNvSpPr>
              <p:nvPr/>
            </p:nvSpPr>
            <p:spPr bwMode="auto">
              <a:xfrm>
                <a:off x="17999736" y="3082395"/>
                <a:ext cx="13203" cy="27664"/>
              </a:xfrm>
              <a:custGeom>
                <a:avLst/>
                <a:gdLst>
                  <a:gd name="T0" fmla="*/ 5 w 6"/>
                  <a:gd name="T1" fmla="*/ 0 h 8"/>
                  <a:gd name="T2" fmla="*/ 0 w 6"/>
                  <a:gd name="T3" fmla="*/ 8 h 8"/>
                  <a:gd name="T4" fmla="*/ 0 w 6"/>
                  <a:gd name="T5" fmla="*/ 8 h 8"/>
                  <a:gd name="T6" fmla="*/ 6 w 6"/>
                  <a:gd name="T7" fmla="*/ 1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1"/>
                      <a:pt x="6" y="1"/>
                      <a:pt x="6"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19" name="Freeform 2159"/>
              <p:cNvSpPr>
                <a:spLocks/>
              </p:cNvSpPr>
              <p:nvPr/>
            </p:nvSpPr>
            <p:spPr bwMode="auto">
              <a:xfrm>
                <a:off x="17999736" y="3096223"/>
                <a:ext cx="39617" cy="41500"/>
              </a:xfrm>
              <a:custGeom>
                <a:avLst/>
                <a:gdLst>
                  <a:gd name="T0" fmla="*/ 6 w 6"/>
                  <a:gd name="T1" fmla="*/ 0 h 8"/>
                  <a:gd name="T2" fmla="*/ 0 w 6"/>
                  <a:gd name="T3" fmla="*/ 8 h 8"/>
                  <a:gd name="T4" fmla="*/ 0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0" y="8"/>
                      <a:pt x="0"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4520" name="Freeform 2160"/>
              <p:cNvSpPr>
                <a:spLocks/>
              </p:cNvSpPr>
              <p:nvPr/>
            </p:nvSpPr>
            <p:spPr bwMode="auto">
              <a:xfrm>
                <a:off x="17973322" y="3082395"/>
                <a:ext cx="26414" cy="13827"/>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21" name="Freeform 2161"/>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4522" name="Freeform 2162"/>
              <p:cNvSpPr>
                <a:spLocks/>
              </p:cNvSpPr>
              <p:nvPr/>
            </p:nvSpPr>
            <p:spPr bwMode="auto">
              <a:xfrm>
                <a:off x="17933697" y="3054732"/>
                <a:ext cx="13211" cy="27664"/>
              </a:xfrm>
              <a:custGeom>
                <a:avLst/>
                <a:gdLst>
                  <a:gd name="T0" fmla="*/ 2 w 2"/>
                  <a:gd name="T1" fmla="*/ 0 h 3"/>
                  <a:gd name="T2" fmla="*/ 0 w 2"/>
                  <a:gd name="T3" fmla="*/ 3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523" name="Freeform 2163"/>
              <p:cNvSpPr>
                <a:spLocks/>
              </p:cNvSpPr>
              <p:nvPr/>
            </p:nvSpPr>
            <p:spPr bwMode="auto">
              <a:xfrm>
                <a:off x="17999736" y="3096223"/>
                <a:ext cx="13203" cy="13836"/>
              </a:xfrm>
              <a:custGeom>
                <a:avLst/>
                <a:gdLst>
                  <a:gd name="T0" fmla="*/ 6 w 6"/>
                  <a:gd name="T1" fmla="*/ 0 h 8"/>
                  <a:gd name="T2" fmla="*/ 0 w 6"/>
                  <a:gd name="T3" fmla="*/ 8 h 8"/>
                  <a:gd name="T4" fmla="*/ 1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4524" name="Freeform 2164"/>
              <p:cNvSpPr>
                <a:spLocks/>
              </p:cNvSpPr>
              <p:nvPr/>
            </p:nvSpPr>
            <p:spPr bwMode="auto">
              <a:xfrm>
                <a:off x="17946908" y="3068559"/>
                <a:ext cx="13203" cy="13836"/>
              </a:xfrm>
              <a:custGeom>
                <a:avLst/>
                <a:gdLst>
                  <a:gd name="T0" fmla="*/ 2 w 3"/>
                  <a:gd name="T1" fmla="*/ 0 h 4"/>
                  <a:gd name="T2" fmla="*/ 0 w 3"/>
                  <a:gd name="T3" fmla="*/ 4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4"/>
                      <a:pt x="0" y="4"/>
                      <a:pt x="0" y="4"/>
                    </a:cubicBezTo>
                    <a:cubicBezTo>
                      <a:pt x="0" y="4"/>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525" name="Freeform 2165"/>
              <p:cNvSpPr>
                <a:spLocks/>
              </p:cNvSpPr>
              <p:nvPr/>
            </p:nvSpPr>
            <p:spPr bwMode="auto">
              <a:xfrm>
                <a:off x="17946908" y="3054732"/>
                <a:ext cx="13203" cy="27664"/>
              </a:xfrm>
              <a:custGeom>
                <a:avLst/>
                <a:gdLst>
                  <a:gd name="T0" fmla="*/ 3 w 3"/>
                  <a:gd name="T1" fmla="*/ 0 h 4"/>
                  <a:gd name="T2" fmla="*/ 0 w 3"/>
                  <a:gd name="T3" fmla="*/ 4 h 4"/>
                  <a:gd name="T4" fmla="*/ 1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0" y="4"/>
                      <a:pt x="0" y="4"/>
                      <a:pt x="0" y="4"/>
                    </a:cubicBezTo>
                    <a:cubicBezTo>
                      <a:pt x="0" y="4"/>
                      <a:pt x="1" y="4"/>
                      <a:pt x="1" y="4"/>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526" name="Freeform 2166"/>
              <p:cNvSpPr>
                <a:spLocks/>
              </p:cNvSpPr>
              <p:nvPr/>
            </p:nvSpPr>
            <p:spPr bwMode="auto">
              <a:xfrm>
                <a:off x="17933697" y="3054732"/>
                <a:ext cx="13211" cy="27664"/>
              </a:xfrm>
              <a:custGeom>
                <a:avLst/>
                <a:gdLst>
                  <a:gd name="T0" fmla="*/ 2 w 3"/>
                  <a:gd name="T1" fmla="*/ 0 h 4"/>
                  <a:gd name="T2" fmla="*/ 0 w 3"/>
                  <a:gd name="T3" fmla="*/ 3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3"/>
                      <a:pt x="0" y="3"/>
                      <a:pt x="0" y="3"/>
                    </a:cubicBezTo>
                    <a:cubicBezTo>
                      <a:pt x="0" y="3"/>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4527" name="Freeform 2167"/>
              <p:cNvSpPr>
                <a:spLocks/>
              </p:cNvSpPr>
              <p:nvPr/>
            </p:nvSpPr>
            <p:spPr bwMode="auto">
              <a:xfrm>
                <a:off x="17960111" y="3068559"/>
                <a:ext cx="26414" cy="27664"/>
              </a:xfrm>
              <a:custGeom>
                <a:avLst/>
                <a:gdLst>
                  <a:gd name="T0" fmla="*/ 4 w 4"/>
                  <a:gd name="T1" fmla="*/ 0 h 7"/>
                  <a:gd name="T2" fmla="*/ 0 w 4"/>
                  <a:gd name="T3" fmla="*/ 6 h 7"/>
                  <a:gd name="T4" fmla="*/ 0 w 4"/>
                  <a:gd name="T5" fmla="*/ 7 h 7"/>
                  <a:gd name="T6" fmla="*/ 4 w 4"/>
                  <a:gd name="T7" fmla="*/ 0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cubicBezTo>
                      <a:pt x="0" y="6"/>
                      <a:pt x="0" y="6"/>
                      <a:pt x="0" y="6"/>
                    </a:cubicBezTo>
                    <a:cubicBezTo>
                      <a:pt x="0" y="7"/>
                      <a:pt x="0" y="7"/>
                      <a:pt x="0" y="7"/>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4528" name="Freeform 2168"/>
              <p:cNvSpPr>
                <a:spLocks/>
              </p:cNvSpPr>
              <p:nvPr/>
            </p:nvSpPr>
            <p:spPr bwMode="auto">
              <a:xfrm>
                <a:off x="17960111" y="3068559"/>
                <a:ext cx="13211" cy="27664"/>
              </a:xfrm>
              <a:custGeom>
                <a:avLst/>
                <a:gdLst>
                  <a:gd name="T0" fmla="*/ 3 w 4"/>
                  <a:gd name="T1" fmla="*/ 0 h 6"/>
                  <a:gd name="T2" fmla="*/ 0 w 4"/>
                  <a:gd name="T3" fmla="*/ 6 h 6"/>
                  <a:gd name="T4" fmla="*/ 0 w 4"/>
                  <a:gd name="T5" fmla="*/ 6 h 6"/>
                  <a:gd name="T6" fmla="*/ 4 w 4"/>
                  <a:gd name="T7" fmla="*/ 0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cubicBezTo>
                      <a:pt x="0" y="6"/>
                      <a:pt x="0" y="6"/>
                      <a:pt x="0" y="6"/>
                    </a:cubicBezTo>
                    <a:cubicBezTo>
                      <a:pt x="0" y="6"/>
                      <a:pt x="0" y="6"/>
                      <a:pt x="0" y="6"/>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529" name="Freeform 2169"/>
              <p:cNvSpPr>
                <a:spLocks/>
              </p:cNvSpPr>
              <p:nvPr/>
            </p:nvSpPr>
            <p:spPr bwMode="auto">
              <a:xfrm>
                <a:off x="17960111" y="3068559"/>
                <a:ext cx="0" cy="27664"/>
              </a:xfrm>
              <a:custGeom>
                <a:avLst/>
                <a:gdLst>
                  <a:gd name="T0" fmla="*/ 3 w 4"/>
                  <a:gd name="T1" fmla="*/ 0 h 5"/>
                  <a:gd name="T2" fmla="*/ 0 w 4"/>
                  <a:gd name="T3" fmla="*/ 5 h 5"/>
                  <a:gd name="T4" fmla="*/ 0 w 4"/>
                  <a:gd name="T5" fmla="*/ 5 h 5"/>
                  <a:gd name="T6" fmla="*/ 4 w 4"/>
                  <a:gd name="T7" fmla="*/ 0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0" y="5"/>
                      <a:pt x="0" y="5"/>
                      <a:pt x="0" y="5"/>
                    </a:cubicBezTo>
                    <a:cubicBezTo>
                      <a:pt x="0" y="5"/>
                      <a:pt x="0" y="5"/>
                      <a:pt x="0" y="5"/>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4530" name="Freeform 2170"/>
              <p:cNvSpPr>
                <a:spLocks/>
              </p:cNvSpPr>
              <p:nvPr/>
            </p:nvSpPr>
            <p:spPr bwMode="auto">
              <a:xfrm>
                <a:off x="17960111" y="3068559"/>
                <a:ext cx="13211" cy="27664"/>
              </a:xfrm>
              <a:custGeom>
                <a:avLst/>
                <a:gdLst>
                  <a:gd name="T0" fmla="*/ 4 w 4"/>
                  <a:gd name="T1" fmla="*/ 0 h 6"/>
                  <a:gd name="T2" fmla="*/ 0 w 4"/>
                  <a:gd name="T3" fmla="*/ 6 h 6"/>
                  <a:gd name="T4" fmla="*/ 1 w 4"/>
                  <a:gd name="T5" fmla="*/ 6 h 6"/>
                  <a:gd name="T6" fmla="*/ 4 w 4"/>
                  <a:gd name="T7" fmla="*/ 1 h 6"/>
                  <a:gd name="T8" fmla="*/ 4 w 4"/>
                  <a:gd name="T9" fmla="*/ 0 h 6"/>
                </a:gdLst>
                <a:ahLst/>
                <a:cxnLst>
                  <a:cxn ang="0">
                    <a:pos x="T0" y="T1"/>
                  </a:cxn>
                  <a:cxn ang="0">
                    <a:pos x="T2" y="T3"/>
                  </a:cxn>
                  <a:cxn ang="0">
                    <a:pos x="T4" y="T5"/>
                  </a:cxn>
                  <a:cxn ang="0">
                    <a:pos x="T6" y="T7"/>
                  </a:cxn>
                  <a:cxn ang="0">
                    <a:pos x="T8" y="T9"/>
                  </a:cxn>
                </a:cxnLst>
                <a:rect l="0" t="0" r="r" b="b"/>
                <a:pathLst>
                  <a:path w="4" h="6">
                    <a:moveTo>
                      <a:pt x="4" y="0"/>
                    </a:moveTo>
                    <a:cubicBezTo>
                      <a:pt x="0" y="6"/>
                      <a:pt x="0" y="6"/>
                      <a:pt x="0" y="6"/>
                    </a:cubicBezTo>
                    <a:cubicBezTo>
                      <a:pt x="0" y="6"/>
                      <a:pt x="0" y="6"/>
                      <a:pt x="1" y="6"/>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4531" name="Freeform 2171"/>
              <p:cNvSpPr>
                <a:spLocks/>
              </p:cNvSpPr>
              <p:nvPr/>
            </p:nvSpPr>
            <p:spPr bwMode="auto">
              <a:xfrm>
                <a:off x="16745075" y="3040895"/>
                <a:ext cx="0" cy="0"/>
              </a:xfrm>
              <a:custGeom>
                <a:avLst/>
                <a:gdLst>
                  <a:gd name="T0" fmla="*/ 0 w 2"/>
                  <a:gd name="T1" fmla="*/ 0 h 3"/>
                  <a:gd name="T2" fmla="*/ 0 w 2"/>
                  <a:gd name="T3" fmla="*/ 0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1" y="3"/>
                      <a:pt x="1" y="3"/>
                      <a:pt x="1" y="3"/>
                    </a:cubicBezTo>
                    <a:cubicBezTo>
                      <a:pt x="1" y="3"/>
                      <a:pt x="1" y="2"/>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2" name="Freeform 2172"/>
              <p:cNvSpPr>
                <a:spLocks/>
              </p:cNvSpPr>
              <p:nvPr/>
            </p:nvSpPr>
            <p:spPr bwMode="auto">
              <a:xfrm>
                <a:off x="16731872" y="3040895"/>
                <a:ext cx="13203" cy="0"/>
              </a:xfrm>
              <a:custGeom>
                <a:avLst/>
                <a:gdLst>
                  <a:gd name="T0" fmla="*/ 0 w 1"/>
                  <a:gd name="T1" fmla="*/ 0 h 2"/>
                  <a:gd name="T2" fmla="*/ 0 w 1"/>
                  <a:gd name="T3" fmla="*/ 1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2"/>
                      <a:pt x="0" y="2"/>
                      <a:pt x="0" y="2"/>
                    </a:cubicBezTo>
                    <a:cubicBezTo>
                      <a:pt x="0"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3" name="Freeform 2173"/>
              <p:cNvSpPr>
                <a:spLocks/>
              </p:cNvSpPr>
              <p:nvPr/>
            </p:nvSpPr>
            <p:spPr bwMode="auto">
              <a:xfrm>
                <a:off x="16745075" y="3040895"/>
                <a:ext cx="0" cy="0"/>
              </a:xfrm>
              <a:custGeom>
                <a:avLst/>
                <a:gdLst>
                  <a:gd name="T0" fmla="*/ 0 w 2"/>
                  <a:gd name="T1" fmla="*/ 0 h 3"/>
                  <a:gd name="T2" fmla="*/ 0 w 2"/>
                  <a:gd name="T3" fmla="*/ 1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1"/>
                      <a:pt x="0" y="1"/>
                      <a:pt x="0" y="1"/>
                    </a:cubicBezTo>
                    <a:cubicBezTo>
                      <a:pt x="1" y="3"/>
                      <a:pt x="1" y="3"/>
                      <a:pt x="1" y="3"/>
                    </a:cubicBezTo>
                    <a:cubicBezTo>
                      <a:pt x="1" y="3"/>
                      <a:pt x="1" y="3"/>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4" name="Freeform 2174"/>
              <p:cNvSpPr>
                <a:spLocks/>
              </p:cNvSpPr>
              <p:nvPr/>
            </p:nvSpPr>
            <p:spPr bwMode="auto">
              <a:xfrm>
                <a:off x="16718661" y="3040895"/>
                <a:ext cx="13211"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5" name="Freeform 2175"/>
              <p:cNvSpPr>
                <a:spLocks/>
              </p:cNvSpPr>
              <p:nvPr/>
            </p:nvSpPr>
            <p:spPr bwMode="auto">
              <a:xfrm>
                <a:off x="16745075" y="3013232"/>
                <a:ext cx="13211" cy="27664"/>
              </a:xfrm>
              <a:custGeom>
                <a:avLst/>
                <a:gdLst>
                  <a:gd name="T0" fmla="*/ 0 w 2"/>
                  <a:gd name="T1" fmla="*/ 0 h 5"/>
                  <a:gd name="T2" fmla="*/ 0 w 2"/>
                  <a:gd name="T3" fmla="*/ 1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1"/>
                      <a:pt x="0" y="1"/>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6" name="Freeform 2176"/>
              <p:cNvSpPr>
                <a:spLocks/>
              </p:cNvSpPr>
              <p:nvPr/>
            </p:nvSpPr>
            <p:spPr bwMode="auto">
              <a:xfrm>
                <a:off x="16758286" y="3013232"/>
                <a:ext cx="13203" cy="13836"/>
              </a:xfrm>
              <a:custGeom>
                <a:avLst/>
                <a:gdLst>
                  <a:gd name="T0" fmla="*/ 1 w 3"/>
                  <a:gd name="T1" fmla="*/ 0 h 5"/>
                  <a:gd name="T2" fmla="*/ 0 w 3"/>
                  <a:gd name="T3" fmla="*/ 1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0" y="1"/>
                      <a:pt x="0" y="1"/>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37" name="Freeform 2177"/>
              <p:cNvSpPr>
                <a:spLocks/>
              </p:cNvSpPr>
              <p:nvPr/>
            </p:nvSpPr>
            <p:spPr bwMode="auto">
              <a:xfrm>
                <a:off x="16745075" y="3027068"/>
                <a:ext cx="13211" cy="13827"/>
              </a:xfrm>
              <a:custGeom>
                <a:avLst/>
                <a:gdLst>
                  <a:gd name="T0" fmla="*/ 1 w 3"/>
                  <a:gd name="T1" fmla="*/ 0 h 4"/>
                  <a:gd name="T2" fmla="*/ 0 w 3"/>
                  <a:gd name="T3" fmla="*/ 0 h 4"/>
                  <a:gd name="T4" fmla="*/ 2 w 3"/>
                  <a:gd name="T5" fmla="*/ 4 h 4"/>
                  <a:gd name="T6" fmla="*/ 3 w 3"/>
                  <a:gd name="T7" fmla="*/ 3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0" y="0"/>
                      <a:pt x="0" y="0"/>
                      <a:pt x="0" y="0"/>
                    </a:cubicBezTo>
                    <a:cubicBezTo>
                      <a:pt x="2" y="4"/>
                      <a:pt x="2" y="4"/>
                      <a:pt x="2" y="4"/>
                    </a:cubicBezTo>
                    <a:cubicBezTo>
                      <a:pt x="2" y="3"/>
                      <a:pt x="2" y="3"/>
                      <a:pt x="3"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38" name="Freeform 2178"/>
              <p:cNvSpPr>
                <a:spLocks/>
              </p:cNvSpPr>
              <p:nvPr/>
            </p:nvSpPr>
            <p:spPr bwMode="auto">
              <a:xfrm>
                <a:off x="16718661" y="30547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39" name="Freeform 2179"/>
              <p:cNvSpPr>
                <a:spLocks/>
              </p:cNvSpPr>
              <p:nvPr/>
            </p:nvSpPr>
            <p:spPr bwMode="auto">
              <a:xfrm>
                <a:off x="16758286" y="2999404"/>
                <a:ext cx="26414" cy="27664"/>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0" name="Freeform 2180"/>
              <p:cNvSpPr>
                <a:spLocks/>
              </p:cNvSpPr>
              <p:nvPr/>
            </p:nvSpPr>
            <p:spPr bwMode="auto">
              <a:xfrm>
                <a:off x="17141282" y="290257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41" name="Freeform 2181"/>
              <p:cNvSpPr>
                <a:spLocks/>
              </p:cNvSpPr>
              <p:nvPr/>
            </p:nvSpPr>
            <p:spPr bwMode="auto">
              <a:xfrm>
                <a:off x="17128079"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2" name="Freeform 2182"/>
              <p:cNvSpPr>
                <a:spLocks/>
              </p:cNvSpPr>
              <p:nvPr/>
            </p:nvSpPr>
            <p:spPr bwMode="auto">
              <a:xfrm>
                <a:off x="17062041" y="2916414"/>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3" name="Freeform 2183"/>
              <p:cNvSpPr>
                <a:spLocks/>
              </p:cNvSpPr>
              <p:nvPr/>
            </p:nvSpPr>
            <p:spPr bwMode="auto">
              <a:xfrm>
                <a:off x="17062041" y="2916414"/>
                <a:ext cx="13211"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4" name="Freeform 2184"/>
              <p:cNvSpPr>
                <a:spLocks/>
              </p:cNvSpPr>
              <p:nvPr/>
            </p:nvSpPr>
            <p:spPr bwMode="auto">
              <a:xfrm>
                <a:off x="17075252" y="2916414"/>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5" name="Freeform 2185"/>
              <p:cNvSpPr>
                <a:spLocks/>
              </p:cNvSpPr>
              <p:nvPr/>
            </p:nvSpPr>
            <p:spPr bwMode="auto">
              <a:xfrm>
                <a:off x="17088455" y="2916414"/>
                <a:ext cx="0"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6" name="Freeform 2186"/>
              <p:cNvSpPr>
                <a:spLocks/>
              </p:cNvSpPr>
              <p:nvPr/>
            </p:nvSpPr>
            <p:spPr bwMode="auto">
              <a:xfrm>
                <a:off x="17114868"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47" name="Freeform 2187"/>
              <p:cNvSpPr>
                <a:spLocks/>
              </p:cNvSpPr>
              <p:nvPr/>
            </p:nvSpPr>
            <p:spPr bwMode="auto">
              <a:xfrm>
                <a:off x="17101666" y="2902577"/>
                <a:ext cx="13203"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48" name="Freeform 2188"/>
              <p:cNvSpPr>
                <a:spLocks/>
              </p:cNvSpPr>
              <p:nvPr/>
            </p:nvSpPr>
            <p:spPr bwMode="auto">
              <a:xfrm>
                <a:off x="17101666" y="2916414"/>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49" name="Freeform 2189"/>
              <p:cNvSpPr>
                <a:spLocks/>
              </p:cNvSpPr>
              <p:nvPr/>
            </p:nvSpPr>
            <p:spPr bwMode="auto">
              <a:xfrm>
                <a:off x="17101666" y="2902577"/>
                <a:ext cx="0" cy="13836"/>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50" name="Freeform 2190"/>
              <p:cNvSpPr>
                <a:spLocks/>
              </p:cNvSpPr>
              <p:nvPr/>
            </p:nvSpPr>
            <p:spPr bwMode="auto">
              <a:xfrm>
                <a:off x="16837527" y="2985568"/>
                <a:ext cx="13203" cy="13836"/>
              </a:xfrm>
              <a:custGeom>
                <a:avLst/>
                <a:gdLst>
                  <a:gd name="T0" fmla="*/ 1 w 2"/>
                  <a:gd name="T1" fmla="*/ 0 h 3"/>
                  <a:gd name="T2" fmla="*/ 0 w 2"/>
                  <a:gd name="T3" fmla="*/ 0 h 3"/>
                  <a:gd name="T4" fmla="*/ 2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0"/>
                      <a:pt x="0" y="0"/>
                    </a:cubicBezTo>
                    <a:cubicBezTo>
                      <a:pt x="2" y="3"/>
                      <a:pt x="2" y="3"/>
                      <a:pt x="2" y="3"/>
                    </a:cubicBezTo>
                    <a:cubicBezTo>
                      <a:pt x="2" y="3"/>
                      <a:pt x="2" y="3"/>
                      <a:pt x="2"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51" name="Freeform 2191"/>
              <p:cNvSpPr>
                <a:spLocks/>
              </p:cNvSpPr>
              <p:nvPr/>
            </p:nvSpPr>
            <p:spPr bwMode="auto">
              <a:xfrm>
                <a:off x="16877144" y="2971741"/>
                <a:ext cx="0" cy="13827"/>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52" name="Freeform 2192"/>
              <p:cNvSpPr>
                <a:spLocks/>
              </p:cNvSpPr>
              <p:nvPr/>
            </p:nvSpPr>
            <p:spPr bwMode="auto">
              <a:xfrm>
                <a:off x="16863941" y="2971741"/>
                <a:ext cx="0" cy="13827"/>
              </a:xfrm>
              <a:custGeom>
                <a:avLst/>
                <a:gdLst>
                  <a:gd name="T0" fmla="*/ 1 w 1"/>
                  <a:gd name="T1" fmla="*/ 0 h 2"/>
                  <a:gd name="T2" fmla="*/ 0 w 1"/>
                  <a:gd name="T3" fmla="*/ 0 h 2"/>
                  <a:gd name="T4" fmla="*/ 1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0"/>
                    </a:cubicBezTo>
                    <a:cubicBezTo>
                      <a:pt x="1" y="2"/>
                      <a:pt x="1" y="2"/>
                      <a:pt x="1" y="2"/>
                    </a:cubicBezTo>
                    <a:cubicBezTo>
                      <a:pt x="1" y="2"/>
                      <a:pt x="1" y="2"/>
                      <a:pt x="1" y="2"/>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53" name="Freeform 2193"/>
              <p:cNvSpPr>
                <a:spLocks/>
              </p:cNvSpPr>
              <p:nvPr/>
            </p:nvSpPr>
            <p:spPr bwMode="auto">
              <a:xfrm>
                <a:off x="16850730" y="2985568"/>
                <a:ext cx="13211" cy="0"/>
              </a:xfrm>
              <a:custGeom>
                <a:avLst/>
                <a:gdLst>
                  <a:gd name="T0" fmla="*/ 0 w 1"/>
                  <a:gd name="T1" fmla="*/ 0 h 2"/>
                  <a:gd name="T2" fmla="*/ 0 w 1"/>
                  <a:gd name="T3" fmla="*/ 0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1" y="2"/>
                      <a:pt x="1" y="2"/>
                      <a:pt x="1" y="2"/>
                    </a:cubicBezTo>
                    <a:cubicBezTo>
                      <a:pt x="1"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54" name="Oval 2194"/>
              <p:cNvSpPr>
                <a:spLocks noChangeArrowheads="1"/>
              </p:cNvSpPr>
              <p:nvPr/>
            </p:nvSpPr>
            <p:spPr bwMode="auto">
              <a:xfrm>
                <a:off x="16877144" y="2971741"/>
                <a:ext cx="0" cy="13827"/>
              </a:xfrm>
              <a:prstGeom prst="ellipse">
                <a:avLst/>
              </a:prstGeom>
              <a:solidFill>
                <a:srgbClr val="02E3FC"/>
              </a:solidFill>
              <a:ln>
                <a:noFill/>
              </a:ln>
              <a:extLst/>
            </p:spPr>
            <p:txBody>
              <a:bodyPr/>
              <a:lstStyle/>
              <a:p>
                <a:pPr eaLnBrk="1" hangingPunct="1">
                  <a:defRPr/>
                </a:pPr>
                <a:endParaRPr lang="zh-CN" altLang="en-US" sz="1050"/>
              </a:p>
            </p:txBody>
          </p:sp>
          <p:sp>
            <p:nvSpPr>
              <p:cNvPr id="4555" name="Freeform 2195"/>
              <p:cNvSpPr>
                <a:spLocks/>
              </p:cNvSpPr>
              <p:nvPr/>
            </p:nvSpPr>
            <p:spPr bwMode="auto">
              <a:xfrm>
                <a:off x="16837527" y="2985568"/>
                <a:ext cx="0" cy="13836"/>
              </a:xfrm>
              <a:custGeom>
                <a:avLst/>
                <a:gdLst>
                  <a:gd name="T0" fmla="*/ 1 w 2"/>
                  <a:gd name="T1" fmla="*/ 0 h 4"/>
                  <a:gd name="T2" fmla="*/ 0 w 2"/>
                  <a:gd name="T3" fmla="*/ 0 h 4"/>
                  <a:gd name="T4" fmla="*/ 2 w 2"/>
                  <a:gd name="T5" fmla="*/ 4 h 4"/>
                  <a:gd name="T6" fmla="*/ 2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0" y="0"/>
                      <a:pt x="0" y="0"/>
                    </a:cubicBezTo>
                    <a:cubicBezTo>
                      <a:pt x="2" y="4"/>
                      <a:pt x="2" y="4"/>
                      <a:pt x="2" y="4"/>
                    </a:cubicBezTo>
                    <a:cubicBezTo>
                      <a:pt x="2" y="4"/>
                      <a:pt x="2" y="4"/>
                      <a:pt x="2"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56" name="Freeform 2196"/>
              <p:cNvSpPr>
                <a:spLocks/>
              </p:cNvSpPr>
              <p:nvPr/>
            </p:nvSpPr>
            <p:spPr bwMode="auto">
              <a:xfrm>
                <a:off x="16784700" y="2999404"/>
                <a:ext cx="13203"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57" name="Freeform 2197"/>
              <p:cNvSpPr>
                <a:spLocks/>
              </p:cNvSpPr>
              <p:nvPr/>
            </p:nvSpPr>
            <p:spPr bwMode="auto">
              <a:xfrm>
                <a:off x="16784700" y="2999404"/>
                <a:ext cx="13203" cy="13827"/>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58" name="Freeform 2198"/>
              <p:cNvSpPr>
                <a:spLocks/>
              </p:cNvSpPr>
              <p:nvPr/>
            </p:nvSpPr>
            <p:spPr bwMode="auto">
              <a:xfrm>
                <a:off x="16797902" y="2985568"/>
                <a:ext cx="13211" cy="13836"/>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59" name="Freeform 2199"/>
              <p:cNvSpPr>
                <a:spLocks/>
              </p:cNvSpPr>
              <p:nvPr/>
            </p:nvSpPr>
            <p:spPr bwMode="auto">
              <a:xfrm>
                <a:off x="16784700" y="2999404"/>
                <a:ext cx="0"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60" name="Freeform 2200"/>
              <p:cNvSpPr>
                <a:spLocks/>
              </p:cNvSpPr>
              <p:nvPr/>
            </p:nvSpPr>
            <p:spPr bwMode="auto">
              <a:xfrm>
                <a:off x="16811113" y="2985568"/>
                <a:ext cx="13203" cy="13836"/>
              </a:xfrm>
              <a:custGeom>
                <a:avLst/>
                <a:gdLst>
                  <a:gd name="T0" fmla="*/ 1 w 3"/>
                  <a:gd name="T1" fmla="*/ 0 h 5"/>
                  <a:gd name="T2" fmla="*/ 0 w 3"/>
                  <a:gd name="T3" fmla="*/ 0 h 5"/>
                  <a:gd name="T4" fmla="*/ 3 w 3"/>
                  <a:gd name="T5" fmla="*/ 5 h 5"/>
                  <a:gd name="T6" fmla="*/ 3 w 3"/>
                  <a:gd name="T7" fmla="*/ 4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4"/>
                      <a:pt x="3" y="4"/>
                      <a:pt x="3"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4561" name="Freeform 2201"/>
              <p:cNvSpPr>
                <a:spLocks/>
              </p:cNvSpPr>
              <p:nvPr/>
            </p:nvSpPr>
            <p:spPr bwMode="auto">
              <a:xfrm>
                <a:off x="16837527" y="2985568"/>
                <a:ext cx="0" cy="13836"/>
              </a:xfrm>
              <a:custGeom>
                <a:avLst/>
                <a:gdLst>
                  <a:gd name="T0" fmla="*/ 0 w 2"/>
                  <a:gd name="T1" fmla="*/ 0 h 4"/>
                  <a:gd name="T2" fmla="*/ 0 w 2"/>
                  <a:gd name="T3" fmla="*/ 0 h 4"/>
                  <a:gd name="T4" fmla="*/ 2 w 2"/>
                  <a:gd name="T5" fmla="*/ 4 h 4"/>
                  <a:gd name="T6" fmla="*/ 2 w 2"/>
                  <a:gd name="T7" fmla="*/ 3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0" y="0"/>
                    </a:cubicBezTo>
                    <a:cubicBezTo>
                      <a:pt x="2" y="4"/>
                      <a:pt x="2" y="4"/>
                      <a:pt x="2" y="4"/>
                    </a:cubicBezTo>
                    <a:cubicBezTo>
                      <a:pt x="2" y="4"/>
                      <a:pt x="2" y="4"/>
                      <a:pt x="2" y="3"/>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62" name="Freeform 2202"/>
              <p:cNvSpPr>
                <a:spLocks/>
              </p:cNvSpPr>
              <p:nvPr/>
            </p:nvSpPr>
            <p:spPr bwMode="auto">
              <a:xfrm>
                <a:off x="16824316" y="2985568"/>
                <a:ext cx="13211" cy="13836"/>
              </a:xfrm>
              <a:custGeom>
                <a:avLst/>
                <a:gdLst>
                  <a:gd name="T0" fmla="*/ 0 w 2"/>
                  <a:gd name="T1" fmla="*/ 0 h 5"/>
                  <a:gd name="T2" fmla="*/ 0 w 2"/>
                  <a:gd name="T3" fmla="*/ 0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0"/>
                      <a:pt x="0" y="0"/>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63" name="Freeform 2203"/>
              <p:cNvSpPr>
                <a:spLocks/>
              </p:cNvSpPr>
              <p:nvPr/>
            </p:nvSpPr>
            <p:spPr bwMode="auto">
              <a:xfrm>
                <a:off x="16771488" y="2999404"/>
                <a:ext cx="13211" cy="27664"/>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4564" name="Freeform 2204"/>
              <p:cNvSpPr>
                <a:spLocks/>
              </p:cNvSpPr>
              <p:nvPr/>
            </p:nvSpPr>
            <p:spPr bwMode="auto">
              <a:xfrm>
                <a:off x="16018698" y="4382586"/>
                <a:ext cx="462238" cy="622427"/>
              </a:xfrm>
              <a:custGeom>
                <a:avLst/>
                <a:gdLst>
                  <a:gd name="T0" fmla="*/ 50 w 126"/>
                  <a:gd name="T1" fmla="*/ 0 h 165"/>
                  <a:gd name="T2" fmla="*/ 0 w 126"/>
                  <a:gd name="T3" fmla="*/ 15 h 165"/>
                  <a:gd name="T4" fmla="*/ 89 w 126"/>
                  <a:gd name="T5" fmla="*/ 165 h 165"/>
                  <a:gd name="T6" fmla="*/ 100 w 126"/>
                  <a:gd name="T7" fmla="*/ 154 h 165"/>
                  <a:gd name="T8" fmla="*/ 44 w 126"/>
                  <a:gd name="T9" fmla="*/ 80 h 165"/>
                  <a:gd name="T10" fmla="*/ 66 w 126"/>
                  <a:gd name="T11" fmla="*/ 68 h 165"/>
                  <a:gd name="T12" fmla="*/ 118 w 126"/>
                  <a:gd name="T13" fmla="*/ 136 h 165"/>
                  <a:gd name="T14" fmla="*/ 126 w 126"/>
                  <a:gd name="T15" fmla="*/ 128 h 165"/>
                  <a:gd name="T16" fmla="*/ 50 w 126"/>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65">
                    <a:moveTo>
                      <a:pt x="50" y="0"/>
                    </a:moveTo>
                    <a:cubicBezTo>
                      <a:pt x="0" y="15"/>
                      <a:pt x="0" y="15"/>
                      <a:pt x="0" y="15"/>
                    </a:cubicBezTo>
                    <a:cubicBezTo>
                      <a:pt x="17" y="72"/>
                      <a:pt x="48" y="124"/>
                      <a:pt x="89" y="165"/>
                    </a:cubicBezTo>
                    <a:cubicBezTo>
                      <a:pt x="100" y="154"/>
                      <a:pt x="100" y="154"/>
                      <a:pt x="100" y="154"/>
                    </a:cubicBezTo>
                    <a:cubicBezTo>
                      <a:pt x="78" y="132"/>
                      <a:pt x="60" y="107"/>
                      <a:pt x="44" y="80"/>
                    </a:cubicBezTo>
                    <a:cubicBezTo>
                      <a:pt x="66" y="68"/>
                      <a:pt x="66" y="68"/>
                      <a:pt x="66" y="68"/>
                    </a:cubicBezTo>
                    <a:cubicBezTo>
                      <a:pt x="80" y="93"/>
                      <a:pt x="98" y="116"/>
                      <a:pt x="118" y="136"/>
                    </a:cubicBezTo>
                    <a:cubicBezTo>
                      <a:pt x="126" y="128"/>
                      <a:pt x="126" y="128"/>
                      <a:pt x="126" y="128"/>
                    </a:cubicBezTo>
                    <a:cubicBezTo>
                      <a:pt x="91" y="93"/>
                      <a:pt x="65" y="49"/>
                      <a:pt x="50" y="0"/>
                    </a:cubicBezTo>
                  </a:path>
                </a:pathLst>
              </a:custGeom>
              <a:solidFill>
                <a:srgbClr val="01AAE5"/>
              </a:solidFill>
              <a:ln>
                <a:noFill/>
              </a:ln>
              <a:extLst/>
            </p:spPr>
            <p:txBody>
              <a:bodyPr/>
              <a:lstStyle/>
              <a:p>
                <a:pPr eaLnBrk="1" hangingPunct="1">
                  <a:defRPr/>
                </a:pPr>
                <a:endParaRPr lang="zh-CN" altLang="en-US" sz="1050"/>
              </a:p>
            </p:txBody>
          </p:sp>
          <p:sp>
            <p:nvSpPr>
              <p:cNvPr id="4565" name="Freeform 2205"/>
              <p:cNvSpPr>
                <a:spLocks/>
              </p:cNvSpPr>
              <p:nvPr/>
            </p:nvSpPr>
            <p:spPr bwMode="auto">
              <a:xfrm>
                <a:off x="18395944" y="3898468"/>
                <a:ext cx="211311" cy="733090"/>
              </a:xfrm>
              <a:custGeom>
                <a:avLst/>
                <a:gdLst>
                  <a:gd name="T0" fmla="*/ 56 w 58"/>
                  <a:gd name="T1" fmla="*/ 0 h 194"/>
                  <a:gd name="T2" fmla="*/ 31 w 58"/>
                  <a:gd name="T3" fmla="*/ 3 h 194"/>
                  <a:gd name="T4" fmla="*/ 33 w 58"/>
                  <a:gd name="T5" fmla="*/ 41 h 194"/>
                  <a:gd name="T6" fmla="*/ 0 w 58"/>
                  <a:gd name="T7" fmla="*/ 183 h 194"/>
                  <a:gd name="T8" fmla="*/ 22 w 58"/>
                  <a:gd name="T9" fmla="*/ 194 h 194"/>
                  <a:gd name="T10" fmla="*/ 58 w 58"/>
                  <a:gd name="T11" fmla="*/ 41 h 194"/>
                  <a:gd name="T12" fmla="*/ 56 w 58"/>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58" h="194">
                    <a:moveTo>
                      <a:pt x="56" y="0"/>
                    </a:moveTo>
                    <a:cubicBezTo>
                      <a:pt x="31" y="3"/>
                      <a:pt x="31" y="3"/>
                      <a:pt x="31" y="3"/>
                    </a:cubicBezTo>
                    <a:cubicBezTo>
                      <a:pt x="32" y="16"/>
                      <a:pt x="33" y="28"/>
                      <a:pt x="33" y="41"/>
                    </a:cubicBezTo>
                    <a:cubicBezTo>
                      <a:pt x="33" y="92"/>
                      <a:pt x="21" y="140"/>
                      <a:pt x="0" y="183"/>
                    </a:cubicBezTo>
                    <a:cubicBezTo>
                      <a:pt x="22" y="194"/>
                      <a:pt x="22" y="194"/>
                      <a:pt x="22" y="194"/>
                    </a:cubicBezTo>
                    <a:cubicBezTo>
                      <a:pt x="45" y="148"/>
                      <a:pt x="58" y="96"/>
                      <a:pt x="58" y="41"/>
                    </a:cubicBezTo>
                    <a:cubicBezTo>
                      <a:pt x="58" y="27"/>
                      <a:pt x="57" y="14"/>
                      <a:pt x="56" y="0"/>
                    </a:cubicBezTo>
                  </a:path>
                </a:pathLst>
              </a:custGeom>
              <a:solidFill>
                <a:srgbClr val="01AAE5"/>
              </a:solidFill>
              <a:ln>
                <a:noFill/>
              </a:ln>
              <a:extLst/>
            </p:spPr>
            <p:txBody>
              <a:bodyPr/>
              <a:lstStyle/>
              <a:p>
                <a:pPr eaLnBrk="1" hangingPunct="1">
                  <a:defRPr/>
                </a:pPr>
                <a:endParaRPr lang="zh-CN" altLang="en-US" sz="1050"/>
              </a:p>
            </p:txBody>
          </p:sp>
          <p:sp>
            <p:nvSpPr>
              <p:cNvPr id="4566" name="Freeform 2206"/>
              <p:cNvSpPr>
                <a:spLocks/>
              </p:cNvSpPr>
              <p:nvPr/>
            </p:nvSpPr>
            <p:spPr bwMode="auto">
              <a:xfrm>
                <a:off x="16124353" y="3040895"/>
                <a:ext cx="422621" cy="539445"/>
              </a:xfrm>
              <a:custGeom>
                <a:avLst/>
                <a:gdLst>
                  <a:gd name="T0" fmla="*/ 97 w 113"/>
                  <a:gd name="T1" fmla="*/ 0 h 141"/>
                  <a:gd name="T2" fmla="*/ 0 w 113"/>
                  <a:gd name="T3" fmla="*/ 131 h 141"/>
                  <a:gd name="T4" fmla="*/ 23 w 113"/>
                  <a:gd name="T5" fmla="*/ 141 h 141"/>
                  <a:gd name="T6" fmla="*/ 113 w 113"/>
                  <a:gd name="T7" fmla="*/ 20 h 141"/>
                  <a:gd name="T8" fmla="*/ 97 w 113"/>
                  <a:gd name="T9" fmla="*/ 0 h 141"/>
                </a:gdLst>
                <a:ahLst/>
                <a:cxnLst>
                  <a:cxn ang="0">
                    <a:pos x="T0" y="T1"/>
                  </a:cxn>
                  <a:cxn ang="0">
                    <a:pos x="T2" y="T3"/>
                  </a:cxn>
                  <a:cxn ang="0">
                    <a:pos x="T4" y="T5"/>
                  </a:cxn>
                  <a:cxn ang="0">
                    <a:pos x="T6" y="T7"/>
                  </a:cxn>
                  <a:cxn ang="0">
                    <a:pos x="T8" y="T9"/>
                  </a:cxn>
                </a:cxnLst>
                <a:rect l="0" t="0" r="r" b="b"/>
                <a:pathLst>
                  <a:path w="113" h="141">
                    <a:moveTo>
                      <a:pt x="97" y="0"/>
                    </a:moveTo>
                    <a:cubicBezTo>
                      <a:pt x="55" y="35"/>
                      <a:pt x="22" y="80"/>
                      <a:pt x="0" y="131"/>
                    </a:cubicBezTo>
                    <a:cubicBezTo>
                      <a:pt x="23" y="141"/>
                      <a:pt x="23" y="141"/>
                      <a:pt x="23" y="141"/>
                    </a:cubicBezTo>
                    <a:cubicBezTo>
                      <a:pt x="43" y="93"/>
                      <a:pt x="74" y="52"/>
                      <a:pt x="113" y="20"/>
                    </a:cubicBezTo>
                    <a:cubicBezTo>
                      <a:pt x="97" y="0"/>
                      <a:pt x="97" y="0"/>
                      <a:pt x="97" y="0"/>
                    </a:cubicBezTo>
                  </a:path>
                </a:pathLst>
              </a:custGeom>
              <a:solidFill>
                <a:srgbClr val="01AAE5"/>
              </a:solidFill>
              <a:ln>
                <a:noFill/>
              </a:ln>
              <a:extLst/>
            </p:spPr>
            <p:txBody>
              <a:bodyPr/>
              <a:lstStyle/>
              <a:p>
                <a:pPr eaLnBrk="1" hangingPunct="1">
                  <a:defRPr/>
                </a:pPr>
                <a:endParaRPr lang="zh-CN" altLang="en-US" sz="1050"/>
              </a:p>
            </p:txBody>
          </p:sp>
          <p:sp>
            <p:nvSpPr>
              <p:cNvPr id="4567" name="Freeform 2207"/>
              <p:cNvSpPr>
                <a:spLocks/>
              </p:cNvSpPr>
              <p:nvPr/>
            </p:nvSpPr>
            <p:spPr bwMode="auto">
              <a:xfrm>
                <a:off x="16480936" y="2764259"/>
                <a:ext cx="1188623" cy="373463"/>
              </a:xfrm>
              <a:custGeom>
                <a:avLst/>
                <a:gdLst>
                  <a:gd name="T0" fmla="*/ 221 w 314"/>
                  <a:gd name="T1" fmla="*/ 0 h 99"/>
                  <a:gd name="T2" fmla="*/ 0 w 314"/>
                  <a:gd name="T3" fmla="*/ 79 h 99"/>
                  <a:gd name="T4" fmla="*/ 16 w 314"/>
                  <a:gd name="T5" fmla="*/ 99 h 99"/>
                  <a:gd name="T6" fmla="*/ 221 w 314"/>
                  <a:gd name="T7" fmla="*/ 25 h 99"/>
                  <a:gd name="T8" fmla="*/ 307 w 314"/>
                  <a:gd name="T9" fmla="*/ 37 h 99"/>
                  <a:gd name="T10" fmla="*/ 314 w 314"/>
                  <a:gd name="T11" fmla="*/ 13 h 99"/>
                  <a:gd name="T12" fmla="*/ 221 w 3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314" h="99">
                    <a:moveTo>
                      <a:pt x="221" y="0"/>
                    </a:moveTo>
                    <a:cubicBezTo>
                      <a:pt x="137" y="0"/>
                      <a:pt x="60" y="30"/>
                      <a:pt x="0" y="79"/>
                    </a:cubicBezTo>
                    <a:cubicBezTo>
                      <a:pt x="16" y="99"/>
                      <a:pt x="16" y="99"/>
                      <a:pt x="16" y="99"/>
                    </a:cubicBezTo>
                    <a:cubicBezTo>
                      <a:pt x="72" y="53"/>
                      <a:pt x="143" y="25"/>
                      <a:pt x="221" y="25"/>
                    </a:cubicBezTo>
                    <a:cubicBezTo>
                      <a:pt x="251" y="25"/>
                      <a:pt x="280" y="29"/>
                      <a:pt x="307" y="37"/>
                    </a:cubicBezTo>
                    <a:cubicBezTo>
                      <a:pt x="314" y="13"/>
                      <a:pt x="314" y="13"/>
                      <a:pt x="314" y="13"/>
                    </a:cubicBezTo>
                    <a:cubicBezTo>
                      <a:pt x="284" y="4"/>
                      <a:pt x="253" y="0"/>
                      <a:pt x="221" y="0"/>
                    </a:cubicBezTo>
                  </a:path>
                </a:pathLst>
              </a:custGeom>
              <a:solidFill>
                <a:srgbClr val="02E3FC"/>
              </a:solidFill>
              <a:ln>
                <a:noFill/>
              </a:ln>
              <a:extLst/>
            </p:spPr>
            <p:txBody>
              <a:bodyPr/>
              <a:lstStyle/>
              <a:p>
                <a:pPr eaLnBrk="1" hangingPunct="1">
                  <a:defRPr/>
                </a:pPr>
                <a:endParaRPr lang="zh-CN" altLang="en-US" sz="1050"/>
              </a:p>
            </p:txBody>
          </p:sp>
          <p:sp>
            <p:nvSpPr>
              <p:cNvPr id="4568" name="Freeform 2208"/>
              <p:cNvSpPr>
                <a:spLocks/>
              </p:cNvSpPr>
              <p:nvPr/>
            </p:nvSpPr>
            <p:spPr bwMode="auto">
              <a:xfrm>
                <a:off x="16388492" y="4894358"/>
                <a:ext cx="1347106" cy="442618"/>
              </a:xfrm>
              <a:custGeom>
                <a:avLst/>
                <a:gdLst>
                  <a:gd name="T0" fmla="*/ 18 w 357"/>
                  <a:gd name="T1" fmla="*/ 0 h 121"/>
                  <a:gd name="T2" fmla="*/ 0 w 357"/>
                  <a:gd name="T3" fmla="*/ 18 h 121"/>
                  <a:gd name="T4" fmla="*/ 247 w 357"/>
                  <a:gd name="T5" fmla="*/ 121 h 121"/>
                  <a:gd name="T6" fmla="*/ 357 w 357"/>
                  <a:gd name="T7" fmla="*/ 104 h 121"/>
                  <a:gd name="T8" fmla="*/ 349 w 357"/>
                  <a:gd name="T9" fmla="*/ 80 h 121"/>
                  <a:gd name="T10" fmla="*/ 247 w 357"/>
                  <a:gd name="T11" fmla="*/ 96 h 121"/>
                  <a:gd name="T12" fmla="*/ 18 w 357"/>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57" h="121">
                    <a:moveTo>
                      <a:pt x="18" y="0"/>
                    </a:moveTo>
                    <a:cubicBezTo>
                      <a:pt x="0" y="18"/>
                      <a:pt x="0" y="18"/>
                      <a:pt x="0" y="18"/>
                    </a:cubicBezTo>
                    <a:cubicBezTo>
                      <a:pt x="63" y="82"/>
                      <a:pt x="150" y="121"/>
                      <a:pt x="247" y="121"/>
                    </a:cubicBezTo>
                    <a:cubicBezTo>
                      <a:pt x="285" y="121"/>
                      <a:pt x="322" y="115"/>
                      <a:pt x="357" y="104"/>
                    </a:cubicBezTo>
                    <a:cubicBezTo>
                      <a:pt x="349" y="80"/>
                      <a:pt x="349" y="80"/>
                      <a:pt x="349" y="80"/>
                    </a:cubicBezTo>
                    <a:cubicBezTo>
                      <a:pt x="317" y="91"/>
                      <a:pt x="282" y="96"/>
                      <a:pt x="247" y="96"/>
                    </a:cubicBezTo>
                    <a:cubicBezTo>
                      <a:pt x="157" y="96"/>
                      <a:pt x="76" y="60"/>
                      <a:pt x="18" y="0"/>
                    </a:cubicBezTo>
                  </a:path>
                </a:pathLst>
              </a:custGeom>
              <a:solidFill>
                <a:srgbClr val="01AAE5"/>
              </a:solidFill>
              <a:ln>
                <a:noFill/>
              </a:ln>
              <a:extLst/>
            </p:spPr>
            <p:txBody>
              <a:bodyPr/>
              <a:lstStyle/>
              <a:p>
                <a:pPr eaLnBrk="1" hangingPunct="1">
                  <a:defRPr/>
                </a:pPr>
                <a:endParaRPr lang="zh-CN" altLang="en-US" sz="1050"/>
              </a:p>
            </p:txBody>
          </p:sp>
          <p:sp>
            <p:nvSpPr>
              <p:cNvPr id="4569" name="Freeform 2209"/>
              <p:cNvSpPr>
                <a:spLocks/>
              </p:cNvSpPr>
              <p:nvPr/>
            </p:nvSpPr>
            <p:spPr bwMode="auto">
              <a:xfrm>
                <a:off x="16177181" y="4631558"/>
                <a:ext cx="277341" cy="331964"/>
              </a:xfrm>
              <a:custGeom>
                <a:avLst/>
                <a:gdLst>
                  <a:gd name="T0" fmla="*/ 22 w 74"/>
                  <a:gd name="T1" fmla="*/ 0 h 86"/>
                  <a:gd name="T2" fmla="*/ 0 w 74"/>
                  <a:gd name="T3" fmla="*/ 12 h 86"/>
                  <a:gd name="T4" fmla="*/ 56 w 74"/>
                  <a:gd name="T5" fmla="*/ 86 h 86"/>
                  <a:gd name="T6" fmla="*/ 74 w 74"/>
                  <a:gd name="T7" fmla="*/ 68 h 86"/>
                  <a:gd name="T8" fmla="*/ 22 w 74"/>
                  <a:gd name="T9" fmla="*/ 0 h 86"/>
                </a:gdLst>
                <a:ahLst/>
                <a:cxnLst>
                  <a:cxn ang="0">
                    <a:pos x="T0" y="T1"/>
                  </a:cxn>
                  <a:cxn ang="0">
                    <a:pos x="T2" y="T3"/>
                  </a:cxn>
                  <a:cxn ang="0">
                    <a:pos x="T4" y="T5"/>
                  </a:cxn>
                  <a:cxn ang="0">
                    <a:pos x="T6" y="T7"/>
                  </a:cxn>
                  <a:cxn ang="0">
                    <a:pos x="T8" y="T9"/>
                  </a:cxn>
                </a:cxnLst>
                <a:rect l="0" t="0" r="r" b="b"/>
                <a:pathLst>
                  <a:path w="74" h="86">
                    <a:moveTo>
                      <a:pt x="22" y="0"/>
                    </a:moveTo>
                    <a:cubicBezTo>
                      <a:pt x="0" y="12"/>
                      <a:pt x="0" y="12"/>
                      <a:pt x="0" y="12"/>
                    </a:cubicBezTo>
                    <a:cubicBezTo>
                      <a:pt x="16" y="39"/>
                      <a:pt x="34" y="64"/>
                      <a:pt x="56" y="86"/>
                    </a:cubicBezTo>
                    <a:cubicBezTo>
                      <a:pt x="74" y="68"/>
                      <a:pt x="74" y="68"/>
                      <a:pt x="74" y="68"/>
                    </a:cubicBezTo>
                    <a:cubicBezTo>
                      <a:pt x="54" y="48"/>
                      <a:pt x="36" y="25"/>
                      <a:pt x="22" y="0"/>
                    </a:cubicBezTo>
                  </a:path>
                </a:pathLst>
              </a:custGeom>
              <a:solidFill>
                <a:srgbClr val="02E3FC"/>
              </a:solidFill>
              <a:ln>
                <a:noFill/>
              </a:ln>
              <a:extLst/>
            </p:spPr>
            <p:txBody>
              <a:bodyPr/>
              <a:lstStyle/>
              <a:p>
                <a:pPr eaLnBrk="1" hangingPunct="1">
                  <a:defRPr/>
                </a:pPr>
                <a:endParaRPr lang="zh-CN" altLang="en-US" sz="1050"/>
              </a:p>
            </p:txBody>
          </p:sp>
          <p:sp>
            <p:nvSpPr>
              <p:cNvPr id="4570" name="Freeform 2210"/>
              <p:cNvSpPr>
                <a:spLocks noEditPoints="1"/>
              </p:cNvSpPr>
              <p:nvPr/>
            </p:nvSpPr>
            <p:spPr bwMode="auto">
              <a:xfrm>
                <a:off x="15847004" y="2584450"/>
                <a:ext cx="2931936" cy="2932344"/>
              </a:xfrm>
              <a:custGeom>
                <a:avLst/>
                <a:gdLst>
                  <a:gd name="T0" fmla="*/ 765 w 782"/>
                  <a:gd name="T1" fmla="*/ 318 h 783"/>
                  <a:gd name="T2" fmla="*/ 742 w 782"/>
                  <a:gd name="T3" fmla="*/ 243 h 783"/>
                  <a:gd name="T4" fmla="*/ 701 w 782"/>
                  <a:gd name="T5" fmla="*/ 174 h 783"/>
                  <a:gd name="T6" fmla="*/ 653 w 782"/>
                  <a:gd name="T7" fmla="*/ 119 h 783"/>
                  <a:gd name="T8" fmla="*/ 592 w 782"/>
                  <a:gd name="T9" fmla="*/ 68 h 783"/>
                  <a:gd name="T10" fmla="*/ 523 w 782"/>
                  <a:gd name="T11" fmla="*/ 31 h 783"/>
                  <a:gd name="T12" fmla="*/ 450 w 782"/>
                  <a:gd name="T13" fmla="*/ 18 h 783"/>
                  <a:gd name="T14" fmla="*/ 384 w 782"/>
                  <a:gd name="T15" fmla="*/ 13 h 783"/>
                  <a:gd name="T16" fmla="*/ 338 w 782"/>
                  <a:gd name="T17" fmla="*/ 14 h 783"/>
                  <a:gd name="T18" fmla="*/ 293 w 782"/>
                  <a:gd name="T19" fmla="*/ 23 h 783"/>
                  <a:gd name="T20" fmla="*/ 225 w 782"/>
                  <a:gd name="T21" fmla="*/ 51 h 783"/>
                  <a:gd name="T22" fmla="*/ 163 w 782"/>
                  <a:gd name="T23" fmla="*/ 89 h 783"/>
                  <a:gd name="T24" fmla="*/ 103 w 782"/>
                  <a:gd name="T25" fmla="*/ 141 h 783"/>
                  <a:gd name="T26" fmla="*/ 59 w 782"/>
                  <a:gd name="T27" fmla="*/ 200 h 783"/>
                  <a:gd name="T28" fmla="*/ 31 w 782"/>
                  <a:gd name="T29" fmla="*/ 274 h 783"/>
                  <a:gd name="T30" fmla="*/ 16 w 782"/>
                  <a:gd name="T31" fmla="*/ 345 h 783"/>
                  <a:gd name="T32" fmla="*/ 11 w 782"/>
                  <a:gd name="T33" fmla="*/ 425 h 783"/>
                  <a:gd name="T34" fmla="*/ 26 w 782"/>
                  <a:gd name="T35" fmla="*/ 502 h 783"/>
                  <a:gd name="T36" fmla="*/ 60 w 782"/>
                  <a:gd name="T37" fmla="*/ 574 h 783"/>
                  <a:gd name="T38" fmla="*/ 91 w 782"/>
                  <a:gd name="T39" fmla="*/ 643 h 783"/>
                  <a:gd name="T40" fmla="*/ 151 w 782"/>
                  <a:gd name="T41" fmla="*/ 688 h 783"/>
                  <a:gd name="T42" fmla="*/ 218 w 782"/>
                  <a:gd name="T43" fmla="*/ 731 h 783"/>
                  <a:gd name="T44" fmla="*/ 293 w 782"/>
                  <a:gd name="T45" fmla="*/ 757 h 783"/>
                  <a:gd name="T46" fmla="*/ 365 w 782"/>
                  <a:gd name="T47" fmla="*/ 769 h 783"/>
                  <a:gd name="T48" fmla="*/ 444 w 782"/>
                  <a:gd name="T49" fmla="*/ 769 h 783"/>
                  <a:gd name="T50" fmla="*/ 521 w 782"/>
                  <a:gd name="T51" fmla="*/ 752 h 783"/>
                  <a:gd name="T52" fmla="*/ 585 w 782"/>
                  <a:gd name="T53" fmla="*/ 716 h 783"/>
                  <a:gd name="T54" fmla="*/ 644 w 782"/>
                  <a:gd name="T55" fmla="*/ 672 h 783"/>
                  <a:gd name="T56" fmla="*/ 699 w 782"/>
                  <a:gd name="T57" fmla="*/ 615 h 783"/>
                  <a:gd name="T58" fmla="*/ 739 w 782"/>
                  <a:gd name="T59" fmla="*/ 547 h 783"/>
                  <a:gd name="T60" fmla="*/ 760 w 782"/>
                  <a:gd name="T61" fmla="*/ 470 h 783"/>
                  <a:gd name="T62" fmla="*/ 769 w 782"/>
                  <a:gd name="T63" fmla="*/ 397 h 783"/>
                  <a:gd name="T64" fmla="*/ 757 w 782"/>
                  <a:gd name="T65" fmla="*/ 462 h 783"/>
                  <a:gd name="T66" fmla="*/ 737 w 782"/>
                  <a:gd name="T67" fmla="*/ 538 h 783"/>
                  <a:gd name="T68" fmla="*/ 702 w 782"/>
                  <a:gd name="T69" fmla="*/ 602 h 783"/>
                  <a:gd name="T70" fmla="*/ 650 w 782"/>
                  <a:gd name="T71" fmla="*/ 660 h 783"/>
                  <a:gd name="T72" fmla="*/ 589 w 782"/>
                  <a:gd name="T73" fmla="*/ 708 h 783"/>
                  <a:gd name="T74" fmla="*/ 520 w 782"/>
                  <a:gd name="T75" fmla="*/ 745 h 783"/>
                  <a:gd name="T76" fmla="*/ 455 w 782"/>
                  <a:gd name="T77" fmla="*/ 762 h 783"/>
                  <a:gd name="T78" fmla="*/ 377 w 782"/>
                  <a:gd name="T79" fmla="*/ 765 h 783"/>
                  <a:gd name="T80" fmla="*/ 301 w 782"/>
                  <a:gd name="T81" fmla="*/ 754 h 783"/>
                  <a:gd name="T82" fmla="*/ 226 w 782"/>
                  <a:gd name="T83" fmla="*/ 730 h 783"/>
                  <a:gd name="T84" fmla="*/ 164 w 782"/>
                  <a:gd name="T85" fmla="*/ 692 h 783"/>
                  <a:gd name="T86" fmla="*/ 109 w 782"/>
                  <a:gd name="T87" fmla="*/ 636 h 783"/>
                  <a:gd name="T88" fmla="*/ 70 w 782"/>
                  <a:gd name="T89" fmla="*/ 576 h 783"/>
                  <a:gd name="T90" fmla="*/ 33 w 782"/>
                  <a:gd name="T91" fmla="*/ 508 h 783"/>
                  <a:gd name="T92" fmla="*/ 17 w 782"/>
                  <a:gd name="T93" fmla="*/ 437 h 783"/>
                  <a:gd name="T94" fmla="*/ 19 w 782"/>
                  <a:gd name="T95" fmla="*/ 358 h 783"/>
                  <a:gd name="T96" fmla="*/ 34 w 782"/>
                  <a:gd name="T97" fmla="*/ 282 h 783"/>
                  <a:gd name="T98" fmla="*/ 62 w 782"/>
                  <a:gd name="T99" fmla="*/ 209 h 783"/>
                  <a:gd name="T100" fmla="*/ 113 w 782"/>
                  <a:gd name="T101" fmla="*/ 158 h 783"/>
                  <a:gd name="T102" fmla="*/ 156 w 782"/>
                  <a:gd name="T103" fmla="*/ 101 h 783"/>
                  <a:gd name="T104" fmla="*/ 221 w 782"/>
                  <a:gd name="T105" fmla="*/ 58 h 783"/>
                  <a:gd name="T106" fmla="*/ 293 w 782"/>
                  <a:gd name="T107" fmla="*/ 27 h 783"/>
                  <a:gd name="T108" fmla="*/ 359 w 782"/>
                  <a:gd name="T109" fmla="*/ 19 h 783"/>
                  <a:gd name="T110" fmla="*/ 436 w 782"/>
                  <a:gd name="T111" fmla="*/ 17 h 783"/>
                  <a:gd name="T112" fmla="*/ 507 w 782"/>
                  <a:gd name="T113" fmla="*/ 33 h 783"/>
                  <a:gd name="T114" fmla="*/ 576 w 782"/>
                  <a:gd name="T115" fmla="*/ 70 h 783"/>
                  <a:gd name="T116" fmla="*/ 635 w 782"/>
                  <a:gd name="T117" fmla="*/ 109 h 783"/>
                  <a:gd name="T118" fmla="*/ 691 w 782"/>
                  <a:gd name="T119" fmla="*/ 164 h 783"/>
                  <a:gd name="T120" fmla="*/ 729 w 782"/>
                  <a:gd name="T121" fmla="*/ 226 h 783"/>
                  <a:gd name="T122" fmla="*/ 753 w 782"/>
                  <a:gd name="T123" fmla="*/ 301 h 783"/>
                  <a:gd name="T124" fmla="*/ 764 w 782"/>
                  <a:gd name="T125" fmla="*/ 37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2" h="783">
                    <a:moveTo>
                      <a:pt x="782" y="391"/>
                    </a:moveTo>
                    <a:cubicBezTo>
                      <a:pt x="774" y="391"/>
                      <a:pt x="774" y="391"/>
                      <a:pt x="774" y="391"/>
                    </a:cubicBezTo>
                    <a:cubicBezTo>
                      <a:pt x="774" y="390"/>
                      <a:pt x="774" y="390"/>
                      <a:pt x="774" y="390"/>
                    </a:cubicBezTo>
                    <a:cubicBezTo>
                      <a:pt x="769" y="390"/>
                      <a:pt x="769" y="390"/>
                      <a:pt x="769" y="390"/>
                    </a:cubicBezTo>
                    <a:cubicBezTo>
                      <a:pt x="769" y="389"/>
                      <a:pt x="769" y="387"/>
                      <a:pt x="769" y="385"/>
                    </a:cubicBezTo>
                    <a:cubicBezTo>
                      <a:pt x="772" y="385"/>
                      <a:pt x="772" y="385"/>
                      <a:pt x="772" y="385"/>
                    </a:cubicBezTo>
                    <a:cubicBezTo>
                      <a:pt x="772" y="384"/>
                      <a:pt x="772" y="384"/>
                      <a:pt x="772" y="384"/>
                    </a:cubicBezTo>
                    <a:cubicBezTo>
                      <a:pt x="769" y="384"/>
                      <a:pt x="769" y="384"/>
                      <a:pt x="769" y="384"/>
                    </a:cubicBezTo>
                    <a:cubicBezTo>
                      <a:pt x="769" y="382"/>
                      <a:pt x="768" y="380"/>
                      <a:pt x="768" y="378"/>
                    </a:cubicBezTo>
                    <a:cubicBezTo>
                      <a:pt x="771" y="378"/>
                      <a:pt x="771" y="378"/>
                      <a:pt x="771" y="378"/>
                    </a:cubicBezTo>
                    <a:cubicBezTo>
                      <a:pt x="771" y="377"/>
                      <a:pt x="771" y="377"/>
                      <a:pt x="771" y="377"/>
                    </a:cubicBezTo>
                    <a:cubicBezTo>
                      <a:pt x="768" y="378"/>
                      <a:pt x="768" y="378"/>
                      <a:pt x="768" y="378"/>
                    </a:cubicBezTo>
                    <a:cubicBezTo>
                      <a:pt x="768" y="376"/>
                      <a:pt x="768" y="374"/>
                      <a:pt x="768" y="372"/>
                    </a:cubicBezTo>
                    <a:cubicBezTo>
                      <a:pt x="771" y="372"/>
                      <a:pt x="771" y="372"/>
                      <a:pt x="771" y="372"/>
                    </a:cubicBezTo>
                    <a:cubicBezTo>
                      <a:pt x="771" y="371"/>
                      <a:pt x="771" y="371"/>
                      <a:pt x="771" y="371"/>
                    </a:cubicBezTo>
                    <a:cubicBezTo>
                      <a:pt x="768" y="371"/>
                      <a:pt x="768" y="371"/>
                      <a:pt x="768" y="371"/>
                    </a:cubicBezTo>
                    <a:cubicBezTo>
                      <a:pt x="768" y="369"/>
                      <a:pt x="768" y="367"/>
                      <a:pt x="768" y="365"/>
                    </a:cubicBezTo>
                    <a:cubicBezTo>
                      <a:pt x="771" y="365"/>
                      <a:pt x="771" y="365"/>
                      <a:pt x="771" y="365"/>
                    </a:cubicBezTo>
                    <a:cubicBezTo>
                      <a:pt x="771" y="364"/>
                      <a:pt x="771" y="364"/>
                      <a:pt x="771" y="364"/>
                    </a:cubicBezTo>
                    <a:cubicBezTo>
                      <a:pt x="768" y="364"/>
                      <a:pt x="768" y="364"/>
                      <a:pt x="768" y="364"/>
                    </a:cubicBezTo>
                    <a:cubicBezTo>
                      <a:pt x="768" y="362"/>
                      <a:pt x="767" y="361"/>
                      <a:pt x="767" y="359"/>
                    </a:cubicBezTo>
                    <a:cubicBezTo>
                      <a:pt x="770" y="358"/>
                      <a:pt x="770" y="358"/>
                      <a:pt x="770" y="358"/>
                    </a:cubicBezTo>
                    <a:cubicBezTo>
                      <a:pt x="770" y="358"/>
                      <a:pt x="770" y="358"/>
                      <a:pt x="770" y="358"/>
                    </a:cubicBezTo>
                    <a:cubicBezTo>
                      <a:pt x="767" y="358"/>
                      <a:pt x="767" y="358"/>
                      <a:pt x="767" y="358"/>
                    </a:cubicBezTo>
                    <a:cubicBezTo>
                      <a:pt x="767" y="356"/>
                      <a:pt x="767" y="354"/>
                      <a:pt x="767" y="352"/>
                    </a:cubicBezTo>
                    <a:cubicBezTo>
                      <a:pt x="770" y="352"/>
                      <a:pt x="770" y="352"/>
                      <a:pt x="770" y="352"/>
                    </a:cubicBezTo>
                    <a:cubicBezTo>
                      <a:pt x="770" y="351"/>
                      <a:pt x="770" y="351"/>
                      <a:pt x="770" y="351"/>
                    </a:cubicBezTo>
                    <a:cubicBezTo>
                      <a:pt x="767" y="351"/>
                      <a:pt x="767" y="351"/>
                      <a:pt x="767" y="351"/>
                    </a:cubicBezTo>
                    <a:cubicBezTo>
                      <a:pt x="766" y="349"/>
                      <a:pt x="766" y="347"/>
                      <a:pt x="766" y="345"/>
                    </a:cubicBezTo>
                    <a:cubicBezTo>
                      <a:pt x="769" y="345"/>
                      <a:pt x="769" y="345"/>
                      <a:pt x="769" y="345"/>
                    </a:cubicBezTo>
                    <a:cubicBezTo>
                      <a:pt x="769" y="344"/>
                      <a:pt x="769" y="344"/>
                      <a:pt x="769" y="344"/>
                    </a:cubicBezTo>
                    <a:cubicBezTo>
                      <a:pt x="766" y="345"/>
                      <a:pt x="766" y="345"/>
                      <a:pt x="766" y="345"/>
                    </a:cubicBezTo>
                    <a:cubicBezTo>
                      <a:pt x="766" y="343"/>
                      <a:pt x="765" y="341"/>
                      <a:pt x="765" y="339"/>
                    </a:cubicBezTo>
                    <a:cubicBezTo>
                      <a:pt x="768" y="339"/>
                      <a:pt x="768" y="339"/>
                      <a:pt x="768" y="339"/>
                    </a:cubicBezTo>
                    <a:cubicBezTo>
                      <a:pt x="768" y="338"/>
                      <a:pt x="768" y="338"/>
                      <a:pt x="768" y="338"/>
                    </a:cubicBezTo>
                    <a:cubicBezTo>
                      <a:pt x="765" y="338"/>
                      <a:pt x="765" y="338"/>
                      <a:pt x="765" y="338"/>
                    </a:cubicBezTo>
                    <a:cubicBezTo>
                      <a:pt x="765" y="336"/>
                      <a:pt x="764" y="334"/>
                      <a:pt x="764" y="332"/>
                    </a:cubicBezTo>
                    <a:cubicBezTo>
                      <a:pt x="767" y="332"/>
                      <a:pt x="767" y="332"/>
                      <a:pt x="767" y="332"/>
                    </a:cubicBezTo>
                    <a:cubicBezTo>
                      <a:pt x="767" y="331"/>
                      <a:pt x="767" y="331"/>
                      <a:pt x="767" y="331"/>
                    </a:cubicBezTo>
                    <a:cubicBezTo>
                      <a:pt x="764" y="332"/>
                      <a:pt x="764" y="332"/>
                      <a:pt x="764" y="332"/>
                    </a:cubicBezTo>
                    <a:cubicBezTo>
                      <a:pt x="764" y="330"/>
                      <a:pt x="763" y="328"/>
                      <a:pt x="763" y="326"/>
                    </a:cubicBezTo>
                    <a:cubicBezTo>
                      <a:pt x="768" y="325"/>
                      <a:pt x="768" y="325"/>
                      <a:pt x="768" y="325"/>
                    </a:cubicBezTo>
                    <a:cubicBezTo>
                      <a:pt x="768" y="325"/>
                      <a:pt x="768" y="325"/>
                      <a:pt x="768" y="325"/>
                    </a:cubicBezTo>
                    <a:cubicBezTo>
                      <a:pt x="776" y="324"/>
                      <a:pt x="776" y="324"/>
                      <a:pt x="776" y="324"/>
                    </a:cubicBezTo>
                    <a:cubicBezTo>
                      <a:pt x="776" y="323"/>
                      <a:pt x="776" y="323"/>
                      <a:pt x="776" y="323"/>
                    </a:cubicBezTo>
                    <a:cubicBezTo>
                      <a:pt x="768" y="324"/>
                      <a:pt x="768" y="324"/>
                      <a:pt x="768" y="324"/>
                    </a:cubicBezTo>
                    <a:cubicBezTo>
                      <a:pt x="768" y="324"/>
                      <a:pt x="768" y="324"/>
                      <a:pt x="768" y="324"/>
                    </a:cubicBezTo>
                    <a:cubicBezTo>
                      <a:pt x="763" y="325"/>
                      <a:pt x="763" y="325"/>
                      <a:pt x="763" y="325"/>
                    </a:cubicBezTo>
                    <a:cubicBezTo>
                      <a:pt x="763" y="323"/>
                      <a:pt x="762" y="321"/>
                      <a:pt x="762" y="319"/>
                    </a:cubicBezTo>
                    <a:cubicBezTo>
                      <a:pt x="765" y="319"/>
                      <a:pt x="765" y="319"/>
                      <a:pt x="765" y="319"/>
                    </a:cubicBezTo>
                    <a:cubicBezTo>
                      <a:pt x="765" y="318"/>
                      <a:pt x="765" y="318"/>
                      <a:pt x="765" y="318"/>
                    </a:cubicBezTo>
                    <a:cubicBezTo>
                      <a:pt x="762" y="319"/>
                      <a:pt x="762" y="319"/>
                      <a:pt x="762" y="319"/>
                    </a:cubicBezTo>
                    <a:cubicBezTo>
                      <a:pt x="761" y="317"/>
                      <a:pt x="761" y="315"/>
                      <a:pt x="761" y="313"/>
                    </a:cubicBezTo>
                    <a:cubicBezTo>
                      <a:pt x="763" y="312"/>
                      <a:pt x="763" y="312"/>
                      <a:pt x="763" y="312"/>
                    </a:cubicBezTo>
                    <a:cubicBezTo>
                      <a:pt x="763" y="312"/>
                      <a:pt x="763" y="312"/>
                      <a:pt x="763" y="312"/>
                    </a:cubicBezTo>
                    <a:cubicBezTo>
                      <a:pt x="760" y="312"/>
                      <a:pt x="760" y="312"/>
                      <a:pt x="760" y="312"/>
                    </a:cubicBezTo>
                    <a:cubicBezTo>
                      <a:pt x="760" y="310"/>
                      <a:pt x="760" y="308"/>
                      <a:pt x="759" y="306"/>
                    </a:cubicBezTo>
                    <a:cubicBezTo>
                      <a:pt x="762" y="306"/>
                      <a:pt x="762" y="306"/>
                      <a:pt x="762" y="306"/>
                    </a:cubicBezTo>
                    <a:cubicBezTo>
                      <a:pt x="762" y="305"/>
                      <a:pt x="762" y="305"/>
                      <a:pt x="762" y="305"/>
                    </a:cubicBezTo>
                    <a:cubicBezTo>
                      <a:pt x="759" y="306"/>
                      <a:pt x="759" y="306"/>
                      <a:pt x="759" y="306"/>
                    </a:cubicBezTo>
                    <a:cubicBezTo>
                      <a:pt x="759" y="304"/>
                      <a:pt x="758" y="302"/>
                      <a:pt x="758" y="300"/>
                    </a:cubicBezTo>
                    <a:cubicBezTo>
                      <a:pt x="760" y="299"/>
                      <a:pt x="760" y="299"/>
                      <a:pt x="760" y="299"/>
                    </a:cubicBezTo>
                    <a:cubicBezTo>
                      <a:pt x="760" y="299"/>
                      <a:pt x="760" y="299"/>
                      <a:pt x="760" y="299"/>
                    </a:cubicBezTo>
                    <a:cubicBezTo>
                      <a:pt x="757" y="299"/>
                      <a:pt x="757" y="299"/>
                      <a:pt x="757" y="299"/>
                    </a:cubicBezTo>
                    <a:cubicBezTo>
                      <a:pt x="757" y="297"/>
                      <a:pt x="757" y="295"/>
                      <a:pt x="756" y="294"/>
                    </a:cubicBezTo>
                    <a:cubicBezTo>
                      <a:pt x="759" y="293"/>
                      <a:pt x="759" y="293"/>
                      <a:pt x="759" y="293"/>
                    </a:cubicBezTo>
                    <a:cubicBezTo>
                      <a:pt x="759" y="292"/>
                      <a:pt x="759" y="292"/>
                      <a:pt x="759" y="292"/>
                    </a:cubicBezTo>
                    <a:cubicBezTo>
                      <a:pt x="756" y="293"/>
                      <a:pt x="756" y="293"/>
                      <a:pt x="756" y="293"/>
                    </a:cubicBezTo>
                    <a:cubicBezTo>
                      <a:pt x="755" y="291"/>
                      <a:pt x="755" y="289"/>
                      <a:pt x="754" y="287"/>
                    </a:cubicBezTo>
                    <a:cubicBezTo>
                      <a:pt x="757" y="286"/>
                      <a:pt x="757" y="286"/>
                      <a:pt x="757" y="286"/>
                    </a:cubicBezTo>
                    <a:cubicBezTo>
                      <a:pt x="757" y="286"/>
                      <a:pt x="757" y="286"/>
                      <a:pt x="757" y="286"/>
                    </a:cubicBezTo>
                    <a:cubicBezTo>
                      <a:pt x="754" y="287"/>
                      <a:pt x="754" y="287"/>
                      <a:pt x="754" y="287"/>
                    </a:cubicBezTo>
                    <a:cubicBezTo>
                      <a:pt x="754" y="285"/>
                      <a:pt x="753" y="283"/>
                      <a:pt x="752" y="281"/>
                    </a:cubicBezTo>
                    <a:cubicBezTo>
                      <a:pt x="755" y="280"/>
                      <a:pt x="755" y="280"/>
                      <a:pt x="755" y="280"/>
                    </a:cubicBezTo>
                    <a:cubicBezTo>
                      <a:pt x="755" y="279"/>
                      <a:pt x="755" y="279"/>
                      <a:pt x="755" y="279"/>
                    </a:cubicBezTo>
                    <a:cubicBezTo>
                      <a:pt x="752" y="280"/>
                      <a:pt x="752" y="280"/>
                      <a:pt x="752" y="280"/>
                    </a:cubicBezTo>
                    <a:cubicBezTo>
                      <a:pt x="752" y="278"/>
                      <a:pt x="751" y="276"/>
                      <a:pt x="750" y="275"/>
                    </a:cubicBezTo>
                    <a:cubicBezTo>
                      <a:pt x="753" y="274"/>
                      <a:pt x="753" y="274"/>
                      <a:pt x="753" y="274"/>
                    </a:cubicBezTo>
                    <a:cubicBezTo>
                      <a:pt x="753" y="273"/>
                      <a:pt x="753" y="273"/>
                      <a:pt x="753" y="273"/>
                    </a:cubicBezTo>
                    <a:cubicBezTo>
                      <a:pt x="750" y="274"/>
                      <a:pt x="750" y="274"/>
                      <a:pt x="750" y="274"/>
                    </a:cubicBezTo>
                    <a:cubicBezTo>
                      <a:pt x="750" y="272"/>
                      <a:pt x="749" y="270"/>
                      <a:pt x="748" y="268"/>
                    </a:cubicBezTo>
                    <a:cubicBezTo>
                      <a:pt x="751" y="267"/>
                      <a:pt x="751" y="267"/>
                      <a:pt x="751" y="267"/>
                    </a:cubicBezTo>
                    <a:cubicBezTo>
                      <a:pt x="751" y="267"/>
                      <a:pt x="751" y="267"/>
                      <a:pt x="751" y="267"/>
                    </a:cubicBezTo>
                    <a:cubicBezTo>
                      <a:pt x="748" y="268"/>
                      <a:pt x="748" y="268"/>
                      <a:pt x="748" y="268"/>
                    </a:cubicBezTo>
                    <a:cubicBezTo>
                      <a:pt x="748" y="266"/>
                      <a:pt x="747" y="264"/>
                      <a:pt x="746" y="263"/>
                    </a:cubicBezTo>
                    <a:cubicBezTo>
                      <a:pt x="751" y="261"/>
                      <a:pt x="751" y="261"/>
                      <a:pt x="751" y="261"/>
                    </a:cubicBezTo>
                    <a:cubicBezTo>
                      <a:pt x="751" y="260"/>
                      <a:pt x="751" y="260"/>
                      <a:pt x="751" y="260"/>
                    </a:cubicBezTo>
                    <a:cubicBezTo>
                      <a:pt x="758" y="258"/>
                      <a:pt x="758" y="258"/>
                      <a:pt x="758" y="258"/>
                    </a:cubicBezTo>
                    <a:cubicBezTo>
                      <a:pt x="758" y="257"/>
                      <a:pt x="758" y="257"/>
                      <a:pt x="758" y="257"/>
                    </a:cubicBezTo>
                    <a:cubicBezTo>
                      <a:pt x="751" y="260"/>
                      <a:pt x="751" y="260"/>
                      <a:pt x="751" y="260"/>
                    </a:cubicBezTo>
                    <a:cubicBezTo>
                      <a:pt x="751" y="259"/>
                      <a:pt x="751" y="259"/>
                      <a:pt x="751" y="259"/>
                    </a:cubicBezTo>
                    <a:cubicBezTo>
                      <a:pt x="746" y="261"/>
                      <a:pt x="746" y="261"/>
                      <a:pt x="746" y="261"/>
                    </a:cubicBezTo>
                    <a:cubicBezTo>
                      <a:pt x="745" y="259"/>
                      <a:pt x="745" y="258"/>
                      <a:pt x="744" y="256"/>
                    </a:cubicBezTo>
                    <a:cubicBezTo>
                      <a:pt x="747" y="255"/>
                      <a:pt x="747" y="255"/>
                      <a:pt x="747" y="255"/>
                    </a:cubicBezTo>
                    <a:cubicBezTo>
                      <a:pt x="746" y="254"/>
                      <a:pt x="746" y="254"/>
                      <a:pt x="746" y="254"/>
                    </a:cubicBezTo>
                    <a:cubicBezTo>
                      <a:pt x="744" y="255"/>
                      <a:pt x="744" y="255"/>
                      <a:pt x="744" y="255"/>
                    </a:cubicBezTo>
                    <a:cubicBezTo>
                      <a:pt x="743" y="253"/>
                      <a:pt x="742" y="252"/>
                      <a:pt x="741" y="250"/>
                    </a:cubicBezTo>
                    <a:cubicBezTo>
                      <a:pt x="744" y="249"/>
                      <a:pt x="744" y="249"/>
                      <a:pt x="744" y="249"/>
                    </a:cubicBezTo>
                    <a:cubicBezTo>
                      <a:pt x="744" y="248"/>
                      <a:pt x="744" y="248"/>
                      <a:pt x="744" y="248"/>
                    </a:cubicBezTo>
                    <a:cubicBezTo>
                      <a:pt x="741" y="249"/>
                      <a:pt x="741" y="249"/>
                      <a:pt x="741" y="249"/>
                    </a:cubicBezTo>
                    <a:cubicBezTo>
                      <a:pt x="740" y="247"/>
                      <a:pt x="740" y="245"/>
                      <a:pt x="739" y="244"/>
                    </a:cubicBezTo>
                    <a:cubicBezTo>
                      <a:pt x="742" y="243"/>
                      <a:pt x="742" y="243"/>
                      <a:pt x="742" y="243"/>
                    </a:cubicBezTo>
                    <a:cubicBezTo>
                      <a:pt x="741" y="242"/>
                      <a:pt x="741" y="242"/>
                      <a:pt x="741" y="242"/>
                    </a:cubicBezTo>
                    <a:cubicBezTo>
                      <a:pt x="739" y="243"/>
                      <a:pt x="739" y="243"/>
                      <a:pt x="739" y="243"/>
                    </a:cubicBezTo>
                    <a:cubicBezTo>
                      <a:pt x="738" y="241"/>
                      <a:pt x="737" y="239"/>
                      <a:pt x="736" y="238"/>
                    </a:cubicBezTo>
                    <a:cubicBezTo>
                      <a:pt x="739" y="236"/>
                      <a:pt x="739" y="236"/>
                      <a:pt x="739" y="236"/>
                    </a:cubicBezTo>
                    <a:cubicBezTo>
                      <a:pt x="739" y="236"/>
                      <a:pt x="739" y="236"/>
                      <a:pt x="739" y="236"/>
                    </a:cubicBezTo>
                    <a:cubicBezTo>
                      <a:pt x="736" y="237"/>
                      <a:pt x="736" y="237"/>
                      <a:pt x="736" y="237"/>
                    </a:cubicBezTo>
                    <a:cubicBezTo>
                      <a:pt x="735" y="235"/>
                      <a:pt x="734" y="233"/>
                      <a:pt x="734" y="232"/>
                    </a:cubicBezTo>
                    <a:cubicBezTo>
                      <a:pt x="736" y="230"/>
                      <a:pt x="736" y="230"/>
                      <a:pt x="736" y="230"/>
                    </a:cubicBezTo>
                    <a:cubicBezTo>
                      <a:pt x="736" y="230"/>
                      <a:pt x="736" y="230"/>
                      <a:pt x="736" y="230"/>
                    </a:cubicBezTo>
                    <a:cubicBezTo>
                      <a:pt x="733" y="231"/>
                      <a:pt x="733" y="231"/>
                      <a:pt x="733" y="231"/>
                    </a:cubicBezTo>
                    <a:cubicBezTo>
                      <a:pt x="732" y="229"/>
                      <a:pt x="732" y="227"/>
                      <a:pt x="731" y="226"/>
                    </a:cubicBezTo>
                    <a:cubicBezTo>
                      <a:pt x="733" y="224"/>
                      <a:pt x="733" y="224"/>
                      <a:pt x="733" y="224"/>
                    </a:cubicBezTo>
                    <a:cubicBezTo>
                      <a:pt x="733" y="224"/>
                      <a:pt x="733" y="224"/>
                      <a:pt x="733" y="224"/>
                    </a:cubicBezTo>
                    <a:cubicBezTo>
                      <a:pt x="730" y="225"/>
                      <a:pt x="730" y="225"/>
                      <a:pt x="730" y="225"/>
                    </a:cubicBezTo>
                    <a:cubicBezTo>
                      <a:pt x="730" y="223"/>
                      <a:pt x="729" y="221"/>
                      <a:pt x="728" y="220"/>
                    </a:cubicBezTo>
                    <a:cubicBezTo>
                      <a:pt x="730" y="218"/>
                      <a:pt x="730" y="218"/>
                      <a:pt x="730" y="218"/>
                    </a:cubicBezTo>
                    <a:cubicBezTo>
                      <a:pt x="730" y="218"/>
                      <a:pt x="730" y="218"/>
                      <a:pt x="730" y="218"/>
                    </a:cubicBezTo>
                    <a:cubicBezTo>
                      <a:pt x="727" y="219"/>
                      <a:pt x="727" y="219"/>
                      <a:pt x="727" y="219"/>
                    </a:cubicBezTo>
                    <a:cubicBezTo>
                      <a:pt x="727" y="217"/>
                      <a:pt x="726" y="216"/>
                      <a:pt x="725" y="214"/>
                    </a:cubicBezTo>
                    <a:cubicBezTo>
                      <a:pt x="727" y="213"/>
                      <a:pt x="727" y="213"/>
                      <a:pt x="727" y="213"/>
                    </a:cubicBezTo>
                    <a:cubicBezTo>
                      <a:pt x="727" y="212"/>
                      <a:pt x="727" y="212"/>
                      <a:pt x="727" y="212"/>
                    </a:cubicBezTo>
                    <a:cubicBezTo>
                      <a:pt x="724" y="213"/>
                      <a:pt x="724" y="213"/>
                      <a:pt x="724" y="213"/>
                    </a:cubicBezTo>
                    <a:cubicBezTo>
                      <a:pt x="723" y="211"/>
                      <a:pt x="723" y="210"/>
                      <a:pt x="722" y="208"/>
                    </a:cubicBezTo>
                    <a:cubicBezTo>
                      <a:pt x="724" y="207"/>
                      <a:pt x="724" y="207"/>
                      <a:pt x="724" y="207"/>
                    </a:cubicBezTo>
                    <a:cubicBezTo>
                      <a:pt x="724" y="206"/>
                      <a:pt x="724" y="206"/>
                      <a:pt x="724" y="206"/>
                    </a:cubicBezTo>
                    <a:cubicBezTo>
                      <a:pt x="721" y="207"/>
                      <a:pt x="721" y="207"/>
                      <a:pt x="721" y="207"/>
                    </a:cubicBezTo>
                    <a:cubicBezTo>
                      <a:pt x="720" y="206"/>
                      <a:pt x="719" y="204"/>
                      <a:pt x="719" y="203"/>
                    </a:cubicBezTo>
                    <a:cubicBezTo>
                      <a:pt x="723" y="200"/>
                      <a:pt x="723" y="200"/>
                      <a:pt x="723" y="200"/>
                    </a:cubicBezTo>
                    <a:cubicBezTo>
                      <a:pt x="723" y="200"/>
                      <a:pt x="723" y="200"/>
                      <a:pt x="723" y="200"/>
                    </a:cubicBezTo>
                    <a:cubicBezTo>
                      <a:pt x="730" y="196"/>
                      <a:pt x="730" y="196"/>
                      <a:pt x="730" y="196"/>
                    </a:cubicBezTo>
                    <a:cubicBezTo>
                      <a:pt x="729" y="195"/>
                      <a:pt x="729" y="195"/>
                      <a:pt x="729" y="195"/>
                    </a:cubicBezTo>
                    <a:cubicBezTo>
                      <a:pt x="723" y="199"/>
                      <a:pt x="723" y="199"/>
                      <a:pt x="723" y="199"/>
                    </a:cubicBezTo>
                    <a:cubicBezTo>
                      <a:pt x="722" y="199"/>
                      <a:pt x="722" y="199"/>
                      <a:pt x="722" y="199"/>
                    </a:cubicBezTo>
                    <a:cubicBezTo>
                      <a:pt x="718" y="201"/>
                      <a:pt x="718" y="201"/>
                      <a:pt x="718" y="201"/>
                    </a:cubicBezTo>
                    <a:cubicBezTo>
                      <a:pt x="717" y="200"/>
                      <a:pt x="716" y="198"/>
                      <a:pt x="715" y="197"/>
                    </a:cubicBezTo>
                    <a:cubicBezTo>
                      <a:pt x="717" y="195"/>
                      <a:pt x="717" y="195"/>
                      <a:pt x="717" y="195"/>
                    </a:cubicBezTo>
                    <a:cubicBezTo>
                      <a:pt x="717" y="194"/>
                      <a:pt x="717" y="194"/>
                      <a:pt x="717" y="194"/>
                    </a:cubicBezTo>
                    <a:cubicBezTo>
                      <a:pt x="715" y="196"/>
                      <a:pt x="715" y="196"/>
                      <a:pt x="715" y="196"/>
                    </a:cubicBezTo>
                    <a:cubicBezTo>
                      <a:pt x="714" y="194"/>
                      <a:pt x="713" y="193"/>
                      <a:pt x="712" y="191"/>
                    </a:cubicBezTo>
                    <a:cubicBezTo>
                      <a:pt x="714" y="189"/>
                      <a:pt x="714" y="189"/>
                      <a:pt x="714" y="189"/>
                    </a:cubicBezTo>
                    <a:cubicBezTo>
                      <a:pt x="714" y="189"/>
                      <a:pt x="714" y="189"/>
                      <a:pt x="714" y="189"/>
                    </a:cubicBezTo>
                    <a:cubicBezTo>
                      <a:pt x="711" y="190"/>
                      <a:pt x="711" y="190"/>
                      <a:pt x="711" y="190"/>
                    </a:cubicBezTo>
                    <a:cubicBezTo>
                      <a:pt x="710" y="189"/>
                      <a:pt x="709" y="187"/>
                      <a:pt x="708" y="185"/>
                    </a:cubicBezTo>
                    <a:cubicBezTo>
                      <a:pt x="710" y="184"/>
                      <a:pt x="710" y="184"/>
                      <a:pt x="710" y="184"/>
                    </a:cubicBezTo>
                    <a:cubicBezTo>
                      <a:pt x="710" y="183"/>
                      <a:pt x="710" y="183"/>
                      <a:pt x="710" y="183"/>
                    </a:cubicBezTo>
                    <a:cubicBezTo>
                      <a:pt x="708" y="185"/>
                      <a:pt x="708" y="185"/>
                      <a:pt x="708" y="185"/>
                    </a:cubicBezTo>
                    <a:cubicBezTo>
                      <a:pt x="707" y="183"/>
                      <a:pt x="705" y="182"/>
                      <a:pt x="704" y="180"/>
                    </a:cubicBezTo>
                    <a:cubicBezTo>
                      <a:pt x="707" y="178"/>
                      <a:pt x="707" y="178"/>
                      <a:pt x="707" y="178"/>
                    </a:cubicBezTo>
                    <a:cubicBezTo>
                      <a:pt x="706" y="178"/>
                      <a:pt x="706" y="178"/>
                      <a:pt x="706" y="178"/>
                    </a:cubicBezTo>
                    <a:cubicBezTo>
                      <a:pt x="704" y="179"/>
                      <a:pt x="704" y="179"/>
                      <a:pt x="704" y="179"/>
                    </a:cubicBezTo>
                    <a:cubicBezTo>
                      <a:pt x="703" y="178"/>
                      <a:pt x="702" y="176"/>
                      <a:pt x="701" y="174"/>
                    </a:cubicBezTo>
                    <a:cubicBezTo>
                      <a:pt x="703" y="173"/>
                      <a:pt x="703" y="173"/>
                      <a:pt x="703" y="173"/>
                    </a:cubicBezTo>
                    <a:cubicBezTo>
                      <a:pt x="703" y="172"/>
                      <a:pt x="703" y="172"/>
                      <a:pt x="703" y="172"/>
                    </a:cubicBezTo>
                    <a:cubicBezTo>
                      <a:pt x="700" y="174"/>
                      <a:pt x="700" y="174"/>
                      <a:pt x="700" y="174"/>
                    </a:cubicBezTo>
                    <a:cubicBezTo>
                      <a:pt x="699" y="172"/>
                      <a:pt x="698" y="171"/>
                      <a:pt x="697" y="169"/>
                    </a:cubicBezTo>
                    <a:cubicBezTo>
                      <a:pt x="699" y="167"/>
                      <a:pt x="699" y="167"/>
                      <a:pt x="699" y="167"/>
                    </a:cubicBezTo>
                    <a:cubicBezTo>
                      <a:pt x="699" y="167"/>
                      <a:pt x="699" y="167"/>
                      <a:pt x="699" y="167"/>
                    </a:cubicBezTo>
                    <a:cubicBezTo>
                      <a:pt x="696" y="169"/>
                      <a:pt x="696" y="169"/>
                      <a:pt x="696" y="169"/>
                    </a:cubicBezTo>
                    <a:cubicBezTo>
                      <a:pt x="695" y="167"/>
                      <a:pt x="694" y="165"/>
                      <a:pt x="693" y="164"/>
                    </a:cubicBezTo>
                    <a:cubicBezTo>
                      <a:pt x="695" y="162"/>
                      <a:pt x="695" y="162"/>
                      <a:pt x="695" y="162"/>
                    </a:cubicBezTo>
                    <a:cubicBezTo>
                      <a:pt x="695" y="161"/>
                      <a:pt x="695" y="161"/>
                      <a:pt x="695" y="161"/>
                    </a:cubicBezTo>
                    <a:cubicBezTo>
                      <a:pt x="692" y="163"/>
                      <a:pt x="692" y="163"/>
                      <a:pt x="692" y="163"/>
                    </a:cubicBezTo>
                    <a:cubicBezTo>
                      <a:pt x="691" y="162"/>
                      <a:pt x="690" y="160"/>
                      <a:pt x="689" y="159"/>
                    </a:cubicBezTo>
                    <a:cubicBezTo>
                      <a:pt x="691" y="157"/>
                      <a:pt x="691" y="157"/>
                      <a:pt x="691" y="157"/>
                    </a:cubicBezTo>
                    <a:cubicBezTo>
                      <a:pt x="691" y="156"/>
                      <a:pt x="691" y="156"/>
                      <a:pt x="691" y="156"/>
                    </a:cubicBezTo>
                    <a:cubicBezTo>
                      <a:pt x="688" y="158"/>
                      <a:pt x="688" y="158"/>
                      <a:pt x="688" y="158"/>
                    </a:cubicBezTo>
                    <a:cubicBezTo>
                      <a:pt x="687" y="156"/>
                      <a:pt x="686" y="155"/>
                      <a:pt x="685" y="153"/>
                    </a:cubicBezTo>
                    <a:cubicBezTo>
                      <a:pt x="687" y="152"/>
                      <a:pt x="687" y="152"/>
                      <a:pt x="687" y="152"/>
                    </a:cubicBezTo>
                    <a:cubicBezTo>
                      <a:pt x="687" y="151"/>
                      <a:pt x="687" y="151"/>
                      <a:pt x="687" y="151"/>
                    </a:cubicBezTo>
                    <a:cubicBezTo>
                      <a:pt x="684" y="153"/>
                      <a:pt x="684" y="153"/>
                      <a:pt x="684" y="153"/>
                    </a:cubicBezTo>
                    <a:cubicBezTo>
                      <a:pt x="683" y="151"/>
                      <a:pt x="682" y="150"/>
                      <a:pt x="681" y="149"/>
                    </a:cubicBezTo>
                    <a:cubicBezTo>
                      <a:pt x="685" y="145"/>
                      <a:pt x="685" y="145"/>
                      <a:pt x="685" y="145"/>
                    </a:cubicBezTo>
                    <a:cubicBezTo>
                      <a:pt x="685" y="145"/>
                      <a:pt x="685" y="145"/>
                      <a:pt x="685" y="145"/>
                    </a:cubicBezTo>
                    <a:cubicBezTo>
                      <a:pt x="691" y="140"/>
                      <a:pt x="691" y="140"/>
                      <a:pt x="691" y="140"/>
                    </a:cubicBezTo>
                    <a:cubicBezTo>
                      <a:pt x="690" y="139"/>
                      <a:pt x="690" y="139"/>
                      <a:pt x="690" y="139"/>
                    </a:cubicBezTo>
                    <a:cubicBezTo>
                      <a:pt x="684" y="144"/>
                      <a:pt x="684" y="144"/>
                      <a:pt x="684" y="144"/>
                    </a:cubicBezTo>
                    <a:cubicBezTo>
                      <a:pt x="684" y="144"/>
                      <a:pt x="684" y="144"/>
                      <a:pt x="684" y="144"/>
                    </a:cubicBezTo>
                    <a:cubicBezTo>
                      <a:pt x="680" y="147"/>
                      <a:pt x="680" y="147"/>
                      <a:pt x="680" y="147"/>
                    </a:cubicBezTo>
                    <a:cubicBezTo>
                      <a:pt x="679" y="146"/>
                      <a:pt x="677" y="145"/>
                      <a:pt x="676" y="143"/>
                    </a:cubicBezTo>
                    <a:cubicBezTo>
                      <a:pt x="678" y="141"/>
                      <a:pt x="678" y="141"/>
                      <a:pt x="678" y="141"/>
                    </a:cubicBezTo>
                    <a:cubicBezTo>
                      <a:pt x="678" y="141"/>
                      <a:pt x="678" y="141"/>
                      <a:pt x="678" y="141"/>
                    </a:cubicBezTo>
                    <a:cubicBezTo>
                      <a:pt x="676" y="143"/>
                      <a:pt x="676" y="143"/>
                      <a:pt x="676" y="143"/>
                    </a:cubicBezTo>
                    <a:cubicBezTo>
                      <a:pt x="674" y="141"/>
                      <a:pt x="673" y="140"/>
                      <a:pt x="672" y="138"/>
                    </a:cubicBezTo>
                    <a:cubicBezTo>
                      <a:pt x="674" y="136"/>
                      <a:pt x="674" y="136"/>
                      <a:pt x="674" y="136"/>
                    </a:cubicBezTo>
                    <a:cubicBezTo>
                      <a:pt x="674" y="136"/>
                      <a:pt x="674" y="136"/>
                      <a:pt x="674" y="136"/>
                    </a:cubicBezTo>
                    <a:cubicBezTo>
                      <a:pt x="671" y="138"/>
                      <a:pt x="671" y="138"/>
                      <a:pt x="671" y="138"/>
                    </a:cubicBezTo>
                    <a:cubicBezTo>
                      <a:pt x="670" y="136"/>
                      <a:pt x="669" y="135"/>
                      <a:pt x="667" y="134"/>
                    </a:cubicBezTo>
                    <a:cubicBezTo>
                      <a:pt x="670" y="131"/>
                      <a:pt x="670" y="131"/>
                      <a:pt x="670" y="131"/>
                    </a:cubicBezTo>
                    <a:cubicBezTo>
                      <a:pt x="669" y="131"/>
                      <a:pt x="669" y="131"/>
                      <a:pt x="669" y="131"/>
                    </a:cubicBezTo>
                    <a:cubicBezTo>
                      <a:pt x="667" y="133"/>
                      <a:pt x="667" y="133"/>
                      <a:pt x="667" y="133"/>
                    </a:cubicBezTo>
                    <a:cubicBezTo>
                      <a:pt x="666" y="132"/>
                      <a:pt x="664" y="130"/>
                      <a:pt x="663" y="129"/>
                    </a:cubicBezTo>
                    <a:cubicBezTo>
                      <a:pt x="665" y="127"/>
                      <a:pt x="665" y="127"/>
                      <a:pt x="665" y="127"/>
                    </a:cubicBezTo>
                    <a:cubicBezTo>
                      <a:pt x="664" y="126"/>
                      <a:pt x="664" y="126"/>
                      <a:pt x="664" y="126"/>
                    </a:cubicBezTo>
                    <a:cubicBezTo>
                      <a:pt x="662" y="128"/>
                      <a:pt x="662" y="128"/>
                      <a:pt x="662" y="128"/>
                    </a:cubicBezTo>
                    <a:cubicBezTo>
                      <a:pt x="661" y="127"/>
                      <a:pt x="660" y="125"/>
                      <a:pt x="658" y="124"/>
                    </a:cubicBezTo>
                    <a:cubicBezTo>
                      <a:pt x="660" y="122"/>
                      <a:pt x="660" y="122"/>
                      <a:pt x="660" y="122"/>
                    </a:cubicBezTo>
                    <a:cubicBezTo>
                      <a:pt x="660" y="121"/>
                      <a:pt x="660" y="121"/>
                      <a:pt x="660" y="121"/>
                    </a:cubicBezTo>
                    <a:cubicBezTo>
                      <a:pt x="658" y="123"/>
                      <a:pt x="658" y="123"/>
                      <a:pt x="658" y="123"/>
                    </a:cubicBezTo>
                    <a:cubicBezTo>
                      <a:pt x="656" y="122"/>
                      <a:pt x="655" y="121"/>
                      <a:pt x="654" y="119"/>
                    </a:cubicBezTo>
                    <a:cubicBezTo>
                      <a:pt x="656" y="117"/>
                      <a:pt x="656" y="117"/>
                      <a:pt x="656" y="117"/>
                    </a:cubicBezTo>
                    <a:cubicBezTo>
                      <a:pt x="655" y="117"/>
                      <a:pt x="655" y="117"/>
                      <a:pt x="655" y="117"/>
                    </a:cubicBezTo>
                    <a:cubicBezTo>
                      <a:pt x="653" y="119"/>
                      <a:pt x="653" y="119"/>
                      <a:pt x="653" y="119"/>
                    </a:cubicBezTo>
                    <a:cubicBezTo>
                      <a:pt x="652" y="117"/>
                      <a:pt x="650" y="116"/>
                      <a:pt x="649" y="115"/>
                    </a:cubicBezTo>
                    <a:cubicBezTo>
                      <a:pt x="651" y="113"/>
                      <a:pt x="651" y="113"/>
                      <a:pt x="651" y="113"/>
                    </a:cubicBezTo>
                    <a:cubicBezTo>
                      <a:pt x="650" y="112"/>
                      <a:pt x="650" y="112"/>
                      <a:pt x="650" y="112"/>
                    </a:cubicBezTo>
                    <a:cubicBezTo>
                      <a:pt x="648" y="114"/>
                      <a:pt x="648" y="114"/>
                      <a:pt x="648" y="114"/>
                    </a:cubicBezTo>
                    <a:cubicBezTo>
                      <a:pt x="647" y="113"/>
                      <a:pt x="645" y="112"/>
                      <a:pt x="644" y="110"/>
                    </a:cubicBezTo>
                    <a:cubicBezTo>
                      <a:pt x="646" y="108"/>
                      <a:pt x="646" y="108"/>
                      <a:pt x="646" y="108"/>
                    </a:cubicBezTo>
                    <a:cubicBezTo>
                      <a:pt x="645" y="108"/>
                      <a:pt x="645" y="108"/>
                      <a:pt x="645" y="108"/>
                    </a:cubicBezTo>
                    <a:cubicBezTo>
                      <a:pt x="643" y="110"/>
                      <a:pt x="643" y="110"/>
                      <a:pt x="643" y="110"/>
                    </a:cubicBezTo>
                    <a:cubicBezTo>
                      <a:pt x="642" y="109"/>
                      <a:pt x="640" y="107"/>
                      <a:pt x="639" y="106"/>
                    </a:cubicBezTo>
                    <a:cubicBezTo>
                      <a:pt x="641" y="104"/>
                      <a:pt x="641" y="104"/>
                      <a:pt x="641" y="104"/>
                    </a:cubicBezTo>
                    <a:cubicBezTo>
                      <a:pt x="640" y="103"/>
                      <a:pt x="640" y="103"/>
                      <a:pt x="640" y="103"/>
                    </a:cubicBezTo>
                    <a:cubicBezTo>
                      <a:pt x="638" y="105"/>
                      <a:pt x="638" y="105"/>
                      <a:pt x="638" y="105"/>
                    </a:cubicBezTo>
                    <a:cubicBezTo>
                      <a:pt x="637" y="104"/>
                      <a:pt x="636" y="103"/>
                      <a:pt x="634" y="102"/>
                    </a:cubicBezTo>
                    <a:cubicBezTo>
                      <a:pt x="638" y="98"/>
                      <a:pt x="638" y="98"/>
                      <a:pt x="638" y="98"/>
                    </a:cubicBezTo>
                    <a:cubicBezTo>
                      <a:pt x="637" y="97"/>
                      <a:pt x="637" y="97"/>
                      <a:pt x="637" y="97"/>
                    </a:cubicBezTo>
                    <a:cubicBezTo>
                      <a:pt x="642" y="91"/>
                      <a:pt x="642" y="91"/>
                      <a:pt x="642" y="91"/>
                    </a:cubicBezTo>
                    <a:cubicBezTo>
                      <a:pt x="642" y="91"/>
                      <a:pt x="642" y="91"/>
                      <a:pt x="642" y="91"/>
                    </a:cubicBezTo>
                    <a:cubicBezTo>
                      <a:pt x="637" y="97"/>
                      <a:pt x="637" y="97"/>
                      <a:pt x="637" y="97"/>
                    </a:cubicBezTo>
                    <a:cubicBezTo>
                      <a:pt x="637" y="97"/>
                      <a:pt x="637" y="97"/>
                      <a:pt x="637" y="97"/>
                    </a:cubicBezTo>
                    <a:cubicBezTo>
                      <a:pt x="633" y="101"/>
                      <a:pt x="633" y="101"/>
                      <a:pt x="633" y="101"/>
                    </a:cubicBezTo>
                    <a:cubicBezTo>
                      <a:pt x="632" y="100"/>
                      <a:pt x="630" y="99"/>
                      <a:pt x="629" y="97"/>
                    </a:cubicBezTo>
                    <a:cubicBezTo>
                      <a:pt x="631" y="95"/>
                      <a:pt x="631" y="95"/>
                      <a:pt x="631" y="95"/>
                    </a:cubicBezTo>
                    <a:cubicBezTo>
                      <a:pt x="630" y="95"/>
                      <a:pt x="630" y="95"/>
                      <a:pt x="630" y="95"/>
                    </a:cubicBezTo>
                    <a:cubicBezTo>
                      <a:pt x="628" y="97"/>
                      <a:pt x="628" y="97"/>
                      <a:pt x="628" y="97"/>
                    </a:cubicBezTo>
                    <a:cubicBezTo>
                      <a:pt x="627" y="96"/>
                      <a:pt x="625" y="95"/>
                      <a:pt x="624" y="93"/>
                    </a:cubicBezTo>
                    <a:cubicBezTo>
                      <a:pt x="626" y="91"/>
                      <a:pt x="626" y="91"/>
                      <a:pt x="626" y="91"/>
                    </a:cubicBezTo>
                    <a:cubicBezTo>
                      <a:pt x="625" y="90"/>
                      <a:pt x="625" y="90"/>
                      <a:pt x="625" y="90"/>
                    </a:cubicBezTo>
                    <a:cubicBezTo>
                      <a:pt x="623" y="93"/>
                      <a:pt x="623" y="93"/>
                      <a:pt x="623" y="93"/>
                    </a:cubicBezTo>
                    <a:cubicBezTo>
                      <a:pt x="622" y="92"/>
                      <a:pt x="620" y="90"/>
                      <a:pt x="619" y="89"/>
                    </a:cubicBezTo>
                    <a:cubicBezTo>
                      <a:pt x="620" y="87"/>
                      <a:pt x="620" y="87"/>
                      <a:pt x="620" y="87"/>
                    </a:cubicBezTo>
                    <a:cubicBezTo>
                      <a:pt x="620" y="86"/>
                      <a:pt x="620" y="86"/>
                      <a:pt x="620" y="86"/>
                    </a:cubicBezTo>
                    <a:cubicBezTo>
                      <a:pt x="618" y="89"/>
                      <a:pt x="618" y="89"/>
                      <a:pt x="618" y="89"/>
                    </a:cubicBezTo>
                    <a:cubicBezTo>
                      <a:pt x="616" y="88"/>
                      <a:pt x="615" y="86"/>
                      <a:pt x="613" y="85"/>
                    </a:cubicBezTo>
                    <a:cubicBezTo>
                      <a:pt x="615" y="83"/>
                      <a:pt x="615" y="83"/>
                      <a:pt x="615" y="83"/>
                    </a:cubicBezTo>
                    <a:cubicBezTo>
                      <a:pt x="614" y="82"/>
                      <a:pt x="614" y="82"/>
                      <a:pt x="614" y="82"/>
                    </a:cubicBezTo>
                    <a:cubicBezTo>
                      <a:pt x="613" y="85"/>
                      <a:pt x="613" y="85"/>
                      <a:pt x="613" y="85"/>
                    </a:cubicBezTo>
                    <a:cubicBezTo>
                      <a:pt x="611" y="84"/>
                      <a:pt x="609" y="83"/>
                      <a:pt x="608" y="81"/>
                    </a:cubicBezTo>
                    <a:cubicBezTo>
                      <a:pt x="610" y="79"/>
                      <a:pt x="610" y="79"/>
                      <a:pt x="610" y="79"/>
                    </a:cubicBezTo>
                    <a:cubicBezTo>
                      <a:pt x="609" y="79"/>
                      <a:pt x="609" y="79"/>
                      <a:pt x="609" y="79"/>
                    </a:cubicBezTo>
                    <a:cubicBezTo>
                      <a:pt x="607" y="81"/>
                      <a:pt x="607" y="81"/>
                      <a:pt x="607" y="81"/>
                    </a:cubicBezTo>
                    <a:cubicBezTo>
                      <a:pt x="606" y="80"/>
                      <a:pt x="604" y="79"/>
                      <a:pt x="602" y="78"/>
                    </a:cubicBezTo>
                    <a:cubicBezTo>
                      <a:pt x="604" y="75"/>
                      <a:pt x="604" y="75"/>
                      <a:pt x="604" y="75"/>
                    </a:cubicBezTo>
                    <a:cubicBezTo>
                      <a:pt x="603" y="75"/>
                      <a:pt x="603" y="75"/>
                      <a:pt x="603" y="75"/>
                    </a:cubicBezTo>
                    <a:cubicBezTo>
                      <a:pt x="602" y="77"/>
                      <a:pt x="602" y="77"/>
                      <a:pt x="602" y="77"/>
                    </a:cubicBezTo>
                    <a:cubicBezTo>
                      <a:pt x="600" y="76"/>
                      <a:pt x="599" y="75"/>
                      <a:pt x="597" y="74"/>
                    </a:cubicBezTo>
                    <a:cubicBezTo>
                      <a:pt x="599" y="72"/>
                      <a:pt x="599" y="72"/>
                      <a:pt x="599" y="72"/>
                    </a:cubicBezTo>
                    <a:cubicBezTo>
                      <a:pt x="598" y="71"/>
                      <a:pt x="598" y="71"/>
                      <a:pt x="598" y="71"/>
                    </a:cubicBezTo>
                    <a:cubicBezTo>
                      <a:pt x="596" y="74"/>
                      <a:pt x="596" y="74"/>
                      <a:pt x="596" y="74"/>
                    </a:cubicBezTo>
                    <a:cubicBezTo>
                      <a:pt x="595" y="73"/>
                      <a:pt x="593" y="72"/>
                      <a:pt x="591" y="70"/>
                    </a:cubicBezTo>
                    <a:cubicBezTo>
                      <a:pt x="593" y="68"/>
                      <a:pt x="593" y="68"/>
                      <a:pt x="593" y="68"/>
                    </a:cubicBezTo>
                    <a:cubicBezTo>
                      <a:pt x="592" y="68"/>
                      <a:pt x="592" y="68"/>
                      <a:pt x="592" y="68"/>
                    </a:cubicBezTo>
                    <a:cubicBezTo>
                      <a:pt x="591" y="70"/>
                      <a:pt x="591" y="70"/>
                      <a:pt x="591" y="70"/>
                    </a:cubicBezTo>
                    <a:cubicBezTo>
                      <a:pt x="589" y="69"/>
                      <a:pt x="587" y="68"/>
                      <a:pt x="586" y="67"/>
                    </a:cubicBezTo>
                    <a:cubicBezTo>
                      <a:pt x="587" y="65"/>
                      <a:pt x="587" y="65"/>
                      <a:pt x="587" y="65"/>
                    </a:cubicBezTo>
                    <a:cubicBezTo>
                      <a:pt x="587" y="64"/>
                      <a:pt x="587" y="64"/>
                      <a:pt x="587" y="64"/>
                    </a:cubicBezTo>
                    <a:cubicBezTo>
                      <a:pt x="585" y="67"/>
                      <a:pt x="585" y="67"/>
                      <a:pt x="585" y="67"/>
                    </a:cubicBezTo>
                    <a:cubicBezTo>
                      <a:pt x="584" y="66"/>
                      <a:pt x="582" y="65"/>
                      <a:pt x="581" y="64"/>
                    </a:cubicBezTo>
                    <a:cubicBezTo>
                      <a:pt x="583" y="59"/>
                      <a:pt x="583" y="59"/>
                      <a:pt x="583" y="59"/>
                    </a:cubicBezTo>
                    <a:cubicBezTo>
                      <a:pt x="583" y="59"/>
                      <a:pt x="583" y="59"/>
                      <a:pt x="583" y="59"/>
                    </a:cubicBezTo>
                    <a:cubicBezTo>
                      <a:pt x="587" y="52"/>
                      <a:pt x="587" y="52"/>
                      <a:pt x="587" y="52"/>
                    </a:cubicBezTo>
                    <a:cubicBezTo>
                      <a:pt x="586" y="52"/>
                      <a:pt x="586" y="52"/>
                      <a:pt x="586" y="52"/>
                    </a:cubicBezTo>
                    <a:cubicBezTo>
                      <a:pt x="582" y="59"/>
                      <a:pt x="582" y="59"/>
                      <a:pt x="582" y="59"/>
                    </a:cubicBezTo>
                    <a:cubicBezTo>
                      <a:pt x="582" y="58"/>
                      <a:pt x="582" y="58"/>
                      <a:pt x="582" y="58"/>
                    </a:cubicBezTo>
                    <a:cubicBezTo>
                      <a:pt x="579" y="63"/>
                      <a:pt x="579" y="63"/>
                      <a:pt x="579" y="63"/>
                    </a:cubicBezTo>
                    <a:cubicBezTo>
                      <a:pt x="577" y="62"/>
                      <a:pt x="576" y="61"/>
                      <a:pt x="574" y="60"/>
                    </a:cubicBezTo>
                    <a:cubicBezTo>
                      <a:pt x="576" y="58"/>
                      <a:pt x="576" y="58"/>
                      <a:pt x="576" y="58"/>
                    </a:cubicBezTo>
                    <a:cubicBezTo>
                      <a:pt x="575" y="57"/>
                      <a:pt x="575" y="57"/>
                      <a:pt x="575" y="57"/>
                    </a:cubicBezTo>
                    <a:cubicBezTo>
                      <a:pt x="574" y="60"/>
                      <a:pt x="574" y="60"/>
                      <a:pt x="574" y="60"/>
                    </a:cubicBezTo>
                    <a:cubicBezTo>
                      <a:pt x="572" y="59"/>
                      <a:pt x="570" y="58"/>
                      <a:pt x="569" y="57"/>
                    </a:cubicBezTo>
                    <a:cubicBezTo>
                      <a:pt x="570" y="55"/>
                      <a:pt x="570" y="55"/>
                      <a:pt x="570" y="55"/>
                    </a:cubicBezTo>
                    <a:cubicBezTo>
                      <a:pt x="569" y="54"/>
                      <a:pt x="569" y="54"/>
                      <a:pt x="569" y="54"/>
                    </a:cubicBezTo>
                    <a:cubicBezTo>
                      <a:pt x="568" y="57"/>
                      <a:pt x="568" y="57"/>
                      <a:pt x="568" y="57"/>
                    </a:cubicBezTo>
                    <a:cubicBezTo>
                      <a:pt x="566" y="56"/>
                      <a:pt x="564" y="55"/>
                      <a:pt x="563" y="54"/>
                    </a:cubicBezTo>
                    <a:cubicBezTo>
                      <a:pt x="564" y="52"/>
                      <a:pt x="564" y="52"/>
                      <a:pt x="564" y="52"/>
                    </a:cubicBezTo>
                    <a:cubicBezTo>
                      <a:pt x="563" y="51"/>
                      <a:pt x="563" y="51"/>
                      <a:pt x="563" y="51"/>
                    </a:cubicBezTo>
                    <a:cubicBezTo>
                      <a:pt x="562" y="54"/>
                      <a:pt x="562" y="54"/>
                      <a:pt x="562" y="54"/>
                    </a:cubicBezTo>
                    <a:cubicBezTo>
                      <a:pt x="560" y="53"/>
                      <a:pt x="559" y="52"/>
                      <a:pt x="557" y="51"/>
                    </a:cubicBezTo>
                    <a:cubicBezTo>
                      <a:pt x="558" y="49"/>
                      <a:pt x="558" y="49"/>
                      <a:pt x="558" y="49"/>
                    </a:cubicBezTo>
                    <a:cubicBezTo>
                      <a:pt x="557" y="48"/>
                      <a:pt x="557" y="48"/>
                      <a:pt x="557" y="48"/>
                    </a:cubicBezTo>
                    <a:cubicBezTo>
                      <a:pt x="556" y="51"/>
                      <a:pt x="556" y="51"/>
                      <a:pt x="556" y="51"/>
                    </a:cubicBezTo>
                    <a:cubicBezTo>
                      <a:pt x="554" y="50"/>
                      <a:pt x="553" y="49"/>
                      <a:pt x="551" y="48"/>
                    </a:cubicBezTo>
                    <a:cubicBezTo>
                      <a:pt x="552" y="46"/>
                      <a:pt x="552" y="46"/>
                      <a:pt x="552" y="46"/>
                    </a:cubicBezTo>
                    <a:cubicBezTo>
                      <a:pt x="551" y="45"/>
                      <a:pt x="551" y="45"/>
                      <a:pt x="551" y="45"/>
                    </a:cubicBezTo>
                    <a:cubicBezTo>
                      <a:pt x="550" y="48"/>
                      <a:pt x="550" y="48"/>
                      <a:pt x="550" y="48"/>
                    </a:cubicBezTo>
                    <a:cubicBezTo>
                      <a:pt x="548" y="47"/>
                      <a:pt x="547" y="46"/>
                      <a:pt x="545" y="46"/>
                    </a:cubicBezTo>
                    <a:cubicBezTo>
                      <a:pt x="546" y="43"/>
                      <a:pt x="546" y="43"/>
                      <a:pt x="546" y="43"/>
                    </a:cubicBezTo>
                    <a:cubicBezTo>
                      <a:pt x="545" y="43"/>
                      <a:pt x="545" y="43"/>
                      <a:pt x="545" y="43"/>
                    </a:cubicBezTo>
                    <a:cubicBezTo>
                      <a:pt x="544" y="45"/>
                      <a:pt x="544" y="45"/>
                      <a:pt x="544" y="45"/>
                    </a:cubicBezTo>
                    <a:cubicBezTo>
                      <a:pt x="542" y="44"/>
                      <a:pt x="541" y="44"/>
                      <a:pt x="539" y="43"/>
                    </a:cubicBezTo>
                    <a:cubicBezTo>
                      <a:pt x="540" y="40"/>
                      <a:pt x="540" y="40"/>
                      <a:pt x="540" y="40"/>
                    </a:cubicBezTo>
                    <a:cubicBezTo>
                      <a:pt x="539" y="40"/>
                      <a:pt x="539" y="40"/>
                      <a:pt x="539" y="40"/>
                    </a:cubicBezTo>
                    <a:cubicBezTo>
                      <a:pt x="538" y="43"/>
                      <a:pt x="538" y="43"/>
                      <a:pt x="538" y="43"/>
                    </a:cubicBezTo>
                    <a:cubicBezTo>
                      <a:pt x="536" y="42"/>
                      <a:pt x="535" y="41"/>
                      <a:pt x="533" y="40"/>
                    </a:cubicBezTo>
                    <a:cubicBezTo>
                      <a:pt x="534" y="38"/>
                      <a:pt x="534" y="38"/>
                      <a:pt x="534" y="38"/>
                    </a:cubicBezTo>
                    <a:cubicBezTo>
                      <a:pt x="533" y="38"/>
                      <a:pt x="533" y="38"/>
                      <a:pt x="533" y="38"/>
                    </a:cubicBezTo>
                    <a:cubicBezTo>
                      <a:pt x="532" y="40"/>
                      <a:pt x="532" y="40"/>
                      <a:pt x="532" y="40"/>
                    </a:cubicBezTo>
                    <a:cubicBezTo>
                      <a:pt x="530" y="39"/>
                      <a:pt x="528" y="39"/>
                      <a:pt x="527" y="38"/>
                    </a:cubicBezTo>
                    <a:cubicBezTo>
                      <a:pt x="528" y="35"/>
                      <a:pt x="528" y="35"/>
                      <a:pt x="528" y="35"/>
                    </a:cubicBezTo>
                    <a:cubicBezTo>
                      <a:pt x="527" y="35"/>
                      <a:pt x="527" y="35"/>
                      <a:pt x="527" y="35"/>
                    </a:cubicBezTo>
                    <a:cubicBezTo>
                      <a:pt x="526" y="38"/>
                      <a:pt x="526" y="38"/>
                      <a:pt x="526" y="38"/>
                    </a:cubicBezTo>
                    <a:cubicBezTo>
                      <a:pt x="524" y="37"/>
                      <a:pt x="523" y="36"/>
                      <a:pt x="521" y="36"/>
                    </a:cubicBezTo>
                    <a:cubicBezTo>
                      <a:pt x="523" y="31"/>
                      <a:pt x="523" y="31"/>
                      <a:pt x="523" y="31"/>
                    </a:cubicBezTo>
                    <a:cubicBezTo>
                      <a:pt x="522" y="31"/>
                      <a:pt x="522" y="31"/>
                      <a:pt x="522" y="31"/>
                    </a:cubicBezTo>
                    <a:cubicBezTo>
                      <a:pt x="525" y="23"/>
                      <a:pt x="525" y="23"/>
                      <a:pt x="525" y="23"/>
                    </a:cubicBezTo>
                    <a:cubicBezTo>
                      <a:pt x="524" y="23"/>
                      <a:pt x="524" y="23"/>
                      <a:pt x="524" y="23"/>
                    </a:cubicBezTo>
                    <a:cubicBezTo>
                      <a:pt x="522" y="30"/>
                      <a:pt x="522" y="30"/>
                      <a:pt x="522" y="30"/>
                    </a:cubicBezTo>
                    <a:cubicBezTo>
                      <a:pt x="521" y="30"/>
                      <a:pt x="521" y="30"/>
                      <a:pt x="521" y="30"/>
                    </a:cubicBezTo>
                    <a:cubicBezTo>
                      <a:pt x="519" y="35"/>
                      <a:pt x="519" y="35"/>
                      <a:pt x="519" y="35"/>
                    </a:cubicBezTo>
                    <a:cubicBezTo>
                      <a:pt x="518" y="35"/>
                      <a:pt x="516" y="34"/>
                      <a:pt x="514" y="33"/>
                    </a:cubicBezTo>
                    <a:cubicBezTo>
                      <a:pt x="515" y="31"/>
                      <a:pt x="515" y="31"/>
                      <a:pt x="515" y="31"/>
                    </a:cubicBezTo>
                    <a:cubicBezTo>
                      <a:pt x="514" y="31"/>
                      <a:pt x="514" y="31"/>
                      <a:pt x="514" y="31"/>
                    </a:cubicBezTo>
                    <a:cubicBezTo>
                      <a:pt x="514" y="33"/>
                      <a:pt x="514" y="33"/>
                      <a:pt x="514" y="33"/>
                    </a:cubicBezTo>
                    <a:cubicBezTo>
                      <a:pt x="512" y="33"/>
                      <a:pt x="510" y="32"/>
                      <a:pt x="508" y="31"/>
                    </a:cubicBezTo>
                    <a:cubicBezTo>
                      <a:pt x="509" y="29"/>
                      <a:pt x="509" y="29"/>
                      <a:pt x="509" y="29"/>
                    </a:cubicBezTo>
                    <a:cubicBezTo>
                      <a:pt x="508" y="28"/>
                      <a:pt x="508" y="28"/>
                      <a:pt x="508" y="28"/>
                    </a:cubicBezTo>
                    <a:cubicBezTo>
                      <a:pt x="507" y="31"/>
                      <a:pt x="507" y="31"/>
                      <a:pt x="507" y="31"/>
                    </a:cubicBezTo>
                    <a:cubicBezTo>
                      <a:pt x="505" y="31"/>
                      <a:pt x="504" y="30"/>
                      <a:pt x="502" y="29"/>
                    </a:cubicBezTo>
                    <a:cubicBezTo>
                      <a:pt x="503" y="27"/>
                      <a:pt x="503" y="27"/>
                      <a:pt x="503" y="27"/>
                    </a:cubicBezTo>
                    <a:cubicBezTo>
                      <a:pt x="502" y="26"/>
                      <a:pt x="502" y="26"/>
                      <a:pt x="502" y="26"/>
                    </a:cubicBezTo>
                    <a:cubicBezTo>
                      <a:pt x="501" y="29"/>
                      <a:pt x="501" y="29"/>
                      <a:pt x="501" y="29"/>
                    </a:cubicBezTo>
                    <a:cubicBezTo>
                      <a:pt x="499" y="29"/>
                      <a:pt x="497" y="28"/>
                      <a:pt x="495" y="28"/>
                    </a:cubicBezTo>
                    <a:cubicBezTo>
                      <a:pt x="496" y="25"/>
                      <a:pt x="496" y="25"/>
                      <a:pt x="496" y="25"/>
                    </a:cubicBezTo>
                    <a:cubicBezTo>
                      <a:pt x="495" y="25"/>
                      <a:pt x="495" y="25"/>
                      <a:pt x="495" y="25"/>
                    </a:cubicBezTo>
                    <a:cubicBezTo>
                      <a:pt x="495" y="27"/>
                      <a:pt x="495" y="27"/>
                      <a:pt x="495" y="27"/>
                    </a:cubicBezTo>
                    <a:cubicBezTo>
                      <a:pt x="493" y="27"/>
                      <a:pt x="491" y="26"/>
                      <a:pt x="489" y="26"/>
                    </a:cubicBezTo>
                    <a:cubicBezTo>
                      <a:pt x="490" y="23"/>
                      <a:pt x="490" y="23"/>
                      <a:pt x="490" y="23"/>
                    </a:cubicBezTo>
                    <a:cubicBezTo>
                      <a:pt x="489" y="23"/>
                      <a:pt x="489" y="23"/>
                      <a:pt x="489" y="23"/>
                    </a:cubicBezTo>
                    <a:cubicBezTo>
                      <a:pt x="488" y="26"/>
                      <a:pt x="488" y="26"/>
                      <a:pt x="488" y="26"/>
                    </a:cubicBezTo>
                    <a:cubicBezTo>
                      <a:pt x="486" y="25"/>
                      <a:pt x="485" y="25"/>
                      <a:pt x="483" y="24"/>
                    </a:cubicBezTo>
                    <a:cubicBezTo>
                      <a:pt x="483" y="21"/>
                      <a:pt x="483" y="21"/>
                      <a:pt x="483" y="21"/>
                    </a:cubicBezTo>
                    <a:cubicBezTo>
                      <a:pt x="483" y="21"/>
                      <a:pt x="483" y="21"/>
                      <a:pt x="483" y="21"/>
                    </a:cubicBezTo>
                    <a:cubicBezTo>
                      <a:pt x="482" y="24"/>
                      <a:pt x="482" y="24"/>
                      <a:pt x="482" y="24"/>
                    </a:cubicBezTo>
                    <a:cubicBezTo>
                      <a:pt x="480" y="23"/>
                      <a:pt x="478" y="23"/>
                      <a:pt x="476" y="23"/>
                    </a:cubicBezTo>
                    <a:cubicBezTo>
                      <a:pt x="477" y="20"/>
                      <a:pt x="477" y="20"/>
                      <a:pt x="477" y="20"/>
                    </a:cubicBezTo>
                    <a:cubicBezTo>
                      <a:pt x="476" y="20"/>
                      <a:pt x="476" y="20"/>
                      <a:pt x="476" y="20"/>
                    </a:cubicBezTo>
                    <a:cubicBezTo>
                      <a:pt x="475" y="22"/>
                      <a:pt x="475" y="22"/>
                      <a:pt x="475" y="22"/>
                    </a:cubicBezTo>
                    <a:cubicBezTo>
                      <a:pt x="474" y="22"/>
                      <a:pt x="472" y="22"/>
                      <a:pt x="470" y="21"/>
                    </a:cubicBezTo>
                    <a:cubicBezTo>
                      <a:pt x="470" y="18"/>
                      <a:pt x="470" y="18"/>
                      <a:pt x="470" y="18"/>
                    </a:cubicBezTo>
                    <a:cubicBezTo>
                      <a:pt x="470" y="18"/>
                      <a:pt x="470" y="18"/>
                      <a:pt x="470" y="18"/>
                    </a:cubicBezTo>
                    <a:cubicBezTo>
                      <a:pt x="469" y="21"/>
                      <a:pt x="469" y="21"/>
                      <a:pt x="469" y="21"/>
                    </a:cubicBezTo>
                    <a:cubicBezTo>
                      <a:pt x="467" y="21"/>
                      <a:pt x="465" y="20"/>
                      <a:pt x="463" y="20"/>
                    </a:cubicBezTo>
                    <a:cubicBezTo>
                      <a:pt x="464" y="17"/>
                      <a:pt x="464" y="17"/>
                      <a:pt x="464" y="17"/>
                    </a:cubicBezTo>
                    <a:cubicBezTo>
                      <a:pt x="463" y="17"/>
                      <a:pt x="463" y="17"/>
                      <a:pt x="463" y="17"/>
                    </a:cubicBezTo>
                    <a:cubicBezTo>
                      <a:pt x="463" y="20"/>
                      <a:pt x="463" y="20"/>
                      <a:pt x="463" y="20"/>
                    </a:cubicBezTo>
                    <a:cubicBezTo>
                      <a:pt x="461" y="19"/>
                      <a:pt x="459" y="19"/>
                      <a:pt x="457" y="19"/>
                    </a:cubicBezTo>
                    <a:cubicBezTo>
                      <a:pt x="458" y="13"/>
                      <a:pt x="458" y="13"/>
                      <a:pt x="458" y="13"/>
                    </a:cubicBezTo>
                    <a:cubicBezTo>
                      <a:pt x="458" y="13"/>
                      <a:pt x="458" y="13"/>
                      <a:pt x="458" y="13"/>
                    </a:cubicBezTo>
                    <a:cubicBezTo>
                      <a:pt x="459" y="6"/>
                      <a:pt x="459" y="6"/>
                      <a:pt x="459" y="6"/>
                    </a:cubicBezTo>
                    <a:cubicBezTo>
                      <a:pt x="458" y="6"/>
                      <a:pt x="458" y="6"/>
                      <a:pt x="458" y="6"/>
                    </a:cubicBezTo>
                    <a:cubicBezTo>
                      <a:pt x="457" y="13"/>
                      <a:pt x="457" y="13"/>
                      <a:pt x="457" y="13"/>
                    </a:cubicBezTo>
                    <a:cubicBezTo>
                      <a:pt x="456" y="13"/>
                      <a:pt x="456" y="13"/>
                      <a:pt x="456" y="13"/>
                    </a:cubicBezTo>
                    <a:cubicBezTo>
                      <a:pt x="456" y="18"/>
                      <a:pt x="456" y="18"/>
                      <a:pt x="456" y="18"/>
                    </a:cubicBezTo>
                    <a:cubicBezTo>
                      <a:pt x="454" y="18"/>
                      <a:pt x="452" y="18"/>
                      <a:pt x="450" y="18"/>
                    </a:cubicBezTo>
                    <a:cubicBezTo>
                      <a:pt x="451" y="15"/>
                      <a:pt x="451" y="15"/>
                      <a:pt x="451" y="15"/>
                    </a:cubicBezTo>
                    <a:cubicBezTo>
                      <a:pt x="450" y="15"/>
                      <a:pt x="450" y="15"/>
                      <a:pt x="450" y="15"/>
                    </a:cubicBezTo>
                    <a:cubicBezTo>
                      <a:pt x="450" y="17"/>
                      <a:pt x="450" y="17"/>
                      <a:pt x="450" y="17"/>
                    </a:cubicBezTo>
                    <a:cubicBezTo>
                      <a:pt x="448" y="17"/>
                      <a:pt x="446" y="17"/>
                      <a:pt x="444" y="17"/>
                    </a:cubicBezTo>
                    <a:cubicBezTo>
                      <a:pt x="444" y="14"/>
                      <a:pt x="444" y="14"/>
                      <a:pt x="444" y="14"/>
                    </a:cubicBezTo>
                    <a:cubicBezTo>
                      <a:pt x="443" y="14"/>
                      <a:pt x="443" y="14"/>
                      <a:pt x="443" y="14"/>
                    </a:cubicBezTo>
                    <a:cubicBezTo>
                      <a:pt x="443" y="16"/>
                      <a:pt x="443" y="16"/>
                      <a:pt x="443" y="16"/>
                    </a:cubicBezTo>
                    <a:cubicBezTo>
                      <a:pt x="441" y="16"/>
                      <a:pt x="439" y="16"/>
                      <a:pt x="437" y="16"/>
                    </a:cubicBezTo>
                    <a:cubicBezTo>
                      <a:pt x="438" y="13"/>
                      <a:pt x="438" y="13"/>
                      <a:pt x="438" y="13"/>
                    </a:cubicBezTo>
                    <a:cubicBezTo>
                      <a:pt x="437" y="13"/>
                      <a:pt x="437" y="13"/>
                      <a:pt x="437" y="13"/>
                    </a:cubicBezTo>
                    <a:cubicBezTo>
                      <a:pt x="436" y="16"/>
                      <a:pt x="436" y="16"/>
                      <a:pt x="436" y="16"/>
                    </a:cubicBezTo>
                    <a:cubicBezTo>
                      <a:pt x="435" y="15"/>
                      <a:pt x="433" y="15"/>
                      <a:pt x="431" y="15"/>
                    </a:cubicBezTo>
                    <a:cubicBezTo>
                      <a:pt x="431" y="12"/>
                      <a:pt x="431" y="12"/>
                      <a:pt x="431" y="12"/>
                    </a:cubicBezTo>
                    <a:cubicBezTo>
                      <a:pt x="430" y="12"/>
                      <a:pt x="430" y="12"/>
                      <a:pt x="430" y="12"/>
                    </a:cubicBezTo>
                    <a:cubicBezTo>
                      <a:pt x="430" y="15"/>
                      <a:pt x="430" y="15"/>
                      <a:pt x="430" y="15"/>
                    </a:cubicBezTo>
                    <a:cubicBezTo>
                      <a:pt x="428" y="15"/>
                      <a:pt x="426" y="15"/>
                      <a:pt x="424" y="14"/>
                    </a:cubicBezTo>
                    <a:cubicBezTo>
                      <a:pt x="424" y="11"/>
                      <a:pt x="424" y="11"/>
                      <a:pt x="424" y="11"/>
                    </a:cubicBezTo>
                    <a:cubicBezTo>
                      <a:pt x="424" y="11"/>
                      <a:pt x="424" y="11"/>
                      <a:pt x="424" y="11"/>
                    </a:cubicBezTo>
                    <a:cubicBezTo>
                      <a:pt x="423" y="14"/>
                      <a:pt x="423" y="14"/>
                      <a:pt x="423" y="14"/>
                    </a:cubicBezTo>
                    <a:cubicBezTo>
                      <a:pt x="421" y="14"/>
                      <a:pt x="419" y="14"/>
                      <a:pt x="418" y="14"/>
                    </a:cubicBezTo>
                    <a:cubicBezTo>
                      <a:pt x="418" y="11"/>
                      <a:pt x="418" y="11"/>
                      <a:pt x="418" y="11"/>
                    </a:cubicBezTo>
                    <a:cubicBezTo>
                      <a:pt x="417" y="11"/>
                      <a:pt x="417" y="11"/>
                      <a:pt x="417" y="11"/>
                    </a:cubicBezTo>
                    <a:cubicBezTo>
                      <a:pt x="417" y="14"/>
                      <a:pt x="417" y="14"/>
                      <a:pt x="417" y="14"/>
                    </a:cubicBezTo>
                    <a:cubicBezTo>
                      <a:pt x="415" y="14"/>
                      <a:pt x="413" y="14"/>
                      <a:pt x="411" y="13"/>
                    </a:cubicBezTo>
                    <a:cubicBezTo>
                      <a:pt x="411" y="10"/>
                      <a:pt x="411" y="10"/>
                      <a:pt x="411" y="10"/>
                    </a:cubicBezTo>
                    <a:cubicBezTo>
                      <a:pt x="410" y="10"/>
                      <a:pt x="410" y="10"/>
                      <a:pt x="410" y="10"/>
                    </a:cubicBezTo>
                    <a:cubicBezTo>
                      <a:pt x="410" y="13"/>
                      <a:pt x="410" y="13"/>
                      <a:pt x="410" y="13"/>
                    </a:cubicBezTo>
                    <a:cubicBezTo>
                      <a:pt x="408" y="13"/>
                      <a:pt x="406" y="13"/>
                      <a:pt x="404" y="13"/>
                    </a:cubicBezTo>
                    <a:cubicBezTo>
                      <a:pt x="405" y="10"/>
                      <a:pt x="405" y="10"/>
                      <a:pt x="405" y="10"/>
                    </a:cubicBezTo>
                    <a:cubicBezTo>
                      <a:pt x="404" y="10"/>
                      <a:pt x="404" y="10"/>
                      <a:pt x="404" y="10"/>
                    </a:cubicBezTo>
                    <a:cubicBezTo>
                      <a:pt x="404" y="13"/>
                      <a:pt x="404" y="13"/>
                      <a:pt x="404" y="13"/>
                    </a:cubicBezTo>
                    <a:cubicBezTo>
                      <a:pt x="402" y="13"/>
                      <a:pt x="400" y="13"/>
                      <a:pt x="398" y="13"/>
                    </a:cubicBezTo>
                    <a:cubicBezTo>
                      <a:pt x="398" y="10"/>
                      <a:pt x="398" y="10"/>
                      <a:pt x="398" y="10"/>
                    </a:cubicBezTo>
                    <a:cubicBezTo>
                      <a:pt x="397" y="10"/>
                      <a:pt x="397" y="10"/>
                      <a:pt x="397" y="10"/>
                    </a:cubicBezTo>
                    <a:cubicBezTo>
                      <a:pt x="397" y="13"/>
                      <a:pt x="397" y="13"/>
                      <a:pt x="397" y="13"/>
                    </a:cubicBezTo>
                    <a:cubicBezTo>
                      <a:pt x="395" y="13"/>
                      <a:pt x="393" y="13"/>
                      <a:pt x="392" y="13"/>
                    </a:cubicBezTo>
                    <a:cubicBezTo>
                      <a:pt x="392" y="7"/>
                      <a:pt x="392" y="7"/>
                      <a:pt x="392" y="7"/>
                    </a:cubicBezTo>
                    <a:cubicBezTo>
                      <a:pt x="391" y="7"/>
                      <a:pt x="391" y="7"/>
                      <a:pt x="391" y="7"/>
                    </a:cubicBezTo>
                    <a:cubicBezTo>
                      <a:pt x="391" y="0"/>
                      <a:pt x="391" y="0"/>
                      <a:pt x="391" y="0"/>
                    </a:cubicBezTo>
                    <a:cubicBezTo>
                      <a:pt x="390" y="0"/>
                      <a:pt x="390" y="0"/>
                      <a:pt x="390" y="0"/>
                    </a:cubicBezTo>
                    <a:cubicBezTo>
                      <a:pt x="390" y="7"/>
                      <a:pt x="390" y="7"/>
                      <a:pt x="390" y="7"/>
                    </a:cubicBezTo>
                    <a:cubicBezTo>
                      <a:pt x="390" y="7"/>
                      <a:pt x="390" y="7"/>
                      <a:pt x="390" y="7"/>
                    </a:cubicBezTo>
                    <a:cubicBezTo>
                      <a:pt x="390" y="13"/>
                      <a:pt x="390" y="13"/>
                      <a:pt x="390" y="13"/>
                    </a:cubicBezTo>
                    <a:cubicBezTo>
                      <a:pt x="388" y="13"/>
                      <a:pt x="386" y="13"/>
                      <a:pt x="385" y="13"/>
                    </a:cubicBezTo>
                    <a:cubicBezTo>
                      <a:pt x="385" y="10"/>
                      <a:pt x="385" y="10"/>
                      <a:pt x="385" y="10"/>
                    </a:cubicBezTo>
                    <a:cubicBezTo>
                      <a:pt x="385" y="10"/>
                      <a:pt x="385" y="10"/>
                      <a:pt x="385" y="10"/>
                    </a:cubicBezTo>
                    <a:cubicBezTo>
                      <a:pt x="385" y="10"/>
                      <a:pt x="385" y="10"/>
                      <a:pt x="385" y="10"/>
                    </a:cubicBezTo>
                    <a:cubicBezTo>
                      <a:pt x="385" y="10"/>
                      <a:pt x="385" y="10"/>
                      <a:pt x="385" y="10"/>
                    </a:cubicBezTo>
                    <a:cubicBezTo>
                      <a:pt x="384" y="10"/>
                      <a:pt x="384" y="10"/>
                      <a:pt x="384" y="10"/>
                    </a:cubicBezTo>
                    <a:cubicBezTo>
                      <a:pt x="384" y="10"/>
                      <a:pt x="384" y="10"/>
                      <a:pt x="384" y="10"/>
                    </a:cubicBezTo>
                    <a:cubicBezTo>
                      <a:pt x="384" y="13"/>
                      <a:pt x="384" y="13"/>
                      <a:pt x="384" y="13"/>
                    </a:cubicBezTo>
                    <a:cubicBezTo>
                      <a:pt x="382" y="13"/>
                      <a:pt x="380" y="13"/>
                      <a:pt x="378" y="13"/>
                    </a:cubicBezTo>
                    <a:cubicBezTo>
                      <a:pt x="378" y="10"/>
                      <a:pt x="378" y="10"/>
                      <a:pt x="378" y="10"/>
                    </a:cubicBezTo>
                    <a:cubicBezTo>
                      <a:pt x="378" y="10"/>
                      <a:pt x="378" y="10"/>
                      <a:pt x="378" y="10"/>
                    </a:cubicBezTo>
                    <a:cubicBezTo>
                      <a:pt x="378" y="10"/>
                      <a:pt x="378" y="10"/>
                      <a:pt x="378" y="10"/>
                    </a:cubicBezTo>
                    <a:cubicBezTo>
                      <a:pt x="377" y="10"/>
                      <a:pt x="377" y="10"/>
                      <a:pt x="377" y="10"/>
                    </a:cubicBezTo>
                    <a:cubicBezTo>
                      <a:pt x="377" y="10"/>
                      <a:pt x="377" y="10"/>
                      <a:pt x="377" y="10"/>
                    </a:cubicBezTo>
                    <a:cubicBezTo>
                      <a:pt x="377" y="10"/>
                      <a:pt x="377" y="10"/>
                      <a:pt x="377" y="10"/>
                    </a:cubicBezTo>
                    <a:cubicBezTo>
                      <a:pt x="377" y="13"/>
                      <a:pt x="377" y="13"/>
                      <a:pt x="377" y="13"/>
                    </a:cubicBezTo>
                    <a:cubicBezTo>
                      <a:pt x="375" y="13"/>
                      <a:pt x="373" y="13"/>
                      <a:pt x="371" y="13"/>
                    </a:cubicBezTo>
                    <a:cubicBezTo>
                      <a:pt x="371" y="10"/>
                      <a:pt x="371" y="10"/>
                      <a:pt x="371" y="10"/>
                    </a:cubicBezTo>
                    <a:cubicBezTo>
                      <a:pt x="371" y="10"/>
                      <a:pt x="371" y="10"/>
                      <a:pt x="371" y="10"/>
                    </a:cubicBezTo>
                    <a:cubicBezTo>
                      <a:pt x="371" y="10"/>
                      <a:pt x="371" y="10"/>
                      <a:pt x="371" y="10"/>
                    </a:cubicBezTo>
                    <a:cubicBezTo>
                      <a:pt x="370" y="10"/>
                      <a:pt x="370" y="10"/>
                      <a:pt x="370" y="10"/>
                    </a:cubicBezTo>
                    <a:cubicBezTo>
                      <a:pt x="370" y="10"/>
                      <a:pt x="370" y="10"/>
                      <a:pt x="370" y="10"/>
                    </a:cubicBezTo>
                    <a:cubicBezTo>
                      <a:pt x="370" y="10"/>
                      <a:pt x="370" y="10"/>
                      <a:pt x="370" y="10"/>
                    </a:cubicBezTo>
                    <a:cubicBezTo>
                      <a:pt x="371" y="13"/>
                      <a:pt x="371" y="13"/>
                      <a:pt x="371" y="13"/>
                    </a:cubicBezTo>
                    <a:cubicBezTo>
                      <a:pt x="369" y="14"/>
                      <a:pt x="367" y="14"/>
                      <a:pt x="365" y="14"/>
                    </a:cubicBezTo>
                    <a:cubicBezTo>
                      <a:pt x="365" y="11"/>
                      <a:pt x="365" y="11"/>
                      <a:pt x="365" y="11"/>
                    </a:cubicBezTo>
                    <a:cubicBezTo>
                      <a:pt x="365" y="11"/>
                      <a:pt x="365" y="11"/>
                      <a:pt x="365" y="11"/>
                    </a:cubicBezTo>
                    <a:cubicBezTo>
                      <a:pt x="365" y="11"/>
                      <a:pt x="365" y="11"/>
                      <a:pt x="365" y="11"/>
                    </a:cubicBezTo>
                    <a:cubicBezTo>
                      <a:pt x="364" y="11"/>
                      <a:pt x="364" y="11"/>
                      <a:pt x="364" y="11"/>
                    </a:cubicBezTo>
                    <a:cubicBezTo>
                      <a:pt x="364" y="11"/>
                      <a:pt x="364" y="11"/>
                      <a:pt x="364" y="11"/>
                    </a:cubicBezTo>
                    <a:cubicBezTo>
                      <a:pt x="364" y="11"/>
                      <a:pt x="364" y="11"/>
                      <a:pt x="364" y="11"/>
                    </a:cubicBezTo>
                    <a:cubicBezTo>
                      <a:pt x="364" y="14"/>
                      <a:pt x="364" y="14"/>
                      <a:pt x="364" y="14"/>
                    </a:cubicBezTo>
                    <a:cubicBezTo>
                      <a:pt x="362" y="14"/>
                      <a:pt x="360" y="14"/>
                      <a:pt x="358" y="14"/>
                    </a:cubicBezTo>
                    <a:cubicBezTo>
                      <a:pt x="358" y="11"/>
                      <a:pt x="358" y="11"/>
                      <a:pt x="358" y="11"/>
                    </a:cubicBezTo>
                    <a:cubicBezTo>
                      <a:pt x="358" y="11"/>
                      <a:pt x="358" y="11"/>
                      <a:pt x="358" y="11"/>
                    </a:cubicBezTo>
                    <a:cubicBezTo>
                      <a:pt x="358" y="11"/>
                      <a:pt x="358" y="11"/>
                      <a:pt x="358" y="11"/>
                    </a:cubicBezTo>
                    <a:cubicBezTo>
                      <a:pt x="357" y="11"/>
                      <a:pt x="357" y="11"/>
                      <a:pt x="357" y="11"/>
                    </a:cubicBezTo>
                    <a:cubicBezTo>
                      <a:pt x="357" y="11"/>
                      <a:pt x="357" y="11"/>
                      <a:pt x="357" y="11"/>
                    </a:cubicBezTo>
                    <a:cubicBezTo>
                      <a:pt x="357" y="11"/>
                      <a:pt x="357" y="11"/>
                      <a:pt x="357" y="11"/>
                    </a:cubicBezTo>
                    <a:cubicBezTo>
                      <a:pt x="357" y="14"/>
                      <a:pt x="357" y="14"/>
                      <a:pt x="357" y="14"/>
                    </a:cubicBezTo>
                    <a:cubicBezTo>
                      <a:pt x="356" y="15"/>
                      <a:pt x="354" y="15"/>
                      <a:pt x="352" y="15"/>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5"/>
                      <a:pt x="351" y="15"/>
                      <a:pt x="351" y="15"/>
                    </a:cubicBezTo>
                    <a:cubicBezTo>
                      <a:pt x="349" y="15"/>
                      <a:pt x="347" y="15"/>
                      <a:pt x="345" y="16"/>
                    </a:cubicBezTo>
                    <a:cubicBezTo>
                      <a:pt x="345" y="13"/>
                      <a:pt x="345" y="13"/>
                      <a:pt x="345" y="13"/>
                    </a:cubicBezTo>
                    <a:cubicBezTo>
                      <a:pt x="345" y="13"/>
                      <a:pt x="345" y="13"/>
                      <a:pt x="345" y="13"/>
                    </a:cubicBezTo>
                    <a:cubicBezTo>
                      <a:pt x="345" y="13"/>
                      <a:pt x="345" y="13"/>
                      <a:pt x="345" y="13"/>
                    </a:cubicBezTo>
                    <a:cubicBezTo>
                      <a:pt x="344" y="13"/>
                      <a:pt x="344" y="13"/>
                      <a:pt x="344" y="13"/>
                    </a:cubicBezTo>
                    <a:cubicBezTo>
                      <a:pt x="344" y="13"/>
                      <a:pt x="344" y="13"/>
                      <a:pt x="344" y="13"/>
                    </a:cubicBezTo>
                    <a:cubicBezTo>
                      <a:pt x="344" y="13"/>
                      <a:pt x="344" y="13"/>
                      <a:pt x="344" y="13"/>
                    </a:cubicBezTo>
                    <a:cubicBezTo>
                      <a:pt x="344" y="16"/>
                      <a:pt x="344" y="16"/>
                      <a:pt x="344" y="16"/>
                    </a:cubicBezTo>
                    <a:cubicBezTo>
                      <a:pt x="342" y="16"/>
                      <a:pt x="341" y="16"/>
                      <a:pt x="339" y="16"/>
                    </a:cubicBezTo>
                    <a:cubicBezTo>
                      <a:pt x="338" y="14"/>
                      <a:pt x="338" y="14"/>
                      <a:pt x="338" y="14"/>
                    </a:cubicBezTo>
                    <a:cubicBezTo>
                      <a:pt x="338" y="14"/>
                      <a:pt x="338" y="14"/>
                      <a:pt x="338" y="14"/>
                    </a:cubicBezTo>
                    <a:cubicBezTo>
                      <a:pt x="337" y="14"/>
                      <a:pt x="337" y="14"/>
                      <a:pt x="337" y="14"/>
                    </a:cubicBezTo>
                    <a:cubicBezTo>
                      <a:pt x="337" y="14"/>
                      <a:pt x="337" y="14"/>
                      <a:pt x="337" y="14"/>
                    </a:cubicBezTo>
                    <a:cubicBezTo>
                      <a:pt x="338" y="17"/>
                      <a:pt x="338" y="17"/>
                      <a:pt x="338" y="17"/>
                    </a:cubicBezTo>
                    <a:cubicBezTo>
                      <a:pt x="336" y="17"/>
                      <a:pt x="334" y="17"/>
                      <a:pt x="332" y="17"/>
                    </a:cubicBezTo>
                    <a:cubicBezTo>
                      <a:pt x="332" y="15"/>
                      <a:pt x="332" y="15"/>
                      <a:pt x="332" y="15"/>
                    </a:cubicBezTo>
                    <a:cubicBezTo>
                      <a:pt x="332" y="15"/>
                      <a:pt x="332" y="15"/>
                      <a:pt x="332" y="15"/>
                    </a:cubicBezTo>
                    <a:cubicBezTo>
                      <a:pt x="332" y="15"/>
                      <a:pt x="332" y="15"/>
                      <a:pt x="332" y="15"/>
                    </a:cubicBezTo>
                    <a:cubicBezTo>
                      <a:pt x="331" y="15"/>
                      <a:pt x="331" y="15"/>
                      <a:pt x="331" y="15"/>
                    </a:cubicBezTo>
                    <a:cubicBezTo>
                      <a:pt x="331" y="15"/>
                      <a:pt x="331" y="15"/>
                      <a:pt x="331" y="15"/>
                    </a:cubicBezTo>
                    <a:cubicBezTo>
                      <a:pt x="331" y="15"/>
                      <a:pt x="331" y="15"/>
                      <a:pt x="331" y="15"/>
                    </a:cubicBezTo>
                    <a:cubicBezTo>
                      <a:pt x="331" y="18"/>
                      <a:pt x="331" y="18"/>
                      <a:pt x="331" y="18"/>
                    </a:cubicBezTo>
                    <a:cubicBezTo>
                      <a:pt x="330" y="18"/>
                      <a:pt x="328" y="18"/>
                      <a:pt x="326" y="18"/>
                    </a:cubicBezTo>
                    <a:cubicBezTo>
                      <a:pt x="325" y="13"/>
                      <a:pt x="325" y="13"/>
                      <a:pt x="325" y="13"/>
                    </a:cubicBezTo>
                    <a:cubicBezTo>
                      <a:pt x="325" y="13"/>
                      <a:pt x="325" y="13"/>
                      <a:pt x="325" y="13"/>
                    </a:cubicBezTo>
                    <a:cubicBezTo>
                      <a:pt x="323" y="6"/>
                      <a:pt x="323" y="6"/>
                      <a:pt x="323" y="6"/>
                    </a:cubicBezTo>
                    <a:cubicBezTo>
                      <a:pt x="323" y="6"/>
                      <a:pt x="323" y="6"/>
                      <a:pt x="323" y="6"/>
                    </a:cubicBezTo>
                    <a:cubicBezTo>
                      <a:pt x="324" y="13"/>
                      <a:pt x="324" y="13"/>
                      <a:pt x="324" y="13"/>
                    </a:cubicBezTo>
                    <a:cubicBezTo>
                      <a:pt x="323" y="13"/>
                      <a:pt x="323" y="13"/>
                      <a:pt x="323" y="13"/>
                    </a:cubicBezTo>
                    <a:cubicBezTo>
                      <a:pt x="324" y="19"/>
                      <a:pt x="324" y="19"/>
                      <a:pt x="324" y="19"/>
                    </a:cubicBezTo>
                    <a:cubicBezTo>
                      <a:pt x="323" y="19"/>
                      <a:pt x="321" y="19"/>
                      <a:pt x="319" y="20"/>
                    </a:cubicBezTo>
                    <a:cubicBezTo>
                      <a:pt x="319" y="17"/>
                      <a:pt x="319" y="17"/>
                      <a:pt x="319" y="17"/>
                    </a:cubicBezTo>
                    <a:cubicBezTo>
                      <a:pt x="319" y="17"/>
                      <a:pt x="319" y="17"/>
                      <a:pt x="319" y="17"/>
                    </a:cubicBezTo>
                    <a:cubicBezTo>
                      <a:pt x="318" y="17"/>
                      <a:pt x="318" y="17"/>
                      <a:pt x="318" y="17"/>
                    </a:cubicBezTo>
                    <a:cubicBezTo>
                      <a:pt x="318" y="17"/>
                      <a:pt x="318" y="17"/>
                      <a:pt x="318" y="17"/>
                    </a:cubicBezTo>
                    <a:cubicBezTo>
                      <a:pt x="318" y="17"/>
                      <a:pt x="318" y="17"/>
                      <a:pt x="318" y="17"/>
                    </a:cubicBezTo>
                    <a:cubicBezTo>
                      <a:pt x="318" y="17"/>
                      <a:pt x="318" y="17"/>
                      <a:pt x="318" y="17"/>
                    </a:cubicBezTo>
                    <a:cubicBezTo>
                      <a:pt x="318" y="20"/>
                      <a:pt x="318" y="20"/>
                      <a:pt x="318" y="20"/>
                    </a:cubicBezTo>
                    <a:cubicBezTo>
                      <a:pt x="316" y="20"/>
                      <a:pt x="315" y="21"/>
                      <a:pt x="313" y="21"/>
                    </a:cubicBezTo>
                    <a:cubicBezTo>
                      <a:pt x="312" y="18"/>
                      <a:pt x="312" y="18"/>
                      <a:pt x="312" y="18"/>
                    </a:cubicBezTo>
                    <a:cubicBezTo>
                      <a:pt x="312" y="18"/>
                      <a:pt x="312" y="18"/>
                      <a:pt x="312" y="18"/>
                    </a:cubicBezTo>
                    <a:cubicBezTo>
                      <a:pt x="312" y="18"/>
                      <a:pt x="312" y="18"/>
                      <a:pt x="312" y="18"/>
                    </a:cubicBezTo>
                    <a:cubicBezTo>
                      <a:pt x="312" y="18"/>
                      <a:pt x="312" y="18"/>
                      <a:pt x="312" y="18"/>
                    </a:cubicBezTo>
                    <a:cubicBezTo>
                      <a:pt x="311" y="18"/>
                      <a:pt x="311" y="18"/>
                      <a:pt x="311" y="18"/>
                    </a:cubicBezTo>
                    <a:cubicBezTo>
                      <a:pt x="311" y="18"/>
                      <a:pt x="311" y="18"/>
                      <a:pt x="311" y="18"/>
                    </a:cubicBezTo>
                    <a:cubicBezTo>
                      <a:pt x="312" y="21"/>
                      <a:pt x="312" y="21"/>
                      <a:pt x="312" y="21"/>
                    </a:cubicBezTo>
                    <a:cubicBezTo>
                      <a:pt x="310" y="22"/>
                      <a:pt x="308" y="22"/>
                      <a:pt x="306" y="22"/>
                    </a:cubicBezTo>
                    <a:cubicBezTo>
                      <a:pt x="306" y="20"/>
                      <a:pt x="306" y="20"/>
                      <a:pt x="306" y="20"/>
                    </a:cubicBezTo>
                    <a:cubicBezTo>
                      <a:pt x="306" y="20"/>
                      <a:pt x="306" y="20"/>
                      <a:pt x="306" y="20"/>
                    </a:cubicBezTo>
                    <a:cubicBezTo>
                      <a:pt x="305" y="20"/>
                      <a:pt x="305" y="20"/>
                      <a:pt x="305" y="20"/>
                    </a:cubicBezTo>
                    <a:cubicBezTo>
                      <a:pt x="305" y="20"/>
                      <a:pt x="305" y="20"/>
                      <a:pt x="305" y="20"/>
                    </a:cubicBezTo>
                    <a:cubicBezTo>
                      <a:pt x="305" y="20"/>
                      <a:pt x="305" y="20"/>
                      <a:pt x="305" y="20"/>
                    </a:cubicBezTo>
                    <a:cubicBezTo>
                      <a:pt x="305" y="23"/>
                      <a:pt x="305" y="23"/>
                      <a:pt x="305" y="23"/>
                    </a:cubicBezTo>
                    <a:cubicBezTo>
                      <a:pt x="304" y="23"/>
                      <a:pt x="302" y="23"/>
                      <a:pt x="300" y="24"/>
                    </a:cubicBezTo>
                    <a:cubicBezTo>
                      <a:pt x="299" y="21"/>
                      <a:pt x="299" y="21"/>
                      <a:pt x="299" y="21"/>
                    </a:cubicBezTo>
                    <a:cubicBezTo>
                      <a:pt x="299" y="21"/>
                      <a:pt x="299" y="21"/>
                      <a:pt x="299" y="21"/>
                    </a:cubicBezTo>
                    <a:cubicBezTo>
                      <a:pt x="299" y="21"/>
                      <a:pt x="299" y="21"/>
                      <a:pt x="299" y="21"/>
                    </a:cubicBezTo>
                    <a:cubicBezTo>
                      <a:pt x="298" y="21"/>
                      <a:pt x="298" y="21"/>
                      <a:pt x="298" y="21"/>
                    </a:cubicBezTo>
                    <a:cubicBezTo>
                      <a:pt x="298" y="21"/>
                      <a:pt x="298" y="21"/>
                      <a:pt x="298" y="21"/>
                    </a:cubicBezTo>
                    <a:cubicBezTo>
                      <a:pt x="299" y="24"/>
                      <a:pt x="299" y="24"/>
                      <a:pt x="299" y="24"/>
                    </a:cubicBezTo>
                    <a:cubicBezTo>
                      <a:pt x="297" y="25"/>
                      <a:pt x="295" y="25"/>
                      <a:pt x="293" y="26"/>
                    </a:cubicBezTo>
                    <a:cubicBezTo>
                      <a:pt x="293" y="23"/>
                      <a:pt x="293" y="23"/>
                      <a:pt x="293" y="23"/>
                    </a:cubicBezTo>
                    <a:cubicBezTo>
                      <a:pt x="293" y="23"/>
                      <a:pt x="293" y="23"/>
                      <a:pt x="293" y="23"/>
                    </a:cubicBezTo>
                    <a:cubicBezTo>
                      <a:pt x="293" y="23"/>
                      <a:pt x="293" y="23"/>
                      <a:pt x="293" y="23"/>
                    </a:cubicBezTo>
                    <a:cubicBezTo>
                      <a:pt x="292" y="23"/>
                      <a:pt x="292" y="23"/>
                      <a:pt x="292" y="23"/>
                    </a:cubicBezTo>
                    <a:cubicBezTo>
                      <a:pt x="292" y="23"/>
                      <a:pt x="292" y="23"/>
                      <a:pt x="292" y="23"/>
                    </a:cubicBezTo>
                    <a:cubicBezTo>
                      <a:pt x="292" y="23"/>
                      <a:pt x="292" y="23"/>
                      <a:pt x="292" y="23"/>
                    </a:cubicBezTo>
                    <a:cubicBezTo>
                      <a:pt x="293" y="26"/>
                      <a:pt x="293" y="26"/>
                      <a:pt x="293" y="26"/>
                    </a:cubicBezTo>
                    <a:cubicBezTo>
                      <a:pt x="291" y="26"/>
                      <a:pt x="289" y="27"/>
                      <a:pt x="287" y="27"/>
                    </a:cubicBezTo>
                    <a:cubicBezTo>
                      <a:pt x="286" y="25"/>
                      <a:pt x="286" y="25"/>
                      <a:pt x="286" y="25"/>
                    </a:cubicBezTo>
                    <a:cubicBezTo>
                      <a:pt x="285" y="25"/>
                      <a:pt x="285" y="25"/>
                      <a:pt x="285" y="25"/>
                    </a:cubicBezTo>
                    <a:cubicBezTo>
                      <a:pt x="286" y="28"/>
                      <a:pt x="286" y="28"/>
                      <a:pt x="286" y="28"/>
                    </a:cubicBezTo>
                    <a:cubicBezTo>
                      <a:pt x="284" y="28"/>
                      <a:pt x="283" y="29"/>
                      <a:pt x="281" y="29"/>
                    </a:cubicBezTo>
                    <a:cubicBezTo>
                      <a:pt x="280" y="26"/>
                      <a:pt x="280" y="26"/>
                      <a:pt x="280" y="26"/>
                    </a:cubicBezTo>
                    <a:cubicBezTo>
                      <a:pt x="279" y="27"/>
                      <a:pt x="279" y="27"/>
                      <a:pt x="279" y="27"/>
                    </a:cubicBezTo>
                    <a:cubicBezTo>
                      <a:pt x="280" y="29"/>
                      <a:pt x="280" y="29"/>
                      <a:pt x="280" y="29"/>
                    </a:cubicBezTo>
                    <a:cubicBezTo>
                      <a:pt x="278" y="30"/>
                      <a:pt x="276" y="31"/>
                      <a:pt x="274" y="31"/>
                    </a:cubicBezTo>
                    <a:cubicBezTo>
                      <a:pt x="274" y="28"/>
                      <a:pt x="274" y="28"/>
                      <a:pt x="274" y="28"/>
                    </a:cubicBezTo>
                    <a:cubicBezTo>
                      <a:pt x="273" y="29"/>
                      <a:pt x="273" y="29"/>
                      <a:pt x="273" y="29"/>
                    </a:cubicBezTo>
                    <a:cubicBezTo>
                      <a:pt x="274" y="31"/>
                      <a:pt x="274" y="31"/>
                      <a:pt x="274" y="31"/>
                    </a:cubicBezTo>
                    <a:cubicBezTo>
                      <a:pt x="272" y="32"/>
                      <a:pt x="270" y="33"/>
                      <a:pt x="268" y="33"/>
                    </a:cubicBezTo>
                    <a:cubicBezTo>
                      <a:pt x="267" y="31"/>
                      <a:pt x="267" y="31"/>
                      <a:pt x="267" y="31"/>
                    </a:cubicBezTo>
                    <a:cubicBezTo>
                      <a:pt x="266" y="31"/>
                      <a:pt x="266" y="31"/>
                      <a:pt x="266" y="31"/>
                    </a:cubicBezTo>
                    <a:cubicBezTo>
                      <a:pt x="267" y="33"/>
                      <a:pt x="267" y="33"/>
                      <a:pt x="267" y="33"/>
                    </a:cubicBezTo>
                    <a:cubicBezTo>
                      <a:pt x="266" y="34"/>
                      <a:pt x="264" y="35"/>
                      <a:pt x="262" y="35"/>
                    </a:cubicBezTo>
                    <a:cubicBezTo>
                      <a:pt x="261" y="30"/>
                      <a:pt x="261" y="30"/>
                      <a:pt x="261" y="30"/>
                    </a:cubicBezTo>
                    <a:cubicBezTo>
                      <a:pt x="260" y="30"/>
                      <a:pt x="260" y="30"/>
                      <a:pt x="260" y="30"/>
                    </a:cubicBezTo>
                    <a:cubicBezTo>
                      <a:pt x="257" y="23"/>
                      <a:pt x="257" y="23"/>
                      <a:pt x="257" y="23"/>
                    </a:cubicBezTo>
                    <a:cubicBezTo>
                      <a:pt x="257" y="23"/>
                      <a:pt x="257" y="23"/>
                      <a:pt x="257" y="23"/>
                    </a:cubicBezTo>
                    <a:cubicBezTo>
                      <a:pt x="259" y="31"/>
                      <a:pt x="259" y="31"/>
                      <a:pt x="259" y="31"/>
                    </a:cubicBezTo>
                    <a:cubicBezTo>
                      <a:pt x="259" y="31"/>
                      <a:pt x="259" y="31"/>
                      <a:pt x="259" y="31"/>
                    </a:cubicBezTo>
                    <a:cubicBezTo>
                      <a:pt x="261" y="36"/>
                      <a:pt x="261" y="36"/>
                      <a:pt x="261" y="36"/>
                    </a:cubicBezTo>
                    <a:cubicBezTo>
                      <a:pt x="259" y="36"/>
                      <a:pt x="257" y="37"/>
                      <a:pt x="256" y="38"/>
                    </a:cubicBezTo>
                    <a:cubicBezTo>
                      <a:pt x="255" y="35"/>
                      <a:pt x="255" y="35"/>
                      <a:pt x="255" y="35"/>
                    </a:cubicBezTo>
                    <a:cubicBezTo>
                      <a:pt x="254" y="35"/>
                      <a:pt x="254" y="35"/>
                      <a:pt x="254" y="35"/>
                    </a:cubicBezTo>
                    <a:cubicBezTo>
                      <a:pt x="255" y="38"/>
                      <a:pt x="255" y="38"/>
                      <a:pt x="255" y="38"/>
                    </a:cubicBezTo>
                    <a:cubicBezTo>
                      <a:pt x="253" y="39"/>
                      <a:pt x="251" y="39"/>
                      <a:pt x="250" y="40"/>
                    </a:cubicBezTo>
                    <a:cubicBezTo>
                      <a:pt x="249" y="38"/>
                      <a:pt x="249" y="38"/>
                      <a:pt x="249" y="38"/>
                    </a:cubicBezTo>
                    <a:cubicBezTo>
                      <a:pt x="248" y="38"/>
                      <a:pt x="248" y="38"/>
                      <a:pt x="248" y="38"/>
                    </a:cubicBezTo>
                    <a:cubicBezTo>
                      <a:pt x="249" y="40"/>
                      <a:pt x="249" y="40"/>
                      <a:pt x="249" y="40"/>
                    </a:cubicBezTo>
                    <a:cubicBezTo>
                      <a:pt x="247" y="41"/>
                      <a:pt x="245" y="42"/>
                      <a:pt x="243" y="43"/>
                    </a:cubicBezTo>
                    <a:cubicBezTo>
                      <a:pt x="242" y="40"/>
                      <a:pt x="242" y="40"/>
                      <a:pt x="242" y="40"/>
                    </a:cubicBezTo>
                    <a:cubicBezTo>
                      <a:pt x="242" y="40"/>
                      <a:pt x="242" y="40"/>
                      <a:pt x="242" y="40"/>
                    </a:cubicBezTo>
                    <a:cubicBezTo>
                      <a:pt x="243" y="43"/>
                      <a:pt x="243" y="43"/>
                      <a:pt x="243" y="43"/>
                    </a:cubicBezTo>
                    <a:cubicBezTo>
                      <a:pt x="241" y="44"/>
                      <a:pt x="239" y="44"/>
                      <a:pt x="237" y="45"/>
                    </a:cubicBezTo>
                    <a:cubicBezTo>
                      <a:pt x="236" y="43"/>
                      <a:pt x="236" y="43"/>
                      <a:pt x="236" y="43"/>
                    </a:cubicBezTo>
                    <a:cubicBezTo>
                      <a:pt x="236" y="43"/>
                      <a:pt x="236" y="43"/>
                      <a:pt x="236" y="43"/>
                    </a:cubicBezTo>
                    <a:cubicBezTo>
                      <a:pt x="237" y="46"/>
                      <a:pt x="237" y="46"/>
                      <a:pt x="237" y="46"/>
                    </a:cubicBezTo>
                    <a:cubicBezTo>
                      <a:pt x="235" y="46"/>
                      <a:pt x="233" y="47"/>
                      <a:pt x="231" y="48"/>
                    </a:cubicBezTo>
                    <a:cubicBezTo>
                      <a:pt x="230" y="45"/>
                      <a:pt x="230" y="45"/>
                      <a:pt x="230" y="45"/>
                    </a:cubicBezTo>
                    <a:cubicBezTo>
                      <a:pt x="230" y="46"/>
                      <a:pt x="230" y="46"/>
                      <a:pt x="230" y="46"/>
                    </a:cubicBezTo>
                    <a:cubicBezTo>
                      <a:pt x="231" y="48"/>
                      <a:pt x="231" y="48"/>
                      <a:pt x="231" y="48"/>
                    </a:cubicBezTo>
                    <a:cubicBezTo>
                      <a:pt x="229" y="49"/>
                      <a:pt x="227" y="50"/>
                      <a:pt x="225" y="51"/>
                    </a:cubicBezTo>
                    <a:cubicBezTo>
                      <a:pt x="224" y="48"/>
                      <a:pt x="224" y="48"/>
                      <a:pt x="224" y="48"/>
                    </a:cubicBezTo>
                    <a:cubicBezTo>
                      <a:pt x="224" y="49"/>
                      <a:pt x="224" y="49"/>
                      <a:pt x="224" y="49"/>
                    </a:cubicBezTo>
                    <a:cubicBezTo>
                      <a:pt x="225" y="51"/>
                      <a:pt x="225" y="51"/>
                      <a:pt x="225" y="51"/>
                    </a:cubicBezTo>
                    <a:cubicBezTo>
                      <a:pt x="223" y="52"/>
                      <a:pt x="221" y="53"/>
                      <a:pt x="220" y="54"/>
                    </a:cubicBezTo>
                    <a:cubicBezTo>
                      <a:pt x="218" y="51"/>
                      <a:pt x="218" y="51"/>
                      <a:pt x="218" y="51"/>
                    </a:cubicBezTo>
                    <a:cubicBezTo>
                      <a:pt x="218" y="52"/>
                      <a:pt x="218" y="52"/>
                      <a:pt x="218" y="52"/>
                    </a:cubicBezTo>
                    <a:cubicBezTo>
                      <a:pt x="219" y="54"/>
                      <a:pt x="219" y="54"/>
                      <a:pt x="219" y="54"/>
                    </a:cubicBezTo>
                    <a:cubicBezTo>
                      <a:pt x="217" y="55"/>
                      <a:pt x="215" y="56"/>
                      <a:pt x="214" y="57"/>
                    </a:cubicBezTo>
                    <a:cubicBezTo>
                      <a:pt x="212" y="54"/>
                      <a:pt x="212" y="54"/>
                      <a:pt x="212" y="54"/>
                    </a:cubicBezTo>
                    <a:cubicBezTo>
                      <a:pt x="212" y="55"/>
                      <a:pt x="212" y="55"/>
                      <a:pt x="212" y="55"/>
                    </a:cubicBezTo>
                    <a:cubicBezTo>
                      <a:pt x="213" y="57"/>
                      <a:pt x="213" y="57"/>
                      <a:pt x="213" y="57"/>
                    </a:cubicBezTo>
                    <a:cubicBezTo>
                      <a:pt x="211" y="58"/>
                      <a:pt x="210" y="59"/>
                      <a:pt x="208" y="60"/>
                    </a:cubicBezTo>
                    <a:cubicBezTo>
                      <a:pt x="207" y="58"/>
                      <a:pt x="207" y="58"/>
                      <a:pt x="207" y="58"/>
                    </a:cubicBezTo>
                    <a:cubicBezTo>
                      <a:pt x="206" y="58"/>
                      <a:pt x="206" y="58"/>
                      <a:pt x="206" y="58"/>
                    </a:cubicBezTo>
                    <a:cubicBezTo>
                      <a:pt x="207" y="60"/>
                      <a:pt x="207" y="60"/>
                      <a:pt x="207" y="60"/>
                    </a:cubicBezTo>
                    <a:cubicBezTo>
                      <a:pt x="206" y="61"/>
                      <a:pt x="204" y="62"/>
                      <a:pt x="203" y="63"/>
                    </a:cubicBezTo>
                    <a:cubicBezTo>
                      <a:pt x="200" y="58"/>
                      <a:pt x="200" y="58"/>
                      <a:pt x="200" y="58"/>
                    </a:cubicBezTo>
                    <a:cubicBezTo>
                      <a:pt x="199" y="59"/>
                      <a:pt x="199" y="59"/>
                      <a:pt x="199" y="59"/>
                    </a:cubicBezTo>
                    <a:cubicBezTo>
                      <a:pt x="196" y="52"/>
                      <a:pt x="196" y="52"/>
                      <a:pt x="196" y="52"/>
                    </a:cubicBezTo>
                    <a:cubicBezTo>
                      <a:pt x="195" y="52"/>
                      <a:pt x="195" y="52"/>
                      <a:pt x="195" y="52"/>
                    </a:cubicBezTo>
                    <a:cubicBezTo>
                      <a:pt x="199" y="59"/>
                      <a:pt x="199" y="59"/>
                      <a:pt x="199" y="59"/>
                    </a:cubicBezTo>
                    <a:cubicBezTo>
                      <a:pt x="198" y="59"/>
                      <a:pt x="198" y="59"/>
                      <a:pt x="198" y="59"/>
                    </a:cubicBezTo>
                    <a:cubicBezTo>
                      <a:pt x="201" y="64"/>
                      <a:pt x="201" y="64"/>
                      <a:pt x="201" y="64"/>
                    </a:cubicBezTo>
                    <a:cubicBezTo>
                      <a:pt x="200" y="65"/>
                      <a:pt x="198" y="66"/>
                      <a:pt x="196" y="67"/>
                    </a:cubicBezTo>
                    <a:cubicBezTo>
                      <a:pt x="195" y="64"/>
                      <a:pt x="195" y="64"/>
                      <a:pt x="195" y="64"/>
                    </a:cubicBezTo>
                    <a:cubicBezTo>
                      <a:pt x="194" y="65"/>
                      <a:pt x="194" y="65"/>
                      <a:pt x="194" y="65"/>
                    </a:cubicBezTo>
                    <a:cubicBezTo>
                      <a:pt x="196" y="67"/>
                      <a:pt x="196" y="67"/>
                      <a:pt x="196" y="67"/>
                    </a:cubicBezTo>
                    <a:cubicBezTo>
                      <a:pt x="194" y="68"/>
                      <a:pt x="193" y="69"/>
                      <a:pt x="191" y="70"/>
                    </a:cubicBezTo>
                    <a:cubicBezTo>
                      <a:pt x="189" y="68"/>
                      <a:pt x="189" y="68"/>
                      <a:pt x="189" y="68"/>
                    </a:cubicBezTo>
                    <a:cubicBezTo>
                      <a:pt x="189" y="68"/>
                      <a:pt x="189" y="68"/>
                      <a:pt x="189" y="68"/>
                    </a:cubicBezTo>
                    <a:cubicBezTo>
                      <a:pt x="190" y="70"/>
                      <a:pt x="190" y="70"/>
                      <a:pt x="190" y="70"/>
                    </a:cubicBezTo>
                    <a:cubicBezTo>
                      <a:pt x="189" y="72"/>
                      <a:pt x="187" y="73"/>
                      <a:pt x="185" y="74"/>
                    </a:cubicBezTo>
                    <a:cubicBezTo>
                      <a:pt x="184" y="71"/>
                      <a:pt x="184" y="71"/>
                      <a:pt x="184" y="71"/>
                    </a:cubicBezTo>
                    <a:cubicBezTo>
                      <a:pt x="183" y="72"/>
                      <a:pt x="183" y="72"/>
                      <a:pt x="183" y="72"/>
                    </a:cubicBezTo>
                    <a:cubicBezTo>
                      <a:pt x="185" y="74"/>
                      <a:pt x="185" y="74"/>
                      <a:pt x="185" y="74"/>
                    </a:cubicBezTo>
                    <a:cubicBezTo>
                      <a:pt x="183" y="75"/>
                      <a:pt x="181" y="76"/>
                      <a:pt x="180" y="77"/>
                    </a:cubicBezTo>
                    <a:cubicBezTo>
                      <a:pt x="178" y="75"/>
                      <a:pt x="178" y="75"/>
                      <a:pt x="178" y="75"/>
                    </a:cubicBezTo>
                    <a:cubicBezTo>
                      <a:pt x="178" y="75"/>
                      <a:pt x="178" y="75"/>
                      <a:pt x="178" y="75"/>
                    </a:cubicBezTo>
                    <a:cubicBezTo>
                      <a:pt x="179" y="78"/>
                      <a:pt x="179" y="78"/>
                      <a:pt x="179" y="78"/>
                    </a:cubicBezTo>
                    <a:cubicBezTo>
                      <a:pt x="178" y="79"/>
                      <a:pt x="176" y="80"/>
                      <a:pt x="174" y="81"/>
                    </a:cubicBezTo>
                    <a:cubicBezTo>
                      <a:pt x="173" y="79"/>
                      <a:pt x="173" y="79"/>
                      <a:pt x="173" y="79"/>
                    </a:cubicBezTo>
                    <a:cubicBezTo>
                      <a:pt x="172" y="79"/>
                      <a:pt x="172" y="79"/>
                      <a:pt x="172" y="79"/>
                    </a:cubicBezTo>
                    <a:cubicBezTo>
                      <a:pt x="174" y="81"/>
                      <a:pt x="174" y="81"/>
                      <a:pt x="174" y="81"/>
                    </a:cubicBezTo>
                    <a:cubicBezTo>
                      <a:pt x="172" y="83"/>
                      <a:pt x="171" y="84"/>
                      <a:pt x="169" y="85"/>
                    </a:cubicBezTo>
                    <a:cubicBezTo>
                      <a:pt x="167" y="82"/>
                      <a:pt x="167" y="82"/>
                      <a:pt x="167" y="82"/>
                    </a:cubicBezTo>
                    <a:cubicBezTo>
                      <a:pt x="167" y="83"/>
                      <a:pt x="167" y="83"/>
                      <a:pt x="167" y="83"/>
                    </a:cubicBezTo>
                    <a:cubicBezTo>
                      <a:pt x="168" y="85"/>
                      <a:pt x="168" y="85"/>
                      <a:pt x="168" y="85"/>
                    </a:cubicBezTo>
                    <a:cubicBezTo>
                      <a:pt x="167" y="86"/>
                      <a:pt x="165" y="88"/>
                      <a:pt x="164" y="89"/>
                    </a:cubicBezTo>
                    <a:cubicBezTo>
                      <a:pt x="162" y="86"/>
                      <a:pt x="162" y="86"/>
                      <a:pt x="162" y="86"/>
                    </a:cubicBezTo>
                    <a:cubicBezTo>
                      <a:pt x="161" y="87"/>
                      <a:pt x="161" y="87"/>
                      <a:pt x="161" y="87"/>
                    </a:cubicBezTo>
                    <a:cubicBezTo>
                      <a:pt x="163" y="89"/>
                      <a:pt x="163" y="89"/>
                      <a:pt x="163" y="89"/>
                    </a:cubicBezTo>
                    <a:cubicBezTo>
                      <a:pt x="162" y="90"/>
                      <a:pt x="160" y="92"/>
                      <a:pt x="158" y="93"/>
                    </a:cubicBezTo>
                    <a:cubicBezTo>
                      <a:pt x="157" y="91"/>
                      <a:pt x="157" y="91"/>
                      <a:pt x="157" y="91"/>
                    </a:cubicBezTo>
                    <a:cubicBezTo>
                      <a:pt x="156" y="91"/>
                      <a:pt x="156" y="91"/>
                      <a:pt x="156" y="91"/>
                    </a:cubicBezTo>
                    <a:cubicBezTo>
                      <a:pt x="158" y="93"/>
                      <a:pt x="158" y="93"/>
                      <a:pt x="158" y="93"/>
                    </a:cubicBezTo>
                    <a:cubicBezTo>
                      <a:pt x="156" y="95"/>
                      <a:pt x="155" y="96"/>
                      <a:pt x="153" y="97"/>
                    </a:cubicBezTo>
                    <a:cubicBezTo>
                      <a:pt x="151" y="95"/>
                      <a:pt x="151" y="95"/>
                      <a:pt x="151" y="95"/>
                    </a:cubicBezTo>
                    <a:cubicBezTo>
                      <a:pt x="151" y="95"/>
                      <a:pt x="151" y="95"/>
                      <a:pt x="151" y="95"/>
                    </a:cubicBezTo>
                    <a:cubicBezTo>
                      <a:pt x="153" y="97"/>
                      <a:pt x="153" y="97"/>
                      <a:pt x="153" y="97"/>
                    </a:cubicBezTo>
                    <a:cubicBezTo>
                      <a:pt x="151" y="99"/>
                      <a:pt x="150" y="100"/>
                      <a:pt x="149" y="101"/>
                    </a:cubicBezTo>
                    <a:cubicBezTo>
                      <a:pt x="145" y="97"/>
                      <a:pt x="145" y="97"/>
                      <a:pt x="145" y="97"/>
                    </a:cubicBezTo>
                    <a:cubicBezTo>
                      <a:pt x="145" y="97"/>
                      <a:pt x="145" y="97"/>
                      <a:pt x="145" y="97"/>
                    </a:cubicBezTo>
                    <a:cubicBezTo>
                      <a:pt x="140" y="91"/>
                      <a:pt x="140" y="91"/>
                      <a:pt x="140" y="91"/>
                    </a:cubicBezTo>
                    <a:cubicBezTo>
                      <a:pt x="139" y="91"/>
                      <a:pt x="139" y="91"/>
                      <a:pt x="139" y="91"/>
                    </a:cubicBezTo>
                    <a:cubicBezTo>
                      <a:pt x="144" y="97"/>
                      <a:pt x="144" y="97"/>
                      <a:pt x="144" y="97"/>
                    </a:cubicBezTo>
                    <a:cubicBezTo>
                      <a:pt x="144" y="98"/>
                      <a:pt x="144" y="98"/>
                      <a:pt x="144" y="98"/>
                    </a:cubicBezTo>
                    <a:cubicBezTo>
                      <a:pt x="147" y="102"/>
                      <a:pt x="147" y="102"/>
                      <a:pt x="147" y="102"/>
                    </a:cubicBezTo>
                    <a:cubicBezTo>
                      <a:pt x="146" y="103"/>
                      <a:pt x="145" y="104"/>
                      <a:pt x="143" y="105"/>
                    </a:cubicBezTo>
                    <a:cubicBezTo>
                      <a:pt x="141" y="103"/>
                      <a:pt x="141" y="103"/>
                      <a:pt x="141" y="103"/>
                    </a:cubicBezTo>
                    <a:cubicBezTo>
                      <a:pt x="141" y="104"/>
                      <a:pt x="141" y="104"/>
                      <a:pt x="141" y="104"/>
                    </a:cubicBezTo>
                    <a:cubicBezTo>
                      <a:pt x="143" y="106"/>
                      <a:pt x="143" y="106"/>
                      <a:pt x="143" y="106"/>
                    </a:cubicBezTo>
                    <a:cubicBezTo>
                      <a:pt x="141" y="107"/>
                      <a:pt x="140" y="109"/>
                      <a:pt x="138" y="110"/>
                    </a:cubicBezTo>
                    <a:cubicBezTo>
                      <a:pt x="136" y="108"/>
                      <a:pt x="136" y="108"/>
                      <a:pt x="136" y="108"/>
                    </a:cubicBezTo>
                    <a:cubicBezTo>
                      <a:pt x="136" y="108"/>
                      <a:pt x="136" y="108"/>
                      <a:pt x="136" y="108"/>
                    </a:cubicBezTo>
                    <a:cubicBezTo>
                      <a:pt x="138" y="110"/>
                      <a:pt x="138" y="110"/>
                      <a:pt x="138" y="110"/>
                    </a:cubicBezTo>
                    <a:cubicBezTo>
                      <a:pt x="136" y="112"/>
                      <a:pt x="135" y="113"/>
                      <a:pt x="133" y="114"/>
                    </a:cubicBezTo>
                    <a:cubicBezTo>
                      <a:pt x="131" y="112"/>
                      <a:pt x="131" y="112"/>
                      <a:pt x="131" y="112"/>
                    </a:cubicBezTo>
                    <a:cubicBezTo>
                      <a:pt x="131" y="113"/>
                      <a:pt x="131" y="113"/>
                      <a:pt x="131" y="113"/>
                    </a:cubicBezTo>
                    <a:cubicBezTo>
                      <a:pt x="133" y="115"/>
                      <a:pt x="133" y="115"/>
                      <a:pt x="133" y="115"/>
                    </a:cubicBezTo>
                    <a:cubicBezTo>
                      <a:pt x="131" y="116"/>
                      <a:pt x="130" y="117"/>
                      <a:pt x="129" y="119"/>
                    </a:cubicBezTo>
                    <a:cubicBezTo>
                      <a:pt x="127" y="117"/>
                      <a:pt x="127" y="117"/>
                      <a:pt x="127" y="117"/>
                    </a:cubicBezTo>
                    <a:cubicBezTo>
                      <a:pt x="126" y="117"/>
                      <a:pt x="126" y="117"/>
                      <a:pt x="126" y="117"/>
                    </a:cubicBezTo>
                    <a:cubicBezTo>
                      <a:pt x="128" y="119"/>
                      <a:pt x="128" y="119"/>
                      <a:pt x="128" y="119"/>
                    </a:cubicBezTo>
                    <a:cubicBezTo>
                      <a:pt x="127" y="121"/>
                      <a:pt x="125" y="122"/>
                      <a:pt x="124" y="123"/>
                    </a:cubicBezTo>
                    <a:cubicBezTo>
                      <a:pt x="122" y="121"/>
                      <a:pt x="122" y="121"/>
                      <a:pt x="122" y="121"/>
                    </a:cubicBezTo>
                    <a:cubicBezTo>
                      <a:pt x="121" y="122"/>
                      <a:pt x="121" y="122"/>
                      <a:pt x="121" y="122"/>
                    </a:cubicBezTo>
                    <a:cubicBezTo>
                      <a:pt x="123" y="124"/>
                      <a:pt x="123" y="124"/>
                      <a:pt x="123" y="124"/>
                    </a:cubicBezTo>
                    <a:cubicBezTo>
                      <a:pt x="122" y="125"/>
                      <a:pt x="121" y="127"/>
                      <a:pt x="119" y="128"/>
                    </a:cubicBezTo>
                    <a:cubicBezTo>
                      <a:pt x="117" y="126"/>
                      <a:pt x="117" y="126"/>
                      <a:pt x="117" y="126"/>
                    </a:cubicBezTo>
                    <a:cubicBezTo>
                      <a:pt x="117" y="127"/>
                      <a:pt x="117" y="127"/>
                      <a:pt x="117" y="127"/>
                    </a:cubicBezTo>
                    <a:cubicBezTo>
                      <a:pt x="119" y="129"/>
                      <a:pt x="119" y="129"/>
                      <a:pt x="119" y="129"/>
                    </a:cubicBezTo>
                    <a:cubicBezTo>
                      <a:pt x="117" y="130"/>
                      <a:pt x="116" y="132"/>
                      <a:pt x="115" y="133"/>
                    </a:cubicBezTo>
                    <a:cubicBezTo>
                      <a:pt x="113" y="131"/>
                      <a:pt x="113" y="131"/>
                      <a:pt x="113" y="131"/>
                    </a:cubicBezTo>
                    <a:cubicBezTo>
                      <a:pt x="112" y="131"/>
                      <a:pt x="112" y="131"/>
                      <a:pt x="112" y="131"/>
                    </a:cubicBezTo>
                    <a:cubicBezTo>
                      <a:pt x="114" y="134"/>
                      <a:pt x="114" y="134"/>
                      <a:pt x="114" y="134"/>
                    </a:cubicBezTo>
                    <a:cubicBezTo>
                      <a:pt x="113" y="135"/>
                      <a:pt x="112" y="136"/>
                      <a:pt x="110" y="138"/>
                    </a:cubicBezTo>
                    <a:cubicBezTo>
                      <a:pt x="108" y="136"/>
                      <a:pt x="108" y="136"/>
                      <a:pt x="108" y="136"/>
                    </a:cubicBezTo>
                    <a:cubicBezTo>
                      <a:pt x="108" y="136"/>
                      <a:pt x="108" y="136"/>
                      <a:pt x="108" y="136"/>
                    </a:cubicBezTo>
                    <a:cubicBezTo>
                      <a:pt x="110" y="138"/>
                      <a:pt x="110" y="138"/>
                      <a:pt x="110" y="138"/>
                    </a:cubicBezTo>
                    <a:cubicBezTo>
                      <a:pt x="108" y="140"/>
                      <a:pt x="107" y="141"/>
                      <a:pt x="106" y="143"/>
                    </a:cubicBezTo>
                    <a:cubicBezTo>
                      <a:pt x="104" y="141"/>
                      <a:pt x="104" y="141"/>
                      <a:pt x="104" y="141"/>
                    </a:cubicBezTo>
                    <a:cubicBezTo>
                      <a:pt x="103" y="141"/>
                      <a:pt x="103" y="141"/>
                      <a:pt x="103" y="141"/>
                    </a:cubicBezTo>
                    <a:cubicBezTo>
                      <a:pt x="105" y="143"/>
                      <a:pt x="105" y="143"/>
                      <a:pt x="105" y="143"/>
                    </a:cubicBezTo>
                    <a:cubicBezTo>
                      <a:pt x="104" y="145"/>
                      <a:pt x="103" y="146"/>
                      <a:pt x="102" y="147"/>
                    </a:cubicBezTo>
                    <a:cubicBezTo>
                      <a:pt x="98" y="144"/>
                      <a:pt x="98" y="144"/>
                      <a:pt x="98" y="144"/>
                    </a:cubicBezTo>
                    <a:cubicBezTo>
                      <a:pt x="97" y="144"/>
                      <a:pt x="97" y="144"/>
                      <a:pt x="97" y="144"/>
                    </a:cubicBezTo>
                    <a:cubicBezTo>
                      <a:pt x="91" y="139"/>
                      <a:pt x="91" y="139"/>
                      <a:pt x="91" y="139"/>
                    </a:cubicBezTo>
                    <a:cubicBezTo>
                      <a:pt x="91" y="140"/>
                      <a:pt x="91" y="140"/>
                      <a:pt x="91" y="140"/>
                    </a:cubicBezTo>
                    <a:cubicBezTo>
                      <a:pt x="97" y="145"/>
                      <a:pt x="97" y="145"/>
                      <a:pt x="97" y="145"/>
                    </a:cubicBezTo>
                    <a:cubicBezTo>
                      <a:pt x="97" y="145"/>
                      <a:pt x="97" y="145"/>
                      <a:pt x="97" y="145"/>
                    </a:cubicBezTo>
                    <a:cubicBezTo>
                      <a:pt x="101" y="149"/>
                      <a:pt x="101" y="149"/>
                      <a:pt x="101" y="149"/>
                    </a:cubicBezTo>
                    <a:cubicBezTo>
                      <a:pt x="100" y="150"/>
                      <a:pt x="99" y="151"/>
                      <a:pt x="97" y="153"/>
                    </a:cubicBezTo>
                    <a:cubicBezTo>
                      <a:pt x="95" y="151"/>
                      <a:pt x="95" y="151"/>
                      <a:pt x="95" y="151"/>
                    </a:cubicBezTo>
                    <a:cubicBezTo>
                      <a:pt x="95" y="152"/>
                      <a:pt x="95" y="152"/>
                      <a:pt x="95" y="152"/>
                    </a:cubicBezTo>
                    <a:cubicBezTo>
                      <a:pt x="97" y="153"/>
                      <a:pt x="97" y="153"/>
                      <a:pt x="97" y="153"/>
                    </a:cubicBezTo>
                    <a:cubicBezTo>
                      <a:pt x="96" y="155"/>
                      <a:pt x="94" y="156"/>
                      <a:pt x="93" y="158"/>
                    </a:cubicBezTo>
                    <a:cubicBezTo>
                      <a:pt x="91" y="156"/>
                      <a:pt x="91" y="156"/>
                      <a:pt x="91" y="156"/>
                    </a:cubicBezTo>
                    <a:cubicBezTo>
                      <a:pt x="90" y="157"/>
                      <a:pt x="90" y="157"/>
                      <a:pt x="90" y="157"/>
                    </a:cubicBezTo>
                    <a:cubicBezTo>
                      <a:pt x="93" y="159"/>
                      <a:pt x="93" y="159"/>
                      <a:pt x="93" y="159"/>
                    </a:cubicBezTo>
                    <a:cubicBezTo>
                      <a:pt x="92" y="160"/>
                      <a:pt x="90" y="162"/>
                      <a:pt x="89" y="163"/>
                    </a:cubicBezTo>
                    <a:cubicBezTo>
                      <a:pt x="87" y="161"/>
                      <a:pt x="87" y="161"/>
                      <a:pt x="87" y="161"/>
                    </a:cubicBezTo>
                    <a:cubicBezTo>
                      <a:pt x="86" y="162"/>
                      <a:pt x="86" y="162"/>
                      <a:pt x="86" y="162"/>
                    </a:cubicBezTo>
                    <a:cubicBezTo>
                      <a:pt x="89" y="164"/>
                      <a:pt x="89" y="164"/>
                      <a:pt x="89" y="164"/>
                    </a:cubicBezTo>
                    <a:cubicBezTo>
                      <a:pt x="88" y="165"/>
                      <a:pt x="86" y="167"/>
                      <a:pt x="85" y="168"/>
                    </a:cubicBezTo>
                    <a:cubicBezTo>
                      <a:pt x="83" y="167"/>
                      <a:pt x="83" y="167"/>
                      <a:pt x="83" y="167"/>
                    </a:cubicBezTo>
                    <a:cubicBezTo>
                      <a:pt x="82" y="167"/>
                      <a:pt x="82" y="167"/>
                      <a:pt x="82" y="167"/>
                    </a:cubicBezTo>
                    <a:cubicBezTo>
                      <a:pt x="85" y="169"/>
                      <a:pt x="85" y="169"/>
                      <a:pt x="85" y="169"/>
                    </a:cubicBezTo>
                    <a:cubicBezTo>
                      <a:pt x="84" y="171"/>
                      <a:pt x="83" y="172"/>
                      <a:pt x="81" y="174"/>
                    </a:cubicBezTo>
                    <a:cubicBezTo>
                      <a:pt x="79" y="172"/>
                      <a:pt x="79" y="172"/>
                      <a:pt x="79" y="172"/>
                    </a:cubicBezTo>
                    <a:cubicBezTo>
                      <a:pt x="79" y="173"/>
                      <a:pt x="79" y="173"/>
                      <a:pt x="79" y="173"/>
                    </a:cubicBezTo>
                    <a:cubicBezTo>
                      <a:pt x="81" y="174"/>
                      <a:pt x="81" y="174"/>
                      <a:pt x="81" y="174"/>
                    </a:cubicBezTo>
                    <a:cubicBezTo>
                      <a:pt x="80" y="176"/>
                      <a:pt x="79" y="178"/>
                      <a:pt x="78" y="179"/>
                    </a:cubicBezTo>
                    <a:cubicBezTo>
                      <a:pt x="75" y="178"/>
                      <a:pt x="75" y="178"/>
                      <a:pt x="75" y="178"/>
                    </a:cubicBezTo>
                    <a:cubicBezTo>
                      <a:pt x="75" y="178"/>
                      <a:pt x="75" y="178"/>
                      <a:pt x="75" y="178"/>
                    </a:cubicBezTo>
                    <a:cubicBezTo>
                      <a:pt x="77" y="180"/>
                      <a:pt x="77" y="180"/>
                      <a:pt x="77" y="180"/>
                    </a:cubicBezTo>
                    <a:cubicBezTo>
                      <a:pt x="76" y="182"/>
                      <a:pt x="75" y="183"/>
                      <a:pt x="74" y="185"/>
                    </a:cubicBezTo>
                    <a:cubicBezTo>
                      <a:pt x="72" y="183"/>
                      <a:pt x="72" y="183"/>
                      <a:pt x="72" y="183"/>
                    </a:cubicBezTo>
                    <a:cubicBezTo>
                      <a:pt x="71" y="184"/>
                      <a:pt x="71" y="184"/>
                      <a:pt x="71" y="184"/>
                    </a:cubicBezTo>
                    <a:cubicBezTo>
                      <a:pt x="74" y="185"/>
                      <a:pt x="74" y="185"/>
                      <a:pt x="74" y="185"/>
                    </a:cubicBezTo>
                    <a:cubicBezTo>
                      <a:pt x="73" y="187"/>
                      <a:pt x="72" y="189"/>
                      <a:pt x="70" y="190"/>
                    </a:cubicBezTo>
                    <a:cubicBezTo>
                      <a:pt x="68" y="189"/>
                      <a:pt x="68" y="189"/>
                      <a:pt x="68" y="189"/>
                    </a:cubicBezTo>
                    <a:cubicBezTo>
                      <a:pt x="68" y="189"/>
                      <a:pt x="68" y="189"/>
                      <a:pt x="68" y="189"/>
                    </a:cubicBezTo>
                    <a:cubicBezTo>
                      <a:pt x="70" y="191"/>
                      <a:pt x="70" y="191"/>
                      <a:pt x="70" y="191"/>
                    </a:cubicBezTo>
                    <a:cubicBezTo>
                      <a:pt x="69" y="193"/>
                      <a:pt x="68" y="194"/>
                      <a:pt x="67" y="196"/>
                    </a:cubicBezTo>
                    <a:cubicBezTo>
                      <a:pt x="65" y="194"/>
                      <a:pt x="65" y="194"/>
                      <a:pt x="65" y="194"/>
                    </a:cubicBezTo>
                    <a:cubicBezTo>
                      <a:pt x="64" y="195"/>
                      <a:pt x="64" y="195"/>
                      <a:pt x="64" y="195"/>
                    </a:cubicBezTo>
                    <a:cubicBezTo>
                      <a:pt x="67" y="197"/>
                      <a:pt x="67" y="197"/>
                      <a:pt x="67" y="197"/>
                    </a:cubicBezTo>
                    <a:cubicBezTo>
                      <a:pt x="66" y="198"/>
                      <a:pt x="65" y="200"/>
                      <a:pt x="64" y="201"/>
                    </a:cubicBezTo>
                    <a:cubicBezTo>
                      <a:pt x="59" y="199"/>
                      <a:pt x="59" y="199"/>
                      <a:pt x="59" y="199"/>
                    </a:cubicBezTo>
                    <a:cubicBezTo>
                      <a:pt x="59" y="199"/>
                      <a:pt x="59" y="199"/>
                      <a:pt x="59" y="199"/>
                    </a:cubicBezTo>
                    <a:cubicBezTo>
                      <a:pt x="52" y="195"/>
                      <a:pt x="52" y="195"/>
                      <a:pt x="52" y="195"/>
                    </a:cubicBezTo>
                    <a:cubicBezTo>
                      <a:pt x="52" y="196"/>
                      <a:pt x="52" y="196"/>
                      <a:pt x="52" y="196"/>
                    </a:cubicBezTo>
                    <a:cubicBezTo>
                      <a:pt x="59" y="200"/>
                      <a:pt x="59" y="200"/>
                      <a:pt x="59" y="200"/>
                    </a:cubicBezTo>
                    <a:cubicBezTo>
                      <a:pt x="58" y="200"/>
                      <a:pt x="58" y="200"/>
                      <a:pt x="58" y="200"/>
                    </a:cubicBezTo>
                    <a:cubicBezTo>
                      <a:pt x="63" y="203"/>
                      <a:pt x="63" y="203"/>
                      <a:pt x="63" y="203"/>
                    </a:cubicBezTo>
                    <a:cubicBezTo>
                      <a:pt x="62" y="204"/>
                      <a:pt x="61" y="206"/>
                      <a:pt x="60" y="207"/>
                    </a:cubicBezTo>
                    <a:cubicBezTo>
                      <a:pt x="58" y="206"/>
                      <a:pt x="58" y="206"/>
                      <a:pt x="58" y="206"/>
                    </a:cubicBezTo>
                    <a:cubicBezTo>
                      <a:pt x="58" y="207"/>
                      <a:pt x="58" y="207"/>
                      <a:pt x="58" y="207"/>
                    </a:cubicBezTo>
                    <a:cubicBezTo>
                      <a:pt x="60" y="208"/>
                      <a:pt x="60" y="208"/>
                      <a:pt x="60" y="208"/>
                    </a:cubicBezTo>
                    <a:cubicBezTo>
                      <a:pt x="59" y="210"/>
                      <a:pt x="58" y="211"/>
                      <a:pt x="57" y="213"/>
                    </a:cubicBezTo>
                    <a:cubicBezTo>
                      <a:pt x="55" y="212"/>
                      <a:pt x="55" y="212"/>
                      <a:pt x="55" y="212"/>
                    </a:cubicBezTo>
                    <a:cubicBezTo>
                      <a:pt x="54" y="213"/>
                      <a:pt x="54" y="213"/>
                      <a:pt x="54" y="213"/>
                    </a:cubicBezTo>
                    <a:cubicBezTo>
                      <a:pt x="57" y="214"/>
                      <a:pt x="57" y="214"/>
                      <a:pt x="57" y="214"/>
                    </a:cubicBezTo>
                    <a:cubicBezTo>
                      <a:pt x="56" y="216"/>
                      <a:pt x="55" y="217"/>
                      <a:pt x="54" y="219"/>
                    </a:cubicBezTo>
                    <a:cubicBezTo>
                      <a:pt x="52" y="218"/>
                      <a:pt x="52" y="218"/>
                      <a:pt x="52" y="218"/>
                    </a:cubicBezTo>
                    <a:cubicBezTo>
                      <a:pt x="51" y="218"/>
                      <a:pt x="51" y="218"/>
                      <a:pt x="51" y="218"/>
                    </a:cubicBezTo>
                    <a:cubicBezTo>
                      <a:pt x="54" y="220"/>
                      <a:pt x="54" y="220"/>
                      <a:pt x="54" y="220"/>
                    </a:cubicBezTo>
                    <a:cubicBezTo>
                      <a:pt x="53" y="221"/>
                      <a:pt x="52" y="223"/>
                      <a:pt x="51" y="225"/>
                    </a:cubicBezTo>
                    <a:cubicBezTo>
                      <a:pt x="49" y="224"/>
                      <a:pt x="49" y="224"/>
                      <a:pt x="49" y="224"/>
                    </a:cubicBezTo>
                    <a:cubicBezTo>
                      <a:pt x="48" y="224"/>
                      <a:pt x="48" y="224"/>
                      <a:pt x="48" y="224"/>
                    </a:cubicBezTo>
                    <a:cubicBezTo>
                      <a:pt x="51" y="226"/>
                      <a:pt x="51" y="226"/>
                      <a:pt x="51" y="226"/>
                    </a:cubicBezTo>
                    <a:cubicBezTo>
                      <a:pt x="50" y="227"/>
                      <a:pt x="49" y="229"/>
                      <a:pt x="48" y="231"/>
                    </a:cubicBezTo>
                    <a:cubicBezTo>
                      <a:pt x="46" y="230"/>
                      <a:pt x="46" y="230"/>
                      <a:pt x="46" y="230"/>
                    </a:cubicBezTo>
                    <a:cubicBezTo>
                      <a:pt x="45" y="230"/>
                      <a:pt x="45" y="230"/>
                      <a:pt x="45" y="230"/>
                    </a:cubicBezTo>
                    <a:cubicBezTo>
                      <a:pt x="48" y="232"/>
                      <a:pt x="48" y="232"/>
                      <a:pt x="48" y="232"/>
                    </a:cubicBezTo>
                    <a:cubicBezTo>
                      <a:pt x="47" y="233"/>
                      <a:pt x="46" y="235"/>
                      <a:pt x="46" y="237"/>
                    </a:cubicBezTo>
                    <a:cubicBezTo>
                      <a:pt x="43" y="236"/>
                      <a:pt x="43" y="236"/>
                      <a:pt x="43" y="236"/>
                    </a:cubicBezTo>
                    <a:cubicBezTo>
                      <a:pt x="43" y="236"/>
                      <a:pt x="43" y="236"/>
                      <a:pt x="43" y="236"/>
                    </a:cubicBezTo>
                    <a:cubicBezTo>
                      <a:pt x="45" y="238"/>
                      <a:pt x="45" y="238"/>
                      <a:pt x="45" y="238"/>
                    </a:cubicBezTo>
                    <a:cubicBezTo>
                      <a:pt x="45" y="239"/>
                      <a:pt x="44" y="241"/>
                      <a:pt x="43" y="243"/>
                    </a:cubicBezTo>
                    <a:cubicBezTo>
                      <a:pt x="40" y="242"/>
                      <a:pt x="40" y="242"/>
                      <a:pt x="40" y="242"/>
                    </a:cubicBezTo>
                    <a:cubicBezTo>
                      <a:pt x="40" y="243"/>
                      <a:pt x="40" y="243"/>
                      <a:pt x="40" y="243"/>
                    </a:cubicBezTo>
                    <a:cubicBezTo>
                      <a:pt x="43" y="244"/>
                      <a:pt x="43" y="244"/>
                      <a:pt x="43" y="244"/>
                    </a:cubicBezTo>
                    <a:cubicBezTo>
                      <a:pt x="42" y="245"/>
                      <a:pt x="41" y="247"/>
                      <a:pt x="40" y="249"/>
                    </a:cubicBezTo>
                    <a:cubicBezTo>
                      <a:pt x="38" y="248"/>
                      <a:pt x="38" y="248"/>
                      <a:pt x="38" y="248"/>
                    </a:cubicBezTo>
                    <a:cubicBezTo>
                      <a:pt x="38" y="249"/>
                      <a:pt x="38" y="249"/>
                      <a:pt x="38" y="249"/>
                    </a:cubicBezTo>
                    <a:cubicBezTo>
                      <a:pt x="40" y="250"/>
                      <a:pt x="40" y="250"/>
                      <a:pt x="40" y="250"/>
                    </a:cubicBezTo>
                    <a:cubicBezTo>
                      <a:pt x="39" y="252"/>
                      <a:pt x="39" y="253"/>
                      <a:pt x="38" y="255"/>
                    </a:cubicBezTo>
                    <a:cubicBezTo>
                      <a:pt x="35" y="254"/>
                      <a:pt x="35" y="254"/>
                      <a:pt x="35" y="254"/>
                    </a:cubicBezTo>
                    <a:cubicBezTo>
                      <a:pt x="35" y="255"/>
                      <a:pt x="35" y="255"/>
                      <a:pt x="35" y="255"/>
                    </a:cubicBezTo>
                    <a:cubicBezTo>
                      <a:pt x="38" y="256"/>
                      <a:pt x="38" y="256"/>
                      <a:pt x="38" y="256"/>
                    </a:cubicBezTo>
                    <a:cubicBezTo>
                      <a:pt x="37" y="258"/>
                      <a:pt x="37" y="259"/>
                      <a:pt x="36" y="261"/>
                    </a:cubicBezTo>
                    <a:cubicBezTo>
                      <a:pt x="31" y="259"/>
                      <a:pt x="31" y="259"/>
                      <a:pt x="31" y="259"/>
                    </a:cubicBezTo>
                    <a:cubicBezTo>
                      <a:pt x="31" y="260"/>
                      <a:pt x="31" y="260"/>
                      <a:pt x="31" y="260"/>
                    </a:cubicBezTo>
                    <a:cubicBezTo>
                      <a:pt x="23" y="257"/>
                      <a:pt x="23" y="257"/>
                      <a:pt x="23" y="257"/>
                    </a:cubicBezTo>
                    <a:cubicBezTo>
                      <a:pt x="23" y="258"/>
                      <a:pt x="23" y="258"/>
                      <a:pt x="23" y="258"/>
                    </a:cubicBezTo>
                    <a:cubicBezTo>
                      <a:pt x="30" y="260"/>
                      <a:pt x="30" y="260"/>
                      <a:pt x="30" y="260"/>
                    </a:cubicBezTo>
                    <a:cubicBezTo>
                      <a:pt x="30" y="261"/>
                      <a:pt x="30" y="261"/>
                      <a:pt x="30" y="261"/>
                    </a:cubicBezTo>
                    <a:cubicBezTo>
                      <a:pt x="35" y="263"/>
                      <a:pt x="35" y="263"/>
                      <a:pt x="35" y="263"/>
                    </a:cubicBezTo>
                    <a:cubicBezTo>
                      <a:pt x="35" y="264"/>
                      <a:pt x="34" y="266"/>
                      <a:pt x="34" y="268"/>
                    </a:cubicBezTo>
                    <a:cubicBezTo>
                      <a:pt x="31" y="267"/>
                      <a:pt x="31" y="267"/>
                      <a:pt x="31" y="267"/>
                    </a:cubicBezTo>
                    <a:cubicBezTo>
                      <a:pt x="31" y="267"/>
                      <a:pt x="31" y="267"/>
                      <a:pt x="31" y="267"/>
                    </a:cubicBezTo>
                    <a:cubicBezTo>
                      <a:pt x="33" y="268"/>
                      <a:pt x="33" y="268"/>
                      <a:pt x="33" y="268"/>
                    </a:cubicBezTo>
                    <a:cubicBezTo>
                      <a:pt x="33" y="270"/>
                      <a:pt x="32" y="272"/>
                      <a:pt x="31" y="274"/>
                    </a:cubicBezTo>
                    <a:cubicBezTo>
                      <a:pt x="29" y="273"/>
                      <a:pt x="29" y="273"/>
                      <a:pt x="29" y="273"/>
                    </a:cubicBezTo>
                    <a:cubicBezTo>
                      <a:pt x="28" y="274"/>
                      <a:pt x="28" y="274"/>
                      <a:pt x="28" y="274"/>
                    </a:cubicBezTo>
                    <a:cubicBezTo>
                      <a:pt x="31" y="275"/>
                      <a:pt x="31" y="275"/>
                      <a:pt x="31" y="275"/>
                    </a:cubicBezTo>
                    <a:cubicBezTo>
                      <a:pt x="31" y="276"/>
                      <a:pt x="30" y="278"/>
                      <a:pt x="29" y="280"/>
                    </a:cubicBezTo>
                    <a:cubicBezTo>
                      <a:pt x="27" y="279"/>
                      <a:pt x="27" y="279"/>
                      <a:pt x="27" y="279"/>
                    </a:cubicBezTo>
                    <a:cubicBezTo>
                      <a:pt x="26" y="280"/>
                      <a:pt x="26" y="280"/>
                      <a:pt x="26" y="280"/>
                    </a:cubicBezTo>
                    <a:cubicBezTo>
                      <a:pt x="29" y="281"/>
                      <a:pt x="29" y="281"/>
                      <a:pt x="29" y="281"/>
                    </a:cubicBezTo>
                    <a:cubicBezTo>
                      <a:pt x="29" y="283"/>
                      <a:pt x="28" y="285"/>
                      <a:pt x="28" y="286"/>
                    </a:cubicBezTo>
                    <a:cubicBezTo>
                      <a:pt x="25" y="286"/>
                      <a:pt x="25" y="286"/>
                      <a:pt x="25" y="286"/>
                    </a:cubicBezTo>
                    <a:cubicBezTo>
                      <a:pt x="25" y="286"/>
                      <a:pt x="25" y="286"/>
                      <a:pt x="25" y="286"/>
                    </a:cubicBezTo>
                    <a:cubicBezTo>
                      <a:pt x="27" y="287"/>
                      <a:pt x="27" y="287"/>
                      <a:pt x="27" y="287"/>
                    </a:cubicBezTo>
                    <a:cubicBezTo>
                      <a:pt x="27" y="289"/>
                      <a:pt x="26" y="291"/>
                      <a:pt x="26" y="293"/>
                    </a:cubicBezTo>
                    <a:cubicBezTo>
                      <a:pt x="23" y="292"/>
                      <a:pt x="23" y="292"/>
                      <a:pt x="23" y="292"/>
                    </a:cubicBezTo>
                    <a:cubicBezTo>
                      <a:pt x="23" y="293"/>
                      <a:pt x="23" y="293"/>
                      <a:pt x="23" y="293"/>
                    </a:cubicBezTo>
                    <a:cubicBezTo>
                      <a:pt x="26" y="294"/>
                      <a:pt x="26" y="294"/>
                      <a:pt x="26" y="294"/>
                    </a:cubicBezTo>
                    <a:cubicBezTo>
                      <a:pt x="25" y="295"/>
                      <a:pt x="25" y="297"/>
                      <a:pt x="24" y="299"/>
                    </a:cubicBezTo>
                    <a:cubicBezTo>
                      <a:pt x="21" y="299"/>
                      <a:pt x="21" y="299"/>
                      <a:pt x="21" y="299"/>
                    </a:cubicBezTo>
                    <a:cubicBezTo>
                      <a:pt x="21" y="299"/>
                      <a:pt x="21" y="299"/>
                      <a:pt x="21" y="299"/>
                    </a:cubicBezTo>
                    <a:cubicBezTo>
                      <a:pt x="24" y="300"/>
                      <a:pt x="24" y="300"/>
                      <a:pt x="24" y="300"/>
                    </a:cubicBezTo>
                    <a:cubicBezTo>
                      <a:pt x="23" y="302"/>
                      <a:pt x="23" y="304"/>
                      <a:pt x="23" y="306"/>
                    </a:cubicBezTo>
                    <a:cubicBezTo>
                      <a:pt x="20" y="305"/>
                      <a:pt x="20" y="305"/>
                      <a:pt x="20" y="305"/>
                    </a:cubicBezTo>
                    <a:cubicBezTo>
                      <a:pt x="20" y="306"/>
                      <a:pt x="20" y="306"/>
                      <a:pt x="20" y="306"/>
                    </a:cubicBezTo>
                    <a:cubicBezTo>
                      <a:pt x="22" y="306"/>
                      <a:pt x="22" y="306"/>
                      <a:pt x="22" y="306"/>
                    </a:cubicBezTo>
                    <a:cubicBezTo>
                      <a:pt x="22" y="308"/>
                      <a:pt x="22" y="310"/>
                      <a:pt x="21" y="312"/>
                    </a:cubicBezTo>
                    <a:cubicBezTo>
                      <a:pt x="18" y="312"/>
                      <a:pt x="18" y="312"/>
                      <a:pt x="18" y="312"/>
                    </a:cubicBezTo>
                    <a:cubicBezTo>
                      <a:pt x="18" y="312"/>
                      <a:pt x="18" y="312"/>
                      <a:pt x="18" y="312"/>
                    </a:cubicBezTo>
                    <a:cubicBezTo>
                      <a:pt x="21" y="313"/>
                      <a:pt x="21" y="313"/>
                      <a:pt x="21" y="313"/>
                    </a:cubicBezTo>
                    <a:cubicBezTo>
                      <a:pt x="21" y="315"/>
                      <a:pt x="20" y="317"/>
                      <a:pt x="20" y="319"/>
                    </a:cubicBezTo>
                    <a:cubicBezTo>
                      <a:pt x="17" y="318"/>
                      <a:pt x="17" y="318"/>
                      <a:pt x="17" y="318"/>
                    </a:cubicBezTo>
                    <a:cubicBezTo>
                      <a:pt x="17" y="319"/>
                      <a:pt x="17" y="319"/>
                      <a:pt x="17" y="319"/>
                    </a:cubicBezTo>
                    <a:cubicBezTo>
                      <a:pt x="20" y="319"/>
                      <a:pt x="20" y="319"/>
                      <a:pt x="20" y="319"/>
                    </a:cubicBezTo>
                    <a:cubicBezTo>
                      <a:pt x="19" y="321"/>
                      <a:pt x="19" y="323"/>
                      <a:pt x="19" y="325"/>
                    </a:cubicBezTo>
                    <a:cubicBezTo>
                      <a:pt x="13" y="324"/>
                      <a:pt x="13" y="324"/>
                      <a:pt x="13" y="324"/>
                    </a:cubicBezTo>
                    <a:cubicBezTo>
                      <a:pt x="13" y="324"/>
                      <a:pt x="13" y="324"/>
                      <a:pt x="13" y="324"/>
                    </a:cubicBezTo>
                    <a:cubicBezTo>
                      <a:pt x="6" y="323"/>
                      <a:pt x="6" y="323"/>
                      <a:pt x="6" y="323"/>
                    </a:cubicBezTo>
                    <a:cubicBezTo>
                      <a:pt x="6" y="324"/>
                      <a:pt x="6" y="324"/>
                      <a:pt x="6" y="324"/>
                    </a:cubicBezTo>
                    <a:cubicBezTo>
                      <a:pt x="13" y="325"/>
                      <a:pt x="13" y="325"/>
                      <a:pt x="13" y="325"/>
                    </a:cubicBezTo>
                    <a:cubicBezTo>
                      <a:pt x="13" y="325"/>
                      <a:pt x="13" y="325"/>
                      <a:pt x="13" y="325"/>
                    </a:cubicBezTo>
                    <a:cubicBezTo>
                      <a:pt x="18" y="326"/>
                      <a:pt x="18" y="326"/>
                      <a:pt x="18" y="326"/>
                    </a:cubicBezTo>
                    <a:cubicBezTo>
                      <a:pt x="18" y="328"/>
                      <a:pt x="18" y="330"/>
                      <a:pt x="18" y="332"/>
                    </a:cubicBezTo>
                    <a:cubicBezTo>
                      <a:pt x="15" y="331"/>
                      <a:pt x="15" y="331"/>
                      <a:pt x="15" y="331"/>
                    </a:cubicBezTo>
                    <a:cubicBezTo>
                      <a:pt x="15" y="332"/>
                      <a:pt x="15" y="332"/>
                      <a:pt x="15" y="332"/>
                    </a:cubicBezTo>
                    <a:cubicBezTo>
                      <a:pt x="18" y="332"/>
                      <a:pt x="18" y="332"/>
                      <a:pt x="18" y="332"/>
                    </a:cubicBezTo>
                    <a:cubicBezTo>
                      <a:pt x="17" y="334"/>
                      <a:pt x="17" y="336"/>
                      <a:pt x="17" y="338"/>
                    </a:cubicBezTo>
                    <a:cubicBezTo>
                      <a:pt x="14" y="338"/>
                      <a:pt x="14" y="338"/>
                      <a:pt x="14" y="338"/>
                    </a:cubicBezTo>
                    <a:cubicBezTo>
                      <a:pt x="14" y="339"/>
                      <a:pt x="14" y="339"/>
                      <a:pt x="14" y="339"/>
                    </a:cubicBezTo>
                    <a:cubicBezTo>
                      <a:pt x="17" y="339"/>
                      <a:pt x="17" y="339"/>
                      <a:pt x="17" y="339"/>
                    </a:cubicBezTo>
                    <a:cubicBezTo>
                      <a:pt x="16" y="341"/>
                      <a:pt x="16" y="343"/>
                      <a:pt x="16" y="345"/>
                    </a:cubicBezTo>
                    <a:cubicBezTo>
                      <a:pt x="13" y="344"/>
                      <a:pt x="13" y="344"/>
                      <a:pt x="13" y="344"/>
                    </a:cubicBezTo>
                    <a:cubicBezTo>
                      <a:pt x="13" y="345"/>
                      <a:pt x="13" y="345"/>
                      <a:pt x="13" y="345"/>
                    </a:cubicBezTo>
                    <a:cubicBezTo>
                      <a:pt x="16" y="345"/>
                      <a:pt x="16" y="345"/>
                      <a:pt x="16" y="345"/>
                    </a:cubicBezTo>
                    <a:cubicBezTo>
                      <a:pt x="15" y="347"/>
                      <a:pt x="15" y="349"/>
                      <a:pt x="15" y="351"/>
                    </a:cubicBezTo>
                    <a:cubicBezTo>
                      <a:pt x="12" y="351"/>
                      <a:pt x="12" y="351"/>
                      <a:pt x="12" y="351"/>
                    </a:cubicBezTo>
                    <a:cubicBezTo>
                      <a:pt x="12" y="352"/>
                      <a:pt x="12" y="352"/>
                      <a:pt x="12" y="352"/>
                    </a:cubicBezTo>
                    <a:cubicBezTo>
                      <a:pt x="15" y="352"/>
                      <a:pt x="15" y="352"/>
                      <a:pt x="15" y="352"/>
                    </a:cubicBezTo>
                    <a:cubicBezTo>
                      <a:pt x="15" y="354"/>
                      <a:pt x="15" y="356"/>
                      <a:pt x="14" y="358"/>
                    </a:cubicBezTo>
                    <a:cubicBezTo>
                      <a:pt x="11" y="358"/>
                      <a:pt x="11" y="358"/>
                      <a:pt x="11" y="358"/>
                    </a:cubicBezTo>
                    <a:cubicBezTo>
                      <a:pt x="11" y="358"/>
                      <a:pt x="11" y="358"/>
                      <a:pt x="11" y="358"/>
                    </a:cubicBezTo>
                    <a:cubicBezTo>
                      <a:pt x="14" y="359"/>
                      <a:pt x="14" y="359"/>
                      <a:pt x="14" y="359"/>
                    </a:cubicBezTo>
                    <a:cubicBezTo>
                      <a:pt x="14" y="361"/>
                      <a:pt x="14" y="362"/>
                      <a:pt x="14" y="364"/>
                    </a:cubicBezTo>
                    <a:cubicBezTo>
                      <a:pt x="11" y="364"/>
                      <a:pt x="11" y="364"/>
                      <a:pt x="11" y="364"/>
                    </a:cubicBezTo>
                    <a:cubicBezTo>
                      <a:pt x="11" y="365"/>
                      <a:pt x="11" y="365"/>
                      <a:pt x="11" y="365"/>
                    </a:cubicBezTo>
                    <a:cubicBezTo>
                      <a:pt x="14" y="365"/>
                      <a:pt x="14" y="365"/>
                      <a:pt x="14" y="365"/>
                    </a:cubicBezTo>
                    <a:cubicBezTo>
                      <a:pt x="14" y="367"/>
                      <a:pt x="14" y="369"/>
                      <a:pt x="14" y="371"/>
                    </a:cubicBezTo>
                    <a:cubicBezTo>
                      <a:pt x="11" y="371"/>
                      <a:pt x="11" y="371"/>
                      <a:pt x="11" y="371"/>
                    </a:cubicBezTo>
                    <a:cubicBezTo>
                      <a:pt x="10" y="372"/>
                      <a:pt x="10" y="372"/>
                      <a:pt x="10" y="372"/>
                    </a:cubicBezTo>
                    <a:cubicBezTo>
                      <a:pt x="13" y="372"/>
                      <a:pt x="13" y="372"/>
                      <a:pt x="13" y="372"/>
                    </a:cubicBezTo>
                    <a:cubicBezTo>
                      <a:pt x="13" y="374"/>
                      <a:pt x="13" y="376"/>
                      <a:pt x="13" y="378"/>
                    </a:cubicBezTo>
                    <a:cubicBezTo>
                      <a:pt x="10" y="377"/>
                      <a:pt x="10" y="377"/>
                      <a:pt x="10" y="377"/>
                    </a:cubicBezTo>
                    <a:cubicBezTo>
                      <a:pt x="10" y="378"/>
                      <a:pt x="10" y="378"/>
                      <a:pt x="10" y="378"/>
                    </a:cubicBezTo>
                    <a:cubicBezTo>
                      <a:pt x="13" y="378"/>
                      <a:pt x="13" y="378"/>
                      <a:pt x="13" y="378"/>
                    </a:cubicBezTo>
                    <a:cubicBezTo>
                      <a:pt x="13" y="380"/>
                      <a:pt x="13" y="382"/>
                      <a:pt x="13" y="384"/>
                    </a:cubicBezTo>
                    <a:cubicBezTo>
                      <a:pt x="10" y="384"/>
                      <a:pt x="10" y="384"/>
                      <a:pt x="10" y="384"/>
                    </a:cubicBezTo>
                    <a:cubicBezTo>
                      <a:pt x="10" y="385"/>
                      <a:pt x="10" y="385"/>
                      <a:pt x="10" y="385"/>
                    </a:cubicBezTo>
                    <a:cubicBezTo>
                      <a:pt x="13" y="385"/>
                      <a:pt x="13" y="385"/>
                      <a:pt x="13" y="385"/>
                    </a:cubicBezTo>
                    <a:cubicBezTo>
                      <a:pt x="13" y="387"/>
                      <a:pt x="13" y="389"/>
                      <a:pt x="13" y="390"/>
                    </a:cubicBezTo>
                    <a:cubicBezTo>
                      <a:pt x="7" y="390"/>
                      <a:pt x="7" y="390"/>
                      <a:pt x="7" y="390"/>
                    </a:cubicBezTo>
                    <a:cubicBezTo>
                      <a:pt x="7" y="391"/>
                      <a:pt x="7" y="391"/>
                      <a:pt x="7" y="391"/>
                    </a:cubicBezTo>
                    <a:cubicBezTo>
                      <a:pt x="0" y="391"/>
                      <a:pt x="0" y="391"/>
                      <a:pt x="0" y="391"/>
                    </a:cubicBezTo>
                    <a:cubicBezTo>
                      <a:pt x="0" y="392"/>
                      <a:pt x="0" y="392"/>
                      <a:pt x="0" y="392"/>
                    </a:cubicBezTo>
                    <a:cubicBezTo>
                      <a:pt x="7" y="392"/>
                      <a:pt x="7" y="392"/>
                      <a:pt x="7" y="392"/>
                    </a:cubicBezTo>
                    <a:cubicBezTo>
                      <a:pt x="7" y="392"/>
                      <a:pt x="7" y="392"/>
                      <a:pt x="7" y="392"/>
                    </a:cubicBezTo>
                    <a:cubicBezTo>
                      <a:pt x="13" y="392"/>
                      <a:pt x="13" y="392"/>
                      <a:pt x="13" y="392"/>
                    </a:cubicBezTo>
                    <a:cubicBezTo>
                      <a:pt x="13" y="394"/>
                      <a:pt x="13" y="396"/>
                      <a:pt x="13" y="397"/>
                    </a:cubicBezTo>
                    <a:cubicBezTo>
                      <a:pt x="10" y="397"/>
                      <a:pt x="10" y="397"/>
                      <a:pt x="10" y="397"/>
                    </a:cubicBezTo>
                    <a:cubicBezTo>
                      <a:pt x="10" y="398"/>
                      <a:pt x="10" y="398"/>
                      <a:pt x="10" y="398"/>
                    </a:cubicBezTo>
                    <a:cubicBezTo>
                      <a:pt x="13" y="398"/>
                      <a:pt x="13" y="398"/>
                      <a:pt x="13" y="398"/>
                    </a:cubicBezTo>
                    <a:cubicBezTo>
                      <a:pt x="13" y="400"/>
                      <a:pt x="13" y="402"/>
                      <a:pt x="13" y="404"/>
                    </a:cubicBezTo>
                    <a:cubicBezTo>
                      <a:pt x="10" y="404"/>
                      <a:pt x="10" y="404"/>
                      <a:pt x="10" y="404"/>
                    </a:cubicBezTo>
                    <a:cubicBezTo>
                      <a:pt x="10" y="405"/>
                      <a:pt x="10" y="405"/>
                      <a:pt x="10" y="405"/>
                    </a:cubicBezTo>
                    <a:cubicBezTo>
                      <a:pt x="13" y="405"/>
                      <a:pt x="13" y="405"/>
                      <a:pt x="13" y="405"/>
                    </a:cubicBezTo>
                    <a:cubicBezTo>
                      <a:pt x="13" y="407"/>
                      <a:pt x="13" y="409"/>
                      <a:pt x="13" y="411"/>
                    </a:cubicBezTo>
                    <a:cubicBezTo>
                      <a:pt x="10" y="411"/>
                      <a:pt x="10" y="411"/>
                      <a:pt x="10" y="411"/>
                    </a:cubicBezTo>
                    <a:cubicBezTo>
                      <a:pt x="11" y="412"/>
                      <a:pt x="11" y="412"/>
                      <a:pt x="11" y="412"/>
                    </a:cubicBezTo>
                    <a:cubicBezTo>
                      <a:pt x="14" y="411"/>
                      <a:pt x="14" y="411"/>
                      <a:pt x="14" y="411"/>
                    </a:cubicBezTo>
                    <a:cubicBezTo>
                      <a:pt x="14" y="413"/>
                      <a:pt x="14" y="415"/>
                      <a:pt x="14" y="417"/>
                    </a:cubicBezTo>
                    <a:cubicBezTo>
                      <a:pt x="11" y="417"/>
                      <a:pt x="11" y="417"/>
                      <a:pt x="11" y="417"/>
                    </a:cubicBezTo>
                    <a:cubicBezTo>
                      <a:pt x="11" y="418"/>
                      <a:pt x="11" y="418"/>
                      <a:pt x="11" y="418"/>
                    </a:cubicBezTo>
                    <a:cubicBezTo>
                      <a:pt x="14" y="418"/>
                      <a:pt x="14" y="418"/>
                      <a:pt x="14" y="418"/>
                    </a:cubicBezTo>
                    <a:cubicBezTo>
                      <a:pt x="14" y="420"/>
                      <a:pt x="14" y="422"/>
                      <a:pt x="14" y="424"/>
                    </a:cubicBezTo>
                    <a:cubicBezTo>
                      <a:pt x="11" y="424"/>
                      <a:pt x="11" y="424"/>
                      <a:pt x="11" y="424"/>
                    </a:cubicBezTo>
                    <a:cubicBezTo>
                      <a:pt x="11" y="425"/>
                      <a:pt x="11" y="425"/>
                      <a:pt x="11" y="425"/>
                    </a:cubicBezTo>
                    <a:cubicBezTo>
                      <a:pt x="14" y="425"/>
                      <a:pt x="14" y="425"/>
                      <a:pt x="14" y="425"/>
                    </a:cubicBezTo>
                    <a:cubicBezTo>
                      <a:pt x="15" y="426"/>
                      <a:pt x="15" y="428"/>
                      <a:pt x="15" y="430"/>
                    </a:cubicBezTo>
                    <a:cubicBezTo>
                      <a:pt x="12" y="431"/>
                      <a:pt x="12" y="431"/>
                      <a:pt x="12" y="431"/>
                    </a:cubicBezTo>
                    <a:cubicBezTo>
                      <a:pt x="12" y="431"/>
                      <a:pt x="12" y="431"/>
                      <a:pt x="12" y="431"/>
                    </a:cubicBezTo>
                    <a:cubicBezTo>
                      <a:pt x="15" y="431"/>
                      <a:pt x="15" y="431"/>
                      <a:pt x="15" y="431"/>
                    </a:cubicBezTo>
                    <a:cubicBezTo>
                      <a:pt x="15" y="433"/>
                      <a:pt x="15" y="435"/>
                      <a:pt x="16" y="437"/>
                    </a:cubicBezTo>
                    <a:cubicBezTo>
                      <a:pt x="13" y="437"/>
                      <a:pt x="13" y="437"/>
                      <a:pt x="13" y="437"/>
                    </a:cubicBezTo>
                    <a:cubicBezTo>
                      <a:pt x="13" y="438"/>
                      <a:pt x="13" y="438"/>
                      <a:pt x="13" y="438"/>
                    </a:cubicBezTo>
                    <a:cubicBezTo>
                      <a:pt x="16" y="438"/>
                      <a:pt x="16" y="438"/>
                      <a:pt x="16" y="438"/>
                    </a:cubicBezTo>
                    <a:cubicBezTo>
                      <a:pt x="16" y="440"/>
                      <a:pt x="16" y="442"/>
                      <a:pt x="17" y="443"/>
                    </a:cubicBezTo>
                    <a:cubicBezTo>
                      <a:pt x="14" y="444"/>
                      <a:pt x="14" y="444"/>
                      <a:pt x="14" y="444"/>
                    </a:cubicBezTo>
                    <a:cubicBezTo>
                      <a:pt x="14" y="445"/>
                      <a:pt x="14" y="445"/>
                      <a:pt x="14" y="445"/>
                    </a:cubicBezTo>
                    <a:cubicBezTo>
                      <a:pt x="17" y="444"/>
                      <a:pt x="17" y="444"/>
                      <a:pt x="17" y="444"/>
                    </a:cubicBezTo>
                    <a:cubicBezTo>
                      <a:pt x="17" y="446"/>
                      <a:pt x="17" y="448"/>
                      <a:pt x="18" y="450"/>
                    </a:cubicBezTo>
                    <a:cubicBezTo>
                      <a:pt x="15" y="450"/>
                      <a:pt x="15" y="450"/>
                      <a:pt x="15" y="450"/>
                    </a:cubicBezTo>
                    <a:cubicBezTo>
                      <a:pt x="15" y="451"/>
                      <a:pt x="15" y="451"/>
                      <a:pt x="15" y="451"/>
                    </a:cubicBezTo>
                    <a:cubicBezTo>
                      <a:pt x="18" y="451"/>
                      <a:pt x="18" y="451"/>
                      <a:pt x="18" y="451"/>
                    </a:cubicBezTo>
                    <a:cubicBezTo>
                      <a:pt x="18" y="452"/>
                      <a:pt x="18" y="454"/>
                      <a:pt x="18" y="456"/>
                    </a:cubicBezTo>
                    <a:cubicBezTo>
                      <a:pt x="13" y="457"/>
                      <a:pt x="13" y="457"/>
                      <a:pt x="13" y="457"/>
                    </a:cubicBezTo>
                    <a:cubicBezTo>
                      <a:pt x="13" y="457"/>
                      <a:pt x="13" y="457"/>
                      <a:pt x="13" y="457"/>
                    </a:cubicBezTo>
                    <a:cubicBezTo>
                      <a:pt x="6" y="459"/>
                      <a:pt x="6" y="459"/>
                      <a:pt x="6" y="459"/>
                    </a:cubicBezTo>
                    <a:cubicBezTo>
                      <a:pt x="6" y="460"/>
                      <a:pt x="6" y="460"/>
                      <a:pt x="6" y="460"/>
                    </a:cubicBezTo>
                    <a:cubicBezTo>
                      <a:pt x="13" y="458"/>
                      <a:pt x="13" y="458"/>
                      <a:pt x="13" y="458"/>
                    </a:cubicBezTo>
                    <a:cubicBezTo>
                      <a:pt x="13" y="459"/>
                      <a:pt x="13" y="459"/>
                      <a:pt x="13" y="459"/>
                    </a:cubicBezTo>
                    <a:cubicBezTo>
                      <a:pt x="19" y="458"/>
                      <a:pt x="19" y="458"/>
                      <a:pt x="19" y="458"/>
                    </a:cubicBezTo>
                    <a:cubicBezTo>
                      <a:pt x="19" y="460"/>
                      <a:pt x="19" y="461"/>
                      <a:pt x="20" y="463"/>
                    </a:cubicBezTo>
                    <a:cubicBezTo>
                      <a:pt x="17" y="464"/>
                      <a:pt x="17" y="464"/>
                      <a:pt x="17" y="464"/>
                    </a:cubicBezTo>
                    <a:cubicBezTo>
                      <a:pt x="17" y="464"/>
                      <a:pt x="17" y="464"/>
                      <a:pt x="17" y="464"/>
                    </a:cubicBezTo>
                    <a:cubicBezTo>
                      <a:pt x="20" y="464"/>
                      <a:pt x="20" y="464"/>
                      <a:pt x="20" y="464"/>
                    </a:cubicBezTo>
                    <a:cubicBezTo>
                      <a:pt x="20" y="466"/>
                      <a:pt x="21" y="468"/>
                      <a:pt x="21" y="469"/>
                    </a:cubicBezTo>
                    <a:cubicBezTo>
                      <a:pt x="18" y="470"/>
                      <a:pt x="18" y="470"/>
                      <a:pt x="18" y="470"/>
                    </a:cubicBezTo>
                    <a:cubicBezTo>
                      <a:pt x="18" y="471"/>
                      <a:pt x="18" y="471"/>
                      <a:pt x="18" y="471"/>
                    </a:cubicBezTo>
                    <a:cubicBezTo>
                      <a:pt x="21" y="470"/>
                      <a:pt x="21" y="470"/>
                      <a:pt x="21" y="470"/>
                    </a:cubicBezTo>
                    <a:cubicBezTo>
                      <a:pt x="22" y="472"/>
                      <a:pt x="22" y="474"/>
                      <a:pt x="22" y="476"/>
                    </a:cubicBezTo>
                    <a:cubicBezTo>
                      <a:pt x="20" y="477"/>
                      <a:pt x="20" y="477"/>
                      <a:pt x="20" y="477"/>
                    </a:cubicBezTo>
                    <a:cubicBezTo>
                      <a:pt x="20" y="477"/>
                      <a:pt x="20" y="477"/>
                      <a:pt x="20" y="477"/>
                    </a:cubicBezTo>
                    <a:cubicBezTo>
                      <a:pt x="23" y="477"/>
                      <a:pt x="23" y="477"/>
                      <a:pt x="23" y="477"/>
                    </a:cubicBezTo>
                    <a:cubicBezTo>
                      <a:pt x="23" y="479"/>
                      <a:pt x="23" y="480"/>
                      <a:pt x="24" y="482"/>
                    </a:cubicBezTo>
                    <a:cubicBezTo>
                      <a:pt x="21" y="483"/>
                      <a:pt x="21" y="483"/>
                      <a:pt x="21" y="483"/>
                    </a:cubicBezTo>
                    <a:cubicBezTo>
                      <a:pt x="21" y="484"/>
                      <a:pt x="21" y="484"/>
                      <a:pt x="21" y="484"/>
                    </a:cubicBezTo>
                    <a:cubicBezTo>
                      <a:pt x="24" y="483"/>
                      <a:pt x="24" y="483"/>
                      <a:pt x="24" y="483"/>
                    </a:cubicBezTo>
                    <a:cubicBezTo>
                      <a:pt x="25" y="485"/>
                      <a:pt x="25" y="487"/>
                      <a:pt x="26" y="489"/>
                    </a:cubicBezTo>
                    <a:cubicBezTo>
                      <a:pt x="23" y="489"/>
                      <a:pt x="23" y="489"/>
                      <a:pt x="23" y="489"/>
                    </a:cubicBezTo>
                    <a:cubicBezTo>
                      <a:pt x="23" y="490"/>
                      <a:pt x="23" y="490"/>
                      <a:pt x="23" y="490"/>
                    </a:cubicBezTo>
                    <a:cubicBezTo>
                      <a:pt x="26" y="489"/>
                      <a:pt x="26" y="489"/>
                      <a:pt x="26" y="489"/>
                    </a:cubicBezTo>
                    <a:cubicBezTo>
                      <a:pt x="26" y="491"/>
                      <a:pt x="27" y="493"/>
                      <a:pt x="27" y="495"/>
                    </a:cubicBezTo>
                    <a:cubicBezTo>
                      <a:pt x="25" y="496"/>
                      <a:pt x="25" y="496"/>
                      <a:pt x="25" y="496"/>
                    </a:cubicBezTo>
                    <a:cubicBezTo>
                      <a:pt x="25" y="497"/>
                      <a:pt x="25" y="497"/>
                      <a:pt x="25" y="497"/>
                    </a:cubicBezTo>
                    <a:cubicBezTo>
                      <a:pt x="28" y="496"/>
                      <a:pt x="28" y="496"/>
                      <a:pt x="28" y="496"/>
                    </a:cubicBezTo>
                    <a:cubicBezTo>
                      <a:pt x="28" y="498"/>
                      <a:pt x="29" y="500"/>
                      <a:pt x="29" y="501"/>
                    </a:cubicBezTo>
                    <a:cubicBezTo>
                      <a:pt x="26" y="502"/>
                      <a:pt x="26" y="502"/>
                      <a:pt x="26" y="502"/>
                    </a:cubicBezTo>
                    <a:cubicBezTo>
                      <a:pt x="27" y="503"/>
                      <a:pt x="27" y="503"/>
                      <a:pt x="27" y="503"/>
                    </a:cubicBezTo>
                    <a:cubicBezTo>
                      <a:pt x="29" y="502"/>
                      <a:pt x="29" y="502"/>
                      <a:pt x="29" y="502"/>
                    </a:cubicBezTo>
                    <a:cubicBezTo>
                      <a:pt x="30" y="504"/>
                      <a:pt x="31" y="506"/>
                      <a:pt x="31" y="508"/>
                    </a:cubicBezTo>
                    <a:cubicBezTo>
                      <a:pt x="28" y="509"/>
                      <a:pt x="28" y="509"/>
                      <a:pt x="28" y="509"/>
                    </a:cubicBezTo>
                    <a:cubicBezTo>
                      <a:pt x="29" y="509"/>
                      <a:pt x="29" y="509"/>
                      <a:pt x="29" y="509"/>
                    </a:cubicBezTo>
                    <a:cubicBezTo>
                      <a:pt x="31" y="508"/>
                      <a:pt x="31" y="508"/>
                      <a:pt x="31" y="508"/>
                    </a:cubicBezTo>
                    <a:cubicBezTo>
                      <a:pt x="32" y="510"/>
                      <a:pt x="33" y="512"/>
                      <a:pt x="33" y="514"/>
                    </a:cubicBezTo>
                    <a:cubicBezTo>
                      <a:pt x="31" y="515"/>
                      <a:pt x="31" y="515"/>
                      <a:pt x="31" y="515"/>
                    </a:cubicBezTo>
                    <a:cubicBezTo>
                      <a:pt x="31" y="516"/>
                      <a:pt x="31" y="516"/>
                      <a:pt x="31" y="516"/>
                    </a:cubicBezTo>
                    <a:cubicBezTo>
                      <a:pt x="34" y="515"/>
                      <a:pt x="34" y="515"/>
                      <a:pt x="34" y="515"/>
                    </a:cubicBezTo>
                    <a:cubicBezTo>
                      <a:pt x="34" y="516"/>
                      <a:pt x="35" y="518"/>
                      <a:pt x="35" y="520"/>
                    </a:cubicBezTo>
                    <a:cubicBezTo>
                      <a:pt x="30" y="522"/>
                      <a:pt x="30" y="522"/>
                      <a:pt x="30" y="522"/>
                    </a:cubicBezTo>
                    <a:cubicBezTo>
                      <a:pt x="30" y="522"/>
                      <a:pt x="30" y="522"/>
                      <a:pt x="30" y="522"/>
                    </a:cubicBezTo>
                    <a:cubicBezTo>
                      <a:pt x="23" y="525"/>
                      <a:pt x="23" y="525"/>
                      <a:pt x="23" y="525"/>
                    </a:cubicBezTo>
                    <a:cubicBezTo>
                      <a:pt x="23" y="525"/>
                      <a:pt x="23" y="525"/>
                      <a:pt x="23" y="525"/>
                    </a:cubicBezTo>
                    <a:cubicBezTo>
                      <a:pt x="31" y="523"/>
                      <a:pt x="31" y="523"/>
                      <a:pt x="31" y="523"/>
                    </a:cubicBezTo>
                    <a:cubicBezTo>
                      <a:pt x="31" y="523"/>
                      <a:pt x="31" y="523"/>
                      <a:pt x="31" y="523"/>
                    </a:cubicBezTo>
                    <a:cubicBezTo>
                      <a:pt x="36" y="521"/>
                      <a:pt x="36" y="521"/>
                      <a:pt x="36" y="521"/>
                    </a:cubicBezTo>
                    <a:cubicBezTo>
                      <a:pt x="37" y="523"/>
                      <a:pt x="37" y="525"/>
                      <a:pt x="38" y="526"/>
                    </a:cubicBezTo>
                    <a:cubicBezTo>
                      <a:pt x="35" y="527"/>
                      <a:pt x="35" y="527"/>
                      <a:pt x="35" y="527"/>
                    </a:cubicBezTo>
                    <a:cubicBezTo>
                      <a:pt x="35" y="528"/>
                      <a:pt x="35" y="528"/>
                      <a:pt x="35" y="528"/>
                    </a:cubicBezTo>
                    <a:cubicBezTo>
                      <a:pt x="38" y="527"/>
                      <a:pt x="38" y="527"/>
                      <a:pt x="38" y="527"/>
                    </a:cubicBezTo>
                    <a:cubicBezTo>
                      <a:pt x="39" y="529"/>
                      <a:pt x="39" y="531"/>
                      <a:pt x="40" y="533"/>
                    </a:cubicBezTo>
                    <a:cubicBezTo>
                      <a:pt x="38" y="534"/>
                      <a:pt x="38" y="534"/>
                      <a:pt x="38" y="534"/>
                    </a:cubicBezTo>
                    <a:cubicBezTo>
                      <a:pt x="38" y="534"/>
                      <a:pt x="38" y="534"/>
                      <a:pt x="38" y="534"/>
                    </a:cubicBezTo>
                    <a:cubicBezTo>
                      <a:pt x="40" y="533"/>
                      <a:pt x="40" y="533"/>
                      <a:pt x="40" y="533"/>
                    </a:cubicBezTo>
                    <a:cubicBezTo>
                      <a:pt x="41" y="535"/>
                      <a:pt x="42" y="537"/>
                      <a:pt x="43" y="539"/>
                    </a:cubicBezTo>
                    <a:cubicBezTo>
                      <a:pt x="40" y="540"/>
                      <a:pt x="40" y="540"/>
                      <a:pt x="40" y="540"/>
                    </a:cubicBezTo>
                    <a:cubicBezTo>
                      <a:pt x="40" y="541"/>
                      <a:pt x="40" y="541"/>
                      <a:pt x="40" y="541"/>
                    </a:cubicBezTo>
                    <a:cubicBezTo>
                      <a:pt x="43" y="539"/>
                      <a:pt x="43" y="539"/>
                      <a:pt x="43" y="539"/>
                    </a:cubicBezTo>
                    <a:cubicBezTo>
                      <a:pt x="44" y="541"/>
                      <a:pt x="45" y="543"/>
                      <a:pt x="45" y="545"/>
                    </a:cubicBezTo>
                    <a:cubicBezTo>
                      <a:pt x="43" y="546"/>
                      <a:pt x="43" y="546"/>
                      <a:pt x="43" y="546"/>
                    </a:cubicBezTo>
                    <a:cubicBezTo>
                      <a:pt x="43" y="547"/>
                      <a:pt x="43" y="547"/>
                      <a:pt x="43" y="547"/>
                    </a:cubicBezTo>
                    <a:cubicBezTo>
                      <a:pt x="46" y="545"/>
                      <a:pt x="46" y="545"/>
                      <a:pt x="46" y="545"/>
                    </a:cubicBezTo>
                    <a:cubicBezTo>
                      <a:pt x="46" y="547"/>
                      <a:pt x="47" y="549"/>
                      <a:pt x="48" y="551"/>
                    </a:cubicBezTo>
                    <a:cubicBezTo>
                      <a:pt x="45" y="552"/>
                      <a:pt x="45" y="552"/>
                      <a:pt x="45" y="552"/>
                    </a:cubicBezTo>
                    <a:cubicBezTo>
                      <a:pt x="46" y="553"/>
                      <a:pt x="46" y="553"/>
                      <a:pt x="46" y="553"/>
                    </a:cubicBezTo>
                    <a:cubicBezTo>
                      <a:pt x="48" y="551"/>
                      <a:pt x="48" y="551"/>
                      <a:pt x="48" y="551"/>
                    </a:cubicBezTo>
                    <a:cubicBezTo>
                      <a:pt x="49" y="553"/>
                      <a:pt x="50" y="555"/>
                      <a:pt x="51" y="557"/>
                    </a:cubicBezTo>
                    <a:cubicBezTo>
                      <a:pt x="48" y="558"/>
                      <a:pt x="48" y="558"/>
                      <a:pt x="48" y="558"/>
                    </a:cubicBezTo>
                    <a:cubicBezTo>
                      <a:pt x="49" y="559"/>
                      <a:pt x="49" y="559"/>
                      <a:pt x="49" y="559"/>
                    </a:cubicBezTo>
                    <a:cubicBezTo>
                      <a:pt x="51" y="557"/>
                      <a:pt x="51" y="557"/>
                      <a:pt x="51" y="557"/>
                    </a:cubicBezTo>
                    <a:cubicBezTo>
                      <a:pt x="52" y="559"/>
                      <a:pt x="53" y="561"/>
                      <a:pt x="54" y="563"/>
                    </a:cubicBezTo>
                    <a:cubicBezTo>
                      <a:pt x="51" y="564"/>
                      <a:pt x="51" y="564"/>
                      <a:pt x="51" y="564"/>
                    </a:cubicBezTo>
                    <a:cubicBezTo>
                      <a:pt x="52" y="565"/>
                      <a:pt x="52" y="565"/>
                      <a:pt x="52" y="565"/>
                    </a:cubicBezTo>
                    <a:cubicBezTo>
                      <a:pt x="54" y="563"/>
                      <a:pt x="54" y="563"/>
                      <a:pt x="54" y="563"/>
                    </a:cubicBezTo>
                    <a:cubicBezTo>
                      <a:pt x="55" y="565"/>
                      <a:pt x="56" y="567"/>
                      <a:pt x="57" y="568"/>
                    </a:cubicBezTo>
                    <a:cubicBezTo>
                      <a:pt x="54" y="570"/>
                      <a:pt x="54" y="570"/>
                      <a:pt x="54" y="570"/>
                    </a:cubicBezTo>
                    <a:cubicBezTo>
                      <a:pt x="55" y="571"/>
                      <a:pt x="55" y="571"/>
                      <a:pt x="55" y="571"/>
                    </a:cubicBezTo>
                    <a:cubicBezTo>
                      <a:pt x="57" y="569"/>
                      <a:pt x="57" y="569"/>
                      <a:pt x="57" y="569"/>
                    </a:cubicBezTo>
                    <a:cubicBezTo>
                      <a:pt x="58" y="571"/>
                      <a:pt x="59" y="573"/>
                      <a:pt x="60" y="574"/>
                    </a:cubicBezTo>
                    <a:cubicBezTo>
                      <a:pt x="58" y="576"/>
                      <a:pt x="58" y="576"/>
                      <a:pt x="58" y="576"/>
                    </a:cubicBezTo>
                    <a:cubicBezTo>
                      <a:pt x="58" y="576"/>
                      <a:pt x="58" y="576"/>
                      <a:pt x="58" y="576"/>
                    </a:cubicBezTo>
                    <a:cubicBezTo>
                      <a:pt x="60" y="575"/>
                      <a:pt x="60" y="575"/>
                      <a:pt x="60" y="575"/>
                    </a:cubicBezTo>
                    <a:cubicBezTo>
                      <a:pt x="61" y="577"/>
                      <a:pt x="62" y="578"/>
                      <a:pt x="63" y="580"/>
                    </a:cubicBezTo>
                    <a:cubicBezTo>
                      <a:pt x="58" y="582"/>
                      <a:pt x="58" y="582"/>
                      <a:pt x="58" y="582"/>
                    </a:cubicBezTo>
                    <a:cubicBezTo>
                      <a:pt x="59" y="583"/>
                      <a:pt x="59" y="583"/>
                      <a:pt x="59" y="583"/>
                    </a:cubicBezTo>
                    <a:cubicBezTo>
                      <a:pt x="52" y="587"/>
                      <a:pt x="52" y="587"/>
                      <a:pt x="52" y="587"/>
                    </a:cubicBezTo>
                    <a:cubicBezTo>
                      <a:pt x="52" y="587"/>
                      <a:pt x="52" y="587"/>
                      <a:pt x="52" y="587"/>
                    </a:cubicBezTo>
                    <a:cubicBezTo>
                      <a:pt x="59" y="583"/>
                      <a:pt x="59" y="583"/>
                      <a:pt x="59" y="583"/>
                    </a:cubicBezTo>
                    <a:cubicBezTo>
                      <a:pt x="59" y="584"/>
                      <a:pt x="59" y="584"/>
                      <a:pt x="59" y="584"/>
                    </a:cubicBezTo>
                    <a:cubicBezTo>
                      <a:pt x="64" y="581"/>
                      <a:pt x="64" y="581"/>
                      <a:pt x="64" y="581"/>
                    </a:cubicBezTo>
                    <a:cubicBezTo>
                      <a:pt x="65" y="583"/>
                      <a:pt x="66" y="584"/>
                      <a:pt x="67" y="586"/>
                    </a:cubicBezTo>
                    <a:cubicBezTo>
                      <a:pt x="64" y="587"/>
                      <a:pt x="64" y="587"/>
                      <a:pt x="64" y="587"/>
                    </a:cubicBezTo>
                    <a:cubicBezTo>
                      <a:pt x="65" y="588"/>
                      <a:pt x="65" y="588"/>
                      <a:pt x="65" y="588"/>
                    </a:cubicBezTo>
                    <a:cubicBezTo>
                      <a:pt x="67" y="586"/>
                      <a:pt x="67" y="586"/>
                      <a:pt x="67" y="586"/>
                    </a:cubicBezTo>
                    <a:cubicBezTo>
                      <a:pt x="68" y="588"/>
                      <a:pt x="69" y="590"/>
                      <a:pt x="70" y="591"/>
                    </a:cubicBezTo>
                    <a:cubicBezTo>
                      <a:pt x="68" y="593"/>
                      <a:pt x="68" y="593"/>
                      <a:pt x="68" y="593"/>
                    </a:cubicBezTo>
                    <a:cubicBezTo>
                      <a:pt x="68" y="594"/>
                      <a:pt x="68" y="594"/>
                      <a:pt x="68" y="594"/>
                    </a:cubicBezTo>
                    <a:cubicBezTo>
                      <a:pt x="70" y="592"/>
                      <a:pt x="70" y="592"/>
                      <a:pt x="70" y="592"/>
                    </a:cubicBezTo>
                    <a:cubicBezTo>
                      <a:pt x="72" y="594"/>
                      <a:pt x="73" y="595"/>
                      <a:pt x="74" y="597"/>
                    </a:cubicBezTo>
                    <a:cubicBezTo>
                      <a:pt x="71" y="599"/>
                      <a:pt x="71" y="599"/>
                      <a:pt x="71" y="599"/>
                    </a:cubicBezTo>
                    <a:cubicBezTo>
                      <a:pt x="72" y="599"/>
                      <a:pt x="72" y="599"/>
                      <a:pt x="72" y="599"/>
                    </a:cubicBezTo>
                    <a:cubicBezTo>
                      <a:pt x="74" y="598"/>
                      <a:pt x="74" y="598"/>
                      <a:pt x="74" y="598"/>
                    </a:cubicBezTo>
                    <a:cubicBezTo>
                      <a:pt x="75" y="599"/>
                      <a:pt x="76" y="601"/>
                      <a:pt x="77" y="602"/>
                    </a:cubicBezTo>
                    <a:cubicBezTo>
                      <a:pt x="75" y="604"/>
                      <a:pt x="75" y="604"/>
                      <a:pt x="75" y="604"/>
                    </a:cubicBezTo>
                    <a:cubicBezTo>
                      <a:pt x="75" y="605"/>
                      <a:pt x="75" y="605"/>
                      <a:pt x="75" y="605"/>
                    </a:cubicBezTo>
                    <a:cubicBezTo>
                      <a:pt x="78" y="603"/>
                      <a:pt x="78" y="603"/>
                      <a:pt x="78" y="603"/>
                    </a:cubicBezTo>
                    <a:cubicBezTo>
                      <a:pt x="79" y="605"/>
                      <a:pt x="80" y="606"/>
                      <a:pt x="81" y="608"/>
                    </a:cubicBezTo>
                    <a:cubicBezTo>
                      <a:pt x="79" y="610"/>
                      <a:pt x="79" y="610"/>
                      <a:pt x="79" y="610"/>
                    </a:cubicBezTo>
                    <a:cubicBezTo>
                      <a:pt x="79" y="610"/>
                      <a:pt x="79" y="610"/>
                      <a:pt x="79" y="610"/>
                    </a:cubicBezTo>
                    <a:cubicBezTo>
                      <a:pt x="81" y="609"/>
                      <a:pt x="81" y="609"/>
                      <a:pt x="81" y="609"/>
                    </a:cubicBezTo>
                    <a:cubicBezTo>
                      <a:pt x="83" y="610"/>
                      <a:pt x="84" y="612"/>
                      <a:pt x="85" y="613"/>
                    </a:cubicBezTo>
                    <a:cubicBezTo>
                      <a:pt x="82" y="615"/>
                      <a:pt x="82" y="615"/>
                      <a:pt x="82" y="615"/>
                    </a:cubicBezTo>
                    <a:cubicBezTo>
                      <a:pt x="83" y="616"/>
                      <a:pt x="83" y="616"/>
                      <a:pt x="83" y="616"/>
                    </a:cubicBezTo>
                    <a:cubicBezTo>
                      <a:pt x="85" y="614"/>
                      <a:pt x="85" y="614"/>
                      <a:pt x="85" y="614"/>
                    </a:cubicBezTo>
                    <a:cubicBezTo>
                      <a:pt x="86" y="615"/>
                      <a:pt x="88" y="617"/>
                      <a:pt x="89" y="619"/>
                    </a:cubicBezTo>
                    <a:cubicBezTo>
                      <a:pt x="86" y="620"/>
                      <a:pt x="86" y="620"/>
                      <a:pt x="86" y="620"/>
                    </a:cubicBezTo>
                    <a:cubicBezTo>
                      <a:pt x="87" y="621"/>
                      <a:pt x="87" y="621"/>
                      <a:pt x="87" y="621"/>
                    </a:cubicBezTo>
                    <a:cubicBezTo>
                      <a:pt x="89" y="619"/>
                      <a:pt x="89" y="619"/>
                      <a:pt x="89" y="619"/>
                    </a:cubicBezTo>
                    <a:cubicBezTo>
                      <a:pt x="90" y="621"/>
                      <a:pt x="92" y="622"/>
                      <a:pt x="93" y="624"/>
                    </a:cubicBezTo>
                    <a:cubicBezTo>
                      <a:pt x="90" y="626"/>
                      <a:pt x="90" y="626"/>
                      <a:pt x="90" y="626"/>
                    </a:cubicBezTo>
                    <a:cubicBezTo>
                      <a:pt x="91" y="626"/>
                      <a:pt x="91" y="626"/>
                      <a:pt x="91" y="626"/>
                    </a:cubicBezTo>
                    <a:cubicBezTo>
                      <a:pt x="93" y="624"/>
                      <a:pt x="93" y="624"/>
                      <a:pt x="93" y="624"/>
                    </a:cubicBezTo>
                    <a:cubicBezTo>
                      <a:pt x="94" y="626"/>
                      <a:pt x="96" y="627"/>
                      <a:pt x="97" y="629"/>
                    </a:cubicBezTo>
                    <a:cubicBezTo>
                      <a:pt x="95" y="631"/>
                      <a:pt x="95" y="631"/>
                      <a:pt x="95" y="631"/>
                    </a:cubicBezTo>
                    <a:cubicBezTo>
                      <a:pt x="95" y="631"/>
                      <a:pt x="95" y="631"/>
                      <a:pt x="95" y="631"/>
                    </a:cubicBezTo>
                    <a:cubicBezTo>
                      <a:pt x="97" y="630"/>
                      <a:pt x="97" y="630"/>
                      <a:pt x="97" y="630"/>
                    </a:cubicBezTo>
                    <a:cubicBezTo>
                      <a:pt x="99" y="631"/>
                      <a:pt x="100" y="632"/>
                      <a:pt x="101" y="634"/>
                    </a:cubicBezTo>
                    <a:cubicBezTo>
                      <a:pt x="97" y="637"/>
                      <a:pt x="97" y="637"/>
                      <a:pt x="97" y="637"/>
                    </a:cubicBezTo>
                    <a:cubicBezTo>
                      <a:pt x="97" y="638"/>
                      <a:pt x="97" y="638"/>
                      <a:pt x="97" y="638"/>
                    </a:cubicBezTo>
                    <a:cubicBezTo>
                      <a:pt x="91" y="643"/>
                      <a:pt x="91" y="643"/>
                      <a:pt x="91" y="643"/>
                    </a:cubicBezTo>
                    <a:cubicBezTo>
                      <a:pt x="91" y="643"/>
                      <a:pt x="91" y="643"/>
                      <a:pt x="91" y="643"/>
                    </a:cubicBezTo>
                    <a:cubicBezTo>
                      <a:pt x="97" y="638"/>
                      <a:pt x="97" y="638"/>
                      <a:pt x="97" y="638"/>
                    </a:cubicBezTo>
                    <a:cubicBezTo>
                      <a:pt x="98" y="639"/>
                      <a:pt x="98" y="639"/>
                      <a:pt x="98" y="639"/>
                    </a:cubicBezTo>
                    <a:cubicBezTo>
                      <a:pt x="102" y="635"/>
                      <a:pt x="102" y="635"/>
                      <a:pt x="102" y="635"/>
                    </a:cubicBezTo>
                    <a:cubicBezTo>
                      <a:pt x="103" y="636"/>
                      <a:pt x="104" y="638"/>
                      <a:pt x="105" y="639"/>
                    </a:cubicBezTo>
                    <a:cubicBezTo>
                      <a:pt x="103" y="641"/>
                      <a:pt x="103" y="641"/>
                      <a:pt x="103" y="641"/>
                    </a:cubicBezTo>
                    <a:cubicBezTo>
                      <a:pt x="104" y="642"/>
                      <a:pt x="104" y="642"/>
                      <a:pt x="104" y="642"/>
                    </a:cubicBezTo>
                    <a:cubicBezTo>
                      <a:pt x="106" y="640"/>
                      <a:pt x="106" y="640"/>
                      <a:pt x="106" y="640"/>
                    </a:cubicBezTo>
                    <a:cubicBezTo>
                      <a:pt x="107" y="641"/>
                      <a:pt x="108" y="643"/>
                      <a:pt x="110" y="644"/>
                    </a:cubicBezTo>
                    <a:cubicBezTo>
                      <a:pt x="108" y="646"/>
                      <a:pt x="108" y="646"/>
                      <a:pt x="108" y="646"/>
                    </a:cubicBezTo>
                    <a:cubicBezTo>
                      <a:pt x="108" y="647"/>
                      <a:pt x="108" y="647"/>
                      <a:pt x="108" y="647"/>
                    </a:cubicBezTo>
                    <a:cubicBezTo>
                      <a:pt x="110" y="645"/>
                      <a:pt x="110" y="645"/>
                      <a:pt x="110" y="645"/>
                    </a:cubicBezTo>
                    <a:cubicBezTo>
                      <a:pt x="112" y="646"/>
                      <a:pt x="113" y="647"/>
                      <a:pt x="114" y="649"/>
                    </a:cubicBezTo>
                    <a:cubicBezTo>
                      <a:pt x="112" y="651"/>
                      <a:pt x="112" y="651"/>
                      <a:pt x="112" y="651"/>
                    </a:cubicBezTo>
                    <a:cubicBezTo>
                      <a:pt x="113" y="651"/>
                      <a:pt x="113" y="651"/>
                      <a:pt x="113" y="651"/>
                    </a:cubicBezTo>
                    <a:cubicBezTo>
                      <a:pt x="115" y="649"/>
                      <a:pt x="115" y="649"/>
                      <a:pt x="115" y="649"/>
                    </a:cubicBezTo>
                    <a:cubicBezTo>
                      <a:pt x="116" y="651"/>
                      <a:pt x="117" y="652"/>
                      <a:pt x="119" y="654"/>
                    </a:cubicBezTo>
                    <a:cubicBezTo>
                      <a:pt x="117" y="656"/>
                      <a:pt x="117" y="656"/>
                      <a:pt x="117" y="656"/>
                    </a:cubicBezTo>
                    <a:cubicBezTo>
                      <a:pt x="117" y="656"/>
                      <a:pt x="117" y="656"/>
                      <a:pt x="117" y="656"/>
                    </a:cubicBezTo>
                    <a:cubicBezTo>
                      <a:pt x="119" y="654"/>
                      <a:pt x="119" y="654"/>
                      <a:pt x="119" y="654"/>
                    </a:cubicBezTo>
                    <a:cubicBezTo>
                      <a:pt x="121" y="656"/>
                      <a:pt x="122" y="657"/>
                      <a:pt x="123" y="658"/>
                    </a:cubicBezTo>
                    <a:cubicBezTo>
                      <a:pt x="121" y="661"/>
                      <a:pt x="121" y="661"/>
                      <a:pt x="121" y="661"/>
                    </a:cubicBezTo>
                    <a:cubicBezTo>
                      <a:pt x="122" y="661"/>
                      <a:pt x="122" y="661"/>
                      <a:pt x="122" y="661"/>
                    </a:cubicBezTo>
                    <a:cubicBezTo>
                      <a:pt x="124" y="659"/>
                      <a:pt x="124" y="659"/>
                      <a:pt x="124" y="659"/>
                    </a:cubicBezTo>
                    <a:cubicBezTo>
                      <a:pt x="125" y="660"/>
                      <a:pt x="127" y="662"/>
                      <a:pt x="128" y="663"/>
                    </a:cubicBezTo>
                    <a:cubicBezTo>
                      <a:pt x="126" y="665"/>
                      <a:pt x="126" y="665"/>
                      <a:pt x="126" y="665"/>
                    </a:cubicBezTo>
                    <a:cubicBezTo>
                      <a:pt x="127" y="666"/>
                      <a:pt x="127" y="666"/>
                      <a:pt x="127" y="666"/>
                    </a:cubicBezTo>
                    <a:cubicBezTo>
                      <a:pt x="129" y="664"/>
                      <a:pt x="129" y="664"/>
                      <a:pt x="129" y="664"/>
                    </a:cubicBezTo>
                    <a:cubicBezTo>
                      <a:pt x="130" y="665"/>
                      <a:pt x="131" y="666"/>
                      <a:pt x="133" y="668"/>
                    </a:cubicBezTo>
                    <a:cubicBezTo>
                      <a:pt x="131" y="670"/>
                      <a:pt x="131" y="670"/>
                      <a:pt x="131" y="670"/>
                    </a:cubicBezTo>
                    <a:cubicBezTo>
                      <a:pt x="131" y="670"/>
                      <a:pt x="131" y="670"/>
                      <a:pt x="131" y="670"/>
                    </a:cubicBezTo>
                    <a:cubicBezTo>
                      <a:pt x="133" y="668"/>
                      <a:pt x="133" y="668"/>
                      <a:pt x="133" y="668"/>
                    </a:cubicBezTo>
                    <a:cubicBezTo>
                      <a:pt x="135" y="669"/>
                      <a:pt x="136" y="671"/>
                      <a:pt x="138" y="672"/>
                    </a:cubicBezTo>
                    <a:cubicBezTo>
                      <a:pt x="136" y="674"/>
                      <a:pt x="136" y="674"/>
                      <a:pt x="136" y="674"/>
                    </a:cubicBezTo>
                    <a:cubicBezTo>
                      <a:pt x="136" y="675"/>
                      <a:pt x="136" y="675"/>
                      <a:pt x="136" y="675"/>
                    </a:cubicBezTo>
                    <a:cubicBezTo>
                      <a:pt x="138" y="673"/>
                      <a:pt x="138" y="673"/>
                      <a:pt x="138" y="673"/>
                    </a:cubicBezTo>
                    <a:cubicBezTo>
                      <a:pt x="140" y="674"/>
                      <a:pt x="141" y="675"/>
                      <a:pt x="143" y="676"/>
                    </a:cubicBezTo>
                    <a:cubicBezTo>
                      <a:pt x="141" y="679"/>
                      <a:pt x="141" y="679"/>
                      <a:pt x="141" y="679"/>
                    </a:cubicBezTo>
                    <a:cubicBezTo>
                      <a:pt x="141" y="679"/>
                      <a:pt x="141" y="679"/>
                      <a:pt x="141" y="679"/>
                    </a:cubicBezTo>
                    <a:cubicBezTo>
                      <a:pt x="143" y="677"/>
                      <a:pt x="143" y="677"/>
                      <a:pt x="143" y="677"/>
                    </a:cubicBezTo>
                    <a:cubicBezTo>
                      <a:pt x="145" y="678"/>
                      <a:pt x="146" y="679"/>
                      <a:pt x="147" y="680"/>
                    </a:cubicBezTo>
                    <a:cubicBezTo>
                      <a:pt x="144" y="685"/>
                      <a:pt x="144" y="685"/>
                      <a:pt x="144" y="685"/>
                    </a:cubicBezTo>
                    <a:cubicBezTo>
                      <a:pt x="144" y="685"/>
                      <a:pt x="144" y="685"/>
                      <a:pt x="144" y="685"/>
                    </a:cubicBezTo>
                    <a:cubicBezTo>
                      <a:pt x="139" y="691"/>
                      <a:pt x="139" y="691"/>
                      <a:pt x="139" y="691"/>
                    </a:cubicBezTo>
                    <a:cubicBezTo>
                      <a:pt x="140" y="691"/>
                      <a:pt x="140" y="691"/>
                      <a:pt x="140" y="691"/>
                    </a:cubicBezTo>
                    <a:cubicBezTo>
                      <a:pt x="145" y="685"/>
                      <a:pt x="145" y="685"/>
                      <a:pt x="145" y="685"/>
                    </a:cubicBezTo>
                    <a:cubicBezTo>
                      <a:pt x="145" y="686"/>
                      <a:pt x="145" y="686"/>
                      <a:pt x="145" y="686"/>
                    </a:cubicBezTo>
                    <a:cubicBezTo>
                      <a:pt x="149" y="682"/>
                      <a:pt x="149" y="682"/>
                      <a:pt x="149" y="682"/>
                    </a:cubicBezTo>
                    <a:cubicBezTo>
                      <a:pt x="150" y="683"/>
                      <a:pt x="151" y="684"/>
                      <a:pt x="153" y="685"/>
                    </a:cubicBezTo>
                    <a:cubicBezTo>
                      <a:pt x="151" y="687"/>
                      <a:pt x="151" y="687"/>
                      <a:pt x="151" y="687"/>
                    </a:cubicBezTo>
                    <a:cubicBezTo>
                      <a:pt x="151" y="688"/>
                      <a:pt x="151" y="688"/>
                      <a:pt x="151" y="688"/>
                    </a:cubicBezTo>
                    <a:cubicBezTo>
                      <a:pt x="153" y="685"/>
                      <a:pt x="153" y="685"/>
                      <a:pt x="153" y="685"/>
                    </a:cubicBezTo>
                    <a:cubicBezTo>
                      <a:pt x="155" y="687"/>
                      <a:pt x="156" y="688"/>
                      <a:pt x="158" y="689"/>
                    </a:cubicBezTo>
                    <a:cubicBezTo>
                      <a:pt x="156" y="691"/>
                      <a:pt x="156" y="691"/>
                      <a:pt x="156" y="691"/>
                    </a:cubicBezTo>
                    <a:cubicBezTo>
                      <a:pt x="157" y="692"/>
                      <a:pt x="157" y="692"/>
                      <a:pt x="157" y="692"/>
                    </a:cubicBezTo>
                    <a:cubicBezTo>
                      <a:pt x="158" y="690"/>
                      <a:pt x="158" y="690"/>
                      <a:pt x="158" y="690"/>
                    </a:cubicBezTo>
                    <a:cubicBezTo>
                      <a:pt x="160" y="691"/>
                      <a:pt x="162" y="692"/>
                      <a:pt x="163" y="693"/>
                    </a:cubicBezTo>
                    <a:cubicBezTo>
                      <a:pt x="161" y="695"/>
                      <a:pt x="161" y="695"/>
                      <a:pt x="161" y="695"/>
                    </a:cubicBezTo>
                    <a:cubicBezTo>
                      <a:pt x="162" y="696"/>
                      <a:pt x="162" y="696"/>
                      <a:pt x="162" y="696"/>
                    </a:cubicBezTo>
                    <a:cubicBezTo>
                      <a:pt x="164" y="694"/>
                      <a:pt x="164" y="694"/>
                      <a:pt x="164" y="694"/>
                    </a:cubicBezTo>
                    <a:cubicBezTo>
                      <a:pt x="165" y="695"/>
                      <a:pt x="167" y="696"/>
                      <a:pt x="168" y="697"/>
                    </a:cubicBezTo>
                    <a:cubicBezTo>
                      <a:pt x="167" y="699"/>
                      <a:pt x="167" y="699"/>
                      <a:pt x="167" y="699"/>
                    </a:cubicBezTo>
                    <a:cubicBezTo>
                      <a:pt x="167" y="700"/>
                      <a:pt x="167" y="700"/>
                      <a:pt x="167" y="700"/>
                    </a:cubicBezTo>
                    <a:cubicBezTo>
                      <a:pt x="169" y="697"/>
                      <a:pt x="169" y="697"/>
                      <a:pt x="169" y="697"/>
                    </a:cubicBezTo>
                    <a:cubicBezTo>
                      <a:pt x="171" y="699"/>
                      <a:pt x="172" y="700"/>
                      <a:pt x="174" y="701"/>
                    </a:cubicBezTo>
                    <a:cubicBezTo>
                      <a:pt x="172" y="703"/>
                      <a:pt x="172" y="703"/>
                      <a:pt x="172" y="703"/>
                    </a:cubicBezTo>
                    <a:cubicBezTo>
                      <a:pt x="173" y="704"/>
                      <a:pt x="173" y="704"/>
                      <a:pt x="173" y="704"/>
                    </a:cubicBezTo>
                    <a:cubicBezTo>
                      <a:pt x="174" y="701"/>
                      <a:pt x="174" y="701"/>
                      <a:pt x="174" y="701"/>
                    </a:cubicBezTo>
                    <a:cubicBezTo>
                      <a:pt x="176" y="702"/>
                      <a:pt x="178" y="704"/>
                      <a:pt x="179" y="705"/>
                    </a:cubicBezTo>
                    <a:cubicBezTo>
                      <a:pt x="178" y="707"/>
                      <a:pt x="178" y="707"/>
                      <a:pt x="178" y="707"/>
                    </a:cubicBezTo>
                    <a:cubicBezTo>
                      <a:pt x="178" y="708"/>
                      <a:pt x="178" y="708"/>
                      <a:pt x="178" y="708"/>
                    </a:cubicBezTo>
                    <a:cubicBezTo>
                      <a:pt x="180" y="705"/>
                      <a:pt x="180" y="705"/>
                      <a:pt x="180" y="705"/>
                    </a:cubicBezTo>
                    <a:cubicBezTo>
                      <a:pt x="181" y="706"/>
                      <a:pt x="183" y="707"/>
                      <a:pt x="185" y="708"/>
                    </a:cubicBezTo>
                    <a:cubicBezTo>
                      <a:pt x="183" y="711"/>
                      <a:pt x="183" y="711"/>
                      <a:pt x="183" y="711"/>
                    </a:cubicBezTo>
                    <a:cubicBezTo>
                      <a:pt x="184" y="711"/>
                      <a:pt x="184" y="711"/>
                      <a:pt x="184" y="711"/>
                    </a:cubicBezTo>
                    <a:cubicBezTo>
                      <a:pt x="185" y="709"/>
                      <a:pt x="185" y="709"/>
                      <a:pt x="185" y="709"/>
                    </a:cubicBezTo>
                    <a:cubicBezTo>
                      <a:pt x="187" y="710"/>
                      <a:pt x="189" y="711"/>
                      <a:pt x="190" y="712"/>
                    </a:cubicBezTo>
                    <a:cubicBezTo>
                      <a:pt x="189" y="714"/>
                      <a:pt x="189" y="714"/>
                      <a:pt x="189" y="714"/>
                    </a:cubicBezTo>
                    <a:cubicBezTo>
                      <a:pt x="189" y="715"/>
                      <a:pt x="189" y="715"/>
                      <a:pt x="189" y="715"/>
                    </a:cubicBezTo>
                    <a:cubicBezTo>
                      <a:pt x="191" y="712"/>
                      <a:pt x="191" y="712"/>
                      <a:pt x="191" y="712"/>
                    </a:cubicBezTo>
                    <a:cubicBezTo>
                      <a:pt x="193" y="713"/>
                      <a:pt x="194" y="714"/>
                      <a:pt x="196" y="715"/>
                    </a:cubicBezTo>
                    <a:cubicBezTo>
                      <a:pt x="194" y="718"/>
                      <a:pt x="194" y="718"/>
                      <a:pt x="194" y="718"/>
                    </a:cubicBezTo>
                    <a:cubicBezTo>
                      <a:pt x="195" y="718"/>
                      <a:pt x="195" y="718"/>
                      <a:pt x="195" y="718"/>
                    </a:cubicBezTo>
                    <a:cubicBezTo>
                      <a:pt x="196" y="716"/>
                      <a:pt x="196" y="716"/>
                      <a:pt x="196" y="716"/>
                    </a:cubicBezTo>
                    <a:cubicBezTo>
                      <a:pt x="198" y="717"/>
                      <a:pt x="200" y="718"/>
                      <a:pt x="201" y="718"/>
                    </a:cubicBezTo>
                    <a:cubicBezTo>
                      <a:pt x="198" y="723"/>
                      <a:pt x="198" y="723"/>
                      <a:pt x="198" y="723"/>
                    </a:cubicBezTo>
                    <a:cubicBezTo>
                      <a:pt x="199" y="723"/>
                      <a:pt x="199" y="723"/>
                      <a:pt x="199" y="723"/>
                    </a:cubicBezTo>
                    <a:cubicBezTo>
                      <a:pt x="195" y="730"/>
                      <a:pt x="195" y="730"/>
                      <a:pt x="195" y="730"/>
                    </a:cubicBezTo>
                    <a:cubicBezTo>
                      <a:pt x="196" y="730"/>
                      <a:pt x="196" y="730"/>
                      <a:pt x="196" y="730"/>
                    </a:cubicBezTo>
                    <a:cubicBezTo>
                      <a:pt x="199" y="724"/>
                      <a:pt x="199" y="724"/>
                      <a:pt x="199" y="724"/>
                    </a:cubicBezTo>
                    <a:cubicBezTo>
                      <a:pt x="200" y="724"/>
                      <a:pt x="200" y="724"/>
                      <a:pt x="200" y="724"/>
                    </a:cubicBezTo>
                    <a:cubicBezTo>
                      <a:pt x="203" y="719"/>
                      <a:pt x="203" y="719"/>
                      <a:pt x="203" y="719"/>
                    </a:cubicBezTo>
                    <a:cubicBezTo>
                      <a:pt x="204" y="720"/>
                      <a:pt x="206" y="721"/>
                      <a:pt x="207" y="722"/>
                    </a:cubicBezTo>
                    <a:cubicBezTo>
                      <a:pt x="206" y="724"/>
                      <a:pt x="206" y="724"/>
                      <a:pt x="206" y="724"/>
                    </a:cubicBezTo>
                    <a:cubicBezTo>
                      <a:pt x="207" y="725"/>
                      <a:pt x="207" y="725"/>
                      <a:pt x="207" y="725"/>
                    </a:cubicBezTo>
                    <a:cubicBezTo>
                      <a:pt x="208" y="722"/>
                      <a:pt x="208" y="722"/>
                      <a:pt x="208" y="722"/>
                    </a:cubicBezTo>
                    <a:cubicBezTo>
                      <a:pt x="210" y="723"/>
                      <a:pt x="211" y="724"/>
                      <a:pt x="213" y="725"/>
                    </a:cubicBezTo>
                    <a:cubicBezTo>
                      <a:pt x="212" y="728"/>
                      <a:pt x="212" y="728"/>
                      <a:pt x="212" y="728"/>
                    </a:cubicBezTo>
                    <a:cubicBezTo>
                      <a:pt x="212" y="728"/>
                      <a:pt x="212" y="728"/>
                      <a:pt x="212" y="728"/>
                    </a:cubicBezTo>
                    <a:cubicBezTo>
                      <a:pt x="214" y="726"/>
                      <a:pt x="214" y="726"/>
                      <a:pt x="214" y="726"/>
                    </a:cubicBezTo>
                    <a:cubicBezTo>
                      <a:pt x="215" y="726"/>
                      <a:pt x="217" y="727"/>
                      <a:pt x="219" y="728"/>
                    </a:cubicBezTo>
                    <a:cubicBezTo>
                      <a:pt x="218" y="731"/>
                      <a:pt x="218" y="731"/>
                      <a:pt x="218" y="731"/>
                    </a:cubicBezTo>
                    <a:cubicBezTo>
                      <a:pt x="218" y="731"/>
                      <a:pt x="218" y="731"/>
                      <a:pt x="218" y="731"/>
                    </a:cubicBezTo>
                    <a:cubicBezTo>
                      <a:pt x="220" y="729"/>
                      <a:pt x="220" y="729"/>
                      <a:pt x="220" y="729"/>
                    </a:cubicBezTo>
                    <a:cubicBezTo>
                      <a:pt x="221" y="729"/>
                      <a:pt x="223" y="730"/>
                      <a:pt x="225" y="731"/>
                    </a:cubicBezTo>
                    <a:cubicBezTo>
                      <a:pt x="224" y="734"/>
                      <a:pt x="224" y="734"/>
                      <a:pt x="224" y="734"/>
                    </a:cubicBezTo>
                    <a:cubicBezTo>
                      <a:pt x="224" y="734"/>
                      <a:pt x="224" y="734"/>
                      <a:pt x="224" y="734"/>
                    </a:cubicBezTo>
                    <a:cubicBezTo>
                      <a:pt x="225" y="731"/>
                      <a:pt x="225" y="731"/>
                      <a:pt x="225" y="731"/>
                    </a:cubicBezTo>
                    <a:cubicBezTo>
                      <a:pt x="227" y="732"/>
                      <a:pt x="229" y="733"/>
                      <a:pt x="231" y="734"/>
                    </a:cubicBezTo>
                    <a:cubicBezTo>
                      <a:pt x="230" y="737"/>
                      <a:pt x="230" y="737"/>
                      <a:pt x="230" y="737"/>
                    </a:cubicBezTo>
                    <a:cubicBezTo>
                      <a:pt x="230" y="737"/>
                      <a:pt x="230" y="737"/>
                      <a:pt x="230" y="737"/>
                    </a:cubicBezTo>
                    <a:cubicBezTo>
                      <a:pt x="231" y="734"/>
                      <a:pt x="231" y="734"/>
                      <a:pt x="231" y="734"/>
                    </a:cubicBezTo>
                    <a:cubicBezTo>
                      <a:pt x="233" y="735"/>
                      <a:pt x="235" y="736"/>
                      <a:pt x="237" y="737"/>
                    </a:cubicBezTo>
                    <a:cubicBezTo>
                      <a:pt x="236" y="739"/>
                      <a:pt x="236" y="739"/>
                      <a:pt x="236" y="739"/>
                    </a:cubicBezTo>
                    <a:cubicBezTo>
                      <a:pt x="236" y="740"/>
                      <a:pt x="236" y="740"/>
                      <a:pt x="236" y="740"/>
                    </a:cubicBezTo>
                    <a:cubicBezTo>
                      <a:pt x="237" y="737"/>
                      <a:pt x="237" y="737"/>
                      <a:pt x="237" y="737"/>
                    </a:cubicBezTo>
                    <a:cubicBezTo>
                      <a:pt x="239" y="738"/>
                      <a:pt x="241" y="739"/>
                      <a:pt x="243" y="739"/>
                    </a:cubicBezTo>
                    <a:cubicBezTo>
                      <a:pt x="242" y="742"/>
                      <a:pt x="242" y="742"/>
                      <a:pt x="242" y="742"/>
                    </a:cubicBezTo>
                    <a:cubicBezTo>
                      <a:pt x="242" y="742"/>
                      <a:pt x="242" y="742"/>
                      <a:pt x="242" y="742"/>
                    </a:cubicBezTo>
                    <a:cubicBezTo>
                      <a:pt x="243" y="740"/>
                      <a:pt x="243" y="740"/>
                      <a:pt x="243" y="740"/>
                    </a:cubicBezTo>
                    <a:cubicBezTo>
                      <a:pt x="245" y="740"/>
                      <a:pt x="247" y="741"/>
                      <a:pt x="249" y="742"/>
                    </a:cubicBezTo>
                    <a:cubicBezTo>
                      <a:pt x="248" y="745"/>
                      <a:pt x="248" y="745"/>
                      <a:pt x="248" y="745"/>
                    </a:cubicBezTo>
                    <a:cubicBezTo>
                      <a:pt x="249" y="745"/>
                      <a:pt x="249" y="745"/>
                      <a:pt x="249" y="745"/>
                    </a:cubicBezTo>
                    <a:cubicBezTo>
                      <a:pt x="250" y="742"/>
                      <a:pt x="250" y="742"/>
                      <a:pt x="250" y="742"/>
                    </a:cubicBezTo>
                    <a:cubicBezTo>
                      <a:pt x="251" y="743"/>
                      <a:pt x="253" y="744"/>
                      <a:pt x="255" y="744"/>
                    </a:cubicBezTo>
                    <a:cubicBezTo>
                      <a:pt x="254" y="747"/>
                      <a:pt x="254" y="747"/>
                      <a:pt x="254" y="747"/>
                    </a:cubicBezTo>
                    <a:cubicBezTo>
                      <a:pt x="255" y="747"/>
                      <a:pt x="255" y="747"/>
                      <a:pt x="255" y="747"/>
                    </a:cubicBezTo>
                    <a:cubicBezTo>
                      <a:pt x="256" y="745"/>
                      <a:pt x="256" y="745"/>
                      <a:pt x="256" y="745"/>
                    </a:cubicBezTo>
                    <a:cubicBezTo>
                      <a:pt x="257" y="745"/>
                      <a:pt x="259" y="746"/>
                      <a:pt x="261" y="746"/>
                    </a:cubicBezTo>
                    <a:cubicBezTo>
                      <a:pt x="259" y="752"/>
                      <a:pt x="259" y="752"/>
                      <a:pt x="259" y="752"/>
                    </a:cubicBezTo>
                    <a:cubicBezTo>
                      <a:pt x="259" y="752"/>
                      <a:pt x="259" y="752"/>
                      <a:pt x="259" y="752"/>
                    </a:cubicBezTo>
                    <a:cubicBezTo>
                      <a:pt x="257" y="759"/>
                      <a:pt x="257" y="759"/>
                      <a:pt x="257" y="759"/>
                    </a:cubicBezTo>
                    <a:cubicBezTo>
                      <a:pt x="257" y="759"/>
                      <a:pt x="257" y="759"/>
                      <a:pt x="257" y="759"/>
                    </a:cubicBezTo>
                    <a:cubicBezTo>
                      <a:pt x="260" y="752"/>
                      <a:pt x="260" y="752"/>
                      <a:pt x="260" y="752"/>
                    </a:cubicBezTo>
                    <a:cubicBezTo>
                      <a:pt x="261" y="752"/>
                      <a:pt x="261" y="752"/>
                      <a:pt x="261" y="752"/>
                    </a:cubicBezTo>
                    <a:cubicBezTo>
                      <a:pt x="262" y="747"/>
                      <a:pt x="262" y="747"/>
                      <a:pt x="262" y="747"/>
                    </a:cubicBezTo>
                    <a:cubicBezTo>
                      <a:pt x="264" y="748"/>
                      <a:pt x="266" y="748"/>
                      <a:pt x="267" y="749"/>
                    </a:cubicBezTo>
                    <a:cubicBezTo>
                      <a:pt x="266" y="752"/>
                      <a:pt x="266" y="752"/>
                      <a:pt x="266" y="752"/>
                    </a:cubicBezTo>
                    <a:cubicBezTo>
                      <a:pt x="267" y="752"/>
                      <a:pt x="267" y="752"/>
                      <a:pt x="267" y="752"/>
                    </a:cubicBezTo>
                    <a:cubicBezTo>
                      <a:pt x="268" y="749"/>
                      <a:pt x="268" y="749"/>
                      <a:pt x="268" y="749"/>
                    </a:cubicBezTo>
                    <a:cubicBezTo>
                      <a:pt x="270" y="750"/>
                      <a:pt x="272" y="750"/>
                      <a:pt x="274" y="751"/>
                    </a:cubicBezTo>
                    <a:cubicBezTo>
                      <a:pt x="273" y="754"/>
                      <a:pt x="273" y="754"/>
                      <a:pt x="273" y="754"/>
                    </a:cubicBezTo>
                    <a:cubicBezTo>
                      <a:pt x="274" y="754"/>
                      <a:pt x="274" y="754"/>
                      <a:pt x="274" y="754"/>
                    </a:cubicBezTo>
                    <a:cubicBezTo>
                      <a:pt x="274" y="751"/>
                      <a:pt x="274" y="751"/>
                      <a:pt x="274" y="751"/>
                    </a:cubicBezTo>
                    <a:cubicBezTo>
                      <a:pt x="276" y="752"/>
                      <a:pt x="278" y="752"/>
                      <a:pt x="280" y="753"/>
                    </a:cubicBezTo>
                    <a:cubicBezTo>
                      <a:pt x="279" y="756"/>
                      <a:pt x="279" y="756"/>
                      <a:pt x="279" y="756"/>
                    </a:cubicBezTo>
                    <a:cubicBezTo>
                      <a:pt x="280" y="756"/>
                      <a:pt x="280" y="756"/>
                      <a:pt x="280" y="756"/>
                    </a:cubicBezTo>
                    <a:cubicBezTo>
                      <a:pt x="281" y="753"/>
                      <a:pt x="281" y="753"/>
                      <a:pt x="281" y="753"/>
                    </a:cubicBezTo>
                    <a:cubicBezTo>
                      <a:pt x="283" y="754"/>
                      <a:pt x="284" y="754"/>
                      <a:pt x="286" y="755"/>
                    </a:cubicBezTo>
                    <a:cubicBezTo>
                      <a:pt x="285" y="758"/>
                      <a:pt x="285" y="758"/>
                      <a:pt x="285" y="758"/>
                    </a:cubicBezTo>
                    <a:cubicBezTo>
                      <a:pt x="286" y="758"/>
                      <a:pt x="286" y="758"/>
                      <a:pt x="286" y="758"/>
                    </a:cubicBezTo>
                    <a:cubicBezTo>
                      <a:pt x="287" y="755"/>
                      <a:pt x="287" y="755"/>
                      <a:pt x="287" y="755"/>
                    </a:cubicBezTo>
                    <a:cubicBezTo>
                      <a:pt x="289" y="756"/>
                      <a:pt x="291" y="756"/>
                      <a:pt x="293" y="757"/>
                    </a:cubicBezTo>
                    <a:cubicBezTo>
                      <a:pt x="292" y="759"/>
                      <a:pt x="292" y="759"/>
                      <a:pt x="292" y="759"/>
                    </a:cubicBezTo>
                    <a:cubicBezTo>
                      <a:pt x="293" y="760"/>
                      <a:pt x="293" y="760"/>
                      <a:pt x="293" y="760"/>
                    </a:cubicBezTo>
                    <a:cubicBezTo>
                      <a:pt x="293" y="757"/>
                      <a:pt x="293" y="757"/>
                      <a:pt x="293" y="757"/>
                    </a:cubicBezTo>
                    <a:cubicBezTo>
                      <a:pt x="295" y="757"/>
                      <a:pt x="297" y="758"/>
                      <a:pt x="299" y="758"/>
                    </a:cubicBezTo>
                    <a:cubicBezTo>
                      <a:pt x="298" y="761"/>
                      <a:pt x="298" y="761"/>
                      <a:pt x="298" y="761"/>
                    </a:cubicBezTo>
                    <a:cubicBezTo>
                      <a:pt x="299" y="761"/>
                      <a:pt x="299" y="761"/>
                      <a:pt x="299" y="761"/>
                    </a:cubicBezTo>
                    <a:cubicBezTo>
                      <a:pt x="300" y="758"/>
                      <a:pt x="300" y="758"/>
                      <a:pt x="300" y="758"/>
                    </a:cubicBezTo>
                    <a:cubicBezTo>
                      <a:pt x="302" y="759"/>
                      <a:pt x="304" y="759"/>
                      <a:pt x="305" y="760"/>
                    </a:cubicBezTo>
                    <a:cubicBezTo>
                      <a:pt x="305" y="763"/>
                      <a:pt x="305" y="763"/>
                      <a:pt x="305" y="763"/>
                    </a:cubicBezTo>
                    <a:cubicBezTo>
                      <a:pt x="306" y="763"/>
                      <a:pt x="306" y="763"/>
                      <a:pt x="306" y="763"/>
                    </a:cubicBezTo>
                    <a:cubicBezTo>
                      <a:pt x="306" y="760"/>
                      <a:pt x="306" y="760"/>
                      <a:pt x="306" y="760"/>
                    </a:cubicBezTo>
                    <a:cubicBezTo>
                      <a:pt x="308" y="760"/>
                      <a:pt x="310" y="761"/>
                      <a:pt x="312" y="761"/>
                    </a:cubicBezTo>
                    <a:cubicBezTo>
                      <a:pt x="311" y="764"/>
                      <a:pt x="311" y="764"/>
                      <a:pt x="311" y="764"/>
                    </a:cubicBezTo>
                    <a:cubicBezTo>
                      <a:pt x="312" y="764"/>
                      <a:pt x="312" y="764"/>
                      <a:pt x="312" y="764"/>
                    </a:cubicBezTo>
                    <a:cubicBezTo>
                      <a:pt x="313" y="761"/>
                      <a:pt x="313" y="761"/>
                      <a:pt x="313" y="761"/>
                    </a:cubicBezTo>
                    <a:cubicBezTo>
                      <a:pt x="315" y="762"/>
                      <a:pt x="316" y="762"/>
                      <a:pt x="318" y="763"/>
                    </a:cubicBezTo>
                    <a:cubicBezTo>
                      <a:pt x="318" y="765"/>
                      <a:pt x="318" y="765"/>
                      <a:pt x="318" y="765"/>
                    </a:cubicBezTo>
                    <a:cubicBezTo>
                      <a:pt x="319" y="766"/>
                      <a:pt x="319" y="766"/>
                      <a:pt x="319" y="766"/>
                    </a:cubicBezTo>
                    <a:cubicBezTo>
                      <a:pt x="319" y="763"/>
                      <a:pt x="319" y="763"/>
                      <a:pt x="319" y="763"/>
                    </a:cubicBezTo>
                    <a:cubicBezTo>
                      <a:pt x="321" y="763"/>
                      <a:pt x="323" y="763"/>
                      <a:pt x="324" y="764"/>
                    </a:cubicBezTo>
                    <a:cubicBezTo>
                      <a:pt x="323" y="769"/>
                      <a:pt x="323" y="769"/>
                      <a:pt x="323" y="769"/>
                    </a:cubicBezTo>
                    <a:cubicBezTo>
                      <a:pt x="324" y="769"/>
                      <a:pt x="324" y="769"/>
                      <a:pt x="324" y="769"/>
                    </a:cubicBezTo>
                    <a:cubicBezTo>
                      <a:pt x="323" y="777"/>
                      <a:pt x="323" y="777"/>
                      <a:pt x="323" y="777"/>
                    </a:cubicBezTo>
                    <a:cubicBezTo>
                      <a:pt x="323" y="777"/>
                      <a:pt x="323" y="777"/>
                      <a:pt x="323" y="777"/>
                    </a:cubicBezTo>
                    <a:cubicBezTo>
                      <a:pt x="325" y="769"/>
                      <a:pt x="325" y="769"/>
                      <a:pt x="325" y="769"/>
                    </a:cubicBezTo>
                    <a:cubicBezTo>
                      <a:pt x="325" y="769"/>
                      <a:pt x="325" y="769"/>
                      <a:pt x="325" y="769"/>
                    </a:cubicBezTo>
                    <a:cubicBezTo>
                      <a:pt x="326" y="764"/>
                      <a:pt x="326" y="764"/>
                      <a:pt x="326" y="764"/>
                    </a:cubicBezTo>
                    <a:cubicBezTo>
                      <a:pt x="328" y="764"/>
                      <a:pt x="330" y="765"/>
                      <a:pt x="331" y="765"/>
                    </a:cubicBezTo>
                    <a:cubicBezTo>
                      <a:pt x="331" y="768"/>
                      <a:pt x="331" y="768"/>
                      <a:pt x="331" y="768"/>
                    </a:cubicBezTo>
                    <a:cubicBezTo>
                      <a:pt x="332" y="768"/>
                      <a:pt x="332" y="768"/>
                      <a:pt x="332" y="768"/>
                    </a:cubicBezTo>
                    <a:cubicBezTo>
                      <a:pt x="332" y="765"/>
                      <a:pt x="332" y="765"/>
                      <a:pt x="332" y="765"/>
                    </a:cubicBezTo>
                    <a:cubicBezTo>
                      <a:pt x="334" y="765"/>
                      <a:pt x="336" y="765"/>
                      <a:pt x="338" y="766"/>
                    </a:cubicBezTo>
                    <a:cubicBezTo>
                      <a:pt x="337" y="769"/>
                      <a:pt x="337" y="769"/>
                      <a:pt x="337" y="769"/>
                    </a:cubicBezTo>
                    <a:cubicBezTo>
                      <a:pt x="338" y="769"/>
                      <a:pt x="338" y="769"/>
                      <a:pt x="338" y="769"/>
                    </a:cubicBezTo>
                    <a:cubicBezTo>
                      <a:pt x="339" y="766"/>
                      <a:pt x="339" y="766"/>
                      <a:pt x="339" y="766"/>
                    </a:cubicBezTo>
                    <a:cubicBezTo>
                      <a:pt x="341" y="766"/>
                      <a:pt x="342" y="766"/>
                      <a:pt x="344" y="767"/>
                    </a:cubicBezTo>
                    <a:cubicBezTo>
                      <a:pt x="344" y="770"/>
                      <a:pt x="344" y="770"/>
                      <a:pt x="344" y="770"/>
                    </a:cubicBezTo>
                    <a:cubicBezTo>
                      <a:pt x="345" y="770"/>
                      <a:pt x="345" y="770"/>
                      <a:pt x="345" y="770"/>
                    </a:cubicBezTo>
                    <a:cubicBezTo>
                      <a:pt x="345" y="767"/>
                      <a:pt x="345" y="767"/>
                      <a:pt x="345" y="767"/>
                    </a:cubicBezTo>
                    <a:cubicBezTo>
                      <a:pt x="347" y="767"/>
                      <a:pt x="349" y="767"/>
                      <a:pt x="351" y="767"/>
                    </a:cubicBezTo>
                    <a:cubicBezTo>
                      <a:pt x="351" y="770"/>
                      <a:pt x="351" y="770"/>
                      <a:pt x="351" y="770"/>
                    </a:cubicBezTo>
                    <a:cubicBezTo>
                      <a:pt x="351" y="770"/>
                      <a:pt x="351" y="770"/>
                      <a:pt x="351" y="770"/>
                    </a:cubicBezTo>
                    <a:cubicBezTo>
                      <a:pt x="352" y="767"/>
                      <a:pt x="352" y="767"/>
                      <a:pt x="352" y="767"/>
                    </a:cubicBezTo>
                    <a:cubicBezTo>
                      <a:pt x="354" y="768"/>
                      <a:pt x="356" y="768"/>
                      <a:pt x="357" y="768"/>
                    </a:cubicBezTo>
                    <a:cubicBezTo>
                      <a:pt x="357" y="771"/>
                      <a:pt x="357" y="771"/>
                      <a:pt x="357" y="771"/>
                    </a:cubicBezTo>
                    <a:cubicBezTo>
                      <a:pt x="358" y="771"/>
                      <a:pt x="358" y="771"/>
                      <a:pt x="358" y="771"/>
                    </a:cubicBezTo>
                    <a:cubicBezTo>
                      <a:pt x="358" y="768"/>
                      <a:pt x="358" y="768"/>
                      <a:pt x="358" y="768"/>
                    </a:cubicBezTo>
                    <a:cubicBezTo>
                      <a:pt x="360" y="768"/>
                      <a:pt x="362" y="768"/>
                      <a:pt x="364" y="769"/>
                    </a:cubicBezTo>
                    <a:cubicBezTo>
                      <a:pt x="364" y="772"/>
                      <a:pt x="364" y="772"/>
                      <a:pt x="364" y="772"/>
                    </a:cubicBezTo>
                    <a:cubicBezTo>
                      <a:pt x="365" y="772"/>
                      <a:pt x="365" y="772"/>
                      <a:pt x="365" y="772"/>
                    </a:cubicBezTo>
                    <a:cubicBezTo>
                      <a:pt x="365" y="769"/>
                      <a:pt x="365" y="769"/>
                      <a:pt x="365" y="769"/>
                    </a:cubicBezTo>
                    <a:cubicBezTo>
                      <a:pt x="367" y="769"/>
                      <a:pt x="369" y="769"/>
                      <a:pt x="371" y="769"/>
                    </a:cubicBezTo>
                    <a:cubicBezTo>
                      <a:pt x="370" y="772"/>
                      <a:pt x="370" y="772"/>
                      <a:pt x="370" y="772"/>
                    </a:cubicBezTo>
                    <a:cubicBezTo>
                      <a:pt x="371" y="772"/>
                      <a:pt x="371" y="772"/>
                      <a:pt x="371" y="772"/>
                    </a:cubicBezTo>
                    <a:cubicBezTo>
                      <a:pt x="371" y="769"/>
                      <a:pt x="371" y="769"/>
                      <a:pt x="371" y="769"/>
                    </a:cubicBezTo>
                    <a:cubicBezTo>
                      <a:pt x="373" y="769"/>
                      <a:pt x="375" y="769"/>
                      <a:pt x="377" y="769"/>
                    </a:cubicBezTo>
                    <a:cubicBezTo>
                      <a:pt x="377" y="772"/>
                      <a:pt x="377" y="772"/>
                      <a:pt x="377" y="772"/>
                    </a:cubicBezTo>
                    <a:cubicBezTo>
                      <a:pt x="378" y="772"/>
                      <a:pt x="378" y="772"/>
                      <a:pt x="378" y="772"/>
                    </a:cubicBezTo>
                    <a:cubicBezTo>
                      <a:pt x="378" y="769"/>
                      <a:pt x="378" y="769"/>
                      <a:pt x="378" y="769"/>
                    </a:cubicBezTo>
                    <a:cubicBezTo>
                      <a:pt x="380" y="769"/>
                      <a:pt x="382" y="769"/>
                      <a:pt x="384" y="769"/>
                    </a:cubicBezTo>
                    <a:cubicBezTo>
                      <a:pt x="384" y="772"/>
                      <a:pt x="384" y="772"/>
                      <a:pt x="384" y="772"/>
                    </a:cubicBezTo>
                    <a:cubicBezTo>
                      <a:pt x="385" y="772"/>
                      <a:pt x="385" y="772"/>
                      <a:pt x="385" y="772"/>
                    </a:cubicBezTo>
                    <a:cubicBezTo>
                      <a:pt x="385" y="769"/>
                      <a:pt x="385" y="769"/>
                      <a:pt x="385" y="769"/>
                    </a:cubicBezTo>
                    <a:cubicBezTo>
                      <a:pt x="386" y="769"/>
                      <a:pt x="388" y="769"/>
                      <a:pt x="390" y="769"/>
                    </a:cubicBezTo>
                    <a:cubicBezTo>
                      <a:pt x="390" y="775"/>
                      <a:pt x="390" y="775"/>
                      <a:pt x="390" y="775"/>
                    </a:cubicBezTo>
                    <a:cubicBezTo>
                      <a:pt x="390" y="775"/>
                      <a:pt x="390" y="775"/>
                      <a:pt x="390" y="775"/>
                    </a:cubicBezTo>
                    <a:cubicBezTo>
                      <a:pt x="390" y="783"/>
                      <a:pt x="390" y="783"/>
                      <a:pt x="390" y="783"/>
                    </a:cubicBezTo>
                    <a:cubicBezTo>
                      <a:pt x="391" y="783"/>
                      <a:pt x="391" y="783"/>
                      <a:pt x="391" y="783"/>
                    </a:cubicBezTo>
                    <a:cubicBezTo>
                      <a:pt x="391" y="775"/>
                      <a:pt x="391" y="775"/>
                      <a:pt x="391" y="775"/>
                    </a:cubicBezTo>
                    <a:cubicBezTo>
                      <a:pt x="392" y="775"/>
                      <a:pt x="392" y="775"/>
                      <a:pt x="392" y="775"/>
                    </a:cubicBezTo>
                    <a:cubicBezTo>
                      <a:pt x="392" y="769"/>
                      <a:pt x="392" y="769"/>
                      <a:pt x="392" y="769"/>
                    </a:cubicBezTo>
                    <a:cubicBezTo>
                      <a:pt x="393" y="769"/>
                      <a:pt x="395" y="769"/>
                      <a:pt x="397" y="769"/>
                    </a:cubicBezTo>
                    <a:cubicBezTo>
                      <a:pt x="397" y="772"/>
                      <a:pt x="397" y="772"/>
                      <a:pt x="397" y="772"/>
                    </a:cubicBezTo>
                    <a:cubicBezTo>
                      <a:pt x="398" y="772"/>
                      <a:pt x="398" y="772"/>
                      <a:pt x="398" y="772"/>
                    </a:cubicBezTo>
                    <a:cubicBezTo>
                      <a:pt x="398" y="769"/>
                      <a:pt x="398" y="769"/>
                      <a:pt x="398" y="769"/>
                    </a:cubicBezTo>
                    <a:cubicBezTo>
                      <a:pt x="400" y="769"/>
                      <a:pt x="402" y="769"/>
                      <a:pt x="404" y="769"/>
                    </a:cubicBezTo>
                    <a:cubicBezTo>
                      <a:pt x="404" y="772"/>
                      <a:pt x="404" y="772"/>
                      <a:pt x="404" y="772"/>
                    </a:cubicBezTo>
                    <a:cubicBezTo>
                      <a:pt x="404" y="772"/>
                      <a:pt x="404" y="772"/>
                      <a:pt x="404" y="772"/>
                    </a:cubicBezTo>
                    <a:cubicBezTo>
                      <a:pt x="404" y="769"/>
                      <a:pt x="404" y="769"/>
                      <a:pt x="404" y="769"/>
                    </a:cubicBezTo>
                    <a:cubicBezTo>
                      <a:pt x="406" y="769"/>
                      <a:pt x="408" y="769"/>
                      <a:pt x="410" y="769"/>
                    </a:cubicBezTo>
                    <a:cubicBezTo>
                      <a:pt x="410" y="772"/>
                      <a:pt x="410" y="772"/>
                      <a:pt x="410" y="772"/>
                    </a:cubicBezTo>
                    <a:cubicBezTo>
                      <a:pt x="411" y="772"/>
                      <a:pt x="411" y="772"/>
                      <a:pt x="411" y="772"/>
                    </a:cubicBezTo>
                    <a:cubicBezTo>
                      <a:pt x="411" y="769"/>
                      <a:pt x="411" y="769"/>
                      <a:pt x="411" y="769"/>
                    </a:cubicBezTo>
                    <a:cubicBezTo>
                      <a:pt x="413" y="769"/>
                      <a:pt x="415" y="769"/>
                      <a:pt x="417" y="769"/>
                    </a:cubicBezTo>
                    <a:cubicBezTo>
                      <a:pt x="417" y="772"/>
                      <a:pt x="417" y="772"/>
                      <a:pt x="417" y="772"/>
                    </a:cubicBezTo>
                    <a:cubicBezTo>
                      <a:pt x="418" y="772"/>
                      <a:pt x="418" y="772"/>
                      <a:pt x="418" y="772"/>
                    </a:cubicBezTo>
                    <a:cubicBezTo>
                      <a:pt x="418" y="769"/>
                      <a:pt x="418" y="769"/>
                      <a:pt x="418" y="769"/>
                    </a:cubicBezTo>
                    <a:cubicBezTo>
                      <a:pt x="419" y="768"/>
                      <a:pt x="421" y="768"/>
                      <a:pt x="423" y="768"/>
                    </a:cubicBezTo>
                    <a:cubicBezTo>
                      <a:pt x="424" y="771"/>
                      <a:pt x="424" y="771"/>
                      <a:pt x="424" y="771"/>
                    </a:cubicBezTo>
                    <a:cubicBezTo>
                      <a:pt x="424" y="771"/>
                      <a:pt x="424" y="771"/>
                      <a:pt x="424" y="771"/>
                    </a:cubicBezTo>
                    <a:cubicBezTo>
                      <a:pt x="424" y="768"/>
                      <a:pt x="424" y="768"/>
                      <a:pt x="424" y="768"/>
                    </a:cubicBezTo>
                    <a:cubicBezTo>
                      <a:pt x="426" y="768"/>
                      <a:pt x="428" y="768"/>
                      <a:pt x="430" y="767"/>
                    </a:cubicBezTo>
                    <a:cubicBezTo>
                      <a:pt x="430" y="770"/>
                      <a:pt x="430" y="770"/>
                      <a:pt x="430" y="770"/>
                    </a:cubicBezTo>
                    <a:cubicBezTo>
                      <a:pt x="431" y="770"/>
                      <a:pt x="431" y="770"/>
                      <a:pt x="431" y="770"/>
                    </a:cubicBezTo>
                    <a:cubicBezTo>
                      <a:pt x="431" y="767"/>
                      <a:pt x="431" y="767"/>
                      <a:pt x="431" y="767"/>
                    </a:cubicBezTo>
                    <a:cubicBezTo>
                      <a:pt x="433" y="767"/>
                      <a:pt x="435" y="767"/>
                      <a:pt x="436" y="767"/>
                    </a:cubicBezTo>
                    <a:cubicBezTo>
                      <a:pt x="437" y="770"/>
                      <a:pt x="437" y="770"/>
                      <a:pt x="437" y="770"/>
                    </a:cubicBezTo>
                    <a:cubicBezTo>
                      <a:pt x="438" y="770"/>
                      <a:pt x="438" y="770"/>
                      <a:pt x="438" y="770"/>
                    </a:cubicBezTo>
                    <a:cubicBezTo>
                      <a:pt x="437" y="767"/>
                      <a:pt x="437" y="767"/>
                      <a:pt x="437" y="767"/>
                    </a:cubicBezTo>
                    <a:cubicBezTo>
                      <a:pt x="439" y="766"/>
                      <a:pt x="441" y="766"/>
                      <a:pt x="443" y="766"/>
                    </a:cubicBezTo>
                    <a:cubicBezTo>
                      <a:pt x="443" y="769"/>
                      <a:pt x="443" y="769"/>
                      <a:pt x="443" y="769"/>
                    </a:cubicBezTo>
                    <a:cubicBezTo>
                      <a:pt x="444" y="769"/>
                      <a:pt x="444" y="769"/>
                      <a:pt x="444" y="769"/>
                    </a:cubicBezTo>
                    <a:cubicBezTo>
                      <a:pt x="444" y="766"/>
                      <a:pt x="444" y="766"/>
                      <a:pt x="444" y="766"/>
                    </a:cubicBezTo>
                    <a:cubicBezTo>
                      <a:pt x="446" y="765"/>
                      <a:pt x="448" y="765"/>
                      <a:pt x="450" y="765"/>
                    </a:cubicBezTo>
                    <a:cubicBezTo>
                      <a:pt x="450" y="768"/>
                      <a:pt x="450" y="768"/>
                      <a:pt x="450" y="768"/>
                    </a:cubicBezTo>
                    <a:cubicBezTo>
                      <a:pt x="451" y="768"/>
                      <a:pt x="451" y="768"/>
                      <a:pt x="451" y="768"/>
                    </a:cubicBezTo>
                    <a:cubicBezTo>
                      <a:pt x="450" y="765"/>
                      <a:pt x="450" y="765"/>
                      <a:pt x="450" y="765"/>
                    </a:cubicBezTo>
                    <a:cubicBezTo>
                      <a:pt x="452" y="765"/>
                      <a:pt x="454" y="764"/>
                      <a:pt x="456" y="764"/>
                    </a:cubicBezTo>
                    <a:cubicBezTo>
                      <a:pt x="456" y="769"/>
                      <a:pt x="456" y="769"/>
                      <a:pt x="456" y="769"/>
                    </a:cubicBezTo>
                    <a:cubicBezTo>
                      <a:pt x="457" y="769"/>
                      <a:pt x="457" y="769"/>
                      <a:pt x="457" y="769"/>
                    </a:cubicBezTo>
                    <a:cubicBezTo>
                      <a:pt x="458" y="777"/>
                      <a:pt x="458" y="777"/>
                      <a:pt x="458" y="777"/>
                    </a:cubicBezTo>
                    <a:cubicBezTo>
                      <a:pt x="459" y="777"/>
                      <a:pt x="459" y="777"/>
                      <a:pt x="459" y="777"/>
                    </a:cubicBezTo>
                    <a:cubicBezTo>
                      <a:pt x="458" y="769"/>
                      <a:pt x="458" y="769"/>
                      <a:pt x="458" y="769"/>
                    </a:cubicBezTo>
                    <a:cubicBezTo>
                      <a:pt x="458" y="769"/>
                      <a:pt x="458" y="769"/>
                      <a:pt x="458" y="769"/>
                    </a:cubicBezTo>
                    <a:cubicBezTo>
                      <a:pt x="457" y="764"/>
                      <a:pt x="457" y="764"/>
                      <a:pt x="457" y="764"/>
                    </a:cubicBezTo>
                    <a:cubicBezTo>
                      <a:pt x="459" y="763"/>
                      <a:pt x="461" y="763"/>
                      <a:pt x="463" y="763"/>
                    </a:cubicBezTo>
                    <a:cubicBezTo>
                      <a:pt x="463" y="766"/>
                      <a:pt x="463" y="766"/>
                      <a:pt x="463" y="766"/>
                    </a:cubicBezTo>
                    <a:cubicBezTo>
                      <a:pt x="464" y="765"/>
                      <a:pt x="464" y="765"/>
                      <a:pt x="464" y="765"/>
                    </a:cubicBezTo>
                    <a:cubicBezTo>
                      <a:pt x="463" y="763"/>
                      <a:pt x="463" y="763"/>
                      <a:pt x="463" y="763"/>
                    </a:cubicBezTo>
                    <a:cubicBezTo>
                      <a:pt x="465" y="762"/>
                      <a:pt x="467" y="762"/>
                      <a:pt x="469" y="761"/>
                    </a:cubicBezTo>
                    <a:cubicBezTo>
                      <a:pt x="470" y="764"/>
                      <a:pt x="470" y="764"/>
                      <a:pt x="470" y="764"/>
                    </a:cubicBezTo>
                    <a:cubicBezTo>
                      <a:pt x="470" y="764"/>
                      <a:pt x="470" y="764"/>
                      <a:pt x="470" y="764"/>
                    </a:cubicBezTo>
                    <a:cubicBezTo>
                      <a:pt x="470" y="761"/>
                      <a:pt x="470" y="761"/>
                      <a:pt x="470" y="761"/>
                    </a:cubicBezTo>
                    <a:cubicBezTo>
                      <a:pt x="472" y="761"/>
                      <a:pt x="474" y="760"/>
                      <a:pt x="475" y="760"/>
                    </a:cubicBezTo>
                    <a:cubicBezTo>
                      <a:pt x="476" y="763"/>
                      <a:pt x="476" y="763"/>
                      <a:pt x="476" y="763"/>
                    </a:cubicBezTo>
                    <a:cubicBezTo>
                      <a:pt x="477" y="763"/>
                      <a:pt x="477" y="763"/>
                      <a:pt x="477" y="763"/>
                    </a:cubicBezTo>
                    <a:cubicBezTo>
                      <a:pt x="476" y="760"/>
                      <a:pt x="476" y="760"/>
                      <a:pt x="476" y="760"/>
                    </a:cubicBezTo>
                    <a:cubicBezTo>
                      <a:pt x="478" y="759"/>
                      <a:pt x="480" y="759"/>
                      <a:pt x="482" y="758"/>
                    </a:cubicBezTo>
                    <a:cubicBezTo>
                      <a:pt x="483" y="761"/>
                      <a:pt x="483" y="761"/>
                      <a:pt x="483" y="761"/>
                    </a:cubicBezTo>
                    <a:cubicBezTo>
                      <a:pt x="483" y="761"/>
                      <a:pt x="483" y="761"/>
                      <a:pt x="483" y="761"/>
                    </a:cubicBezTo>
                    <a:cubicBezTo>
                      <a:pt x="483" y="758"/>
                      <a:pt x="483" y="758"/>
                      <a:pt x="483" y="758"/>
                    </a:cubicBezTo>
                    <a:cubicBezTo>
                      <a:pt x="485" y="758"/>
                      <a:pt x="486" y="757"/>
                      <a:pt x="488" y="757"/>
                    </a:cubicBezTo>
                    <a:cubicBezTo>
                      <a:pt x="489" y="760"/>
                      <a:pt x="489" y="760"/>
                      <a:pt x="489" y="760"/>
                    </a:cubicBezTo>
                    <a:cubicBezTo>
                      <a:pt x="490" y="759"/>
                      <a:pt x="490" y="759"/>
                      <a:pt x="490" y="759"/>
                    </a:cubicBezTo>
                    <a:cubicBezTo>
                      <a:pt x="489" y="757"/>
                      <a:pt x="489" y="757"/>
                      <a:pt x="489" y="757"/>
                    </a:cubicBezTo>
                    <a:cubicBezTo>
                      <a:pt x="491" y="756"/>
                      <a:pt x="493" y="756"/>
                      <a:pt x="495" y="755"/>
                    </a:cubicBezTo>
                    <a:cubicBezTo>
                      <a:pt x="495" y="758"/>
                      <a:pt x="495" y="758"/>
                      <a:pt x="495" y="758"/>
                    </a:cubicBezTo>
                    <a:cubicBezTo>
                      <a:pt x="496" y="758"/>
                      <a:pt x="496" y="758"/>
                      <a:pt x="496" y="758"/>
                    </a:cubicBezTo>
                    <a:cubicBezTo>
                      <a:pt x="495" y="755"/>
                      <a:pt x="495" y="755"/>
                      <a:pt x="495" y="755"/>
                    </a:cubicBezTo>
                    <a:cubicBezTo>
                      <a:pt x="497" y="754"/>
                      <a:pt x="499" y="754"/>
                      <a:pt x="501" y="753"/>
                    </a:cubicBezTo>
                    <a:cubicBezTo>
                      <a:pt x="502" y="756"/>
                      <a:pt x="502" y="756"/>
                      <a:pt x="502" y="756"/>
                    </a:cubicBezTo>
                    <a:cubicBezTo>
                      <a:pt x="503" y="756"/>
                      <a:pt x="503" y="756"/>
                      <a:pt x="503" y="756"/>
                    </a:cubicBezTo>
                    <a:cubicBezTo>
                      <a:pt x="502" y="753"/>
                      <a:pt x="502" y="753"/>
                      <a:pt x="502" y="753"/>
                    </a:cubicBezTo>
                    <a:cubicBezTo>
                      <a:pt x="504" y="752"/>
                      <a:pt x="505" y="752"/>
                      <a:pt x="507" y="751"/>
                    </a:cubicBezTo>
                    <a:cubicBezTo>
                      <a:pt x="508" y="754"/>
                      <a:pt x="508" y="754"/>
                      <a:pt x="508" y="754"/>
                    </a:cubicBezTo>
                    <a:cubicBezTo>
                      <a:pt x="509" y="754"/>
                      <a:pt x="509" y="754"/>
                      <a:pt x="509" y="754"/>
                    </a:cubicBezTo>
                    <a:cubicBezTo>
                      <a:pt x="508" y="751"/>
                      <a:pt x="508" y="751"/>
                      <a:pt x="508" y="751"/>
                    </a:cubicBezTo>
                    <a:cubicBezTo>
                      <a:pt x="510" y="750"/>
                      <a:pt x="512" y="750"/>
                      <a:pt x="514" y="749"/>
                    </a:cubicBezTo>
                    <a:cubicBezTo>
                      <a:pt x="514" y="752"/>
                      <a:pt x="514" y="752"/>
                      <a:pt x="514" y="752"/>
                    </a:cubicBezTo>
                    <a:cubicBezTo>
                      <a:pt x="515" y="752"/>
                      <a:pt x="515" y="752"/>
                      <a:pt x="515" y="752"/>
                    </a:cubicBezTo>
                    <a:cubicBezTo>
                      <a:pt x="514" y="749"/>
                      <a:pt x="514" y="749"/>
                      <a:pt x="514" y="749"/>
                    </a:cubicBezTo>
                    <a:cubicBezTo>
                      <a:pt x="516" y="748"/>
                      <a:pt x="518" y="748"/>
                      <a:pt x="519" y="747"/>
                    </a:cubicBezTo>
                    <a:cubicBezTo>
                      <a:pt x="521" y="752"/>
                      <a:pt x="521" y="752"/>
                      <a:pt x="521" y="752"/>
                    </a:cubicBezTo>
                    <a:cubicBezTo>
                      <a:pt x="522" y="752"/>
                      <a:pt x="522" y="752"/>
                      <a:pt x="522" y="752"/>
                    </a:cubicBezTo>
                    <a:cubicBezTo>
                      <a:pt x="524" y="759"/>
                      <a:pt x="524" y="759"/>
                      <a:pt x="524" y="759"/>
                    </a:cubicBezTo>
                    <a:cubicBezTo>
                      <a:pt x="525" y="759"/>
                      <a:pt x="525" y="759"/>
                      <a:pt x="525" y="759"/>
                    </a:cubicBezTo>
                    <a:cubicBezTo>
                      <a:pt x="522" y="752"/>
                      <a:pt x="522" y="752"/>
                      <a:pt x="522" y="752"/>
                    </a:cubicBezTo>
                    <a:cubicBezTo>
                      <a:pt x="523" y="752"/>
                      <a:pt x="523" y="752"/>
                      <a:pt x="523" y="752"/>
                    </a:cubicBezTo>
                    <a:cubicBezTo>
                      <a:pt x="521" y="746"/>
                      <a:pt x="521" y="746"/>
                      <a:pt x="521" y="746"/>
                    </a:cubicBezTo>
                    <a:cubicBezTo>
                      <a:pt x="523" y="746"/>
                      <a:pt x="524" y="745"/>
                      <a:pt x="526" y="745"/>
                    </a:cubicBezTo>
                    <a:cubicBezTo>
                      <a:pt x="527" y="747"/>
                      <a:pt x="527" y="747"/>
                      <a:pt x="527" y="747"/>
                    </a:cubicBezTo>
                    <a:cubicBezTo>
                      <a:pt x="528" y="747"/>
                      <a:pt x="528" y="747"/>
                      <a:pt x="528" y="747"/>
                    </a:cubicBezTo>
                    <a:cubicBezTo>
                      <a:pt x="527" y="744"/>
                      <a:pt x="527" y="744"/>
                      <a:pt x="527" y="744"/>
                    </a:cubicBezTo>
                    <a:cubicBezTo>
                      <a:pt x="528" y="744"/>
                      <a:pt x="530" y="743"/>
                      <a:pt x="532" y="742"/>
                    </a:cubicBezTo>
                    <a:cubicBezTo>
                      <a:pt x="533" y="745"/>
                      <a:pt x="533" y="745"/>
                      <a:pt x="533" y="745"/>
                    </a:cubicBezTo>
                    <a:cubicBezTo>
                      <a:pt x="534" y="745"/>
                      <a:pt x="534" y="745"/>
                      <a:pt x="534" y="745"/>
                    </a:cubicBezTo>
                    <a:cubicBezTo>
                      <a:pt x="533" y="742"/>
                      <a:pt x="533" y="742"/>
                      <a:pt x="533" y="742"/>
                    </a:cubicBezTo>
                    <a:cubicBezTo>
                      <a:pt x="535" y="741"/>
                      <a:pt x="536" y="740"/>
                      <a:pt x="538" y="740"/>
                    </a:cubicBezTo>
                    <a:cubicBezTo>
                      <a:pt x="539" y="742"/>
                      <a:pt x="539" y="742"/>
                      <a:pt x="539" y="742"/>
                    </a:cubicBezTo>
                    <a:cubicBezTo>
                      <a:pt x="540" y="742"/>
                      <a:pt x="540" y="742"/>
                      <a:pt x="540" y="742"/>
                    </a:cubicBezTo>
                    <a:cubicBezTo>
                      <a:pt x="539" y="739"/>
                      <a:pt x="539" y="739"/>
                      <a:pt x="539" y="739"/>
                    </a:cubicBezTo>
                    <a:cubicBezTo>
                      <a:pt x="541" y="739"/>
                      <a:pt x="542" y="738"/>
                      <a:pt x="544" y="737"/>
                    </a:cubicBezTo>
                    <a:cubicBezTo>
                      <a:pt x="545" y="740"/>
                      <a:pt x="545" y="740"/>
                      <a:pt x="545" y="740"/>
                    </a:cubicBezTo>
                    <a:cubicBezTo>
                      <a:pt x="546" y="739"/>
                      <a:pt x="546" y="739"/>
                      <a:pt x="546" y="739"/>
                    </a:cubicBezTo>
                    <a:cubicBezTo>
                      <a:pt x="545" y="737"/>
                      <a:pt x="545" y="737"/>
                      <a:pt x="545" y="737"/>
                    </a:cubicBezTo>
                    <a:cubicBezTo>
                      <a:pt x="547" y="736"/>
                      <a:pt x="548" y="735"/>
                      <a:pt x="550" y="734"/>
                    </a:cubicBezTo>
                    <a:cubicBezTo>
                      <a:pt x="551" y="737"/>
                      <a:pt x="551" y="737"/>
                      <a:pt x="551" y="737"/>
                    </a:cubicBezTo>
                    <a:cubicBezTo>
                      <a:pt x="552" y="737"/>
                      <a:pt x="552" y="737"/>
                      <a:pt x="552" y="737"/>
                    </a:cubicBezTo>
                    <a:cubicBezTo>
                      <a:pt x="551" y="734"/>
                      <a:pt x="551" y="734"/>
                      <a:pt x="551" y="734"/>
                    </a:cubicBezTo>
                    <a:cubicBezTo>
                      <a:pt x="553" y="733"/>
                      <a:pt x="554" y="732"/>
                      <a:pt x="556" y="731"/>
                    </a:cubicBezTo>
                    <a:cubicBezTo>
                      <a:pt x="557" y="734"/>
                      <a:pt x="557" y="734"/>
                      <a:pt x="557" y="734"/>
                    </a:cubicBezTo>
                    <a:cubicBezTo>
                      <a:pt x="558" y="734"/>
                      <a:pt x="558" y="734"/>
                      <a:pt x="558" y="734"/>
                    </a:cubicBezTo>
                    <a:cubicBezTo>
                      <a:pt x="557" y="731"/>
                      <a:pt x="557" y="731"/>
                      <a:pt x="557" y="731"/>
                    </a:cubicBezTo>
                    <a:cubicBezTo>
                      <a:pt x="559" y="730"/>
                      <a:pt x="560" y="729"/>
                      <a:pt x="562" y="729"/>
                    </a:cubicBezTo>
                    <a:cubicBezTo>
                      <a:pt x="563" y="731"/>
                      <a:pt x="563" y="731"/>
                      <a:pt x="563" y="731"/>
                    </a:cubicBezTo>
                    <a:cubicBezTo>
                      <a:pt x="564" y="731"/>
                      <a:pt x="564" y="731"/>
                      <a:pt x="564" y="731"/>
                    </a:cubicBezTo>
                    <a:cubicBezTo>
                      <a:pt x="563" y="728"/>
                      <a:pt x="563" y="728"/>
                      <a:pt x="563" y="728"/>
                    </a:cubicBezTo>
                    <a:cubicBezTo>
                      <a:pt x="564" y="727"/>
                      <a:pt x="566" y="726"/>
                      <a:pt x="568" y="726"/>
                    </a:cubicBezTo>
                    <a:cubicBezTo>
                      <a:pt x="569" y="728"/>
                      <a:pt x="569" y="728"/>
                      <a:pt x="569" y="728"/>
                    </a:cubicBezTo>
                    <a:cubicBezTo>
                      <a:pt x="570" y="728"/>
                      <a:pt x="570" y="728"/>
                      <a:pt x="570" y="728"/>
                    </a:cubicBezTo>
                    <a:cubicBezTo>
                      <a:pt x="569" y="725"/>
                      <a:pt x="569" y="725"/>
                      <a:pt x="569" y="725"/>
                    </a:cubicBezTo>
                    <a:cubicBezTo>
                      <a:pt x="570" y="724"/>
                      <a:pt x="572" y="723"/>
                      <a:pt x="574" y="722"/>
                    </a:cubicBezTo>
                    <a:cubicBezTo>
                      <a:pt x="575" y="725"/>
                      <a:pt x="575" y="725"/>
                      <a:pt x="575" y="725"/>
                    </a:cubicBezTo>
                    <a:cubicBezTo>
                      <a:pt x="576" y="724"/>
                      <a:pt x="576" y="724"/>
                      <a:pt x="576" y="724"/>
                    </a:cubicBezTo>
                    <a:cubicBezTo>
                      <a:pt x="574" y="722"/>
                      <a:pt x="574" y="722"/>
                      <a:pt x="574" y="722"/>
                    </a:cubicBezTo>
                    <a:cubicBezTo>
                      <a:pt x="576" y="721"/>
                      <a:pt x="577" y="720"/>
                      <a:pt x="579" y="719"/>
                    </a:cubicBezTo>
                    <a:cubicBezTo>
                      <a:pt x="582" y="724"/>
                      <a:pt x="582" y="724"/>
                      <a:pt x="582" y="724"/>
                    </a:cubicBezTo>
                    <a:cubicBezTo>
                      <a:pt x="582" y="724"/>
                      <a:pt x="582" y="724"/>
                      <a:pt x="582" y="724"/>
                    </a:cubicBezTo>
                    <a:cubicBezTo>
                      <a:pt x="586" y="730"/>
                      <a:pt x="586" y="730"/>
                      <a:pt x="586" y="730"/>
                    </a:cubicBezTo>
                    <a:cubicBezTo>
                      <a:pt x="587" y="730"/>
                      <a:pt x="587" y="730"/>
                      <a:pt x="587" y="730"/>
                    </a:cubicBezTo>
                    <a:cubicBezTo>
                      <a:pt x="583" y="723"/>
                      <a:pt x="583" y="723"/>
                      <a:pt x="583" y="723"/>
                    </a:cubicBezTo>
                    <a:cubicBezTo>
                      <a:pt x="583" y="723"/>
                      <a:pt x="583" y="723"/>
                      <a:pt x="583" y="723"/>
                    </a:cubicBezTo>
                    <a:cubicBezTo>
                      <a:pt x="581" y="718"/>
                      <a:pt x="581" y="718"/>
                      <a:pt x="581" y="718"/>
                    </a:cubicBezTo>
                    <a:cubicBezTo>
                      <a:pt x="582" y="718"/>
                      <a:pt x="584" y="717"/>
                      <a:pt x="585" y="716"/>
                    </a:cubicBezTo>
                    <a:cubicBezTo>
                      <a:pt x="587" y="718"/>
                      <a:pt x="587" y="718"/>
                      <a:pt x="587" y="718"/>
                    </a:cubicBezTo>
                    <a:cubicBezTo>
                      <a:pt x="587" y="718"/>
                      <a:pt x="587" y="718"/>
                      <a:pt x="587" y="718"/>
                    </a:cubicBezTo>
                    <a:cubicBezTo>
                      <a:pt x="586" y="715"/>
                      <a:pt x="586" y="715"/>
                      <a:pt x="586" y="715"/>
                    </a:cubicBezTo>
                    <a:cubicBezTo>
                      <a:pt x="587" y="714"/>
                      <a:pt x="589" y="713"/>
                      <a:pt x="591" y="712"/>
                    </a:cubicBezTo>
                    <a:cubicBezTo>
                      <a:pt x="592" y="715"/>
                      <a:pt x="592" y="715"/>
                      <a:pt x="592" y="715"/>
                    </a:cubicBezTo>
                    <a:cubicBezTo>
                      <a:pt x="593" y="714"/>
                      <a:pt x="593" y="714"/>
                      <a:pt x="593" y="714"/>
                    </a:cubicBezTo>
                    <a:cubicBezTo>
                      <a:pt x="591" y="712"/>
                      <a:pt x="591" y="712"/>
                      <a:pt x="591" y="712"/>
                    </a:cubicBezTo>
                    <a:cubicBezTo>
                      <a:pt x="593" y="711"/>
                      <a:pt x="595" y="710"/>
                      <a:pt x="596" y="709"/>
                    </a:cubicBezTo>
                    <a:cubicBezTo>
                      <a:pt x="598" y="711"/>
                      <a:pt x="598" y="711"/>
                      <a:pt x="598" y="711"/>
                    </a:cubicBezTo>
                    <a:cubicBezTo>
                      <a:pt x="599" y="711"/>
                      <a:pt x="599" y="711"/>
                      <a:pt x="599" y="711"/>
                    </a:cubicBezTo>
                    <a:cubicBezTo>
                      <a:pt x="597" y="708"/>
                      <a:pt x="597" y="708"/>
                      <a:pt x="597" y="708"/>
                    </a:cubicBezTo>
                    <a:cubicBezTo>
                      <a:pt x="599" y="707"/>
                      <a:pt x="600" y="706"/>
                      <a:pt x="602" y="705"/>
                    </a:cubicBezTo>
                    <a:cubicBezTo>
                      <a:pt x="603" y="708"/>
                      <a:pt x="603" y="708"/>
                      <a:pt x="603" y="708"/>
                    </a:cubicBezTo>
                    <a:cubicBezTo>
                      <a:pt x="604" y="707"/>
                      <a:pt x="604" y="707"/>
                      <a:pt x="604" y="707"/>
                    </a:cubicBezTo>
                    <a:cubicBezTo>
                      <a:pt x="602" y="705"/>
                      <a:pt x="602" y="705"/>
                      <a:pt x="602" y="705"/>
                    </a:cubicBezTo>
                    <a:cubicBezTo>
                      <a:pt x="604" y="704"/>
                      <a:pt x="606" y="702"/>
                      <a:pt x="607" y="701"/>
                    </a:cubicBezTo>
                    <a:cubicBezTo>
                      <a:pt x="609" y="704"/>
                      <a:pt x="609" y="704"/>
                      <a:pt x="609" y="704"/>
                    </a:cubicBezTo>
                    <a:cubicBezTo>
                      <a:pt x="610" y="703"/>
                      <a:pt x="610" y="703"/>
                      <a:pt x="610" y="703"/>
                    </a:cubicBezTo>
                    <a:cubicBezTo>
                      <a:pt x="608" y="701"/>
                      <a:pt x="608" y="701"/>
                      <a:pt x="608" y="701"/>
                    </a:cubicBezTo>
                    <a:cubicBezTo>
                      <a:pt x="609" y="700"/>
                      <a:pt x="611" y="699"/>
                      <a:pt x="613" y="697"/>
                    </a:cubicBezTo>
                    <a:cubicBezTo>
                      <a:pt x="614" y="700"/>
                      <a:pt x="614" y="700"/>
                      <a:pt x="614" y="700"/>
                    </a:cubicBezTo>
                    <a:cubicBezTo>
                      <a:pt x="615" y="699"/>
                      <a:pt x="615" y="699"/>
                      <a:pt x="615" y="699"/>
                    </a:cubicBezTo>
                    <a:cubicBezTo>
                      <a:pt x="613" y="697"/>
                      <a:pt x="613" y="697"/>
                      <a:pt x="613" y="697"/>
                    </a:cubicBezTo>
                    <a:cubicBezTo>
                      <a:pt x="615" y="696"/>
                      <a:pt x="616" y="695"/>
                      <a:pt x="618" y="694"/>
                    </a:cubicBezTo>
                    <a:cubicBezTo>
                      <a:pt x="620" y="696"/>
                      <a:pt x="620" y="696"/>
                      <a:pt x="620" y="696"/>
                    </a:cubicBezTo>
                    <a:cubicBezTo>
                      <a:pt x="620" y="695"/>
                      <a:pt x="620" y="695"/>
                      <a:pt x="620" y="695"/>
                    </a:cubicBezTo>
                    <a:cubicBezTo>
                      <a:pt x="619" y="693"/>
                      <a:pt x="619" y="693"/>
                      <a:pt x="619" y="693"/>
                    </a:cubicBezTo>
                    <a:cubicBezTo>
                      <a:pt x="620" y="692"/>
                      <a:pt x="622" y="691"/>
                      <a:pt x="623" y="690"/>
                    </a:cubicBezTo>
                    <a:cubicBezTo>
                      <a:pt x="625" y="692"/>
                      <a:pt x="625" y="692"/>
                      <a:pt x="625" y="692"/>
                    </a:cubicBezTo>
                    <a:cubicBezTo>
                      <a:pt x="626" y="691"/>
                      <a:pt x="626" y="691"/>
                      <a:pt x="626" y="691"/>
                    </a:cubicBezTo>
                    <a:cubicBezTo>
                      <a:pt x="624" y="689"/>
                      <a:pt x="624" y="689"/>
                      <a:pt x="624" y="689"/>
                    </a:cubicBezTo>
                    <a:cubicBezTo>
                      <a:pt x="625" y="688"/>
                      <a:pt x="627" y="687"/>
                      <a:pt x="628" y="685"/>
                    </a:cubicBezTo>
                    <a:cubicBezTo>
                      <a:pt x="630" y="688"/>
                      <a:pt x="630" y="688"/>
                      <a:pt x="630" y="688"/>
                    </a:cubicBezTo>
                    <a:cubicBezTo>
                      <a:pt x="631" y="687"/>
                      <a:pt x="631" y="687"/>
                      <a:pt x="631" y="687"/>
                    </a:cubicBezTo>
                    <a:cubicBezTo>
                      <a:pt x="629" y="685"/>
                      <a:pt x="629" y="685"/>
                      <a:pt x="629" y="685"/>
                    </a:cubicBezTo>
                    <a:cubicBezTo>
                      <a:pt x="630" y="684"/>
                      <a:pt x="632" y="683"/>
                      <a:pt x="633" y="682"/>
                    </a:cubicBezTo>
                    <a:cubicBezTo>
                      <a:pt x="637" y="686"/>
                      <a:pt x="637" y="686"/>
                      <a:pt x="637" y="686"/>
                    </a:cubicBezTo>
                    <a:cubicBezTo>
                      <a:pt x="637" y="685"/>
                      <a:pt x="637" y="685"/>
                      <a:pt x="637" y="685"/>
                    </a:cubicBezTo>
                    <a:cubicBezTo>
                      <a:pt x="642" y="691"/>
                      <a:pt x="642" y="691"/>
                      <a:pt x="642" y="691"/>
                    </a:cubicBezTo>
                    <a:cubicBezTo>
                      <a:pt x="642" y="691"/>
                      <a:pt x="642" y="691"/>
                      <a:pt x="642" y="691"/>
                    </a:cubicBezTo>
                    <a:cubicBezTo>
                      <a:pt x="637" y="685"/>
                      <a:pt x="637" y="685"/>
                      <a:pt x="637" y="685"/>
                    </a:cubicBezTo>
                    <a:cubicBezTo>
                      <a:pt x="638" y="685"/>
                      <a:pt x="638" y="685"/>
                      <a:pt x="638" y="685"/>
                    </a:cubicBezTo>
                    <a:cubicBezTo>
                      <a:pt x="634" y="680"/>
                      <a:pt x="634" y="680"/>
                      <a:pt x="634" y="680"/>
                    </a:cubicBezTo>
                    <a:cubicBezTo>
                      <a:pt x="636" y="679"/>
                      <a:pt x="637" y="678"/>
                      <a:pt x="638" y="677"/>
                    </a:cubicBezTo>
                    <a:cubicBezTo>
                      <a:pt x="640" y="679"/>
                      <a:pt x="640" y="679"/>
                      <a:pt x="640" y="679"/>
                    </a:cubicBezTo>
                    <a:cubicBezTo>
                      <a:pt x="641" y="679"/>
                      <a:pt x="641" y="679"/>
                      <a:pt x="641" y="679"/>
                    </a:cubicBezTo>
                    <a:cubicBezTo>
                      <a:pt x="639" y="676"/>
                      <a:pt x="639" y="676"/>
                      <a:pt x="639" y="676"/>
                    </a:cubicBezTo>
                    <a:cubicBezTo>
                      <a:pt x="640" y="675"/>
                      <a:pt x="642" y="674"/>
                      <a:pt x="643" y="673"/>
                    </a:cubicBezTo>
                    <a:cubicBezTo>
                      <a:pt x="645" y="675"/>
                      <a:pt x="645" y="675"/>
                      <a:pt x="645" y="675"/>
                    </a:cubicBezTo>
                    <a:cubicBezTo>
                      <a:pt x="646" y="674"/>
                      <a:pt x="646" y="674"/>
                      <a:pt x="646" y="674"/>
                    </a:cubicBezTo>
                    <a:cubicBezTo>
                      <a:pt x="644" y="672"/>
                      <a:pt x="644" y="672"/>
                      <a:pt x="644" y="672"/>
                    </a:cubicBezTo>
                    <a:cubicBezTo>
                      <a:pt x="645" y="671"/>
                      <a:pt x="647" y="669"/>
                      <a:pt x="648" y="668"/>
                    </a:cubicBezTo>
                    <a:cubicBezTo>
                      <a:pt x="650" y="670"/>
                      <a:pt x="650" y="670"/>
                      <a:pt x="650" y="670"/>
                    </a:cubicBezTo>
                    <a:cubicBezTo>
                      <a:pt x="651" y="670"/>
                      <a:pt x="651" y="670"/>
                      <a:pt x="651" y="670"/>
                    </a:cubicBezTo>
                    <a:cubicBezTo>
                      <a:pt x="649" y="668"/>
                      <a:pt x="649" y="668"/>
                      <a:pt x="649" y="668"/>
                    </a:cubicBezTo>
                    <a:cubicBezTo>
                      <a:pt x="650" y="666"/>
                      <a:pt x="652" y="665"/>
                      <a:pt x="653" y="664"/>
                    </a:cubicBezTo>
                    <a:cubicBezTo>
                      <a:pt x="655" y="666"/>
                      <a:pt x="655" y="666"/>
                      <a:pt x="655" y="666"/>
                    </a:cubicBezTo>
                    <a:cubicBezTo>
                      <a:pt x="656" y="665"/>
                      <a:pt x="656" y="665"/>
                      <a:pt x="656" y="665"/>
                    </a:cubicBezTo>
                    <a:cubicBezTo>
                      <a:pt x="654" y="663"/>
                      <a:pt x="654" y="663"/>
                      <a:pt x="654" y="663"/>
                    </a:cubicBezTo>
                    <a:cubicBezTo>
                      <a:pt x="655" y="662"/>
                      <a:pt x="656" y="660"/>
                      <a:pt x="658" y="659"/>
                    </a:cubicBezTo>
                    <a:cubicBezTo>
                      <a:pt x="660" y="661"/>
                      <a:pt x="660" y="661"/>
                      <a:pt x="660" y="661"/>
                    </a:cubicBezTo>
                    <a:cubicBezTo>
                      <a:pt x="660" y="661"/>
                      <a:pt x="660" y="661"/>
                      <a:pt x="660" y="661"/>
                    </a:cubicBezTo>
                    <a:cubicBezTo>
                      <a:pt x="658" y="658"/>
                      <a:pt x="658" y="658"/>
                      <a:pt x="658" y="658"/>
                    </a:cubicBezTo>
                    <a:cubicBezTo>
                      <a:pt x="660" y="657"/>
                      <a:pt x="661" y="656"/>
                      <a:pt x="662" y="654"/>
                    </a:cubicBezTo>
                    <a:cubicBezTo>
                      <a:pt x="664" y="656"/>
                      <a:pt x="664" y="656"/>
                      <a:pt x="664" y="656"/>
                    </a:cubicBezTo>
                    <a:cubicBezTo>
                      <a:pt x="665" y="656"/>
                      <a:pt x="665" y="656"/>
                      <a:pt x="665" y="656"/>
                    </a:cubicBezTo>
                    <a:cubicBezTo>
                      <a:pt x="663" y="654"/>
                      <a:pt x="663" y="654"/>
                      <a:pt x="663" y="654"/>
                    </a:cubicBezTo>
                    <a:cubicBezTo>
                      <a:pt x="664" y="652"/>
                      <a:pt x="666" y="651"/>
                      <a:pt x="667" y="649"/>
                    </a:cubicBezTo>
                    <a:cubicBezTo>
                      <a:pt x="669" y="651"/>
                      <a:pt x="669" y="651"/>
                      <a:pt x="669" y="651"/>
                    </a:cubicBezTo>
                    <a:cubicBezTo>
                      <a:pt x="670" y="651"/>
                      <a:pt x="670" y="651"/>
                      <a:pt x="670" y="651"/>
                    </a:cubicBezTo>
                    <a:cubicBezTo>
                      <a:pt x="667" y="649"/>
                      <a:pt x="667" y="649"/>
                      <a:pt x="667" y="649"/>
                    </a:cubicBezTo>
                    <a:cubicBezTo>
                      <a:pt x="669" y="647"/>
                      <a:pt x="670" y="646"/>
                      <a:pt x="671" y="645"/>
                    </a:cubicBezTo>
                    <a:cubicBezTo>
                      <a:pt x="674" y="647"/>
                      <a:pt x="674" y="647"/>
                      <a:pt x="674" y="647"/>
                    </a:cubicBezTo>
                    <a:cubicBezTo>
                      <a:pt x="674" y="646"/>
                      <a:pt x="674" y="646"/>
                      <a:pt x="674" y="646"/>
                    </a:cubicBezTo>
                    <a:cubicBezTo>
                      <a:pt x="672" y="644"/>
                      <a:pt x="672" y="644"/>
                      <a:pt x="672" y="644"/>
                    </a:cubicBezTo>
                    <a:cubicBezTo>
                      <a:pt x="673" y="643"/>
                      <a:pt x="674" y="641"/>
                      <a:pt x="676" y="640"/>
                    </a:cubicBezTo>
                    <a:cubicBezTo>
                      <a:pt x="678" y="642"/>
                      <a:pt x="678" y="642"/>
                      <a:pt x="678" y="642"/>
                    </a:cubicBezTo>
                    <a:cubicBezTo>
                      <a:pt x="678" y="641"/>
                      <a:pt x="678" y="641"/>
                      <a:pt x="678" y="641"/>
                    </a:cubicBezTo>
                    <a:cubicBezTo>
                      <a:pt x="676" y="639"/>
                      <a:pt x="676" y="639"/>
                      <a:pt x="676" y="639"/>
                    </a:cubicBezTo>
                    <a:cubicBezTo>
                      <a:pt x="677" y="638"/>
                      <a:pt x="679" y="636"/>
                      <a:pt x="680" y="635"/>
                    </a:cubicBezTo>
                    <a:cubicBezTo>
                      <a:pt x="684" y="639"/>
                      <a:pt x="684" y="639"/>
                      <a:pt x="684" y="639"/>
                    </a:cubicBezTo>
                    <a:cubicBezTo>
                      <a:pt x="684" y="638"/>
                      <a:pt x="684" y="638"/>
                      <a:pt x="684" y="638"/>
                    </a:cubicBezTo>
                    <a:cubicBezTo>
                      <a:pt x="690" y="643"/>
                      <a:pt x="690" y="643"/>
                      <a:pt x="690" y="643"/>
                    </a:cubicBezTo>
                    <a:cubicBezTo>
                      <a:pt x="691" y="643"/>
                      <a:pt x="691" y="643"/>
                      <a:pt x="691" y="643"/>
                    </a:cubicBezTo>
                    <a:cubicBezTo>
                      <a:pt x="685" y="638"/>
                      <a:pt x="685" y="638"/>
                      <a:pt x="685" y="638"/>
                    </a:cubicBezTo>
                    <a:cubicBezTo>
                      <a:pt x="685" y="637"/>
                      <a:pt x="685" y="637"/>
                      <a:pt x="685" y="637"/>
                    </a:cubicBezTo>
                    <a:cubicBezTo>
                      <a:pt x="681" y="634"/>
                      <a:pt x="681" y="634"/>
                      <a:pt x="681" y="634"/>
                    </a:cubicBezTo>
                    <a:cubicBezTo>
                      <a:pt x="682" y="632"/>
                      <a:pt x="683" y="631"/>
                      <a:pt x="684" y="630"/>
                    </a:cubicBezTo>
                    <a:cubicBezTo>
                      <a:pt x="687" y="631"/>
                      <a:pt x="687" y="631"/>
                      <a:pt x="687" y="631"/>
                    </a:cubicBezTo>
                    <a:cubicBezTo>
                      <a:pt x="687" y="631"/>
                      <a:pt x="687" y="631"/>
                      <a:pt x="687" y="631"/>
                    </a:cubicBezTo>
                    <a:cubicBezTo>
                      <a:pt x="685" y="629"/>
                      <a:pt x="685" y="629"/>
                      <a:pt x="685" y="629"/>
                    </a:cubicBezTo>
                    <a:cubicBezTo>
                      <a:pt x="686" y="627"/>
                      <a:pt x="687" y="626"/>
                      <a:pt x="688" y="624"/>
                    </a:cubicBezTo>
                    <a:cubicBezTo>
                      <a:pt x="691" y="626"/>
                      <a:pt x="691" y="626"/>
                      <a:pt x="691" y="626"/>
                    </a:cubicBezTo>
                    <a:cubicBezTo>
                      <a:pt x="691" y="626"/>
                      <a:pt x="691" y="626"/>
                      <a:pt x="691" y="626"/>
                    </a:cubicBezTo>
                    <a:cubicBezTo>
                      <a:pt x="689" y="624"/>
                      <a:pt x="689" y="624"/>
                      <a:pt x="689" y="624"/>
                    </a:cubicBezTo>
                    <a:cubicBezTo>
                      <a:pt x="690" y="622"/>
                      <a:pt x="691" y="621"/>
                      <a:pt x="692" y="619"/>
                    </a:cubicBezTo>
                    <a:cubicBezTo>
                      <a:pt x="695" y="621"/>
                      <a:pt x="695" y="621"/>
                      <a:pt x="695" y="621"/>
                    </a:cubicBezTo>
                    <a:cubicBezTo>
                      <a:pt x="695" y="620"/>
                      <a:pt x="695" y="620"/>
                      <a:pt x="695" y="620"/>
                    </a:cubicBezTo>
                    <a:cubicBezTo>
                      <a:pt x="693" y="619"/>
                      <a:pt x="693" y="619"/>
                      <a:pt x="693" y="619"/>
                    </a:cubicBezTo>
                    <a:cubicBezTo>
                      <a:pt x="694" y="617"/>
                      <a:pt x="695" y="615"/>
                      <a:pt x="696" y="614"/>
                    </a:cubicBezTo>
                    <a:cubicBezTo>
                      <a:pt x="699" y="616"/>
                      <a:pt x="699" y="616"/>
                      <a:pt x="699" y="616"/>
                    </a:cubicBezTo>
                    <a:cubicBezTo>
                      <a:pt x="699" y="615"/>
                      <a:pt x="699" y="615"/>
                      <a:pt x="699" y="615"/>
                    </a:cubicBezTo>
                    <a:cubicBezTo>
                      <a:pt x="697" y="613"/>
                      <a:pt x="697" y="613"/>
                      <a:pt x="697" y="613"/>
                    </a:cubicBezTo>
                    <a:cubicBezTo>
                      <a:pt x="698" y="612"/>
                      <a:pt x="699" y="610"/>
                      <a:pt x="700" y="609"/>
                    </a:cubicBezTo>
                    <a:cubicBezTo>
                      <a:pt x="703" y="610"/>
                      <a:pt x="703" y="610"/>
                      <a:pt x="703" y="610"/>
                    </a:cubicBezTo>
                    <a:cubicBezTo>
                      <a:pt x="703" y="610"/>
                      <a:pt x="703" y="610"/>
                      <a:pt x="703" y="610"/>
                    </a:cubicBezTo>
                    <a:cubicBezTo>
                      <a:pt x="701" y="608"/>
                      <a:pt x="701" y="608"/>
                      <a:pt x="701" y="608"/>
                    </a:cubicBezTo>
                    <a:cubicBezTo>
                      <a:pt x="702" y="606"/>
                      <a:pt x="703" y="605"/>
                      <a:pt x="704" y="603"/>
                    </a:cubicBezTo>
                    <a:cubicBezTo>
                      <a:pt x="706" y="605"/>
                      <a:pt x="706" y="605"/>
                      <a:pt x="706" y="605"/>
                    </a:cubicBezTo>
                    <a:cubicBezTo>
                      <a:pt x="707" y="604"/>
                      <a:pt x="707" y="604"/>
                      <a:pt x="707" y="604"/>
                    </a:cubicBezTo>
                    <a:cubicBezTo>
                      <a:pt x="704" y="602"/>
                      <a:pt x="704" y="602"/>
                      <a:pt x="704" y="602"/>
                    </a:cubicBezTo>
                    <a:cubicBezTo>
                      <a:pt x="705" y="601"/>
                      <a:pt x="706" y="599"/>
                      <a:pt x="708" y="598"/>
                    </a:cubicBezTo>
                    <a:cubicBezTo>
                      <a:pt x="710" y="599"/>
                      <a:pt x="710" y="599"/>
                      <a:pt x="710" y="599"/>
                    </a:cubicBezTo>
                    <a:cubicBezTo>
                      <a:pt x="710" y="599"/>
                      <a:pt x="710" y="599"/>
                      <a:pt x="710" y="599"/>
                    </a:cubicBezTo>
                    <a:cubicBezTo>
                      <a:pt x="708" y="597"/>
                      <a:pt x="708" y="597"/>
                      <a:pt x="708" y="597"/>
                    </a:cubicBezTo>
                    <a:cubicBezTo>
                      <a:pt x="709" y="595"/>
                      <a:pt x="710" y="594"/>
                      <a:pt x="711" y="592"/>
                    </a:cubicBezTo>
                    <a:cubicBezTo>
                      <a:pt x="714" y="594"/>
                      <a:pt x="714" y="594"/>
                      <a:pt x="714" y="594"/>
                    </a:cubicBezTo>
                    <a:cubicBezTo>
                      <a:pt x="714" y="593"/>
                      <a:pt x="714" y="593"/>
                      <a:pt x="714" y="593"/>
                    </a:cubicBezTo>
                    <a:cubicBezTo>
                      <a:pt x="712" y="591"/>
                      <a:pt x="712" y="591"/>
                      <a:pt x="712" y="591"/>
                    </a:cubicBezTo>
                    <a:cubicBezTo>
                      <a:pt x="713" y="590"/>
                      <a:pt x="714" y="588"/>
                      <a:pt x="715" y="586"/>
                    </a:cubicBezTo>
                    <a:cubicBezTo>
                      <a:pt x="717" y="588"/>
                      <a:pt x="717" y="588"/>
                      <a:pt x="717" y="588"/>
                    </a:cubicBezTo>
                    <a:cubicBezTo>
                      <a:pt x="717" y="587"/>
                      <a:pt x="717" y="587"/>
                      <a:pt x="717" y="587"/>
                    </a:cubicBezTo>
                    <a:cubicBezTo>
                      <a:pt x="715" y="586"/>
                      <a:pt x="715" y="586"/>
                      <a:pt x="715" y="586"/>
                    </a:cubicBezTo>
                    <a:cubicBezTo>
                      <a:pt x="716" y="584"/>
                      <a:pt x="717" y="583"/>
                      <a:pt x="718" y="581"/>
                    </a:cubicBezTo>
                    <a:cubicBezTo>
                      <a:pt x="722" y="584"/>
                      <a:pt x="722" y="584"/>
                      <a:pt x="722" y="584"/>
                    </a:cubicBezTo>
                    <a:cubicBezTo>
                      <a:pt x="723" y="583"/>
                      <a:pt x="723" y="583"/>
                      <a:pt x="723" y="583"/>
                    </a:cubicBezTo>
                    <a:cubicBezTo>
                      <a:pt x="729" y="587"/>
                      <a:pt x="729" y="587"/>
                      <a:pt x="729" y="587"/>
                    </a:cubicBezTo>
                    <a:cubicBezTo>
                      <a:pt x="730" y="587"/>
                      <a:pt x="730" y="587"/>
                      <a:pt x="730" y="587"/>
                    </a:cubicBezTo>
                    <a:cubicBezTo>
                      <a:pt x="723" y="583"/>
                      <a:pt x="723" y="583"/>
                      <a:pt x="723" y="583"/>
                    </a:cubicBezTo>
                    <a:cubicBezTo>
                      <a:pt x="723" y="582"/>
                      <a:pt x="723" y="582"/>
                      <a:pt x="723" y="582"/>
                    </a:cubicBezTo>
                    <a:cubicBezTo>
                      <a:pt x="719" y="580"/>
                      <a:pt x="719" y="580"/>
                      <a:pt x="719" y="580"/>
                    </a:cubicBezTo>
                    <a:cubicBezTo>
                      <a:pt x="719" y="578"/>
                      <a:pt x="720" y="577"/>
                      <a:pt x="721" y="575"/>
                    </a:cubicBezTo>
                    <a:cubicBezTo>
                      <a:pt x="724" y="576"/>
                      <a:pt x="724" y="576"/>
                      <a:pt x="724" y="576"/>
                    </a:cubicBezTo>
                    <a:cubicBezTo>
                      <a:pt x="724" y="576"/>
                      <a:pt x="724" y="576"/>
                      <a:pt x="724" y="576"/>
                    </a:cubicBezTo>
                    <a:cubicBezTo>
                      <a:pt x="722" y="574"/>
                      <a:pt x="722" y="574"/>
                      <a:pt x="722" y="574"/>
                    </a:cubicBezTo>
                    <a:cubicBezTo>
                      <a:pt x="723" y="573"/>
                      <a:pt x="723" y="571"/>
                      <a:pt x="724" y="569"/>
                    </a:cubicBezTo>
                    <a:cubicBezTo>
                      <a:pt x="727" y="571"/>
                      <a:pt x="727" y="571"/>
                      <a:pt x="727" y="571"/>
                    </a:cubicBezTo>
                    <a:cubicBezTo>
                      <a:pt x="727" y="570"/>
                      <a:pt x="727" y="570"/>
                      <a:pt x="727" y="570"/>
                    </a:cubicBezTo>
                    <a:cubicBezTo>
                      <a:pt x="725" y="569"/>
                      <a:pt x="725" y="569"/>
                      <a:pt x="725" y="569"/>
                    </a:cubicBezTo>
                    <a:cubicBezTo>
                      <a:pt x="726" y="567"/>
                      <a:pt x="727" y="565"/>
                      <a:pt x="727" y="563"/>
                    </a:cubicBezTo>
                    <a:cubicBezTo>
                      <a:pt x="730" y="565"/>
                      <a:pt x="730" y="565"/>
                      <a:pt x="730" y="565"/>
                    </a:cubicBezTo>
                    <a:cubicBezTo>
                      <a:pt x="730" y="564"/>
                      <a:pt x="730" y="564"/>
                      <a:pt x="730" y="564"/>
                    </a:cubicBezTo>
                    <a:cubicBezTo>
                      <a:pt x="728" y="563"/>
                      <a:pt x="728" y="563"/>
                      <a:pt x="728" y="563"/>
                    </a:cubicBezTo>
                    <a:cubicBezTo>
                      <a:pt x="729" y="561"/>
                      <a:pt x="730" y="559"/>
                      <a:pt x="730" y="557"/>
                    </a:cubicBezTo>
                    <a:cubicBezTo>
                      <a:pt x="733" y="559"/>
                      <a:pt x="733" y="559"/>
                      <a:pt x="733" y="559"/>
                    </a:cubicBezTo>
                    <a:cubicBezTo>
                      <a:pt x="733" y="558"/>
                      <a:pt x="733" y="558"/>
                      <a:pt x="733" y="558"/>
                    </a:cubicBezTo>
                    <a:cubicBezTo>
                      <a:pt x="731" y="557"/>
                      <a:pt x="731" y="557"/>
                      <a:pt x="731" y="557"/>
                    </a:cubicBezTo>
                    <a:cubicBezTo>
                      <a:pt x="732" y="555"/>
                      <a:pt x="732" y="553"/>
                      <a:pt x="733" y="551"/>
                    </a:cubicBezTo>
                    <a:cubicBezTo>
                      <a:pt x="736" y="553"/>
                      <a:pt x="736" y="553"/>
                      <a:pt x="736" y="553"/>
                    </a:cubicBezTo>
                    <a:cubicBezTo>
                      <a:pt x="736" y="552"/>
                      <a:pt x="736" y="552"/>
                      <a:pt x="736" y="552"/>
                    </a:cubicBezTo>
                    <a:cubicBezTo>
                      <a:pt x="734" y="551"/>
                      <a:pt x="734" y="551"/>
                      <a:pt x="734" y="551"/>
                    </a:cubicBezTo>
                    <a:cubicBezTo>
                      <a:pt x="734" y="549"/>
                      <a:pt x="735" y="547"/>
                      <a:pt x="736" y="545"/>
                    </a:cubicBezTo>
                    <a:cubicBezTo>
                      <a:pt x="739" y="547"/>
                      <a:pt x="739" y="547"/>
                      <a:pt x="739" y="547"/>
                    </a:cubicBezTo>
                    <a:cubicBezTo>
                      <a:pt x="739" y="546"/>
                      <a:pt x="739" y="546"/>
                      <a:pt x="739" y="546"/>
                    </a:cubicBezTo>
                    <a:cubicBezTo>
                      <a:pt x="736" y="545"/>
                      <a:pt x="736" y="545"/>
                      <a:pt x="736" y="545"/>
                    </a:cubicBezTo>
                    <a:cubicBezTo>
                      <a:pt x="737" y="543"/>
                      <a:pt x="738" y="541"/>
                      <a:pt x="739" y="539"/>
                    </a:cubicBezTo>
                    <a:cubicBezTo>
                      <a:pt x="741" y="541"/>
                      <a:pt x="741" y="541"/>
                      <a:pt x="741" y="541"/>
                    </a:cubicBezTo>
                    <a:cubicBezTo>
                      <a:pt x="742" y="540"/>
                      <a:pt x="742" y="540"/>
                      <a:pt x="742" y="540"/>
                    </a:cubicBezTo>
                    <a:cubicBezTo>
                      <a:pt x="739" y="539"/>
                      <a:pt x="739" y="539"/>
                      <a:pt x="739" y="539"/>
                    </a:cubicBezTo>
                    <a:cubicBezTo>
                      <a:pt x="740" y="537"/>
                      <a:pt x="740" y="535"/>
                      <a:pt x="741" y="533"/>
                    </a:cubicBezTo>
                    <a:cubicBezTo>
                      <a:pt x="744" y="534"/>
                      <a:pt x="744" y="534"/>
                      <a:pt x="744" y="534"/>
                    </a:cubicBezTo>
                    <a:cubicBezTo>
                      <a:pt x="744" y="534"/>
                      <a:pt x="744" y="534"/>
                      <a:pt x="744" y="534"/>
                    </a:cubicBezTo>
                    <a:cubicBezTo>
                      <a:pt x="741" y="533"/>
                      <a:pt x="741" y="533"/>
                      <a:pt x="741" y="533"/>
                    </a:cubicBezTo>
                    <a:cubicBezTo>
                      <a:pt x="742" y="531"/>
                      <a:pt x="743" y="529"/>
                      <a:pt x="744" y="527"/>
                    </a:cubicBezTo>
                    <a:cubicBezTo>
                      <a:pt x="746" y="528"/>
                      <a:pt x="746" y="528"/>
                      <a:pt x="746" y="528"/>
                    </a:cubicBezTo>
                    <a:cubicBezTo>
                      <a:pt x="747" y="527"/>
                      <a:pt x="747" y="527"/>
                      <a:pt x="747" y="527"/>
                    </a:cubicBezTo>
                    <a:cubicBezTo>
                      <a:pt x="744" y="526"/>
                      <a:pt x="744" y="526"/>
                      <a:pt x="744" y="526"/>
                    </a:cubicBezTo>
                    <a:cubicBezTo>
                      <a:pt x="744" y="525"/>
                      <a:pt x="745" y="523"/>
                      <a:pt x="746" y="521"/>
                    </a:cubicBezTo>
                    <a:cubicBezTo>
                      <a:pt x="751" y="523"/>
                      <a:pt x="751" y="523"/>
                      <a:pt x="751" y="523"/>
                    </a:cubicBezTo>
                    <a:cubicBezTo>
                      <a:pt x="751" y="523"/>
                      <a:pt x="751" y="523"/>
                      <a:pt x="751" y="523"/>
                    </a:cubicBezTo>
                    <a:cubicBezTo>
                      <a:pt x="758" y="525"/>
                      <a:pt x="758" y="525"/>
                      <a:pt x="758" y="525"/>
                    </a:cubicBezTo>
                    <a:cubicBezTo>
                      <a:pt x="758" y="525"/>
                      <a:pt x="758" y="525"/>
                      <a:pt x="758" y="525"/>
                    </a:cubicBezTo>
                    <a:cubicBezTo>
                      <a:pt x="751" y="522"/>
                      <a:pt x="751" y="522"/>
                      <a:pt x="751" y="522"/>
                    </a:cubicBezTo>
                    <a:cubicBezTo>
                      <a:pt x="751" y="522"/>
                      <a:pt x="751" y="522"/>
                      <a:pt x="751" y="522"/>
                    </a:cubicBezTo>
                    <a:cubicBezTo>
                      <a:pt x="746" y="520"/>
                      <a:pt x="746" y="520"/>
                      <a:pt x="746" y="520"/>
                    </a:cubicBezTo>
                    <a:cubicBezTo>
                      <a:pt x="747" y="518"/>
                      <a:pt x="748" y="516"/>
                      <a:pt x="748" y="515"/>
                    </a:cubicBezTo>
                    <a:cubicBezTo>
                      <a:pt x="751" y="516"/>
                      <a:pt x="751" y="516"/>
                      <a:pt x="751" y="516"/>
                    </a:cubicBezTo>
                    <a:cubicBezTo>
                      <a:pt x="751" y="515"/>
                      <a:pt x="751" y="515"/>
                      <a:pt x="751" y="515"/>
                    </a:cubicBezTo>
                    <a:cubicBezTo>
                      <a:pt x="748" y="514"/>
                      <a:pt x="748" y="514"/>
                      <a:pt x="748" y="514"/>
                    </a:cubicBezTo>
                    <a:cubicBezTo>
                      <a:pt x="749" y="512"/>
                      <a:pt x="750" y="510"/>
                      <a:pt x="750" y="509"/>
                    </a:cubicBezTo>
                    <a:cubicBezTo>
                      <a:pt x="753" y="509"/>
                      <a:pt x="753" y="509"/>
                      <a:pt x="753" y="509"/>
                    </a:cubicBezTo>
                    <a:cubicBezTo>
                      <a:pt x="753" y="509"/>
                      <a:pt x="753" y="509"/>
                      <a:pt x="753" y="509"/>
                    </a:cubicBezTo>
                    <a:cubicBezTo>
                      <a:pt x="750" y="508"/>
                      <a:pt x="750" y="508"/>
                      <a:pt x="750" y="508"/>
                    </a:cubicBezTo>
                    <a:cubicBezTo>
                      <a:pt x="751" y="506"/>
                      <a:pt x="752" y="504"/>
                      <a:pt x="752" y="502"/>
                    </a:cubicBezTo>
                    <a:cubicBezTo>
                      <a:pt x="755" y="503"/>
                      <a:pt x="755" y="503"/>
                      <a:pt x="755" y="503"/>
                    </a:cubicBezTo>
                    <a:cubicBezTo>
                      <a:pt x="755" y="502"/>
                      <a:pt x="755" y="502"/>
                      <a:pt x="755" y="502"/>
                    </a:cubicBezTo>
                    <a:cubicBezTo>
                      <a:pt x="752" y="501"/>
                      <a:pt x="752" y="501"/>
                      <a:pt x="752" y="501"/>
                    </a:cubicBezTo>
                    <a:cubicBezTo>
                      <a:pt x="753" y="500"/>
                      <a:pt x="753" y="498"/>
                      <a:pt x="754" y="496"/>
                    </a:cubicBezTo>
                    <a:cubicBezTo>
                      <a:pt x="757" y="497"/>
                      <a:pt x="757" y="497"/>
                      <a:pt x="757" y="497"/>
                    </a:cubicBezTo>
                    <a:cubicBezTo>
                      <a:pt x="757" y="496"/>
                      <a:pt x="757" y="496"/>
                      <a:pt x="757" y="496"/>
                    </a:cubicBezTo>
                    <a:cubicBezTo>
                      <a:pt x="754" y="495"/>
                      <a:pt x="754" y="495"/>
                      <a:pt x="754" y="495"/>
                    </a:cubicBezTo>
                    <a:cubicBezTo>
                      <a:pt x="755" y="493"/>
                      <a:pt x="755" y="491"/>
                      <a:pt x="756" y="489"/>
                    </a:cubicBezTo>
                    <a:cubicBezTo>
                      <a:pt x="759" y="490"/>
                      <a:pt x="759" y="490"/>
                      <a:pt x="759" y="490"/>
                    </a:cubicBezTo>
                    <a:cubicBezTo>
                      <a:pt x="759" y="489"/>
                      <a:pt x="759" y="489"/>
                      <a:pt x="759" y="489"/>
                    </a:cubicBezTo>
                    <a:cubicBezTo>
                      <a:pt x="756" y="489"/>
                      <a:pt x="756" y="489"/>
                      <a:pt x="756" y="489"/>
                    </a:cubicBezTo>
                    <a:cubicBezTo>
                      <a:pt x="757" y="487"/>
                      <a:pt x="757" y="485"/>
                      <a:pt x="757" y="483"/>
                    </a:cubicBezTo>
                    <a:cubicBezTo>
                      <a:pt x="760" y="484"/>
                      <a:pt x="760" y="484"/>
                      <a:pt x="760" y="484"/>
                    </a:cubicBezTo>
                    <a:cubicBezTo>
                      <a:pt x="760" y="483"/>
                      <a:pt x="760" y="483"/>
                      <a:pt x="760" y="483"/>
                    </a:cubicBezTo>
                    <a:cubicBezTo>
                      <a:pt x="758" y="482"/>
                      <a:pt x="758" y="482"/>
                      <a:pt x="758" y="482"/>
                    </a:cubicBezTo>
                    <a:cubicBezTo>
                      <a:pt x="758" y="480"/>
                      <a:pt x="759" y="479"/>
                      <a:pt x="759" y="477"/>
                    </a:cubicBezTo>
                    <a:cubicBezTo>
                      <a:pt x="762" y="477"/>
                      <a:pt x="762" y="477"/>
                      <a:pt x="762" y="477"/>
                    </a:cubicBezTo>
                    <a:cubicBezTo>
                      <a:pt x="762" y="477"/>
                      <a:pt x="762" y="477"/>
                      <a:pt x="762" y="477"/>
                    </a:cubicBezTo>
                    <a:cubicBezTo>
                      <a:pt x="759" y="476"/>
                      <a:pt x="759" y="476"/>
                      <a:pt x="759" y="476"/>
                    </a:cubicBezTo>
                    <a:cubicBezTo>
                      <a:pt x="760" y="474"/>
                      <a:pt x="760" y="472"/>
                      <a:pt x="760" y="470"/>
                    </a:cubicBezTo>
                    <a:cubicBezTo>
                      <a:pt x="763" y="471"/>
                      <a:pt x="763" y="471"/>
                      <a:pt x="763" y="471"/>
                    </a:cubicBezTo>
                    <a:cubicBezTo>
                      <a:pt x="763" y="470"/>
                      <a:pt x="763" y="470"/>
                      <a:pt x="763" y="470"/>
                    </a:cubicBezTo>
                    <a:cubicBezTo>
                      <a:pt x="761" y="469"/>
                      <a:pt x="761" y="469"/>
                      <a:pt x="761" y="469"/>
                    </a:cubicBezTo>
                    <a:cubicBezTo>
                      <a:pt x="761" y="468"/>
                      <a:pt x="761" y="466"/>
                      <a:pt x="762" y="464"/>
                    </a:cubicBezTo>
                    <a:cubicBezTo>
                      <a:pt x="765" y="464"/>
                      <a:pt x="765" y="464"/>
                      <a:pt x="765" y="464"/>
                    </a:cubicBezTo>
                    <a:cubicBezTo>
                      <a:pt x="765" y="464"/>
                      <a:pt x="765" y="464"/>
                      <a:pt x="765" y="464"/>
                    </a:cubicBezTo>
                    <a:cubicBezTo>
                      <a:pt x="762" y="463"/>
                      <a:pt x="762" y="463"/>
                      <a:pt x="762" y="463"/>
                    </a:cubicBezTo>
                    <a:cubicBezTo>
                      <a:pt x="762" y="461"/>
                      <a:pt x="763" y="460"/>
                      <a:pt x="763" y="458"/>
                    </a:cubicBezTo>
                    <a:cubicBezTo>
                      <a:pt x="768" y="459"/>
                      <a:pt x="768" y="459"/>
                      <a:pt x="768" y="459"/>
                    </a:cubicBezTo>
                    <a:cubicBezTo>
                      <a:pt x="768" y="458"/>
                      <a:pt x="768" y="458"/>
                      <a:pt x="768" y="458"/>
                    </a:cubicBezTo>
                    <a:cubicBezTo>
                      <a:pt x="776" y="460"/>
                      <a:pt x="776" y="460"/>
                      <a:pt x="776" y="460"/>
                    </a:cubicBezTo>
                    <a:cubicBezTo>
                      <a:pt x="776" y="459"/>
                      <a:pt x="776" y="459"/>
                      <a:pt x="776" y="459"/>
                    </a:cubicBezTo>
                    <a:cubicBezTo>
                      <a:pt x="768" y="457"/>
                      <a:pt x="768" y="457"/>
                      <a:pt x="768" y="457"/>
                    </a:cubicBezTo>
                    <a:cubicBezTo>
                      <a:pt x="768" y="457"/>
                      <a:pt x="768" y="457"/>
                      <a:pt x="768" y="457"/>
                    </a:cubicBezTo>
                    <a:cubicBezTo>
                      <a:pt x="763" y="456"/>
                      <a:pt x="763" y="456"/>
                      <a:pt x="763" y="456"/>
                    </a:cubicBezTo>
                    <a:cubicBezTo>
                      <a:pt x="763" y="454"/>
                      <a:pt x="764" y="453"/>
                      <a:pt x="764" y="451"/>
                    </a:cubicBezTo>
                    <a:cubicBezTo>
                      <a:pt x="767" y="451"/>
                      <a:pt x="767" y="451"/>
                      <a:pt x="767" y="451"/>
                    </a:cubicBezTo>
                    <a:cubicBezTo>
                      <a:pt x="767" y="450"/>
                      <a:pt x="767" y="450"/>
                      <a:pt x="767" y="450"/>
                    </a:cubicBezTo>
                    <a:cubicBezTo>
                      <a:pt x="764" y="450"/>
                      <a:pt x="764" y="450"/>
                      <a:pt x="764" y="450"/>
                    </a:cubicBezTo>
                    <a:cubicBezTo>
                      <a:pt x="764" y="448"/>
                      <a:pt x="765" y="446"/>
                      <a:pt x="765" y="444"/>
                    </a:cubicBezTo>
                    <a:cubicBezTo>
                      <a:pt x="768" y="445"/>
                      <a:pt x="768" y="445"/>
                      <a:pt x="768" y="445"/>
                    </a:cubicBezTo>
                    <a:cubicBezTo>
                      <a:pt x="768" y="444"/>
                      <a:pt x="768" y="444"/>
                      <a:pt x="768" y="444"/>
                    </a:cubicBezTo>
                    <a:cubicBezTo>
                      <a:pt x="765" y="443"/>
                      <a:pt x="765" y="443"/>
                      <a:pt x="765" y="443"/>
                    </a:cubicBezTo>
                    <a:cubicBezTo>
                      <a:pt x="765" y="442"/>
                      <a:pt x="766" y="440"/>
                      <a:pt x="766" y="438"/>
                    </a:cubicBezTo>
                    <a:cubicBezTo>
                      <a:pt x="769" y="438"/>
                      <a:pt x="769" y="438"/>
                      <a:pt x="769" y="438"/>
                    </a:cubicBezTo>
                    <a:cubicBezTo>
                      <a:pt x="769" y="437"/>
                      <a:pt x="769" y="437"/>
                      <a:pt x="769" y="437"/>
                    </a:cubicBezTo>
                    <a:cubicBezTo>
                      <a:pt x="766" y="437"/>
                      <a:pt x="766" y="437"/>
                      <a:pt x="766" y="437"/>
                    </a:cubicBezTo>
                    <a:cubicBezTo>
                      <a:pt x="766" y="435"/>
                      <a:pt x="766" y="433"/>
                      <a:pt x="767" y="431"/>
                    </a:cubicBezTo>
                    <a:cubicBezTo>
                      <a:pt x="770" y="431"/>
                      <a:pt x="770" y="431"/>
                      <a:pt x="770" y="431"/>
                    </a:cubicBezTo>
                    <a:cubicBezTo>
                      <a:pt x="770" y="431"/>
                      <a:pt x="770" y="431"/>
                      <a:pt x="770" y="431"/>
                    </a:cubicBezTo>
                    <a:cubicBezTo>
                      <a:pt x="767" y="430"/>
                      <a:pt x="767" y="430"/>
                      <a:pt x="767" y="430"/>
                    </a:cubicBezTo>
                    <a:cubicBezTo>
                      <a:pt x="767" y="428"/>
                      <a:pt x="767" y="426"/>
                      <a:pt x="767" y="425"/>
                    </a:cubicBezTo>
                    <a:cubicBezTo>
                      <a:pt x="770" y="425"/>
                      <a:pt x="770" y="425"/>
                      <a:pt x="770" y="425"/>
                    </a:cubicBezTo>
                    <a:cubicBezTo>
                      <a:pt x="770" y="424"/>
                      <a:pt x="770" y="424"/>
                      <a:pt x="770" y="424"/>
                    </a:cubicBezTo>
                    <a:cubicBezTo>
                      <a:pt x="767" y="424"/>
                      <a:pt x="767" y="424"/>
                      <a:pt x="767" y="424"/>
                    </a:cubicBezTo>
                    <a:cubicBezTo>
                      <a:pt x="767" y="422"/>
                      <a:pt x="768" y="420"/>
                      <a:pt x="768" y="418"/>
                    </a:cubicBezTo>
                    <a:cubicBezTo>
                      <a:pt x="771" y="418"/>
                      <a:pt x="771" y="418"/>
                      <a:pt x="771" y="418"/>
                    </a:cubicBezTo>
                    <a:cubicBezTo>
                      <a:pt x="771" y="417"/>
                      <a:pt x="771" y="417"/>
                      <a:pt x="771" y="417"/>
                    </a:cubicBezTo>
                    <a:cubicBezTo>
                      <a:pt x="768" y="417"/>
                      <a:pt x="768" y="417"/>
                      <a:pt x="768" y="417"/>
                    </a:cubicBezTo>
                    <a:cubicBezTo>
                      <a:pt x="768" y="415"/>
                      <a:pt x="768" y="413"/>
                      <a:pt x="768" y="411"/>
                    </a:cubicBezTo>
                    <a:cubicBezTo>
                      <a:pt x="771" y="412"/>
                      <a:pt x="771" y="412"/>
                      <a:pt x="771" y="412"/>
                    </a:cubicBezTo>
                    <a:cubicBezTo>
                      <a:pt x="771" y="411"/>
                      <a:pt x="771" y="411"/>
                      <a:pt x="771" y="411"/>
                    </a:cubicBezTo>
                    <a:cubicBezTo>
                      <a:pt x="768" y="411"/>
                      <a:pt x="768" y="411"/>
                      <a:pt x="768" y="411"/>
                    </a:cubicBezTo>
                    <a:cubicBezTo>
                      <a:pt x="768" y="409"/>
                      <a:pt x="768" y="407"/>
                      <a:pt x="768" y="405"/>
                    </a:cubicBezTo>
                    <a:cubicBezTo>
                      <a:pt x="771" y="405"/>
                      <a:pt x="771" y="405"/>
                      <a:pt x="771" y="405"/>
                    </a:cubicBezTo>
                    <a:cubicBezTo>
                      <a:pt x="771" y="404"/>
                      <a:pt x="771" y="404"/>
                      <a:pt x="771" y="404"/>
                    </a:cubicBezTo>
                    <a:cubicBezTo>
                      <a:pt x="768" y="404"/>
                      <a:pt x="768" y="404"/>
                      <a:pt x="768" y="404"/>
                    </a:cubicBezTo>
                    <a:cubicBezTo>
                      <a:pt x="768" y="402"/>
                      <a:pt x="769" y="400"/>
                      <a:pt x="769" y="398"/>
                    </a:cubicBezTo>
                    <a:cubicBezTo>
                      <a:pt x="772" y="398"/>
                      <a:pt x="772" y="398"/>
                      <a:pt x="772" y="398"/>
                    </a:cubicBezTo>
                    <a:cubicBezTo>
                      <a:pt x="772" y="397"/>
                      <a:pt x="772" y="397"/>
                      <a:pt x="772" y="397"/>
                    </a:cubicBezTo>
                    <a:cubicBezTo>
                      <a:pt x="769" y="397"/>
                      <a:pt x="769" y="397"/>
                      <a:pt x="769" y="397"/>
                    </a:cubicBezTo>
                    <a:cubicBezTo>
                      <a:pt x="769" y="396"/>
                      <a:pt x="769" y="394"/>
                      <a:pt x="769" y="392"/>
                    </a:cubicBezTo>
                    <a:cubicBezTo>
                      <a:pt x="774" y="392"/>
                      <a:pt x="774" y="392"/>
                      <a:pt x="774" y="392"/>
                    </a:cubicBezTo>
                    <a:cubicBezTo>
                      <a:pt x="774" y="392"/>
                      <a:pt x="774" y="392"/>
                      <a:pt x="774" y="392"/>
                    </a:cubicBezTo>
                    <a:cubicBezTo>
                      <a:pt x="782" y="392"/>
                      <a:pt x="782" y="392"/>
                      <a:pt x="782" y="392"/>
                    </a:cubicBezTo>
                    <a:lnTo>
                      <a:pt x="782" y="391"/>
                    </a:lnTo>
                    <a:close/>
                    <a:moveTo>
                      <a:pt x="767" y="397"/>
                    </a:moveTo>
                    <a:cubicBezTo>
                      <a:pt x="764" y="397"/>
                      <a:pt x="764" y="397"/>
                      <a:pt x="764" y="397"/>
                    </a:cubicBezTo>
                    <a:cubicBezTo>
                      <a:pt x="764" y="398"/>
                      <a:pt x="764" y="398"/>
                      <a:pt x="764" y="398"/>
                    </a:cubicBezTo>
                    <a:cubicBezTo>
                      <a:pt x="767" y="398"/>
                      <a:pt x="767" y="398"/>
                      <a:pt x="767" y="398"/>
                    </a:cubicBezTo>
                    <a:cubicBezTo>
                      <a:pt x="767" y="400"/>
                      <a:pt x="767" y="402"/>
                      <a:pt x="767" y="404"/>
                    </a:cubicBezTo>
                    <a:cubicBezTo>
                      <a:pt x="764" y="404"/>
                      <a:pt x="764" y="404"/>
                      <a:pt x="764" y="404"/>
                    </a:cubicBezTo>
                    <a:cubicBezTo>
                      <a:pt x="764" y="405"/>
                      <a:pt x="764" y="405"/>
                      <a:pt x="764" y="405"/>
                    </a:cubicBezTo>
                    <a:cubicBezTo>
                      <a:pt x="767" y="405"/>
                      <a:pt x="767" y="405"/>
                      <a:pt x="767" y="405"/>
                    </a:cubicBezTo>
                    <a:cubicBezTo>
                      <a:pt x="767" y="407"/>
                      <a:pt x="767" y="409"/>
                      <a:pt x="767" y="411"/>
                    </a:cubicBezTo>
                    <a:cubicBezTo>
                      <a:pt x="764" y="410"/>
                      <a:pt x="764" y="410"/>
                      <a:pt x="764" y="410"/>
                    </a:cubicBezTo>
                    <a:cubicBezTo>
                      <a:pt x="763" y="411"/>
                      <a:pt x="763" y="411"/>
                      <a:pt x="763" y="411"/>
                    </a:cubicBezTo>
                    <a:cubicBezTo>
                      <a:pt x="766" y="411"/>
                      <a:pt x="766" y="411"/>
                      <a:pt x="766" y="411"/>
                    </a:cubicBezTo>
                    <a:cubicBezTo>
                      <a:pt x="766" y="413"/>
                      <a:pt x="766" y="415"/>
                      <a:pt x="766" y="417"/>
                    </a:cubicBezTo>
                    <a:cubicBezTo>
                      <a:pt x="763" y="417"/>
                      <a:pt x="763" y="417"/>
                      <a:pt x="763" y="417"/>
                    </a:cubicBezTo>
                    <a:cubicBezTo>
                      <a:pt x="763" y="418"/>
                      <a:pt x="763" y="418"/>
                      <a:pt x="763" y="418"/>
                    </a:cubicBezTo>
                    <a:cubicBezTo>
                      <a:pt x="766" y="418"/>
                      <a:pt x="766" y="418"/>
                      <a:pt x="766" y="418"/>
                    </a:cubicBezTo>
                    <a:cubicBezTo>
                      <a:pt x="766" y="420"/>
                      <a:pt x="766" y="422"/>
                      <a:pt x="766" y="424"/>
                    </a:cubicBezTo>
                    <a:cubicBezTo>
                      <a:pt x="763" y="423"/>
                      <a:pt x="763" y="423"/>
                      <a:pt x="763" y="423"/>
                    </a:cubicBezTo>
                    <a:cubicBezTo>
                      <a:pt x="763" y="424"/>
                      <a:pt x="763" y="424"/>
                      <a:pt x="763" y="424"/>
                    </a:cubicBezTo>
                    <a:cubicBezTo>
                      <a:pt x="766" y="424"/>
                      <a:pt x="766" y="424"/>
                      <a:pt x="766" y="424"/>
                    </a:cubicBezTo>
                    <a:cubicBezTo>
                      <a:pt x="765" y="426"/>
                      <a:pt x="765" y="428"/>
                      <a:pt x="765" y="430"/>
                    </a:cubicBezTo>
                    <a:cubicBezTo>
                      <a:pt x="762" y="430"/>
                      <a:pt x="762" y="430"/>
                      <a:pt x="762" y="430"/>
                    </a:cubicBezTo>
                    <a:cubicBezTo>
                      <a:pt x="762" y="431"/>
                      <a:pt x="762" y="431"/>
                      <a:pt x="762" y="431"/>
                    </a:cubicBezTo>
                    <a:cubicBezTo>
                      <a:pt x="765" y="431"/>
                      <a:pt x="765" y="431"/>
                      <a:pt x="765" y="431"/>
                    </a:cubicBezTo>
                    <a:cubicBezTo>
                      <a:pt x="765" y="433"/>
                      <a:pt x="765" y="435"/>
                      <a:pt x="764" y="437"/>
                    </a:cubicBezTo>
                    <a:cubicBezTo>
                      <a:pt x="761" y="436"/>
                      <a:pt x="761" y="436"/>
                      <a:pt x="761" y="436"/>
                    </a:cubicBezTo>
                    <a:cubicBezTo>
                      <a:pt x="761" y="437"/>
                      <a:pt x="761" y="437"/>
                      <a:pt x="761" y="437"/>
                    </a:cubicBezTo>
                    <a:cubicBezTo>
                      <a:pt x="764" y="437"/>
                      <a:pt x="764" y="437"/>
                      <a:pt x="764" y="437"/>
                    </a:cubicBezTo>
                    <a:cubicBezTo>
                      <a:pt x="764" y="439"/>
                      <a:pt x="764" y="441"/>
                      <a:pt x="763" y="443"/>
                    </a:cubicBezTo>
                    <a:cubicBezTo>
                      <a:pt x="760" y="443"/>
                      <a:pt x="760" y="443"/>
                      <a:pt x="760" y="443"/>
                    </a:cubicBezTo>
                    <a:cubicBezTo>
                      <a:pt x="760" y="444"/>
                      <a:pt x="760" y="444"/>
                      <a:pt x="760" y="444"/>
                    </a:cubicBezTo>
                    <a:cubicBezTo>
                      <a:pt x="763" y="444"/>
                      <a:pt x="763" y="444"/>
                      <a:pt x="763" y="444"/>
                    </a:cubicBezTo>
                    <a:cubicBezTo>
                      <a:pt x="763" y="446"/>
                      <a:pt x="763" y="448"/>
                      <a:pt x="762" y="450"/>
                    </a:cubicBezTo>
                    <a:cubicBezTo>
                      <a:pt x="759" y="449"/>
                      <a:pt x="759" y="449"/>
                      <a:pt x="759" y="449"/>
                    </a:cubicBezTo>
                    <a:cubicBezTo>
                      <a:pt x="759" y="450"/>
                      <a:pt x="759" y="450"/>
                      <a:pt x="759" y="450"/>
                    </a:cubicBezTo>
                    <a:cubicBezTo>
                      <a:pt x="762" y="451"/>
                      <a:pt x="762" y="451"/>
                      <a:pt x="762" y="451"/>
                    </a:cubicBezTo>
                    <a:cubicBezTo>
                      <a:pt x="762" y="452"/>
                      <a:pt x="762" y="454"/>
                      <a:pt x="761" y="456"/>
                    </a:cubicBezTo>
                    <a:cubicBezTo>
                      <a:pt x="756" y="455"/>
                      <a:pt x="756" y="455"/>
                      <a:pt x="756" y="455"/>
                    </a:cubicBezTo>
                    <a:cubicBezTo>
                      <a:pt x="756" y="455"/>
                      <a:pt x="756" y="455"/>
                      <a:pt x="756" y="455"/>
                    </a:cubicBezTo>
                    <a:cubicBezTo>
                      <a:pt x="748" y="454"/>
                      <a:pt x="748" y="454"/>
                      <a:pt x="748" y="454"/>
                    </a:cubicBezTo>
                    <a:cubicBezTo>
                      <a:pt x="748" y="455"/>
                      <a:pt x="748" y="455"/>
                      <a:pt x="748" y="455"/>
                    </a:cubicBezTo>
                    <a:cubicBezTo>
                      <a:pt x="756" y="456"/>
                      <a:pt x="756" y="456"/>
                      <a:pt x="756" y="456"/>
                    </a:cubicBezTo>
                    <a:cubicBezTo>
                      <a:pt x="756" y="457"/>
                      <a:pt x="756" y="457"/>
                      <a:pt x="756" y="457"/>
                    </a:cubicBezTo>
                    <a:cubicBezTo>
                      <a:pt x="761" y="457"/>
                      <a:pt x="761" y="457"/>
                      <a:pt x="761" y="457"/>
                    </a:cubicBezTo>
                    <a:cubicBezTo>
                      <a:pt x="761" y="459"/>
                      <a:pt x="761" y="461"/>
                      <a:pt x="760" y="463"/>
                    </a:cubicBezTo>
                    <a:cubicBezTo>
                      <a:pt x="757" y="462"/>
                      <a:pt x="757" y="462"/>
                      <a:pt x="757" y="462"/>
                    </a:cubicBezTo>
                    <a:cubicBezTo>
                      <a:pt x="757" y="463"/>
                      <a:pt x="757" y="463"/>
                      <a:pt x="757" y="463"/>
                    </a:cubicBezTo>
                    <a:cubicBezTo>
                      <a:pt x="760" y="463"/>
                      <a:pt x="760" y="463"/>
                      <a:pt x="760" y="463"/>
                    </a:cubicBezTo>
                    <a:cubicBezTo>
                      <a:pt x="760" y="465"/>
                      <a:pt x="759" y="467"/>
                      <a:pt x="759" y="469"/>
                    </a:cubicBezTo>
                    <a:cubicBezTo>
                      <a:pt x="756" y="468"/>
                      <a:pt x="756" y="468"/>
                      <a:pt x="756" y="468"/>
                    </a:cubicBezTo>
                    <a:cubicBezTo>
                      <a:pt x="756" y="469"/>
                      <a:pt x="756" y="469"/>
                      <a:pt x="756" y="469"/>
                    </a:cubicBezTo>
                    <a:cubicBezTo>
                      <a:pt x="759" y="470"/>
                      <a:pt x="759" y="470"/>
                      <a:pt x="759" y="470"/>
                    </a:cubicBezTo>
                    <a:cubicBezTo>
                      <a:pt x="758" y="472"/>
                      <a:pt x="758" y="474"/>
                      <a:pt x="757" y="476"/>
                    </a:cubicBezTo>
                    <a:cubicBezTo>
                      <a:pt x="755" y="475"/>
                      <a:pt x="755" y="475"/>
                      <a:pt x="755" y="475"/>
                    </a:cubicBezTo>
                    <a:cubicBezTo>
                      <a:pt x="754" y="476"/>
                      <a:pt x="754" y="476"/>
                      <a:pt x="754" y="476"/>
                    </a:cubicBezTo>
                    <a:cubicBezTo>
                      <a:pt x="757" y="476"/>
                      <a:pt x="757" y="476"/>
                      <a:pt x="757" y="476"/>
                    </a:cubicBezTo>
                    <a:cubicBezTo>
                      <a:pt x="757" y="478"/>
                      <a:pt x="756" y="480"/>
                      <a:pt x="756" y="482"/>
                    </a:cubicBezTo>
                    <a:cubicBezTo>
                      <a:pt x="753" y="481"/>
                      <a:pt x="753" y="481"/>
                      <a:pt x="753" y="481"/>
                    </a:cubicBezTo>
                    <a:cubicBezTo>
                      <a:pt x="753" y="482"/>
                      <a:pt x="753" y="482"/>
                      <a:pt x="753" y="482"/>
                    </a:cubicBezTo>
                    <a:cubicBezTo>
                      <a:pt x="756" y="483"/>
                      <a:pt x="756" y="483"/>
                      <a:pt x="756" y="483"/>
                    </a:cubicBezTo>
                    <a:cubicBezTo>
                      <a:pt x="755" y="485"/>
                      <a:pt x="755" y="486"/>
                      <a:pt x="754" y="488"/>
                    </a:cubicBezTo>
                    <a:cubicBezTo>
                      <a:pt x="751" y="488"/>
                      <a:pt x="751" y="488"/>
                      <a:pt x="751" y="488"/>
                    </a:cubicBezTo>
                    <a:cubicBezTo>
                      <a:pt x="751" y="488"/>
                      <a:pt x="751" y="488"/>
                      <a:pt x="751" y="488"/>
                    </a:cubicBezTo>
                    <a:cubicBezTo>
                      <a:pt x="754" y="489"/>
                      <a:pt x="754" y="489"/>
                      <a:pt x="754" y="489"/>
                    </a:cubicBezTo>
                    <a:cubicBezTo>
                      <a:pt x="754" y="491"/>
                      <a:pt x="753" y="493"/>
                      <a:pt x="753" y="495"/>
                    </a:cubicBezTo>
                    <a:cubicBezTo>
                      <a:pt x="750" y="494"/>
                      <a:pt x="750" y="494"/>
                      <a:pt x="750" y="494"/>
                    </a:cubicBezTo>
                    <a:cubicBezTo>
                      <a:pt x="749" y="495"/>
                      <a:pt x="749" y="495"/>
                      <a:pt x="749" y="495"/>
                    </a:cubicBezTo>
                    <a:cubicBezTo>
                      <a:pt x="752" y="495"/>
                      <a:pt x="752" y="495"/>
                      <a:pt x="752" y="495"/>
                    </a:cubicBezTo>
                    <a:cubicBezTo>
                      <a:pt x="752" y="497"/>
                      <a:pt x="751" y="499"/>
                      <a:pt x="751" y="501"/>
                    </a:cubicBezTo>
                    <a:cubicBezTo>
                      <a:pt x="748" y="500"/>
                      <a:pt x="748" y="500"/>
                      <a:pt x="748" y="500"/>
                    </a:cubicBezTo>
                    <a:cubicBezTo>
                      <a:pt x="748" y="501"/>
                      <a:pt x="748" y="501"/>
                      <a:pt x="748" y="501"/>
                    </a:cubicBezTo>
                    <a:cubicBezTo>
                      <a:pt x="750" y="502"/>
                      <a:pt x="750" y="502"/>
                      <a:pt x="750" y="502"/>
                    </a:cubicBezTo>
                    <a:cubicBezTo>
                      <a:pt x="750" y="504"/>
                      <a:pt x="749" y="505"/>
                      <a:pt x="749" y="507"/>
                    </a:cubicBezTo>
                    <a:cubicBezTo>
                      <a:pt x="746" y="506"/>
                      <a:pt x="746" y="506"/>
                      <a:pt x="746" y="506"/>
                    </a:cubicBezTo>
                    <a:cubicBezTo>
                      <a:pt x="746" y="507"/>
                      <a:pt x="746" y="507"/>
                      <a:pt x="746" y="507"/>
                    </a:cubicBezTo>
                    <a:cubicBezTo>
                      <a:pt x="748" y="508"/>
                      <a:pt x="748" y="508"/>
                      <a:pt x="748" y="508"/>
                    </a:cubicBezTo>
                    <a:cubicBezTo>
                      <a:pt x="748" y="510"/>
                      <a:pt x="747" y="512"/>
                      <a:pt x="747" y="513"/>
                    </a:cubicBezTo>
                    <a:cubicBezTo>
                      <a:pt x="744" y="512"/>
                      <a:pt x="744" y="512"/>
                      <a:pt x="744" y="512"/>
                    </a:cubicBezTo>
                    <a:cubicBezTo>
                      <a:pt x="744" y="513"/>
                      <a:pt x="744" y="513"/>
                      <a:pt x="744" y="513"/>
                    </a:cubicBezTo>
                    <a:cubicBezTo>
                      <a:pt x="746" y="514"/>
                      <a:pt x="746" y="514"/>
                      <a:pt x="746" y="514"/>
                    </a:cubicBezTo>
                    <a:cubicBezTo>
                      <a:pt x="746" y="516"/>
                      <a:pt x="745" y="518"/>
                      <a:pt x="745" y="519"/>
                    </a:cubicBezTo>
                    <a:cubicBezTo>
                      <a:pt x="739" y="517"/>
                      <a:pt x="739" y="517"/>
                      <a:pt x="739" y="517"/>
                    </a:cubicBezTo>
                    <a:cubicBezTo>
                      <a:pt x="739" y="518"/>
                      <a:pt x="739" y="518"/>
                      <a:pt x="739" y="518"/>
                    </a:cubicBezTo>
                    <a:cubicBezTo>
                      <a:pt x="732" y="515"/>
                      <a:pt x="732" y="515"/>
                      <a:pt x="732" y="515"/>
                    </a:cubicBezTo>
                    <a:cubicBezTo>
                      <a:pt x="732" y="516"/>
                      <a:pt x="732" y="516"/>
                      <a:pt x="732" y="516"/>
                    </a:cubicBezTo>
                    <a:cubicBezTo>
                      <a:pt x="739" y="518"/>
                      <a:pt x="739" y="518"/>
                      <a:pt x="739" y="518"/>
                    </a:cubicBezTo>
                    <a:cubicBezTo>
                      <a:pt x="739" y="519"/>
                      <a:pt x="739" y="519"/>
                      <a:pt x="739" y="519"/>
                    </a:cubicBezTo>
                    <a:cubicBezTo>
                      <a:pt x="744" y="521"/>
                      <a:pt x="744" y="521"/>
                      <a:pt x="744" y="521"/>
                    </a:cubicBezTo>
                    <a:cubicBezTo>
                      <a:pt x="743" y="523"/>
                      <a:pt x="743" y="524"/>
                      <a:pt x="742" y="526"/>
                    </a:cubicBezTo>
                    <a:cubicBezTo>
                      <a:pt x="739" y="525"/>
                      <a:pt x="739" y="525"/>
                      <a:pt x="739" y="525"/>
                    </a:cubicBezTo>
                    <a:cubicBezTo>
                      <a:pt x="739" y="525"/>
                      <a:pt x="739" y="525"/>
                      <a:pt x="739" y="525"/>
                    </a:cubicBezTo>
                    <a:cubicBezTo>
                      <a:pt x="742" y="527"/>
                      <a:pt x="742" y="527"/>
                      <a:pt x="742" y="527"/>
                    </a:cubicBezTo>
                    <a:cubicBezTo>
                      <a:pt x="741" y="528"/>
                      <a:pt x="740" y="530"/>
                      <a:pt x="740" y="532"/>
                    </a:cubicBezTo>
                    <a:cubicBezTo>
                      <a:pt x="737" y="531"/>
                      <a:pt x="737" y="531"/>
                      <a:pt x="737" y="531"/>
                    </a:cubicBezTo>
                    <a:cubicBezTo>
                      <a:pt x="737" y="532"/>
                      <a:pt x="737" y="532"/>
                      <a:pt x="737" y="532"/>
                    </a:cubicBezTo>
                    <a:cubicBezTo>
                      <a:pt x="739" y="533"/>
                      <a:pt x="739" y="533"/>
                      <a:pt x="739" y="533"/>
                    </a:cubicBezTo>
                    <a:cubicBezTo>
                      <a:pt x="739" y="534"/>
                      <a:pt x="738" y="536"/>
                      <a:pt x="737" y="538"/>
                    </a:cubicBezTo>
                    <a:cubicBezTo>
                      <a:pt x="734" y="537"/>
                      <a:pt x="734" y="537"/>
                      <a:pt x="734" y="537"/>
                    </a:cubicBezTo>
                    <a:cubicBezTo>
                      <a:pt x="734" y="538"/>
                      <a:pt x="734" y="538"/>
                      <a:pt x="734" y="538"/>
                    </a:cubicBezTo>
                    <a:cubicBezTo>
                      <a:pt x="737" y="539"/>
                      <a:pt x="737" y="539"/>
                      <a:pt x="737" y="539"/>
                    </a:cubicBezTo>
                    <a:cubicBezTo>
                      <a:pt x="736" y="540"/>
                      <a:pt x="735" y="542"/>
                      <a:pt x="735" y="544"/>
                    </a:cubicBezTo>
                    <a:cubicBezTo>
                      <a:pt x="732" y="543"/>
                      <a:pt x="732" y="543"/>
                      <a:pt x="732" y="543"/>
                    </a:cubicBezTo>
                    <a:cubicBezTo>
                      <a:pt x="732" y="544"/>
                      <a:pt x="732" y="544"/>
                      <a:pt x="732" y="544"/>
                    </a:cubicBezTo>
                    <a:cubicBezTo>
                      <a:pt x="734" y="545"/>
                      <a:pt x="734" y="545"/>
                      <a:pt x="734" y="545"/>
                    </a:cubicBezTo>
                    <a:cubicBezTo>
                      <a:pt x="734" y="546"/>
                      <a:pt x="733" y="548"/>
                      <a:pt x="732" y="550"/>
                    </a:cubicBezTo>
                    <a:cubicBezTo>
                      <a:pt x="729" y="549"/>
                      <a:pt x="729" y="549"/>
                      <a:pt x="729" y="549"/>
                    </a:cubicBezTo>
                    <a:cubicBezTo>
                      <a:pt x="729" y="549"/>
                      <a:pt x="729" y="549"/>
                      <a:pt x="729" y="549"/>
                    </a:cubicBezTo>
                    <a:cubicBezTo>
                      <a:pt x="732" y="551"/>
                      <a:pt x="732" y="551"/>
                      <a:pt x="732" y="551"/>
                    </a:cubicBezTo>
                    <a:cubicBezTo>
                      <a:pt x="731" y="552"/>
                      <a:pt x="730" y="554"/>
                      <a:pt x="729" y="556"/>
                    </a:cubicBezTo>
                    <a:cubicBezTo>
                      <a:pt x="726" y="555"/>
                      <a:pt x="726" y="555"/>
                      <a:pt x="726" y="555"/>
                    </a:cubicBezTo>
                    <a:cubicBezTo>
                      <a:pt x="726" y="555"/>
                      <a:pt x="726" y="555"/>
                      <a:pt x="726" y="555"/>
                    </a:cubicBezTo>
                    <a:cubicBezTo>
                      <a:pt x="729" y="557"/>
                      <a:pt x="729" y="557"/>
                      <a:pt x="729" y="557"/>
                    </a:cubicBezTo>
                    <a:cubicBezTo>
                      <a:pt x="728" y="558"/>
                      <a:pt x="727" y="560"/>
                      <a:pt x="726" y="562"/>
                    </a:cubicBezTo>
                    <a:cubicBezTo>
                      <a:pt x="724" y="560"/>
                      <a:pt x="724" y="560"/>
                      <a:pt x="724" y="560"/>
                    </a:cubicBezTo>
                    <a:cubicBezTo>
                      <a:pt x="723" y="561"/>
                      <a:pt x="723" y="561"/>
                      <a:pt x="723" y="561"/>
                    </a:cubicBezTo>
                    <a:cubicBezTo>
                      <a:pt x="726" y="563"/>
                      <a:pt x="726" y="563"/>
                      <a:pt x="726" y="563"/>
                    </a:cubicBezTo>
                    <a:cubicBezTo>
                      <a:pt x="725" y="564"/>
                      <a:pt x="724" y="566"/>
                      <a:pt x="723" y="568"/>
                    </a:cubicBezTo>
                    <a:cubicBezTo>
                      <a:pt x="721" y="566"/>
                      <a:pt x="721" y="566"/>
                      <a:pt x="721" y="566"/>
                    </a:cubicBezTo>
                    <a:cubicBezTo>
                      <a:pt x="720" y="567"/>
                      <a:pt x="720" y="567"/>
                      <a:pt x="720" y="567"/>
                    </a:cubicBezTo>
                    <a:cubicBezTo>
                      <a:pt x="723" y="568"/>
                      <a:pt x="723" y="568"/>
                      <a:pt x="723" y="568"/>
                    </a:cubicBezTo>
                    <a:cubicBezTo>
                      <a:pt x="722" y="570"/>
                      <a:pt x="721" y="572"/>
                      <a:pt x="720" y="573"/>
                    </a:cubicBezTo>
                    <a:cubicBezTo>
                      <a:pt x="717" y="572"/>
                      <a:pt x="717" y="572"/>
                      <a:pt x="717" y="572"/>
                    </a:cubicBezTo>
                    <a:cubicBezTo>
                      <a:pt x="717" y="573"/>
                      <a:pt x="717" y="573"/>
                      <a:pt x="717" y="573"/>
                    </a:cubicBezTo>
                    <a:cubicBezTo>
                      <a:pt x="720" y="574"/>
                      <a:pt x="720" y="574"/>
                      <a:pt x="720" y="574"/>
                    </a:cubicBezTo>
                    <a:cubicBezTo>
                      <a:pt x="719" y="576"/>
                      <a:pt x="718" y="577"/>
                      <a:pt x="717" y="579"/>
                    </a:cubicBezTo>
                    <a:cubicBezTo>
                      <a:pt x="712" y="576"/>
                      <a:pt x="712" y="576"/>
                      <a:pt x="712" y="576"/>
                    </a:cubicBezTo>
                    <a:cubicBezTo>
                      <a:pt x="712" y="576"/>
                      <a:pt x="712" y="576"/>
                      <a:pt x="712" y="576"/>
                    </a:cubicBezTo>
                    <a:cubicBezTo>
                      <a:pt x="705" y="573"/>
                      <a:pt x="705" y="573"/>
                      <a:pt x="705" y="573"/>
                    </a:cubicBezTo>
                    <a:cubicBezTo>
                      <a:pt x="705" y="573"/>
                      <a:pt x="705" y="573"/>
                      <a:pt x="705" y="573"/>
                    </a:cubicBezTo>
                    <a:cubicBezTo>
                      <a:pt x="712" y="577"/>
                      <a:pt x="712" y="577"/>
                      <a:pt x="712" y="577"/>
                    </a:cubicBezTo>
                    <a:cubicBezTo>
                      <a:pt x="711" y="578"/>
                      <a:pt x="711" y="578"/>
                      <a:pt x="711" y="578"/>
                    </a:cubicBezTo>
                    <a:cubicBezTo>
                      <a:pt x="716" y="580"/>
                      <a:pt x="716" y="580"/>
                      <a:pt x="716" y="580"/>
                    </a:cubicBezTo>
                    <a:cubicBezTo>
                      <a:pt x="715" y="582"/>
                      <a:pt x="714" y="583"/>
                      <a:pt x="713" y="585"/>
                    </a:cubicBezTo>
                    <a:cubicBezTo>
                      <a:pt x="711" y="583"/>
                      <a:pt x="711" y="583"/>
                      <a:pt x="711" y="583"/>
                    </a:cubicBezTo>
                    <a:cubicBezTo>
                      <a:pt x="711" y="584"/>
                      <a:pt x="711" y="584"/>
                      <a:pt x="711" y="584"/>
                    </a:cubicBezTo>
                    <a:cubicBezTo>
                      <a:pt x="713" y="585"/>
                      <a:pt x="713" y="585"/>
                      <a:pt x="713" y="585"/>
                    </a:cubicBezTo>
                    <a:cubicBezTo>
                      <a:pt x="712" y="587"/>
                      <a:pt x="711" y="589"/>
                      <a:pt x="710" y="590"/>
                    </a:cubicBezTo>
                    <a:cubicBezTo>
                      <a:pt x="708" y="589"/>
                      <a:pt x="708" y="589"/>
                      <a:pt x="708" y="589"/>
                    </a:cubicBezTo>
                    <a:cubicBezTo>
                      <a:pt x="707" y="590"/>
                      <a:pt x="707" y="590"/>
                      <a:pt x="707" y="590"/>
                    </a:cubicBezTo>
                    <a:cubicBezTo>
                      <a:pt x="710" y="591"/>
                      <a:pt x="710" y="591"/>
                      <a:pt x="710" y="591"/>
                    </a:cubicBezTo>
                    <a:cubicBezTo>
                      <a:pt x="709" y="593"/>
                      <a:pt x="707" y="594"/>
                      <a:pt x="706" y="596"/>
                    </a:cubicBezTo>
                    <a:cubicBezTo>
                      <a:pt x="704" y="594"/>
                      <a:pt x="704" y="594"/>
                      <a:pt x="704" y="594"/>
                    </a:cubicBezTo>
                    <a:cubicBezTo>
                      <a:pt x="704" y="595"/>
                      <a:pt x="704" y="595"/>
                      <a:pt x="704" y="595"/>
                    </a:cubicBezTo>
                    <a:cubicBezTo>
                      <a:pt x="706" y="597"/>
                      <a:pt x="706" y="597"/>
                      <a:pt x="706" y="597"/>
                    </a:cubicBezTo>
                    <a:cubicBezTo>
                      <a:pt x="705" y="598"/>
                      <a:pt x="704" y="600"/>
                      <a:pt x="703" y="601"/>
                    </a:cubicBezTo>
                    <a:cubicBezTo>
                      <a:pt x="700" y="600"/>
                      <a:pt x="700" y="600"/>
                      <a:pt x="700" y="600"/>
                    </a:cubicBezTo>
                    <a:cubicBezTo>
                      <a:pt x="700" y="600"/>
                      <a:pt x="700" y="600"/>
                      <a:pt x="700" y="600"/>
                    </a:cubicBezTo>
                    <a:cubicBezTo>
                      <a:pt x="702" y="602"/>
                      <a:pt x="702" y="602"/>
                      <a:pt x="702" y="602"/>
                    </a:cubicBezTo>
                    <a:cubicBezTo>
                      <a:pt x="701" y="604"/>
                      <a:pt x="700" y="605"/>
                      <a:pt x="699" y="607"/>
                    </a:cubicBezTo>
                    <a:cubicBezTo>
                      <a:pt x="697" y="605"/>
                      <a:pt x="697" y="605"/>
                      <a:pt x="697" y="605"/>
                    </a:cubicBezTo>
                    <a:cubicBezTo>
                      <a:pt x="696" y="606"/>
                      <a:pt x="696" y="606"/>
                      <a:pt x="696" y="606"/>
                    </a:cubicBezTo>
                    <a:cubicBezTo>
                      <a:pt x="699" y="607"/>
                      <a:pt x="699" y="607"/>
                      <a:pt x="699" y="607"/>
                    </a:cubicBezTo>
                    <a:cubicBezTo>
                      <a:pt x="698" y="609"/>
                      <a:pt x="696" y="611"/>
                      <a:pt x="695" y="612"/>
                    </a:cubicBezTo>
                    <a:cubicBezTo>
                      <a:pt x="693" y="610"/>
                      <a:pt x="693" y="610"/>
                      <a:pt x="693" y="610"/>
                    </a:cubicBezTo>
                    <a:cubicBezTo>
                      <a:pt x="693" y="611"/>
                      <a:pt x="693" y="611"/>
                      <a:pt x="693" y="611"/>
                    </a:cubicBezTo>
                    <a:cubicBezTo>
                      <a:pt x="695" y="613"/>
                      <a:pt x="695" y="613"/>
                      <a:pt x="695" y="613"/>
                    </a:cubicBezTo>
                    <a:cubicBezTo>
                      <a:pt x="694" y="614"/>
                      <a:pt x="693" y="616"/>
                      <a:pt x="691" y="617"/>
                    </a:cubicBezTo>
                    <a:cubicBezTo>
                      <a:pt x="689" y="616"/>
                      <a:pt x="689" y="616"/>
                      <a:pt x="689" y="616"/>
                    </a:cubicBezTo>
                    <a:cubicBezTo>
                      <a:pt x="689" y="616"/>
                      <a:pt x="689" y="616"/>
                      <a:pt x="689" y="616"/>
                    </a:cubicBezTo>
                    <a:cubicBezTo>
                      <a:pt x="691" y="618"/>
                      <a:pt x="691" y="618"/>
                      <a:pt x="691" y="618"/>
                    </a:cubicBezTo>
                    <a:cubicBezTo>
                      <a:pt x="690" y="620"/>
                      <a:pt x="689" y="621"/>
                      <a:pt x="687" y="623"/>
                    </a:cubicBezTo>
                    <a:cubicBezTo>
                      <a:pt x="685" y="621"/>
                      <a:pt x="685" y="621"/>
                      <a:pt x="685" y="621"/>
                    </a:cubicBezTo>
                    <a:cubicBezTo>
                      <a:pt x="685" y="622"/>
                      <a:pt x="685" y="622"/>
                      <a:pt x="685" y="622"/>
                    </a:cubicBezTo>
                    <a:cubicBezTo>
                      <a:pt x="687" y="623"/>
                      <a:pt x="687" y="623"/>
                      <a:pt x="687" y="623"/>
                    </a:cubicBezTo>
                    <a:cubicBezTo>
                      <a:pt x="686" y="625"/>
                      <a:pt x="684" y="626"/>
                      <a:pt x="683" y="628"/>
                    </a:cubicBezTo>
                    <a:cubicBezTo>
                      <a:pt x="681" y="626"/>
                      <a:pt x="681" y="626"/>
                      <a:pt x="681" y="626"/>
                    </a:cubicBezTo>
                    <a:cubicBezTo>
                      <a:pt x="681" y="627"/>
                      <a:pt x="681" y="627"/>
                      <a:pt x="681" y="627"/>
                    </a:cubicBezTo>
                    <a:cubicBezTo>
                      <a:pt x="683" y="628"/>
                      <a:pt x="683" y="628"/>
                      <a:pt x="683" y="628"/>
                    </a:cubicBezTo>
                    <a:cubicBezTo>
                      <a:pt x="682" y="630"/>
                      <a:pt x="681" y="631"/>
                      <a:pt x="679" y="632"/>
                    </a:cubicBezTo>
                    <a:cubicBezTo>
                      <a:pt x="675" y="629"/>
                      <a:pt x="675" y="629"/>
                      <a:pt x="675" y="629"/>
                    </a:cubicBezTo>
                    <a:cubicBezTo>
                      <a:pt x="675" y="629"/>
                      <a:pt x="675" y="629"/>
                      <a:pt x="675" y="629"/>
                    </a:cubicBezTo>
                    <a:cubicBezTo>
                      <a:pt x="669" y="624"/>
                      <a:pt x="669" y="624"/>
                      <a:pt x="669" y="624"/>
                    </a:cubicBezTo>
                    <a:cubicBezTo>
                      <a:pt x="669" y="625"/>
                      <a:pt x="669" y="625"/>
                      <a:pt x="669" y="625"/>
                    </a:cubicBezTo>
                    <a:cubicBezTo>
                      <a:pt x="675" y="630"/>
                      <a:pt x="675" y="630"/>
                      <a:pt x="675" y="630"/>
                    </a:cubicBezTo>
                    <a:cubicBezTo>
                      <a:pt x="674" y="630"/>
                      <a:pt x="674" y="630"/>
                      <a:pt x="674" y="630"/>
                    </a:cubicBezTo>
                    <a:cubicBezTo>
                      <a:pt x="678" y="634"/>
                      <a:pt x="678" y="634"/>
                      <a:pt x="678" y="634"/>
                    </a:cubicBezTo>
                    <a:cubicBezTo>
                      <a:pt x="677" y="635"/>
                      <a:pt x="676" y="637"/>
                      <a:pt x="675" y="638"/>
                    </a:cubicBezTo>
                    <a:cubicBezTo>
                      <a:pt x="673" y="636"/>
                      <a:pt x="673" y="636"/>
                      <a:pt x="673" y="636"/>
                    </a:cubicBezTo>
                    <a:cubicBezTo>
                      <a:pt x="672" y="637"/>
                      <a:pt x="672" y="637"/>
                      <a:pt x="672" y="637"/>
                    </a:cubicBezTo>
                    <a:cubicBezTo>
                      <a:pt x="674" y="638"/>
                      <a:pt x="674" y="638"/>
                      <a:pt x="674" y="638"/>
                    </a:cubicBezTo>
                    <a:cubicBezTo>
                      <a:pt x="673" y="640"/>
                      <a:pt x="672" y="641"/>
                      <a:pt x="670" y="643"/>
                    </a:cubicBezTo>
                    <a:cubicBezTo>
                      <a:pt x="668" y="641"/>
                      <a:pt x="668" y="641"/>
                      <a:pt x="668" y="641"/>
                    </a:cubicBezTo>
                    <a:cubicBezTo>
                      <a:pt x="668" y="641"/>
                      <a:pt x="668" y="641"/>
                      <a:pt x="668" y="641"/>
                    </a:cubicBezTo>
                    <a:cubicBezTo>
                      <a:pt x="670" y="643"/>
                      <a:pt x="670" y="643"/>
                      <a:pt x="670" y="643"/>
                    </a:cubicBezTo>
                    <a:cubicBezTo>
                      <a:pt x="669" y="645"/>
                      <a:pt x="667" y="646"/>
                      <a:pt x="666" y="648"/>
                    </a:cubicBezTo>
                    <a:cubicBezTo>
                      <a:pt x="664" y="646"/>
                      <a:pt x="664" y="646"/>
                      <a:pt x="664" y="646"/>
                    </a:cubicBezTo>
                    <a:cubicBezTo>
                      <a:pt x="663" y="646"/>
                      <a:pt x="663" y="646"/>
                      <a:pt x="663" y="646"/>
                    </a:cubicBezTo>
                    <a:cubicBezTo>
                      <a:pt x="666" y="648"/>
                      <a:pt x="666" y="648"/>
                      <a:pt x="666" y="648"/>
                    </a:cubicBezTo>
                    <a:cubicBezTo>
                      <a:pt x="664" y="650"/>
                      <a:pt x="663" y="651"/>
                      <a:pt x="662" y="652"/>
                    </a:cubicBezTo>
                    <a:cubicBezTo>
                      <a:pt x="660" y="650"/>
                      <a:pt x="660" y="650"/>
                      <a:pt x="660" y="650"/>
                    </a:cubicBezTo>
                    <a:cubicBezTo>
                      <a:pt x="659" y="651"/>
                      <a:pt x="659" y="651"/>
                      <a:pt x="659" y="651"/>
                    </a:cubicBezTo>
                    <a:cubicBezTo>
                      <a:pt x="661" y="653"/>
                      <a:pt x="661" y="653"/>
                      <a:pt x="661" y="653"/>
                    </a:cubicBezTo>
                    <a:cubicBezTo>
                      <a:pt x="660" y="654"/>
                      <a:pt x="658" y="656"/>
                      <a:pt x="657" y="657"/>
                    </a:cubicBezTo>
                    <a:cubicBezTo>
                      <a:pt x="655" y="655"/>
                      <a:pt x="655" y="655"/>
                      <a:pt x="655" y="655"/>
                    </a:cubicBezTo>
                    <a:cubicBezTo>
                      <a:pt x="654" y="656"/>
                      <a:pt x="654" y="656"/>
                      <a:pt x="654" y="656"/>
                    </a:cubicBezTo>
                    <a:cubicBezTo>
                      <a:pt x="656" y="658"/>
                      <a:pt x="656" y="658"/>
                      <a:pt x="656" y="658"/>
                    </a:cubicBezTo>
                    <a:cubicBezTo>
                      <a:pt x="655" y="659"/>
                      <a:pt x="654" y="660"/>
                      <a:pt x="652" y="662"/>
                    </a:cubicBezTo>
                    <a:cubicBezTo>
                      <a:pt x="650" y="660"/>
                      <a:pt x="650" y="660"/>
                      <a:pt x="650" y="660"/>
                    </a:cubicBezTo>
                    <a:cubicBezTo>
                      <a:pt x="650" y="660"/>
                      <a:pt x="650" y="660"/>
                      <a:pt x="650" y="660"/>
                    </a:cubicBezTo>
                    <a:cubicBezTo>
                      <a:pt x="652" y="662"/>
                      <a:pt x="652" y="662"/>
                      <a:pt x="652" y="662"/>
                    </a:cubicBezTo>
                    <a:cubicBezTo>
                      <a:pt x="650" y="664"/>
                      <a:pt x="649" y="665"/>
                      <a:pt x="648" y="666"/>
                    </a:cubicBezTo>
                    <a:cubicBezTo>
                      <a:pt x="646" y="664"/>
                      <a:pt x="646" y="664"/>
                      <a:pt x="646" y="664"/>
                    </a:cubicBezTo>
                    <a:cubicBezTo>
                      <a:pt x="645" y="665"/>
                      <a:pt x="645" y="665"/>
                      <a:pt x="645" y="665"/>
                    </a:cubicBezTo>
                    <a:cubicBezTo>
                      <a:pt x="647" y="667"/>
                      <a:pt x="647" y="667"/>
                      <a:pt x="647" y="667"/>
                    </a:cubicBezTo>
                    <a:cubicBezTo>
                      <a:pt x="646" y="668"/>
                      <a:pt x="644" y="669"/>
                      <a:pt x="643" y="671"/>
                    </a:cubicBezTo>
                    <a:cubicBezTo>
                      <a:pt x="641" y="669"/>
                      <a:pt x="641" y="669"/>
                      <a:pt x="641" y="669"/>
                    </a:cubicBezTo>
                    <a:cubicBezTo>
                      <a:pt x="640" y="669"/>
                      <a:pt x="640" y="669"/>
                      <a:pt x="640" y="669"/>
                    </a:cubicBezTo>
                    <a:cubicBezTo>
                      <a:pt x="642" y="671"/>
                      <a:pt x="642" y="671"/>
                      <a:pt x="642" y="671"/>
                    </a:cubicBezTo>
                    <a:cubicBezTo>
                      <a:pt x="641" y="672"/>
                      <a:pt x="639" y="674"/>
                      <a:pt x="638" y="675"/>
                    </a:cubicBezTo>
                    <a:cubicBezTo>
                      <a:pt x="636" y="673"/>
                      <a:pt x="636" y="673"/>
                      <a:pt x="636" y="673"/>
                    </a:cubicBezTo>
                    <a:cubicBezTo>
                      <a:pt x="635" y="673"/>
                      <a:pt x="635" y="673"/>
                      <a:pt x="635" y="673"/>
                    </a:cubicBezTo>
                    <a:cubicBezTo>
                      <a:pt x="637" y="676"/>
                      <a:pt x="637" y="676"/>
                      <a:pt x="637" y="676"/>
                    </a:cubicBezTo>
                    <a:cubicBezTo>
                      <a:pt x="636" y="677"/>
                      <a:pt x="635" y="678"/>
                      <a:pt x="633" y="679"/>
                    </a:cubicBezTo>
                    <a:cubicBezTo>
                      <a:pt x="630" y="675"/>
                      <a:pt x="630" y="675"/>
                      <a:pt x="630" y="675"/>
                    </a:cubicBezTo>
                    <a:cubicBezTo>
                      <a:pt x="629" y="675"/>
                      <a:pt x="629" y="675"/>
                      <a:pt x="629" y="675"/>
                    </a:cubicBezTo>
                    <a:cubicBezTo>
                      <a:pt x="624" y="669"/>
                      <a:pt x="624" y="669"/>
                      <a:pt x="624" y="669"/>
                    </a:cubicBezTo>
                    <a:cubicBezTo>
                      <a:pt x="624" y="670"/>
                      <a:pt x="624" y="670"/>
                      <a:pt x="624" y="670"/>
                    </a:cubicBezTo>
                    <a:cubicBezTo>
                      <a:pt x="629" y="676"/>
                      <a:pt x="629" y="676"/>
                      <a:pt x="629" y="676"/>
                    </a:cubicBezTo>
                    <a:cubicBezTo>
                      <a:pt x="628" y="676"/>
                      <a:pt x="628" y="676"/>
                      <a:pt x="628" y="676"/>
                    </a:cubicBezTo>
                    <a:cubicBezTo>
                      <a:pt x="632" y="680"/>
                      <a:pt x="632" y="680"/>
                      <a:pt x="632" y="680"/>
                    </a:cubicBezTo>
                    <a:cubicBezTo>
                      <a:pt x="630" y="681"/>
                      <a:pt x="629" y="682"/>
                      <a:pt x="628" y="684"/>
                    </a:cubicBezTo>
                    <a:cubicBezTo>
                      <a:pt x="626" y="681"/>
                      <a:pt x="626" y="681"/>
                      <a:pt x="626" y="681"/>
                    </a:cubicBezTo>
                    <a:cubicBezTo>
                      <a:pt x="625" y="682"/>
                      <a:pt x="625" y="682"/>
                      <a:pt x="625" y="682"/>
                    </a:cubicBezTo>
                    <a:cubicBezTo>
                      <a:pt x="627" y="684"/>
                      <a:pt x="627" y="684"/>
                      <a:pt x="627" y="684"/>
                    </a:cubicBezTo>
                    <a:cubicBezTo>
                      <a:pt x="626" y="685"/>
                      <a:pt x="624" y="686"/>
                      <a:pt x="623" y="688"/>
                    </a:cubicBezTo>
                    <a:cubicBezTo>
                      <a:pt x="621" y="685"/>
                      <a:pt x="621" y="685"/>
                      <a:pt x="621" y="685"/>
                    </a:cubicBezTo>
                    <a:cubicBezTo>
                      <a:pt x="620" y="686"/>
                      <a:pt x="620" y="686"/>
                      <a:pt x="620" y="686"/>
                    </a:cubicBezTo>
                    <a:cubicBezTo>
                      <a:pt x="622" y="688"/>
                      <a:pt x="622" y="688"/>
                      <a:pt x="622" y="688"/>
                    </a:cubicBezTo>
                    <a:cubicBezTo>
                      <a:pt x="621" y="689"/>
                      <a:pt x="619" y="690"/>
                      <a:pt x="617" y="692"/>
                    </a:cubicBezTo>
                    <a:cubicBezTo>
                      <a:pt x="616" y="689"/>
                      <a:pt x="616" y="689"/>
                      <a:pt x="616" y="689"/>
                    </a:cubicBezTo>
                    <a:cubicBezTo>
                      <a:pt x="615" y="690"/>
                      <a:pt x="615" y="690"/>
                      <a:pt x="615" y="690"/>
                    </a:cubicBezTo>
                    <a:cubicBezTo>
                      <a:pt x="617" y="692"/>
                      <a:pt x="617" y="692"/>
                      <a:pt x="617" y="692"/>
                    </a:cubicBezTo>
                    <a:cubicBezTo>
                      <a:pt x="615" y="693"/>
                      <a:pt x="614" y="694"/>
                      <a:pt x="612" y="696"/>
                    </a:cubicBezTo>
                    <a:cubicBezTo>
                      <a:pt x="610" y="693"/>
                      <a:pt x="610" y="693"/>
                      <a:pt x="610" y="693"/>
                    </a:cubicBezTo>
                    <a:cubicBezTo>
                      <a:pt x="610" y="694"/>
                      <a:pt x="610" y="694"/>
                      <a:pt x="610" y="694"/>
                    </a:cubicBezTo>
                    <a:cubicBezTo>
                      <a:pt x="612" y="696"/>
                      <a:pt x="612" y="696"/>
                      <a:pt x="612" y="696"/>
                    </a:cubicBezTo>
                    <a:cubicBezTo>
                      <a:pt x="610" y="697"/>
                      <a:pt x="608" y="698"/>
                      <a:pt x="607" y="699"/>
                    </a:cubicBezTo>
                    <a:cubicBezTo>
                      <a:pt x="605" y="697"/>
                      <a:pt x="605" y="697"/>
                      <a:pt x="605" y="697"/>
                    </a:cubicBezTo>
                    <a:cubicBezTo>
                      <a:pt x="605" y="697"/>
                      <a:pt x="605" y="697"/>
                      <a:pt x="605" y="697"/>
                    </a:cubicBezTo>
                    <a:cubicBezTo>
                      <a:pt x="606" y="700"/>
                      <a:pt x="606" y="700"/>
                      <a:pt x="606" y="700"/>
                    </a:cubicBezTo>
                    <a:cubicBezTo>
                      <a:pt x="605" y="701"/>
                      <a:pt x="603" y="702"/>
                      <a:pt x="601" y="703"/>
                    </a:cubicBezTo>
                    <a:cubicBezTo>
                      <a:pt x="600" y="701"/>
                      <a:pt x="600" y="701"/>
                      <a:pt x="600" y="701"/>
                    </a:cubicBezTo>
                    <a:cubicBezTo>
                      <a:pt x="599" y="701"/>
                      <a:pt x="599" y="701"/>
                      <a:pt x="599" y="701"/>
                    </a:cubicBezTo>
                    <a:cubicBezTo>
                      <a:pt x="601" y="704"/>
                      <a:pt x="601" y="704"/>
                      <a:pt x="601" y="704"/>
                    </a:cubicBezTo>
                    <a:cubicBezTo>
                      <a:pt x="599" y="705"/>
                      <a:pt x="598" y="706"/>
                      <a:pt x="596" y="707"/>
                    </a:cubicBezTo>
                    <a:cubicBezTo>
                      <a:pt x="594" y="704"/>
                      <a:pt x="594" y="704"/>
                      <a:pt x="594" y="704"/>
                    </a:cubicBezTo>
                    <a:cubicBezTo>
                      <a:pt x="594" y="705"/>
                      <a:pt x="594" y="705"/>
                      <a:pt x="594" y="705"/>
                    </a:cubicBezTo>
                    <a:cubicBezTo>
                      <a:pt x="595" y="707"/>
                      <a:pt x="595" y="707"/>
                      <a:pt x="595" y="707"/>
                    </a:cubicBezTo>
                    <a:cubicBezTo>
                      <a:pt x="594" y="708"/>
                      <a:pt x="592" y="709"/>
                      <a:pt x="590" y="710"/>
                    </a:cubicBezTo>
                    <a:cubicBezTo>
                      <a:pt x="589" y="708"/>
                      <a:pt x="589" y="708"/>
                      <a:pt x="589" y="708"/>
                    </a:cubicBezTo>
                    <a:cubicBezTo>
                      <a:pt x="588" y="708"/>
                      <a:pt x="588" y="708"/>
                      <a:pt x="588" y="708"/>
                    </a:cubicBezTo>
                    <a:cubicBezTo>
                      <a:pt x="590" y="711"/>
                      <a:pt x="590" y="711"/>
                      <a:pt x="590" y="711"/>
                    </a:cubicBezTo>
                    <a:cubicBezTo>
                      <a:pt x="588" y="712"/>
                      <a:pt x="587" y="713"/>
                      <a:pt x="585" y="714"/>
                    </a:cubicBezTo>
                    <a:cubicBezTo>
                      <a:pt x="583" y="711"/>
                      <a:pt x="583" y="711"/>
                      <a:pt x="583" y="711"/>
                    </a:cubicBezTo>
                    <a:cubicBezTo>
                      <a:pt x="583" y="712"/>
                      <a:pt x="583" y="712"/>
                      <a:pt x="583" y="712"/>
                    </a:cubicBezTo>
                    <a:cubicBezTo>
                      <a:pt x="584" y="714"/>
                      <a:pt x="584" y="714"/>
                      <a:pt x="584" y="714"/>
                    </a:cubicBezTo>
                    <a:cubicBezTo>
                      <a:pt x="583" y="715"/>
                      <a:pt x="581" y="716"/>
                      <a:pt x="580" y="717"/>
                    </a:cubicBezTo>
                    <a:cubicBezTo>
                      <a:pt x="577" y="712"/>
                      <a:pt x="577" y="712"/>
                      <a:pt x="577" y="712"/>
                    </a:cubicBezTo>
                    <a:cubicBezTo>
                      <a:pt x="576" y="712"/>
                      <a:pt x="576" y="712"/>
                      <a:pt x="576" y="712"/>
                    </a:cubicBezTo>
                    <a:cubicBezTo>
                      <a:pt x="573" y="706"/>
                      <a:pt x="573" y="706"/>
                      <a:pt x="573" y="706"/>
                    </a:cubicBezTo>
                    <a:cubicBezTo>
                      <a:pt x="572" y="706"/>
                      <a:pt x="572" y="706"/>
                      <a:pt x="572" y="706"/>
                    </a:cubicBezTo>
                    <a:cubicBezTo>
                      <a:pt x="576" y="713"/>
                      <a:pt x="576" y="713"/>
                      <a:pt x="576" y="713"/>
                    </a:cubicBezTo>
                    <a:cubicBezTo>
                      <a:pt x="575" y="713"/>
                      <a:pt x="575" y="713"/>
                      <a:pt x="575" y="713"/>
                    </a:cubicBezTo>
                    <a:cubicBezTo>
                      <a:pt x="578" y="718"/>
                      <a:pt x="578" y="718"/>
                      <a:pt x="578" y="718"/>
                    </a:cubicBezTo>
                    <a:cubicBezTo>
                      <a:pt x="577" y="719"/>
                      <a:pt x="575" y="719"/>
                      <a:pt x="573" y="720"/>
                    </a:cubicBezTo>
                    <a:cubicBezTo>
                      <a:pt x="572" y="718"/>
                      <a:pt x="572" y="718"/>
                      <a:pt x="572" y="718"/>
                    </a:cubicBezTo>
                    <a:cubicBezTo>
                      <a:pt x="571" y="718"/>
                      <a:pt x="571" y="718"/>
                      <a:pt x="571" y="718"/>
                    </a:cubicBezTo>
                    <a:cubicBezTo>
                      <a:pt x="573" y="721"/>
                      <a:pt x="573" y="721"/>
                      <a:pt x="573" y="721"/>
                    </a:cubicBezTo>
                    <a:cubicBezTo>
                      <a:pt x="571" y="722"/>
                      <a:pt x="569" y="723"/>
                      <a:pt x="568" y="723"/>
                    </a:cubicBezTo>
                    <a:cubicBezTo>
                      <a:pt x="566" y="721"/>
                      <a:pt x="566" y="721"/>
                      <a:pt x="566" y="721"/>
                    </a:cubicBezTo>
                    <a:cubicBezTo>
                      <a:pt x="566" y="721"/>
                      <a:pt x="566" y="721"/>
                      <a:pt x="566" y="721"/>
                    </a:cubicBezTo>
                    <a:cubicBezTo>
                      <a:pt x="567" y="724"/>
                      <a:pt x="567" y="724"/>
                      <a:pt x="567" y="724"/>
                    </a:cubicBezTo>
                    <a:cubicBezTo>
                      <a:pt x="565" y="725"/>
                      <a:pt x="564" y="726"/>
                      <a:pt x="562" y="727"/>
                    </a:cubicBezTo>
                    <a:cubicBezTo>
                      <a:pt x="561" y="724"/>
                      <a:pt x="561" y="724"/>
                      <a:pt x="561" y="724"/>
                    </a:cubicBezTo>
                    <a:cubicBezTo>
                      <a:pt x="560" y="724"/>
                      <a:pt x="560" y="724"/>
                      <a:pt x="560" y="724"/>
                    </a:cubicBezTo>
                    <a:cubicBezTo>
                      <a:pt x="561" y="727"/>
                      <a:pt x="561" y="727"/>
                      <a:pt x="561" y="727"/>
                    </a:cubicBezTo>
                    <a:cubicBezTo>
                      <a:pt x="560" y="728"/>
                      <a:pt x="558" y="729"/>
                      <a:pt x="556" y="729"/>
                    </a:cubicBezTo>
                    <a:cubicBezTo>
                      <a:pt x="555" y="727"/>
                      <a:pt x="555" y="727"/>
                      <a:pt x="555" y="727"/>
                    </a:cubicBezTo>
                    <a:cubicBezTo>
                      <a:pt x="554" y="727"/>
                      <a:pt x="554" y="727"/>
                      <a:pt x="554" y="727"/>
                    </a:cubicBezTo>
                    <a:cubicBezTo>
                      <a:pt x="555" y="730"/>
                      <a:pt x="555" y="730"/>
                      <a:pt x="555" y="730"/>
                    </a:cubicBezTo>
                    <a:cubicBezTo>
                      <a:pt x="554" y="731"/>
                      <a:pt x="552" y="732"/>
                      <a:pt x="550" y="732"/>
                    </a:cubicBezTo>
                    <a:cubicBezTo>
                      <a:pt x="549" y="730"/>
                      <a:pt x="549" y="730"/>
                      <a:pt x="549" y="730"/>
                    </a:cubicBezTo>
                    <a:cubicBezTo>
                      <a:pt x="548" y="730"/>
                      <a:pt x="548" y="730"/>
                      <a:pt x="548" y="730"/>
                    </a:cubicBezTo>
                    <a:cubicBezTo>
                      <a:pt x="549" y="733"/>
                      <a:pt x="549" y="733"/>
                      <a:pt x="549" y="733"/>
                    </a:cubicBezTo>
                    <a:cubicBezTo>
                      <a:pt x="548" y="733"/>
                      <a:pt x="546" y="734"/>
                      <a:pt x="544" y="735"/>
                    </a:cubicBezTo>
                    <a:cubicBezTo>
                      <a:pt x="543" y="732"/>
                      <a:pt x="543" y="732"/>
                      <a:pt x="543" y="732"/>
                    </a:cubicBezTo>
                    <a:cubicBezTo>
                      <a:pt x="542" y="733"/>
                      <a:pt x="542" y="733"/>
                      <a:pt x="542" y="733"/>
                    </a:cubicBezTo>
                    <a:cubicBezTo>
                      <a:pt x="543" y="735"/>
                      <a:pt x="543" y="735"/>
                      <a:pt x="543" y="735"/>
                    </a:cubicBezTo>
                    <a:cubicBezTo>
                      <a:pt x="542" y="736"/>
                      <a:pt x="540" y="737"/>
                      <a:pt x="538" y="738"/>
                    </a:cubicBezTo>
                    <a:cubicBezTo>
                      <a:pt x="537" y="735"/>
                      <a:pt x="537" y="735"/>
                      <a:pt x="537" y="735"/>
                    </a:cubicBezTo>
                    <a:cubicBezTo>
                      <a:pt x="536" y="735"/>
                      <a:pt x="536" y="735"/>
                      <a:pt x="536" y="735"/>
                    </a:cubicBezTo>
                    <a:cubicBezTo>
                      <a:pt x="537" y="738"/>
                      <a:pt x="537" y="738"/>
                      <a:pt x="537" y="738"/>
                    </a:cubicBezTo>
                    <a:cubicBezTo>
                      <a:pt x="536" y="739"/>
                      <a:pt x="534" y="740"/>
                      <a:pt x="532" y="740"/>
                    </a:cubicBezTo>
                    <a:cubicBezTo>
                      <a:pt x="531" y="737"/>
                      <a:pt x="531" y="737"/>
                      <a:pt x="531" y="737"/>
                    </a:cubicBezTo>
                    <a:cubicBezTo>
                      <a:pt x="530" y="738"/>
                      <a:pt x="530" y="738"/>
                      <a:pt x="530" y="738"/>
                    </a:cubicBezTo>
                    <a:cubicBezTo>
                      <a:pt x="531" y="741"/>
                      <a:pt x="531" y="741"/>
                      <a:pt x="531" y="741"/>
                    </a:cubicBezTo>
                    <a:cubicBezTo>
                      <a:pt x="530" y="741"/>
                      <a:pt x="528" y="742"/>
                      <a:pt x="526" y="743"/>
                    </a:cubicBezTo>
                    <a:cubicBezTo>
                      <a:pt x="525" y="740"/>
                      <a:pt x="525" y="740"/>
                      <a:pt x="525" y="740"/>
                    </a:cubicBezTo>
                    <a:cubicBezTo>
                      <a:pt x="524" y="740"/>
                      <a:pt x="524" y="740"/>
                      <a:pt x="524" y="740"/>
                    </a:cubicBezTo>
                    <a:cubicBezTo>
                      <a:pt x="525" y="743"/>
                      <a:pt x="525" y="743"/>
                      <a:pt x="525" y="743"/>
                    </a:cubicBezTo>
                    <a:cubicBezTo>
                      <a:pt x="524" y="744"/>
                      <a:pt x="522" y="744"/>
                      <a:pt x="520" y="745"/>
                    </a:cubicBezTo>
                    <a:cubicBezTo>
                      <a:pt x="518" y="740"/>
                      <a:pt x="518" y="740"/>
                      <a:pt x="518" y="740"/>
                    </a:cubicBezTo>
                    <a:cubicBezTo>
                      <a:pt x="518" y="740"/>
                      <a:pt x="518" y="740"/>
                      <a:pt x="518" y="740"/>
                    </a:cubicBezTo>
                    <a:cubicBezTo>
                      <a:pt x="515" y="733"/>
                      <a:pt x="515" y="733"/>
                      <a:pt x="515" y="733"/>
                    </a:cubicBezTo>
                    <a:cubicBezTo>
                      <a:pt x="515" y="733"/>
                      <a:pt x="515" y="733"/>
                      <a:pt x="515" y="733"/>
                    </a:cubicBezTo>
                    <a:cubicBezTo>
                      <a:pt x="517" y="740"/>
                      <a:pt x="517" y="740"/>
                      <a:pt x="517" y="740"/>
                    </a:cubicBezTo>
                    <a:cubicBezTo>
                      <a:pt x="517" y="740"/>
                      <a:pt x="517" y="740"/>
                      <a:pt x="517" y="740"/>
                    </a:cubicBezTo>
                    <a:cubicBezTo>
                      <a:pt x="519" y="745"/>
                      <a:pt x="519" y="745"/>
                      <a:pt x="519" y="745"/>
                    </a:cubicBezTo>
                    <a:cubicBezTo>
                      <a:pt x="517" y="746"/>
                      <a:pt x="515" y="747"/>
                      <a:pt x="514" y="747"/>
                    </a:cubicBezTo>
                    <a:cubicBezTo>
                      <a:pt x="513" y="744"/>
                      <a:pt x="513" y="744"/>
                      <a:pt x="513" y="744"/>
                    </a:cubicBezTo>
                    <a:cubicBezTo>
                      <a:pt x="512" y="745"/>
                      <a:pt x="512" y="745"/>
                      <a:pt x="512" y="745"/>
                    </a:cubicBezTo>
                    <a:cubicBezTo>
                      <a:pt x="513" y="747"/>
                      <a:pt x="513" y="747"/>
                      <a:pt x="513" y="747"/>
                    </a:cubicBezTo>
                    <a:cubicBezTo>
                      <a:pt x="511" y="748"/>
                      <a:pt x="509" y="749"/>
                      <a:pt x="507" y="749"/>
                    </a:cubicBezTo>
                    <a:cubicBezTo>
                      <a:pt x="506" y="746"/>
                      <a:pt x="506" y="746"/>
                      <a:pt x="506" y="746"/>
                    </a:cubicBezTo>
                    <a:cubicBezTo>
                      <a:pt x="506" y="747"/>
                      <a:pt x="506" y="747"/>
                      <a:pt x="506" y="747"/>
                    </a:cubicBezTo>
                    <a:cubicBezTo>
                      <a:pt x="507" y="750"/>
                      <a:pt x="507" y="750"/>
                      <a:pt x="507" y="750"/>
                    </a:cubicBezTo>
                    <a:cubicBezTo>
                      <a:pt x="505" y="750"/>
                      <a:pt x="503" y="751"/>
                      <a:pt x="501" y="751"/>
                    </a:cubicBezTo>
                    <a:cubicBezTo>
                      <a:pt x="500" y="748"/>
                      <a:pt x="500" y="748"/>
                      <a:pt x="500" y="748"/>
                    </a:cubicBezTo>
                    <a:cubicBezTo>
                      <a:pt x="500" y="749"/>
                      <a:pt x="500" y="749"/>
                      <a:pt x="500" y="749"/>
                    </a:cubicBezTo>
                    <a:cubicBezTo>
                      <a:pt x="500" y="752"/>
                      <a:pt x="500" y="752"/>
                      <a:pt x="500" y="752"/>
                    </a:cubicBezTo>
                    <a:cubicBezTo>
                      <a:pt x="499" y="752"/>
                      <a:pt x="497" y="753"/>
                      <a:pt x="495" y="753"/>
                    </a:cubicBezTo>
                    <a:cubicBezTo>
                      <a:pt x="494" y="750"/>
                      <a:pt x="494" y="750"/>
                      <a:pt x="494" y="750"/>
                    </a:cubicBezTo>
                    <a:cubicBezTo>
                      <a:pt x="493" y="750"/>
                      <a:pt x="493" y="750"/>
                      <a:pt x="493" y="750"/>
                    </a:cubicBezTo>
                    <a:cubicBezTo>
                      <a:pt x="494" y="753"/>
                      <a:pt x="494" y="753"/>
                      <a:pt x="494" y="753"/>
                    </a:cubicBezTo>
                    <a:cubicBezTo>
                      <a:pt x="492" y="754"/>
                      <a:pt x="490" y="754"/>
                      <a:pt x="489" y="755"/>
                    </a:cubicBezTo>
                    <a:cubicBezTo>
                      <a:pt x="488" y="752"/>
                      <a:pt x="488" y="752"/>
                      <a:pt x="488" y="752"/>
                    </a:cubicBezTo>
                    <a:cubicBezTo>
                      <a:pt x="487" y="752"/>
                      <a:pt x="487" y="752"/>
                      <a:pt x="487" y="752"/>
                    </a:cubicBezTo>
                    <a:cubicBezTo>
                      <a:pt x="488" y="755"/>
                      <a:pt x="488" y="755"/>
                      <a:pt x="488" y="755"/>
                    </a:cubicBezTo>
                    <a:cubicBezTo>
                      <a:pt x="486" y="756"/>
                      <a:pt x="484" y="756"/>
                      <a:pt x="482" y="757"/>
                    </a:cubicBezTo>
                    <a:cubicBezTo>
                      <a:pt x="481" y="754"/>
                      <a:pt x="481" y="754"/>
                      <a:pt x="481" y="754"/>
                    </a:cubicBezTo>
                    <a:cubicBezTo>
                      <a:pt x="481" y="754"/>
                      <a:pt x="481" y="754"/>
                      <a:pt x="481" y="754"/>
                    </a:cubicBezTo>
                    <a:cubicBezTo>
                      <a:pt x="481" y="757"/>
                      <a:pt x="481" y="757"/>
                      <a:pt x="481" y="757"/>
                    </a:cubicBezTo>
                    <a:cubicBezTo>
                      <a:pt x="480" y="757"/>
                      <a:pt x="478" y="758"/>
                      <a:pt x="476" y="758"/>
                    </a:cubicBezTo>
                    <a:cubicBezTo>
                      <a:pt x="475" y="755"/>
                      <a:pt x="475" y="755"/>
                      <a:pt x="475" y="755"/>
                    </a:cubicBezTo>
                    <a:cubicBezTo>
                      <a:pt x="474" y="755"/>
                      <a:pt x="474" y="755"/>
                      <a:pt x="474" y="755"/>
                    </a:cubicBezTo>
                    <a:cubicBezTo>
                      <a:pt x="475" y="758"/>
                      <a:pt x="475" y="758"/>
                      <a:pt x="475" y="758"/>
                    </a:cubicBezTo>
                    <a:cubicBezTo>
                      <a:pt x="473" y="759"/>
                      <a:pt x="471" y="759"/>
                      <a:pt x="469" y="760"/>
                    </a:cubicBezTo>
                    <a:cubicBezTo>
                      <a:pt x="469" y="757"/>
                      <a:pt x="469" y="757"/>
                      <a:pt x="469" y="757"/>
                    </a:cubicBezTo>
                    <a:cubicBezTo>
                      <a:pt x="468" y="757"/>
                      <a:pt x="468" y="757"/>
                      <a:pt x="468" y="757"/>
                    </a:cubicBezTo>
                    <a:cubicBezTo>
                      <a:pt x="469" y="760"/>
                      <a:pt x="469" y="760"/>
                      <a:pt x="469" y="760"/>
                    </a:cubicBezTo>
                    <a:cubicBezTo>
                      <a:pt x="467" y="760"/>
                      <a:pt x="465" y="760"/>
                      <a:pt x="463" y="761"/>
                    </a:cubicBezTo>
                    <a:cubicBezTo>
                      <a:pt x="462" y="758"/>
                      <a:pt x="462" y="758"/>
                      <a:pt x="462" y="758"/>
                    </a:cubicBezTo>
                    <a:cubicBezTo>
                      <a:pt x="462" y="758"/>
                      <a:pt x="462" y="758"/>
                      <a:pt x="462" y="758"/>
                    </a:cubicBezTo>
                    <a:cubicBezTo>
                      <a:pt x="462" y="761"/>
                      <a:pt x="462" y="761"/>
                      <a:pt x="462" y="761"/>
                    </a:cubicBezTo>
                    <a:cubicBezTo>
                      <a:pt x="460" y="761"/>
                      <a:pt x="459" y="762"/>
                      <a:pt x="457" y="762"/>
                    </a:cubicBezTo>
                    <a:cubicBezTo>
                      <a:pt x="456" y="757"/>
                      <a:pt x="456" y="757"/>
                      <a:pt x="456" y="757"/>
                    </a:cubicBezTo>
                    <a:cubicBezTo>
                      <a:pt x="456" y="757"/>
                      <a:pt x="456" y="757"/>
                      <a:pt x="456" y="757"/>
                    </a:cubicBezTo>
                    <a:cubicBezTo>
                      <a:pt x="454" y="749"/>
                      <a:pt x="454" y="749"/>
                      <a:pt x="454" y="749"/>
                    </a:cubicBezTo>
                    <a:cubicBezTo>
                      <a:pt x="453" y="749"/>
                      <a:pt x="453" y="749"/>
                      <a:pt x="453" y="749"/>
                    </a:cubicBezTo>
                    <a:cubicBezTo>
                      <a:pt x="455" y="757"/>
                      <a:pt x="455" y="757"/>
                      <a:pt x="455" y="757"/>
                    </a:cubicBezTo>
                    <a:cubicBezTo>
                      <a:pt x="454" y="757"/>
                      <a:pt x="454" y="757"/>
                      <a:pt x="454" y="757"/>
                    </a:cubicBezTo>
                    <a:cubicBezTo>
                      <a:pt x="455" y="762"/>
                      <a:pt x="455" y="762"/>
                      <a:pt x="455" y="762"/>
                    </a:cubicBezTo>
                    <a:cubicBezTo>
                      <a:pt x="454" y="763"/>
                      <a:pt x="452" y="763"/>
                      <a:pt x="450" y="763"/>
                    </a:cubicBezTo>
                    <a:cubicBezTo>
                      <a:pt x="450" y="760"/>
                      <a:pt x="450" y="760"/>
                      <a:pt x="450" y="760"/>
                    </a:cubicBezTo>
                    <a:cubicBezTo>
                      <a:pt x="449" y="760"/>
                      <a:pt x="449" y="760"/>
                      <a:pt x="449" y="760"/>
                    </a:cubicBezTo>
                    <a:cubicBezTo>
                      <a:pt x="449" y="763"/>
                      <a:pt x="449" y="763"/>
                      <a:pt x="449" y="763"/>
                    </a:cubicBezTo>
                    <a:cubicBezTo>
                      <a:pt x="447" y="764"/>
                      <a:pt x="445" y="764"/>
                      <a:pt x="444" y="764"/>
                    </a:cubicBezTo>
                    <a:cubicBezTo>
                      <a:pt x="443" y="761"/>
                      <a:pt x="443" y="761"/>
                      <a:pt x="443" y="761"/>
                    </a:cubicBezTo>
                    <a:cubicBezTo>
                      <a:pt x="442" y="761"/>
                      <a:pt x="442" y="761"/>
                      <a:pt x="442" y="761"/>
                    </a:cubicBezTo>
                    <a:cubicBezTo>
                      <a:pt x="443" y="764"/>
                      <a:pt x="443" y="764"/>
                      <a:pt x="443" y="764"/>
                    </a:cubicBezTo>
                    <a:cubicBezTo>
                      <a:pt x="441" y="764"/>
                      <a:pt x="439" y="765"/>
                      <a:pt x="437" y="765"/>
                    </a:cubicBezTo>
                    <a:cubicBezTo>
                      <a:pt x="437" y="762"/>
                      <a:pt x="437" y="762"/>
                      <a:pt x="437" y="762"/>
                    </a:cubicBezTo>
                    <a:cubicBezTo>
                      <a:pt x="436" y="762"/>
                      <a:pt x="436" y="762"/>
                      <a:pt x="436" y="762"/>
                    </a:cubicBezTo>
                    <a:cubicBezTo>
                      <a:pt x="436" y="765"/>
                      <a:pt x="436" y="765"/>
                      <a:pt x="436" y="765"/>
                    </a:cubicBezTo>
                    <a:cubicBezTo>
                      <a:pt x="434" y="765"/>
                      <a:pt x="432" y="766"/>
                      <a:pt x="431" y="766"/>
                    </a:cubicBezTo>
                    <a:cubicBezTo>
                      <a:pt x="430" y="763"/>
                      <a:pt x="430" y="763"/>
                      <a:pt x="430" y="763"/>
                    </a:cubicBezTo>
                    <a:cubicBezTo>
                      <a:pt x="429" y="763"/>
                      <a:pt x="429" y="763"/>
                      <a:pt x="429" y="763"/>
                    </a:cubicBezTo>
                    <a:cubicBezTo>
                      <a:pt x="430" y="766"/>
                      <a:pt x="430" y="766"/>
                      <a:pt x="430" y="766"/>
                    </a:cubicBezTo>
                    <a:cubicBezTo>
                      <a:pt x="428" y="766"/>
                      <a:pt x="426" y="766"/>
                      <a:pt x="424" y="766"/>
                    </a:cubicBezTo>
                    <a:cubicBezTo>
                      <a:pt x="424" y="763"/>
                      <a:pt x="424" y="763"/>
                      <a:pt x="424" y="763"/>
                    </a:cubicBezTo>
                    <a:cubicBezTo>
                      <a:pt x="423" y="763"/>
                      <a:pt x="423" y="763"/>
                      <a:pt x="423" y="763"/>
                    </a:cubicBezTo>
                    <a:cubicBezTo>
                      <a:pt x="423" y="766"/>
                      <a:pt x="423" y="766"/>
                      <a:pt x="423" y="766"/>
                    </a:cubicBezTo>
                    <a:cubicBezTo>
                      <a:pt x="421" y="767"/>
                      <a:pt x="419" y="767"/>
                      <a:pt x="417" y="767"/>
                    </a:cubicBezTo>
                    <a:cubicBezTo>
                      <a:pt x="417" y="764"/>
                      <a:pt x="417" y="764"/>
                      <a:pt x="417" y="764"/>
                    </a:cubicBezTo>
                    <a:cubicBezTo>
                      <a:pt x="416" y="764"/>
                      <a:pt x="416" y="764"/>
                      <a:pt x="416" y="764"/>
                    </a:cubicBezTo>
                    <a:cubicBezTo>
                      <a:pt x="417" y="767"/>
                      <a:pt x="417" y="767"/>
                      <a:pt x="417" y="767"/>
                    </a:cubicBezTo>
                    <a:cubicBezTo>
                      <a:pt x="415" y="767"/>
                      <a:pt x="413" y="767"/>
                      <a:pt x="411" y="767"/>
                    </a:cubicBezTo>
                    <a:cubicBezTo>
                      <a:pt x="411" y="764"/>
                      <a:pt x="411" y="764"/>
                      <a:pt x="411" y="764"/>
                    </a:cubicBezTo>
                    <a:cubicBezTo>
                      <a:pt x="410" y="764"/>
                      <a:pt x="410" y="764"/>
                      <a:pt x="410" y="764"/>
                    </a:cubicBezTo>
                    <a:cubicBezTo>
                      <a:pt x="410" y="767"/>
                      <a:pt x="410" y="767"/>
                      <a:pt x="410" y="767"/>
                    </a:cubicBezTo>
                    <a:cubicBezTo>
                      <a:pt x="408" y="767"/>
                      <a:pt x="406" y="767"/>
                      <a:pt x="404" y="768"/>
                    </a:cubicBezTo>
                    <a:cubicBezTo>
                      <a:pt x="404" y="765"/>
                      <a:pt x="404" y="765"/>
                      <a:pt x="404" y="765"/>
                    </a:cubicBezTo>
                    <a:cubicBezTo>
                      <a:pt x="403" y="765"/>
                      <a:pt x="403" y="765"/>
                      <a:pt x="403" y="765"/>
                    </a:cubicBezTo>
                    <a:cubicBezTo>
                      <a:pt x="404" y="768"/>
                      <a:pt x="404" y="768"/>
                      <a:pt x="404" y="768"/>
                    </a:cubicBezTo>
                    <a:cubicBezTo>
                      <a:pt x="402" y="768"/>
                      <a:pt x="400" y="768"/>
                      <a:pt x="398" y="768"/>
                    </a:cubicBezTo>
                    <a:cubicBezTo>
                      <a:pt x="398" y="765"/>
                      <a:pt x="398" y="765"/>
                      <a:pt x="398" y="765"/>
                    </a:cubicBezTo>
                    <a:cubicBezTo>
                      <a:pt x="397" y="765"/>
                      <a:pt x="397" y="765"/>
                      <a:pt x="397" y="765"/>
                    </a:cubicBezTo>
                    <a:cubicBezTo>
                      <a:pt x="397" y="768"/>
                      <a:pt x="397" y="768"/>
                      <a:pt x="397" y="768"/>
                    </a:cubicBezTo>
                    <a:cubicBezTo>
                      <a:pt x="395" y="768"/>
                      <a:pt x="393" y="768"/>
                      <a:pt x="392" y="768"/>
                    </a:cubicBezTo>
                    <a:cubicBezTo>
                      <a:pt x="392" y="762"/>
                      <a:pt x="392" y="762"/>
                      <a:pt x="392" y="762"/>
                    </a:cubicBezTo>
                    <a:cubicBezTo>
                      <a:pt x="391" y="762"/>
                      <a:pt x="391" y="762"/>
                      <a:pt x="391" y="762"/>
                    </a:cubicBezTo>
                    <a:cubicBezTo>
                      <a:pt x="391" y="755"/>
                      <a:pt x="391" y="755"/>
                      <a:pt x="391" y="755"/>
                    </a:cubicBezTo>
                    <a:cubicBezTo>
                      <a:pt x="390" y="755"/>
                      <a:pt x="390" y="755"/>
                      <a:pt x="390" y="755"/>
                    </a:cubicBezTo>
                    <a:cubicBezTo>
                      <a:pt x="390" y="762"/>
                      <a:pt x="390" y="762"/>
                      <a:pt x="390" y="762"/>
                    </a:cubicBezTo>
                    <a:cubicBezTo>
                      <a:pt x="390" y="762"/>
                      <a:pt x="390" y="762"/>
                      <a:pt x="390" y="762"/>
                    </a:cubicBezTo>
                    <a:cubicBezTo>
                      <a:pt x="390" y="768"/>
                      <a:pt x="390" y="768"/>
                      <a:pt x="390" y="768"/>
                    </a:cubicBezTo>
                    <a:cubicBezTo>
                      <a:pt x="388" y="768"/>
                      <a:pt x="386" y="768"/>
                      <a:pt x="385" y="768"/>
                    </a:cubicBezTo>
                    <a:cubicBezTo>
                      <a:pt x="385" y="765"/>
                      <a:pt x="385" y="765"/>
                      <a:pt x="385" y="765"/>
                    </a:cubicBezTo>
                    <a:cubicBezTo>
                      <a:pt x="384" y="765"/>
                      <a:pt x="384" y="765"/>
                      <a:pt x="384" y="765"/>
                    </a:cubicBezTo>
                    <a:cubicBezTo>
                      <a:pt x="384" y="768"/>
                      <a:pt x="384" y="768"/>
                      <a:pt x="384" y="768"/>
                    </a:cubicBezTo>
                    <a:cubicBezTo>
                      <a:pt x="382" y="768"/>
                      <a:pt x="380" y="768"/>
                      <a:pt x="378" y="768"/>
                    </a:cubicBezTo>
                    <a:cubicBezTo>
                      <a:pt x="378" y="765"/>
                      <a:pt x="378" y="765"/>
                      <a:pt x="378" y="765"/>
                    </a:cubicBezTo>
                    <a:cubicBezTo>
                      <a:pt x="377" y="765"/>
                      <a:pt x="377" y="765"/>
                      <a:pt x="377" y="765"/>
                    </a:cubicBezTo>
                    <a:cubicBezTo>
                      <a:pt x="377" y="768"/>
                      <a:pt x="377" y="768"/>
                      <a:pt x="377" y="768"/>
                    </a:cubicBezTo>
                    <a:cubicBezTo>
                      <a:pt x="375" y="767"/>
                      <a:pt x="373" y="767"/>
                      <a:pt x="372" y="767"/>
                    </a:cubicBezTo>
                    <a:cubicBezTo>
                      <a:pt x="372" y="764"/>
                      <a:pt x="372" y="764"/>
                      <a:pt x="372" y="764"/>
                    </a:cubicBezTo>
                    <a:cubicBezTo>
                      <a:pt x="371" y="764"/>
                      <a:pt x="371" y="764"/>
                      <a:pt x="371" y="764"/>
                    </a:cubicBezTo>
                    <a:cubicBezTo>
                      <a:pt x="371" y="767"/>
                      <a:pt x="371" y="767"/>
                      <a:pt x="371" y="767"/>
                    </a:cubicBezTo>
                    <a:cubicBezTo>
                      <a:pt x="369" y="767"/>
                      <a:pt x="367" y="767"/>
                      <a:pt x="365" y="767"/>
                    </a:cubicBezTo>
                    <a:cubicBezTo>
                      <a:pt x="365" y="764"/>
                      <a:pt x="365" y="764"/>
                      <a:pt x="365" y="764"/>
                    </a:cubicBezTo>
                    <a:cubicBezTo>
                      <a:pt x="364" y="764"/>
                      <a:pt x="364" y="764"/>
                      <a:pt x="364" y="764"/>
                    </a:cubicBezTo>
                    <a:cubicBezTo>
                      <a:pt x="364" y="767"/>
                      <a:pt x="364" y="767"/>
                      <a:pt x="364" y="767"/>
                    </a:cubicBezTo>
                    <a:cubicBezTo>
                      <a:pt x="362" y="767"/>
                      <a:pt x="360" y="767"/>
                      <a:pt x="358" y="766"/>
                    </a:cubicBezTo>
                    <a:cubicBezTo>
                      <a:pt x="359" y="763"/>
                      <a:pt x="359" y="763"/>
                      <a:pt x="359" y="763"/>
                    </a:cubicBezTo>
                    <a:cubicBezTo>
                      <a:pt x="358" y="763"/>
                      <a:pt x="358" y="763"/>
                      <a:pt x="358" y="763"/>
                    </a:cubicBezTo>
                    <a:cubicBezTo>
                      <a:pt x="358" y="766"/>
                      <a:pt x="358" y="766"/>
                      <a:pt x="358" y="766"/>
                    </a:cubicBezTo>
                    <a:cubicBezTo>
                      <a:pt x="356" y="766"/>
                      <a:pt x="354" y="766"/>
                      <a:pt x="352" y="766"/>
                    </a:cubicBezTo>
                    <a:cubicBezTo>
                      <a:pt x="352" y="763"/>
                      <a:pt x="352" y="763"/>
                      <a:pt x="352" y="763"/>
                    </a:cubicBezTo>
                    <a:cubicBezTo>
                      <a:pt x="351" y="763"/>
                      <a:pt x="351" y="763"/>
                      <a:pt x="351" y="763"/>
                    </a:cubicBezTo>
                    <a:cubicBezTo>
                      <a:pt x="351" y="766"/>
                      <a:pt x="351" y="766"/>
                      <a:pt x="351" y="766"/>
                    </a:cubicBezTo>
                    <a:cubicBezTo>
                      <a:pt x="349" y="766"/>
                      <a:pt x="347" y="765"/>
                      <a:pt x="345" y="765"/>
                    </a:cubicBezTo>
                    <a:cubicBezTo>
                      <a:pt x="346" y="762"/>
                      <a:pt x="346" y="762"/>
                      <a:pt x="346" y="762"/>
                    </a:cubicBezTo>
                    <a:cubicBezTo>
                      <a:pt x="345" y="762"/>
                      <a:pt x="345" y="762"/>
                      <a:pt x="345" y="762"/>
                    </a:cubicBezTo>
                    <a:cubicBezTo>
                      <a:pt x="345" y="765"/>
                      <a:pt x="345" y="765"/>
                      <a:pt x="345" y="765"/>
                    </a:cubicBezTo>
                    <a:cubicBezTo>
                      <a:pt x="343" y="765"/>
                      <a:pt x="341" y="764"/>
                      <a:pt x="339" y="764"/>
                    </a:cubicBezTo>
                    <a:cubicBezTo>
                      <a:pt x="339" y="761"/>
                      <a:pt x="339" y="761"/>
                      <a:pt x="339" y="761"/>
                    </a:cubicBezTo>
                    <a:cubicBezTo>
                      <a:pt x="338" y="761"/>
                      <a:pt x="338" y="761"/>
                      <a:pt x="338" y="761"/>
                    </a:cubicBezTo>
                    <a:cubicBezTo>
                      <a:pt x="338" y="764"/>
                      <a:pt x="338" y="764"/>
                      <a:pt x="338" y="764"/>
                    </a:cubicBezTo>
                    <a:cubicBezTo>
                      <a:pt x="336" y="764"/>
                      <a:pt x="334" y="764"/>
                      <a:pt x="332" y="763"/>
                    </a:cubicBezTo>
                    <a:cubicBezTo>
                      <a:pt x="333" y="760"/>
                      <a:pt x="333" y="760"/>
                      <a:pt x="333" y="760"/>
                    </a:cubicBezTo>
                    <a:cubicBezTo>
                      <a:pt x="332" y="760"/>
                      <a:pt x="332" y="760"/>
                      <a:pt x="332" y="760"/>
                    </a:cubicBezTo>
                    <a:cubicBezTo>
                      <a:pt x="332" y="763"/>
                      <a:pt x="332" y="763"/>
                      <a:pt x="332" y="763"/>
                    </a:cubicBezTo>
                    <a:cubicBezTo>
                      <a:pt x="330" y="763"/>
                      <a:pt x="328" y="763"/>
                      <a:pt x="326" y="762"/>
                    </a:cubicBezTo>
                    <a:cubicBezTo>
                      <a:pt x="327" y="757"/>
                      <a:pt x="327" y="757"/>
                      <a:pt x="327" y="757"/>
                    </a:cubicBezTo>
                    <a:cubicBezTo>
                      <a:pt x="327" y="757"/>
                      <a:pt x="327" y="757"/>
                      <a:pt x="327" y="757"/>
                    </a:cubicBezTo>
                    <a:cubicBezTo>
                      <a:pt x="328" y="749"/>
                      <a:pt x="328" y="749"/>
                      <a:pt x="328" y="749"/>
                    </a:cubicBezTo>
                    <a:cubicBezTo>
                      <a:pt x="327" y="749"/>
                      <a:pt x="327" y="749"/>
                      <a:pt x="327" y="749"/>
                    </a:cubicBezTo>
                    <a:cubicBezTo>
                      <a:pt x="326" y="757"/>
                      <a:pt x="326" y="757"/>
                      <a:pt x="326" y="757"/>
                    </a:cubicBezTo>
                    <a:cubicBezTo>
                      <a:pt x="326" y="757"/>
                      <a:pt x="326" y="757"/>
                      <a:pt x="326" y="757"/>
                    </a:cubicBezTo>
                    <a:cubicBezTo>
                      <a:pt x="325" y="762"/>
                      <a:pt x="325" y="762"/>
                      <a:pt x="325" y="762"/>
                    </a:cubicBezTo>
                    <a:cubicBezTo>
                      <a:pt x="323" y="762"/>
                      <a:pt x="321" y="761"/>
                      <a:pt x="319" y="761"/>
                    </a:cubicBezTo>
                    <a:cubicBezTo>
                      <a:pt x="320" y="758"/>
                      <a:pt x="320" y="758"/>
                      <a:pt x="320" y="758"/>
                    </a:cubicBezTo>
                    <a:cubicBezTo>
                      <a:pt x="319" y="758"/>
                      <a:pt x="319" y="758"/>
                      <a:pt x="319" y="758"/>
                    </a:cubicBezTo>
                    <a:cubicBezTo>
                      <a:pt x="319" y="761"/>
                      <a:pt x="319" y="761"/>
                      <a:pt x="319" y="761"/>
                    </a:cubicBezTo>
                    <a:cubicBezTo>
                      <a:pt x="317" y="760"/>
                      <a:pt x="315" y="760"/>
                      <a:pt x="313" y="760"/>
                    </a:cubicBezTo>
                    <a:cubicBezTo>
                      <a:pt x="314" y="757"/>
                      <a:pt x="314" y="757"/>
                      <a:pt x="314" y="757"/>
                    </a:cubicBezTo>
                    <a:cubicBezTo>
                      <a:pt x="313" y="757"/>
                      <a:pt x="313" y="757"/>
                      <a:pt x="313" y="757"/>
                    </a:cubicBezTo>
                    <a:cubicBezTo>
                      <a:pt x="312" y="760"/>
                      <a:pt x="312" y="760"/>
                      <a:pt x="312" y="760"/>
                    </a:cubicBezTo>
                    <a:cubicBezTo>
                      <a:pt x="310" y="759"/>
                      <a:pt x="308" y="759"/>
                      <a:pt x="307" y="758"/>
                    </a:cubicBezTo>
                    <a:cubicBezTo>
                      <a:pt x="307" y="755"/>
                      <a:pt x="307" y="755"/>
                      <a:pt x="307" y="755"/>
                    </a:cubicBezTo>
                    <a:cubicBezTo>
                      <a:pt x="306" y="755"/>
                      <a:pt x="306" y="755"/>
                      <a:pt x="306" y="755"/>
                    </a:cubicBezTo>
                    <a:cubicBezTo>
                      <a:pt x="306" y="758"/>
                      <a:pt x="306" y="758"/>
                      <a:pt x="306" y="758"/>
                    </a:cubicBezTo>
                    <a:cubicBezTo>
                      <a:pt x="304" y="758"/>
                      <a:pt x="302" y="757"/>
                      <a:pt x="300" y="757"/>
                    </a:cubicBezTo>
                    <a:cubicBezTo>
                      <a:pt x="301" y="754"/>
                      <a:pt x="301" y="754"/>
                      <a:pt x="301" y="754"/>
                    </a:cubicBezTo>
                    <a:cubicBezTo>
                      <a:pt x="300" y="754"/>
                      <a:pt x="300" y="754"/>
                      <a:pt x="300" y="754"/>
                    </a:cubicBezTo>
                    <a:cubicBezTo>
                      <a:pt x="299" y="757"/>
                      <a:pt x="299" y="757"/>
                      <a:pt x="299" y="757"/>
                    </a:cubicBezTo>
                    <a:cubicBezTo>
                      <a:pt x="298" y="756"/>
                      <a:pt x="296" y="756"/>
                      <a:pt x="294" y="755"/>
                    </a:cubicBezTo>
                    <a:cubicBezTo>
                      <a:pt x="295" y="752"/>
                      <a:pt x="295" y="752"/>
                      <a:pt x="295" y="752"/>
                    </a:cubicBezTo>
                    <a:cubicBezTo>
                      <a:pt x="294" y="752"/>
                      <a:pt x="294" y="752"/>
                      <a:pt x="294" y="752"/>
                    </a:cubicBezTo>
                    <a:cubicBezTo>
                      <a:pt x="293" y="755"/>
                      <a:pt x="293" y="755"/>
                      <a:pt x="293" y="755"/>
                    </a:cubicBezTo>
                    <a:cubicBezTo>
                      <a:pt x="291" y="754"/>
                      <a:pt x="289" y="754"/>
                      <a:pt x="287" y="753"/>
                    </a:cubicBezTo>
                    <a:cubicBezTo>
                      <a:pt x="288" y="750"/>
                      <a:pt x="288" y="750"/>
                      <a:pt x="288" y="750"/>
                    </a:cubicBezTo>
                    <a:cubicBezTo>
                      <a:pt x="288" y="750"/>
                      <a:pt x="288" y="750"/>
                      <a:pt x="288" y="750"/>
                    </a:cubicBezTo>
                    <a:cubicBezTo>
                      <a:pt x="287" y="753"/>
                      <a:pt x="287" y="753"/>
                      <a:pt x="287" y="753"/>
                    </a:cubicBezTo>
                    <a:cubicBezTo>
                      <a:pt x="285" y="753"/>
                      <a:pt x="283" y="752"/>
                      <a:pt x="281" y="752"/>
                    </a:cubicBezTo>
                    <a:cubicBezTo>
                      <a:pt x="282" y="749"/>
                      <a:pt x="282" y="749"/>
                      <a:pt x="282" y="749"/>
                    </a:cubicBezTo>
                    <a:cubicBezTo>
                      <a:pt x="281" y="748"/>
                      <a:pt x="281" y="748"/>
                      <a:pt x="281" y="748"/>
                    </a:cubicBezTo>
                    <a:cubicBezTo>
                      <a:pt x="280" y="751"/>
                      <a:pt x="280" y="751"/>
                      <a:pt x="280" y="751"/>
                    </a:cubicBezTo>
                    <a:cubicBezTo>
                      <a:pt x="279" y="751"/>
                      <a:pt x="277" y="750"/>
                      <a:pt x="275" y="750"/>
                    </a:cubicBezTo>
                    <a:cubicBezTo>
                      <a:pt x="276" y="747"/>
                      <a:pt x="276" y="747"/>
                      <a:pt x="276" y="747"/>
                    </a:cubicBezTo>
                    <a:cubicBezTo>
                      <a:pt x="275" y="746"/>
                      <a:pt x="275" y="746"/>
                      <a:pt x="275" y="746"/>
                    </a:cubicBezTo>
                    <a:cubicBezTo>
                      <a:pt x="274" y="749"/>
                      <a:pt x="274" y="749"/>
                      <a:pt x="274" y="749"/>
                    </a:cubicBezTo>
                    <a:cubicBezTo>
                      <a:pt x="272" y="749"/>
                      <a:pt x="271" y="748"/>
                      <a:pt x="269" y="747"/>
                    </a:cubicBezTo>
                    <a:cubicBezTo>
                      <a:pt x="270" y="745"/>
                      <a:pt x="270" y="745"/>
                      <a:pt x="270" y="745"/>
                    </a:cubicBezTo>
                    <a:cubicBezTo>
                      <a:pt x="269" y="744"/>
                      <a:pt x="269" y="744"/>
                      <a:pt x="269" y="744"/>
                    </a:cubicBezTo>
                    <a:cubicBezTo>
                      <a:pt x="268" y="747"/>
                      <a:pt x="268" y="747"/>
                      <a:pt x="268" y="747"/>
                    </a:cubicBezTo>
                    <a:cubicBezTo>
                      <a:pt x="266" y="747"/>
                      <a:pt x="265" y="746"/>
                      <a:pt x="263" y="745"/>
                    </a:cubicBezTo>
                    <a:cubicBezTo>
                      <a:pt x="265" y="740"/>
                      <a:pt x="265" y="740"/>
                      <a:pt x="265" y="740"/>
                    </a:cubicBezTo>
                    <a:cubicBezTo>
                      <a:pt x="264" y="740"/>
                      <a:pt x="264" y="740"/>
                      <a:pt x="264" y="740"/>
                    </a:cubicBezTo>
                    <a:cubicBezTo>
                      <a:pt x="267" y="733"/>
                      <a:pt x="267" y="733"/>
                      <a:pt x="267" y="733"/>
                    </a:cubicBezTo>
                    <a:cubicBezTo>
                      <a:pt x="266" y="733"/>
                      <a:pt x="266" y="733"/>
                      <a:pt x="266" y="733"/>
                    </a:cubicBezTo>
                    <a:cubicBezTo>
                      <a:pt x="264" y="740"/>
                      <a:pt x="264" y="740"/>
                      <a:pt x="264" y="740"/>
                    </a:cubicBezTo>
                    <a:cubicBezTo>
                      <a:pt x="263" y="740"/>
                      <a:pt x="263" y="740"/>
                      <a:pt x="263" y="740"/>
                    </a:cubicBezTo>
                    <a:cubicBezTo>
                      <a:pt x="261" y="745"/>
                      <a:pt x="261" y="745"/>
                      <a:pt x="261" y="745"/>
                    </a:cubicBezTo>
                    <a:cubicBezTo>
                      <a:pt x="260" y="744"/>
                      <a:pt x="258" y="744"/>
                      <a:pt x="256" y="743"/>
                    </a:cubicBezTo>
                    <a:cubicBezTo>
                      <a:pt x="257" y="740"/>
                      <a:pt x="257" y="740"/>
                      <a:pt x="257" y="740"/>
                    </a:cubicBezTo>
                    <a:cubicBezTo>
                      <a:pt x="257" y="740"/>
                      <a:pt x="257" y="740"/>
                      <a:pt x="257" y="740"/>
                    </a:cubicBezTo>
                    <a:cubicBezTo>
                      <a:pt x="256" y="743"/>
                      <a:pt x="256" y="743"/>
                      <a:pt x="256" y="743"/>
                    </a:cubicBezTo>
                    <a:cubicBezTo>
                      <a:pt x="254" y="742"/>
                      <a:pt x="252" y="741"/>
                      <a:pt x="250" y="741"/>
                    </a:cubicBezTo>
                    <a:cubicBezTo>
                      <a:pt x="251" y="738"/>
                      <a:pt x="251" y="738"/>
                      <a:pt x="251" y="738"/>
                    </a:cubicBezTo>
                    <a:cubicBezTo>
                      <a:pt x="251" y="737"/>
                      <a:pt x="251" y="737"/>
                      <a:pt x="251" y="737"/>
                    </a:cubicBezTo>
                    <a:cubicBezTo>
                      <a:pt x="250" y="740"/>
                      <a:pt x="250" y="740"/>
                      <a:pt x="250" y="740"/>
                    </a:cubicBezTo>
                    <a:cubicBezTo>
                      <a:pt x="248" y="740"/>
                      <a:pt x="246" y="739"/>
                      <a:pt x="244" y="738"/>
                    </a:cubicBezTo>
                    <a:cubicBezTo>
                      <a:pt x="245" y="735"/>
                      <a:pt x="245" y="735"/>
                      <a:pt x="245" y="735"/>
                    </a:cubicBezTo>
                    <a:cubicBezTo>
                      <a:pt x="245" y="735"/>
                      <a:pt x="245" y="735"/>
                      <a:pt x="245" y="735"/>
                    </a:cubicBezTo>
                    <a:cubicBezTo>
                      <a:pt x="243" y="738"/>
                      <a:pt x="243" y="738"/>
                      <a:pt x="243" y="738"/>
                    </a:cubicBezTo>
                    <a:cubicBezTo>
                      <a:pt x="242" y="737"/>
                      <a:pt x="240" y="736"/>
                      <a:pt x="238" y="735"/>
                    </a:cubicBezTo>
                    <a:cubicBezTo>
                      <a:pt x="239" y="733"/>
                      <a:pt x="239" y="733"/>
                      <a:pt x="239" y="733"/>
                    </a:cubicBezTo>
                    <a:cubicBezTo>
                      <a:pt x="239" y="732"/>
                      <a:pt x="239" y="732"/>
                      <a:pt x="239" y="732"/>
                    </a:cubicBezTo>
                    <a:cubicBezTo>
                      <a:pt x="237" y="735"/>
                      <a:pt x="237" y="735"/>
                      <a:pt x="237" y="735"/>
                    </a:cubicBezTo>
                    <a:cubicBezTo>
                      <a:pt x="236" y="734"/>
                      <a:pt x="234" y="733"/>
                      <a:pt x="232" y="733"/>
                    </a:cubicBezTo>
                    <a:cubicBezTo>
                      <a:pt x="233" y="730"/>
                      <a:pt x="233" y="730"/>
                      <a:pt x="233" y="730"/>
                    </a:cubicBezTo>
                    <a:cubicBezTo>
                      <a:pt x="233" y="730"/>
                      <a:pt x="233" y="730"/>
                      <a:pt x="233" y="730"/>
                    </a:cubicBezTo>
                    <a:cubicBezTo>
                      <a:pt x="231" y="732"/>
                      <a:pt x="231" y="732"/>
                      <a:pt x="231" y="732"/>
                    </a:cubicBezTo>
                    <a:cubicBezTo>
                      <a:pt x="230" y="732"/>
                      <a:pt x="228" y="731"/>
                      <a:pt x="226" y="730"/>
                    </a:cubicBezTo>
                    <a:cubicBezTo>
                      <a:pt x="228" y="727"/>
                      <a:pt x="228" y="727"/>
                      <a:pt x="228" y="727"/>
                    </a:cubicBezTo>
                    <a:cubicBezTo>
                      <a:pt x="227" y="727"/>
                      <a:pt x="227" y="727"/>
                      <a:pt x="227" y="727"/>
                    </a:cubicBezTo>
                    <a:cubicBezTo>
                      <a:pt x="226" y="729"/>
                      <a:pt x="226" y="729"/>
                      <a:pt x="226" y="729"/>
                    </a:cubicBezTo>
                    <a:cubicBezTo>
                      <a:pt x="224" y="729"/>
                      <a:pt x="222" y="728"/>
                      <a:pt x="220" y="727"/>
                    </a:cubicBezTo>
                    <a:cubicBezTo>
                      <a:pt x="222" y="724"/>
                      <a:pt x="222" y="724"/>
                      <a:pt x="222" y="724"/>
                    </a:cubicBezTo>
                    <a:cubicBezTo>
                      <a:pt x="221" y="724"/>
                      <a:pt x="221" y="724"/>
                      <a:pt x="221" y="724"/>
                    </a:cubicBezTo>
                    <a:cubicBezTo>
                      <a:pt x="220" y="727"/>
                      <a:pt x="220" y="727"/>
                      <a:pt x="220" y="727"/>
                    </a:cubicBezTo>
                    <a:cubicBezTo>
                      <a:pt x="218" y="726"/>
                      <a:pt x="216" y="725"/>
                      <a:pt x="215" y="724"/>
                    </a:cubicBezTo>
                    <a:cubicBezTo>
                      <a:pt x="216" y="721"/>
                      <a:pt x="216" y="721"/>
                      <a:pt x="216" y="721"/>
                    </a:cubicBezTo>
                    <a:cubicBezTo>
                      <a:pt x="215" y="721"/>
                      <a:pt x="215" y="721"/>
                      <a:pt x="215" y="721"/>
                    </a:cubicBezTo>
                    <a:cubicBezTo>
                      <a:pt x="214" y="723"/>
                      <a:pt x="214" y="723"/>
                      <a:pt x="214" y="723"/>
                    </a:cubicBezTo>
                    <a:cubicBezTo>
                      <a:pt x="212" y="723"/>
                      <a:pt x="210" y="722"/>
                      <a:pt x="209" y="721"/>
                    </a:cubicBezTo>
                    <a:cubicBezTo>
                      <a:pt x="210" y="718"/>
                      <a:pt x="210" y="718"/>
                      <a:pt x="210" y="718"/>
                    </a:cubicBezTo>
                    <a:cubicBezTo>
                      <a:pt x="210" y="718"/>
                      <a:pt x="210" y="718"/>
                      <a:pt x="210" y="718"/>
                    </a:cubicBezTo>
                    <a:cubicBezTo>
                      <a:pt x="208" y="720"/>
                      <a:pt x="208" y="720"/>
                      <a:pt x="208" y="720"/>
                    </a:cubicBezTo>
                    <a:cubicBezTo>
                      <a:pt x="207" y="719"/>
                      <a:pt x="205" y="719"/>
                      <a:pt x="204" y="718"/>
                    </a:cubicBezTo>
                    <a:cubicBezTo>
                      <a:pt x="206" y="713"/>
                      <a:pt x="206" y="713"/>
                      <a:pt x="206" y="713"/>
                    </a:cubicBezTo>
                    <a:cubicBezTo>
                      <a:pt x="206" y="713"/>
                      <a:pt x="206" y="713"/>
                      <a:pt x="206" y="713"/>
                    </a:cubicBezTo>
                    <a:cubicBezTo>
                      <a:pt x="210" y="706"/>
                      <a:pt x="210" y="706"/>
                      <a:pt x="210" y="706"/>
                    </a:cubicBezTo>
                    <a:cubicBezTo>
                      <a:pt x="209" y="706"/>
                      <a:pt x="209" y="706"/>
                      <a:pt x="209" y="706"/>
                    </a:cubicBezTo>
                    <a:cubicBezTo>
                      <a:pt x="205" y="712"/>
                      <a:pt x="205" y="712"/>
                      <a:pt x="205" y="712"/>
                    </a:cubicBezTo>
                    <a:cubicBezTo>
                      <a:pt x="205" y="712"/>
                      <a:pt x="205" y="712"/>
                      <a:pt x="205" y="712"/>
                    </a:cubicBezTo>
                    <a:cubicBezTo>
                      <a:pt x="202" y="717"/>
                      <a:pt x="202" y="717"/>
                      <a:pt x="202" y="717"/>
                    </a:cubicBezTo>
                    <a:cubicBezTo>
                      <a:pt x="200" y="716"/>
                      <a:pt x="199" y="715"/>
                      <a:pt x="197" y="714"/>
                    </a:cubicBezTo>
                    <a:cubicBezTo>
                      <a:pt x="199" y="712"/>
                      <a:pt x="199" y="712"/>
                      <a:pt x="199" y="712"/>
                    </a:cubicBezTo>
                    <a:cubicBezTo>
                      <a:pt x="198" y="711"/>
                      <a:pt x="198" y="711"/>
                      <a:pt x="198" y="711"/>
                    </a:cubicBezTo>
                    <a:cubicBezTo>
                      <a:pt x="197" y="714"/>
                      <a:pt x="197" y="714"/>
                      <a:pt x="197" y="714"/>
                    </a:cubicBezTo>
                    <a:cubicBezTo>
                      <a:pt x="195" y="713"/>
                      <a:pt x="193" y="712"/>
                      <a:pt x="192" y="711"/>
                    </a:cubicBezTo>
                    <a:cubicBezTo>
                      <a:pt x="193" y="708"/>
                      <a:pt x="193" y="708"/>
                      <a:pt x="193" y="708"/>
                    </a:cubicBezTo>
                    <a:cubicBezTo>
                      <a:pt x="193" y="708"/>
                      <a:pt x="193" y="708"/>
                      <a:pt x="193" y="708"/>
                    </a:cubicBezTo>
                    <a:cubicBezTo>
                      <a:pt x="191" y="710"/>
                      <a:pt x="191" y="710"/>
                      <a:pt x="191" y="710"/>
                    </a:cubicBezTo>
                    <a:cubicBezTo>
                      <a:pt x="190" y="709"/>
                      <a:pt x="188" y="708"/>
                      <a:pt x="186" y="707"/>
                    </a:cubicBezTo>
                    <a:cubicBezTo>
                      <a:pt x="188" y="705"/>
                      <a:pt x="188" y="705"/>
                      <a:pt x="188" y="705"/>
                    </a:cubicBezTo>
                    <a:cubicBezTo>
                      <a:pt x="187" y="704"/>
                      <a:pt x="187" y="704"/>
                      <a:pt x="187" y="704"/>
                    </a:cubicBezTo>
                    <a:cubicBezTo>
                      <a:pt x="186" y="707"/>
                      <a:pt x="186" y="707"/>
                      <a:pt x="186" y="707"/>
                    </a:cubicBezTo>
                    <a:cubicBezTo>
                      <a:pt x="184" y="706"/>
                      <a:pt x="182" y="705"/>
                      <a:pt x="181" y="704"/>
                    </a:cubicBezTo>
                    <a:cubicBezTo>
                      <a:pt x="182" y="701"/>
                      <a:pt x="182" y="701"/>
                      <a:pt x="182" y="701"/>
                    </a:cubicBezTo>
                    <a:cubicBezTo>
                      <a:pt x="182" y="701"/>
                      <a:pt x="182" y="701"/>
                      <a:pt x="182" y="701"/>
                    </a:cubicBezTo>
                    <a:cubicBezTo>
                      <a:pt x="180" y="703"/>
                      <a:pt x="180" y="703"/>
                      <a:pt x="180" y="703"/>
                    </a:cubicBezTo>
                    <a:cubicBezTo>
                      <a:pt x="179" y="702"/>
                      <a:pt x="177" y="701"/>
                      <a:pt x="175" y="700"/>
                    </a:cubicBezTo>
                    <a:cubicBezTo>
                      <a:pt x="177" y="697"/>
                      <a:pt x="177" y="697"/>
                      <a:pt x="177" y="697"/>
                    </a:cubicBezTo>
                    <a:cubicBezTo>
                      <a:pt x="176" y="697"/>
                      <a:pt x="176" y="697"/>
                      <a:pt x="176" y="697"/>
                    </a:cubicBezTo>
                    <a:cubicBezTo>
                      <a:pt x="175" y="699"/>
                      <a:pt x="175" y="699"/>
                      <a:pt x="175" y="699"/>
                    </a:cubicBezTo>
                    <a:cubicBezTo>
                      <a:pt x="173" y="698"/>
                      <a:pt x="172" y="697"/>
                      <a:pt x="170" y="696"/>
                    </a:cubicBezTo>
                    <a:cubicBezTo>
                      <a:pt x="172" y="694"/>
                      <a:pt x="172" y="694"/>
                      <a:pt x="172" y="694"/>
                    </a:cubicBezTo>
                    <a:cubicBezTo>
                      <a:pt x="171" y="693"/>
                      <a:pt x="171" y="693"/>
                      <a:pt x="171" y="693"/>
                    </a:cubicBezTo>
                    <a:cubicBezTo>
                      <a:pt x="169" y="696"/>
                      <a:pt x="169" y="696"/>
                      <a:pt x="169" y="696"/>
                    </a:cubicBezTo>
                    <a:cubicBezTo>
                      <a:pt x="168" y="694"/>
                      <a:pt x="166" y="693"/>
                      <a:pt x="165" y="692"/>
                    </a:cubicBezTo>
                    <a:cubicBezTo>
                      <a:pt x="167" y="690"/>
                      <a:pt x="167" y="690"/>
                      <a:pt x="167" y="690"/>
                    </a:cubicBezTo>
                    <a:cubicBezTo>
                      <a:pt x="166" y="689"/>
                      <a:pt x="166" y="689"/>
                      <a:pt x="166" y="689"/>
                    </a:cubicBezTo>
                    <a:cubicBezTo>
                      <a:pt x="164" y="692"/>
                      <a:pt x="164" y="692"/>
                      <a:pt x="164" y="692"/>
                    </a:cubicBezTo>
                    <a:cubicBezTo>
                      <a:pt x="163" y="690"/>
                      <a:pt x="161" y="689"/>
                      <a:pt x="160" y="688"/>
                    </a:cubicBezTo>
                    <a:cubicBezTo>
                      <a:pt x="161" y="686"/>
                      <a:pt x="161" y="686"/>
                      <a:pt x="161" y="686"/>
                    </a:cubicBezTo>
                    <a:cubicBezTo>
                      <a:pt x="161" y="685"/>
                      <a:pt x="161" y="685"/>
                      <a:pt x="161" y="685"/>
                    </a:cubicBezTo>
                    <a:cubicBezTo>
                      <a:pt x="159" y="688"/>
                      <a:pt x="159" y="688"/>
                      <a:pt x="159" y="688"/>
                    </a:cubicBezTo>
                    <a:cubicBezTo>
                      <a:pt x="157" y="686"/>
                      <a:pt x="156" y="685"/>
                      <a:pt x="154" y="684"/>
                    </a:cubicBezTo>
                    <a:cubicBezTo>
                      <a:pt x="156" y="682"/>
                      <a:pt x="156" y="682"/>
                      <a:pt x="156" y="682"/>
                    </a:cubicBezTo>
                    <a:cubicBezTo>
                      <a:pt x="156" y="681"/>
                      <a:pt x="156" y="681"/>
                      <a:pt x="156" y="681"/>
                    </a:cubicBezTo>
                    <a:cubicBezTo>
                      <a:pt x="154" y="683"/>
                      <a:pt x="154" y="683"/>
                      <a:pt x="154" y="683"/>
                    </a:cubicBezTo>
                    <a:cubicBezTo>
                      <a:pt x="153" y="682"/>
                      <a:pt x="151" y="681"/>
                      <a:pt x="150" y="680"/>
                    </a:cubicBezTo>
                    <a:cubicBezTo>
                      <a:pt x="153" y="676"/>
                      <a:pt x="153" y="676"/>
                      <a:pt x="153" y="676"/>
                    </a:cubicBezTo>
                    <a:cubicBezTo>
                      <a:pt x="153" y="676"/>
                      <a:pt x="153" y="676"/>
                      <a:pt x="153" y="676"/>
                    </a:cubicBezTo>
                    <a:cubicBezTo>
                      <a:pt x="158" y="670"/>
                      <a:pt x="158" y="670"/>
                      <a:pt x="158" y="670"/>
                    </a:cubicBezTo>
                    <a:cubicBezTo>
                      <a:pt x="157" y="669"/>
                      <a:pt x="157" y="669"/>
                      <a:pt x="157" y="669"/>
                    </a:cubicBezTo>
                    <a:cubicBezTo>
                      <a:pt x="152" y="675"/>
                      <a:pt x="152" y="675"/>
                      <a:pt x="152" y="675"/>
                    </a:cubicBezTo>
                    <a:cubicBezTo>
                      <a:pt x="152" y="675"/>
                      <a:pt x="152" y="675"/>
                      <a:pt x="152" y="675"/>
                    </a:cubicBezTo>
                    <a:cubicBezTo>
                      <a:pt x="148" y="679"/>
                      <a:pt x="148" y="679"/>
                      <a:pt x="148" y="679"/>
                    </a:cubicBezTo>
                    <a:cubicBezTo>
                      <a:pt x="147" y="678"/>
                      <a:pt x="146" y="677"/>
                      <a:pt x="144" y="676"/>
                    </a:cubicBezTo>
                    <a:cubicBezTo>
                      <a:pt x="146" y="673"/>
                      <a:pt x="146" y="673"/>
                      <a:pt x="146" y="673"/>
                    </a:cubicBezTo>
                    <a:cubicBezTo>
                      <a:pt x="146" y="673"/>
                      <a:pt x="146" y="673"/>
                      <a:pt x="146" y="673"/>
                    </a:cubicBezTo>
                    <a:cubicBezTo>
                      <a:pt x="144" y="675"/>
                      <a:pt x="144" y="675"/>
                      <a:pt x="144" y="675"/>
                    </a:cubicBezTo>
                    <a:cubicBezTo>
                      <a:pt x="142" y="674"/>
                      <a:pt x="141" y="672"/>
                      <a:pt x="139" y="671"/>
                    </a:cubicBezTo>
                    <a:cubicBezTo>
                      <a:pt x="141" y="669"/>
                      <a:pt x="141" y="669"/>
                      <a:pt x="141" y="669"/>
                    </a:cubicBezTo>
                    <a:cubicBezTo>
                      <a:pt x="141" y="669"/>
                      <a:pt x="141" y="669"/>
                      <a:pt x="141" y="669"/>
                    </a:cubicBezTo>
                    <a:cubicBezTo>
                      <a:pt x="139" y="671"/>
                      <a:pt x="139" y="671"/>
                      <a:pt x="139" y="671"/>
                    </a:cubicBezTo>
                    <a:cubicBezTo>
                      <a:pt x="137" y="669"/>
                      <a:pt x="136" y="668"/>
                      <a:pt x="135" y="667"/>
                    </a:cubicBezTo>
                    <a:cubicBezTo>
                      <a:pt x="137" y="665"/>
                      <a:pt x="137" y="665"/>
                      <a:pt x="137" y="665"/>
                    </a:cubicBezTo>
                    <a:cubicBezTo>
                      <a:pt x="136" y="664"/>
                      <a:pt x="136" y="664"/>
                      <a:pt x="136" y="664"/>
                    </a:cubicBezTo>
                    <a:cubicBezTo>
                      <a:pt x="134" y="666"/>
                      <a:pt x="134" y="666"/>
                      <a:pt x="134" y="666"/>
                    </a:cubicBezTo>
                    <a:cubicBezTo>
                      <a:pt x="133" y="665"/>
                      <a:pt x="131" y="664"/>
                      <a:pt x="130" y="662"/>
                    </a:cubicBezTo>
                    <a:cubicBezTo>
                      <a:pt x="132" y="660"/>
                      <a:pt x="132" y="660"/>
                      <a:pt x="132" y="660"/>
                    </a:cubicBezTo>
                    <a:cubicBezTo>
                      <a:pt x="131" y="660"/>
                      <a:pt x="131" y="660"/>
                      <a:pt x="131" y="660"/>
                    </a:cubicBezTo>
                    <a:cubicBezTo>
                      <a:pt x="129" y="662"/>
                      <a:pt x="129" y="662"/>
                      <a:pt x="129" y="662"/>
                    </a:cubicBezTo>
                    <a:cubicBezTo>
                      <a:pt x="128" y="660"/>
                      <a:pt x="127" y="659"/>
                      <a:pt x="125" y="658"/>
                    </a:cubicBezTo>
                    <a:cubicBezTo>
                      <a:pt x="127" y="656"/>
                      <a:pt x="127" y="656"/>
                      <a:pt x="127" y="656"/>
                    </a:cubicBezTo>
                    <a:cubicBezTo>
                      <a:pt x="127" y="655"/>
                      <a:pt x="127" y="655"/>
                      <a:pt x="127" y="655"/>
                    </a:cubicBezTo>
                    <a:cubicBezTo>
                      <a:pt x="125" y="657"/>
                      <a:pt x="125" y="657"/>
                      <a:pt x="125" y="657"/>
                    </a:cubicBezTo>
                    <a:cubicBezTo>
                      <a:pt x="123" y="656"/>
                      <a:pt x="122" y="654"/>
                      <a:pt x="121" y="653"/>
                    </a:cubicBezTo>
                    <a:cubicBezTo>
                      <a:pt x="123" y="651"/>
                      <a:pt x="123" y="651"/>
                      <a:pt x="123" y="651"/>
                    </a:cubicBezTo>
                    <a:cubicBezTo>
                      <a:pt x="122" y="650"/>
                      <a:pt x="122" y="650"/>
                      <a:pt x="122" y="650"/>
                    </a:cubicBezTo>
                    <a:cubicBezTo>
                      <a:pt x="120" y="652"/>
                      <a:pt x="120" y="652"/>
                      <a:pt x="120" y="652"/>
                    </a:cubicBezTo>
                    <a:cubicBezTo>
                      <a:pt x="119" y="651"/>
                      <a:pt x="117" y="650"/>
                      <a:pt x="116" y="648"/>
                    </a:cubicBezTo>
                    <a:cubicBezTo>
                      <a:pt x="118" y="646"/>
                      <a:pt x="118" y="646"/>
                      <a:pt x="118" y="646"/>
                    </a:cubicBezTo>
                    <a:cubicBezTo>
                      <a:pt x="118" y="646"/>
                      <a:pt x="118" y="646"/>
                      <a:pt x="118" y="646"/>
                    </a:cubicBezTo>
                    <a:cubicBezTo>
                      <a:pt x="116" y="648"/>
                      <a:pt x="116" y="648"/>
                      <a:pt x="116" y="648"/>
                    </a:cubicBezTo>
                    <a:cubicBezTo>
                      <a:pt x="114" y="646"/>
                      <a:pt x="113" y="645"/>
                      <a:pt x="112" y="643"/>
                    </a:cubicBezTo>
                    <a:cubicBezTo>
                      <a:pt x="114" y="641"/>
                      <a:pt x="114" y="641"/>
                      <a:pt x="114" y="641"/>
                    </a:cubicBezTo>
                    <a:cubicBezTo>
                      <a:pt x="113" y="641"/>
                      <a:pt x="113" y="641"/>
                      <a:pt x="113" y="641"/>
                    </a:cubicBezTo>
                    <a:cubicBezTo>
                      <a:pt x="111" y="643"/>
                      <a:pt x="111" y="643"/>
                      <a:pt x="111" y="643"/>
                    </a:cubicBezTo>
                    <a:cubicBezTo>
                      <a:pt x="110" y="641"/>
                      <a:pt x="109" y="640"/>
                      <a:pt x="107" y="638"/>
                    </a:cubicBezTo>
                    <a:cubicBezTo>
                      <a:pt x="109" y="637"/>
                      <a:pt x="109" y="637"/>
                      <a:pt x="109" y="637"/>
                    </a:cubicBezTo>
                    <a:cubicBezTo>
                      <a:pt x="109" y="636"/>
                      <a:pt x="109" y="636"/>
                      <a:pt x="109" y="636"/>
                    </a:cubicBezTo>
                    <a:cubicBezTo>
                      <a:pt x="107" y="638"/>
                      <a:pt x="107" y="638"/>
                      <a:pt x="107" y="638"/>
                    </a:cubicBezTo>
                    <a:cubicBezTo>
                      <a:pt x="106" y="637"/>
                      <a:pt x="104" y="635"/>
                      <a:pt x="103" y="634"/>
                    </a:cubicBezTo>
                    <a:cubicBezTo>
                      <a:pt x="107" y="630"/>
                      <a:pt x="107" y="630"/>
                      <a:pt x="107" y="630"/>
                    </a:cubicBezTo>
                    <a:cubicBezTo>
                      <a:pt x="107" y="630"/>
                      <a:pt x="107" y="630"/>
                      <a:pt x="107" y="630"/>
                    </a:cubicBezTo>
                    <a:cubicBezTo>
                      <a:pt x="113" y="625"/>
                      <a:pt x="113" y="625"/>
                      <a:pt x="113" y="625"/>
                    </a:cubicBezTo>
                    <a:cubicBezTo>
                      <a:pt x="113" y="624"/>
                      <a:pt x="113" y="624"/>
                      <a:pt x="113" y="624"/>
                    </a:cubicBezTo>
                    <a:cubicBezTo>
                      <a:pt x="107" y="629"/>
                      <a:pt x="107" y="629"/>
                      <a:pt x="107" y="629"/>
                    </a:cubicBezTo>
                    <a:cubicBezTo>
                      <a:pt x="106" y="629"/>
                      <a:pt x="106" y="629"/>
                      <a:pt x="106" y="629"/>
                    </a:cubicBezTo>
                    <a:cubicBezTo>
                      <a:pt x="102" y="632"/>
                      <a:pt x="102" y="632"/>
                      <a:pt x="102" y="632"/>
                    </a:cubicBezTo>
                    <a:cubicBezTo>
                      <a:pt x="101" y="631"/>
                      <a:pt x="100" y="630"/>
                      <a:pt x="99" y="628"/>
                    </a:cubicBezTo>
                    <a:cubicBezTo>
                      <a:pt x="101" y="627"/>
                      <a:pt x="101" y="627"/>
                      <a:pt x="101" y="627"/>
                    </a:cubicBezTo>
                    <a:cubicBezTo>
                      <a:pt x="101" y="626"/>
                      <a:pt x="101" y="626"/>
                      <a:pt x="101" y="626"/>
                    </a:cubicBezTo>
                    <a:cubicBezTo>
                      <a:pt x="98" y="628"/>
                      <a:pt x="98" y="628"/>
                      <a:pt x="98" y="628"/>
                    </a:cubicBezTo>
                    <a:cubicBezTo>
                      <a:pt x="97" y="626"/>
                      <a:pt x="96" y="625"/>
                      <a:pt x="95" y="623"/>
                    </a:cubicBezTo>
                    <a:cubicBezTo>
                      <a:pt x="97" y="622"/>
                      <a:pt x="97" y="622"/>
                      <a:pt x="97" y="622"/>
                    </a:cubicBezTo>
                    <a:cubicBezTo>
                      <a:pt x="96" y="621"/>
                      <a:pt x="96" y="621"/>
                      <a:pt x="96" y="621"/>
                    </a:cubicBezTo>
                    <a:cubicBezTo>
                      <a:pt x="94" y="623"/>
                      <a:pt x="94" y="623"/>
                      <a:pt x="94" y="623"/>
                    </a:cubicBezTo>
                    <a:cubicBezTo>
                      <a:pt x="93" y="621"/>
                      <a:pt x="92" y="620"/>
                      <a:pt x="91" y="618"/>
                    </a:cubicBezTo>
                    <a:cubicBezTo>
                      <a:pt x="93" y="616"/>
                      <a:pt x="93" y="616"/>
                      <a:pt x="93" y="616"/>
                    </a:cubicBezTo>
                    <a:cubicBezTo>
                      <a:pt x="93" y="616"/>
                      <a:pt x="93" y="616"/>
                      <a:pt x="93" y="616"/>
                    </a:cubicBezTo>
                    <a:cubicBezTo>
                      <a:pt x="90" y="617"/>
                      <a:pt x="90" y="617"/>
                      <a:pt x="90" y="617"/>
                    </a:cubicBezTo>
                    <a:cubicBezTo>
                      <a:pt x="89" y="616"/>
                      <a:pt x="88" y="614"/>
                      <a:pt x="87" y="613"/>
                    </a:cubicBezTo>
                    <a:cubicBezTo>
                      <a:pt x="89" y="611"/>
                      <a:pt x="89" y="611"/>
                      <a:pt x="89" y="611"/>
                    </a:cubicBezTo>
                    <a:cubicBezTo>
                      <a:pt x="89" y="610"/>
                      <a:pt x="89" y="610"/>
                      <a:pt x="89" y="610"/>
                    </a:cubicBezTo>
                    <a:cubicBezTo>
                      <a:pt x="86" y="612"/>
                      <a:pt x="86" y="612"/>
                      <a:pt x="86" y="612"/>
                    </a:cubicBezTo>
                    <a:cubicBezTo>
                      <a:pt x="85" y="611"/>
                      <a:pt x="84" y="609"/>
                      <a:pt x="83" y="607"/>
                    </a:cubicBezTo>
                    <a:cubicBezTo>
                      <a:pt x="85" y="606"/>
                      <a:pt x="85" y="606"/>
                      <a:pt x="85" y="606"/>
                    </a:cubicBezTo>
                    <a:cubicBezTo>
                      <a:pt x="85" y="605"/>
                      <a:pt x="85" y="605"/>
                      <a:pt x="85" y="605"/>
                    </a:cubicBezTo>
                    <a:cubicBezTo>
                      <a:pt x="83" y="607"/>
                      <a:pt x="83" y="607"/>
                      <a:pt x="83" y="607"/>
                    </a:cubicBezTo>
                    <a:cubicBezTo>
                      <a:pt x="81" y="605"/>
                      <a:pt x="80" y="604"/>
                      <a:pt x="79" y="602"/>
                    </a:cubicBezTo>
                    <a:cubicBezTo>
                      <a:pt x="82" y="600"/>
                      <a:pt x="82" y="600"/>
                      <a:pt x="82" y="600"/>
                    </a:cubicBezTo>
                    <a:cubicBezTo>
                      <a:pt x="81" y="600"/>
                      <a:pt x="81" y="600"/>
                      <a:pt x="81" y="600"/>
                    </a:cubicBezTo>
                    <a:cubicBezTo>
                      <a:pt x="79" y="601"/>
                      <a:pt x="79" y="601"/>
                      <a:pt x="79" y="601"/>
                    </a:cubicBezTo>
                    <a:cubicBezTo>
                      <a:pt x="78" y="600"/>
                      <a:pt x="77" y="598"/>
                      <a:pt x="76" y="597"/>
                    </a:cubicBezTo>
                    <a:cubicBezTo>
                      <a:pt x="78" y="595"/>
                      <a:pt x="78" y="595"/>
                      <a:pt x="78" y="595"/>
                    </a:cubicBezTo>
                    <a:cubicBezTo>
                      <a:pt x="78" y="594"/>
                      <a:pt x="78" y="594"/>
                      <a:pt x="78" y="594"/>
                    </a:cubicBezTo>
                    <a:cubicBezTo>
                      <a:pt x="75" y="596"/>
                      <a:pt x="75" y="596"/>
                      <a:pt x="75" y="596"/>
                    </a:cubicBezTo>
                    <a:cubicBezTo>
                      <a:pt x="74" y="594"/>
                      <a:pt x="73" y="593"/>
                      <a:pt x="72" y="591"/>
                    </a:cubicBezTo>
                    <a:cubicBezTo>
                      <a:pt x="75" y="590"/>
                      <a:pt x="75" y="590"/>
                      <a:pt x="75" y="590"/>
                    </a:cubicBezTo>
                    <a:cubicBezTo>
                      <a:pt x="74" y="589"/>
                      <a:pt x="74" y="589"/>
                      <a:pt x="74" y="589"/>
                    </a:cubicBezTo>
                    <a:cubicBezTo>
                      <a:pt x="72" y="590"/>
                      <a:pt x="72" y="590"/>
                      <a:pt x="72" y="590"/>
                    </a:cubicBezTo>
                    <a:cubicBezTo>
                      <a:pt x="71" y="589"/>
                      <a:pt x="70" y="587"/>
                      <a:pt x="69" y="585"/>
                    </a:cubicBezTo>
                    <a:cubicBezTo>
                      <a:pt x="71" y="584"/>
                      <a:pt x="71" y="584"/>
                      <a:pt x="71" y="584"/>
                    </a:cubicBezTo>
                    <a:cubicBezTo>
                      <a:pt x="71" y="583"/>
                      <a:pt x="71" y="583"/>
                      <a:pt x="71" y="583"/>
                    </a:cubicBezTo>
                    <a:cubicBezTo>
                      <a:pt x="68" y="585"/>
                      <a:pt x="68" y="585"/>
                      <a:pt x="68" y="585"/>
                    </a:cubicBezTo>
                    <a:cubicBezTo>
                      <a:pt x="67" y="583"/>
                      <a:pt x="66" y="582"/>
                      <a:pt x="66" y="580"/>
                    </a:cubicBezTo>
                    <a:cubicBezTo>
                      <a:pt x="70" y="578"/>
                      <a:pt x="70" y="578"/>
                      <a:pt x="70" y="578"/>
                    </a:cubicBezTo>
                    <a:cubicBezTo>
                      <a:pt x="70" y="577"/>
                      <a:pt x="70" y="577"/>
                      <a:pt x="70" y="577"/>
                    </a:cubicBezTo>
                    <a:cubicBezTo>
                      <a:pt x="77" y="573"/>
                      <a:pt x="77" y="573"/>
                      <a:pt x="77" y="573"/>
                    </a:cubicBezTo>
                    <a:cubicBezTo>
                      <a:pt x="76" y="573"/>
                      <a:pt x="76" y="573"/>
                      <a:pt x="76" y="573"/>
                    </a:cubicBezTo>
                    <a:cubicBezTo>
                      <a:pt x="70" y="576"/>
                      <a:pt x="70" y="576"/>
                      <a:pt x="70" y="576"/>
                    </a:cubicBezTo>
                    <a:cubicBezTo>
                      <a:pt x="69" y="576"/>
                      <a:pt x="69" y="576"/>
                      <a:pt x="69" y="576"/>
                    </a:cubicBezTo>
                    <a:cubicBezTo>
                      <a:pt x="65" y="579"/>
                      <a:pt x="65" y="579"/>
                      <a:pt x="65" y="579"/>
                    </a:cubicBezTo>
                    <a:cubicBezTo>
                      <a:pt x="64" y="577"/>
                      <a:pt x="63" y="576"/>
                      <a:pt x="62" y="574"/>
                    </a:cubicBezTo>
                    <a:cubicBezTo>
                      <a:pt x="65" y="573"/>
                      <a:pt x="65" y="573"/>
                      <a:pt x="65" y="573"/>
                    </a:cubicBezTo>
                    <a:cubicBezTo>
                      <a:pt x="64" y="572"/>
                      <a:pt x="64" y="572"/>
                      <a:pt x="64" y="572"/>
                    </a:cubicBezTo>
                    <a:cubicBezTo>
                      <a:pt x="62" y="573"/>
                      <a:pt x="62" y="573"/>
                      <a:pt x="62" y="573"/>
                    </a:cubicBezTo>
                    <a:cubicBezTo>
                      <a:pt x="61" y="572"/>
                      <a:pt x="60" y="570"/>
                      <a:pt x="59" y="568"/>
                    </a:cubicBezTo>
                    <a:cubicBezTo>
                      <a:pt x="61" y="567"/>
                      <a:pt x="61" y="567"/>
                      <a:pt x="61" y="567"/>
                    </a:cubicBezTo>
                    <a:cubicBezTo>
                      <a:pt x="61" y="566"/>
                      <a:pt x="61" y="566"/>
                      <a:pt x="61" y="566"/>
                    </a:cubicBezTo>
                    <a:cubicBezTo>
                      <a:pt x="59" y="568"/>
                      <a:pt x="59" y="568"/>
                      <a:pt x="59" y="568"/>
                    </a:cubicBezTo>
                    <a:cubicBezTo>
                      <a:pt x="58" y="566"/>
                      <a:pt x="57" y="564"/>
                      <a:pt x="56" y="562"/>
                    </a:cubicBezTo>
                    <a:cubicBezTo>
                      <a:pt x="58" y="561"/>
                      <a:pt x="58" y="561"/>
                      <a:pt x="58" y="561"/>
                    </a:cubicBezTo>
                    <a:cubicBezTo>
                      <a:pt x="58" y="560"/>
                      <a:pt x="58" y="560"/>
                      <a:pt x="58" y="560"/>
                    </a:cubicBezTo>
                    <a:cubicBezTo>
                      <a:pt x="55" y="562"/>
                      <a:pt x="55" y="562"/>
                      <a:pt x="55" y="562"/>
                    </a:cubicBezTo>
                    <a:cubicBezTo>
                      <a:pt x="55" y="560"/>
                      <a:pt x="54" y="558"/>
                      <a:pt x="53" y="557"/>
                    </a:cubicBezTo>
                    <a:cubicBezTo>
                      <a:pt x="56" y="555"/>
                      <a:pt x="56" y="555"/>
                      <a:pt x="56" y="555"/>
                    </a:cubicBezTo>
                    <a:cubicBezTo>
                      <a:pt x="55" y="555"/>
                      <a:pt x="55" y="555"/>
                      <a:pt x="55" y="555"/>
                    </a:cubicBezTo>
                    <a:cubicBezTo>
                      <a:pt x="53" y="556"/>
                      <a:pt x="53" y="556"/>
                      <a:pt x="53" y="556"/>
                    </a:cubicBezTo>
                    <a:cubicBezTo>
                      <a:pt x="52" y="554"/>
                      <a:pt x="51" y="552"/>
                      <a:pt x="50" y="551"/>
                    </a:cubicBezTo>
                    <a:cubicBezTo>
                      <a:pt x="53" y="549"/>
                      <a:pt x="53" y="549"/>
                      <a:pt x="53" y="549"/>
                    </a:cubicBezTo>
                    <a:cubicBezTo>
                      <a:pt x="52" y="549"/>
                      <a:pt x="52" y="549"/>
                      <a:pt x="52" y="549"/>
                    </a:cubicBezTo>
                    <a:cubicBezTo>
                      <a:pt x="50" y="550"/>
                      <a:pt x="50" y="550"/>
                      <a:pt x="50" y="550"/>
                    </a:cubicBezTo>
                    <a:cubicBezTo>
                      <a:pt x="49" y="548"/>
                      <a:pt x="48" y="546"/>
                      <a:pt x="47" y="545"/>
                    </a:cubicBezTo>
                    <a:cubicBezTo>
                      <a:pt x="50" y="544"/>
                      <a:pt x="50" y="544"/>
                      <a:pt x="50" y="544"/>
                    </a:cubicBezTo>
                    <a:cubicBezTo>
                      <a:pt x="50" y="543"/>
                      <a:pt x="50" y="543"/>
                      <a:pt x="50" y="543"/>
                    </a:cubicBezTo>
                    <a:cubicBezTo>
                      <a:pt x="47" y="544"/>
                      <a:pt x="47" y="544"/>
                      <a:pt x="47" y="544"/>
                    </a:cubicBezTo>
                    <a:cubicBezTo>
                      <a:pt x="46" y="542"/>
                      <a:pt x="45" y="540"/>
                      <a:pt x="45" y="539"/>
                    </a:cubicBezTo>
                    <a:cubicBezTo>
                      <a:pt x="47" y="538"/>
                      <a:pt x="47" y="538"/>
                      <a:pt x="47" y="538"/>
                    </a:cubicBezTo>
                    <a:cubicBezTo>
                      <a:pt x="47" y="537"/>
                      <a:pt x="47" y="537"/>
                      <a:pt x="47" y="537"/>
                    </a:cubicBezTo>
                    <a:cubicBezTo>
                      <a:pt x="44" y="538"/>
                      <a:pt x="44" y="538"/>
                      <a:pt x="44" y="538"/>
                    </a:cubicBezTo>
                    <a:cubicBezTo>
                      <a:pt x="44" y="536"/>
                      <a:pt x="43" y="534"/>
                      <a:pt x="42" y="533"/>
                    </a:cubicBezTo>
                    <a:cubicBezTo>
                      <a:pt x="45" y="532"/>
                      <a:pt x="45" y="532"/>
                      <a:pt x="45" y="532"/>
                    </a:cubicBezTo>
                    <a:cubicBezTo>
                      <a:pt x="45" y="531"/>
                      <a:pt x="45" y="531"/>
                      <a:pt x="45" y="531"/>
                    </a:cubicBezTo>
                    <a:cubicBezTo>
                      <a:pt x="42" y="532"/>
                      <a:pt x="42" y="532"/>
                      <a:pt x="42" y="532"/>
                    </a:cubicBezTo>
                    <a:cubicBezTo>
                      <a:pt x="41" y="530"/>
                      <a:pt x="40" y="528"/>
                      <a:pt x="40" y="527"/>
                    </a:cubicBezTo>
                    <a:cubicBezTo>
                      <a:pt x="43" y="525"/>
                      <a:pt x="43" y="525"/>
                      <a:pt x="43" y="525"/>
                    </a:cubicBezTo>
                    <a:cubicBezTo>
                      <a:pt x="42" y="525"/>
                      <a:pt x="42" y="525"/>
                      <a:pt x="42" y="525"/>
                    </a:cubicBezTo>
                    <a:cubicBezTo>
                      <a:pt x="39" y="526"/>
                      <a:pt x="39" y="526"/>
                      <a:pt x="39" y="526"/>
                    </a:cubicBezTo>
                    <a:cubicBezTo>
                      <a:pt x="39" y="524"/>
                      <a:pt x="38" y="523"/>
                      <a:pt x="38" y="521"/>
                    </a:cubicBezTo>
                    <a:cubicBezTo>
                      <a:pt x="43" y="519"/>
                      <a:pt x="43" y="519"/>
                      <a:pt x="43" y="519"/>
                    </a:cubicBezTo>
                    <a:cubicBezTo>
                      <a:pt x="43" y="518"/>
                      <a:pt x="43" y="518"/>
                      <a:pt x="43" y="518"/>
                    </a:cubicBezTo>
                    <a:cubicBezTo>
                      <a:pt x="50" y="516"/>
                      <a:pt x="50" y="516"/>
                      <a:pt x="50" y="516"/>
                    </a:cubicBezTo>
                    <a:cubicBezTo>
                      <a:pt x="50" y="515"/>
                      <a:pt x="50" y="515"/>
                      <a:pt x="50" y="515"/>
                    </a:cubicBezTo>
                    <a:cubicBezTo>
                      <a:pt x="42" y="518"/>
                      <a:pt x="42" y="518"/>
                      <a:pt x="42" y="518"/>
                    </a:cubicBezTo>
                    <a:cubicBezTo>
                      <a:pt x="42" y="517"/>
                      <a:pt x="42" y="517"/>
                      <a:pt x="42" y="517"/>
                    </a:cubicBezTo>
                    <a:cubicBezTo>
                      <a:pt x="37" y="519"/>
                      <a:pt x="37" y="519"/>
                      <a:pt x="37" y="519"/>
                    </a:cubicBezTo>
                    <a:cubicBezTo>
                      <a:pt x="36" y="518"/>
                      <a:pt x="36" y="516"/>
                      <a:pt x="35" y="514"/>
                    </a:cubicBezTo>
                    <a:cubicBezTo>
                      <a:pt x="38" y="513"/>
                      <a:pt x="38" y="513"/>
                      <a:pt x="38" y="513"/>
                    </a:cubicBezTo>
                    <a:cubicBezTo>
                      <a:pt x="38" y="512"/>
                      <a:pt x="38" y="512"/>
                      <a:pt x="38" y="512"/>
                    </a:cubicBezTo>
                    <a:cubicBezTo>
                      <a:pt x="35" y="513"/>
                      <a:pt x="35" y="513"/>
                      <a:pt x="35" y="513"/>
                    </a:cubicBezTo>
                    <a:cubicBezTo>
                      <a:pt x="34" y="512"/>
                      <a:pt x="34" y="510"/>
                      <a:pt x="33" y="508"/>
                    </a:cubicBezTo>
                    <a:cubicBezTo>
                      <a:pt x="36" y="507"/>
                      <a:pt x="36" y="507"/>
                      <a:pt x="36" y="507"/>
                    </a:cubicBezTo>
                    <a:cubicBezTo>
                      <a:pt x="36" y="506"/>
                      <a:pt x="36" y="506"/>
                      <a:pt x="36" y="506"/>
                    </a:cubicBezTo>
                    <a:cubicBezTo>
                      <a:pt x="33" y="507"/>
                      <a:pt x="33" y="507"/>
                      <a:pt x="33" y="507"/>
                    </a:cubicBezTo>
                    <a:cubicBezTo>
                      <a:pt x="32" y="505"/>
                      <a:pt x="32" y="504"/>
                      <a:pt x="31" y="502"/>
                    </a:cubicBezTo>
                    <a:cubicBezTo>
                      <a:pt x="34" y="501"/>
                      <a:pt x="34" y="501"/>
                      <a:pt x="34" y="501"/>
                    </a:cubicBezTo>
                    <a:cubicBezTo>
                      <a:pt x="34" y="500"/>
                      <a:pt x="34" y="500"/>
                      <a:pt x="34" y="500"/>
                    </a:cubicBezTo>
                    <a:cubicBezTo>
                      <a:pt x="31" y="501"/>
                      <a:pt x="31" y="501"/>
                      <a:pt x="31" y="501"/>
                    </a:cubicBezTo>
                    <a:cubicBezTo>
                      <a:pt x="30" y="499"/>
                      <a:pt x="30" y="497"/>
                      <a:pt x="29" y="495"/>
                    </a:cubicBezTo>
                    <a:cubicBezTo>
                      <a:pt x="32" y="495"/>
                      <a:pt x="32" y="495"/>
                      <a:pt x="32" y="495"/>
                    </a:cubicBezTo>
                    <a:cubicBezTo>
                      <a:pt x="32" y="494"/>
                      <a:pt x="32" y="494"/>
                      <a:pt x="32" y="494"/>
                    </a:cubicBezTo>
                    <a:cubicBezTo>
                      <a:pt x="29" y="495"/>
                      <a:pt x="29" y="495"/>
                      <a:pt x="29" y="495"/>
                    </a:cubicBezTo>
                    <a:cubicBezTo>
                      <a:pt x="28" y="493"/>
                      <a:pt x="28" y="491"/>
                      <a:pt x="28" y="489"/>
                    </a:cubicBezTo>
                    <a:cubicBezTo>
                      <a:pt x="30" y="488"/>
                      <a:pt x="30" y="488"/>
                      <a:pt x="30" y="488"/>
                    </a:cubicBezTo>
                    <a:cubicBezTo>
                      <a:pt x="30" y="488"/>
                      <a:pt x="30" y="488"/>
                      <a:pt x="30" y="488"/>
                    </a:cubicBezTo>
                    <a:cubicBezTo>
                      <a:pt x="27" y="488"/>
                      <a:pt x="27" y="488"/>
                      <a:pt x="27" y="488"/>
                    </a:cubicBezTo>
                    <a:cubicBezTo>
                      <a:pt x="27" y="486"/>
                      <a:pt x="26" y="485"/>
                      <a:pt x="26" y="483"/>
                    </a:cubicBezTo>
                    <a:cubicBezTo>
                      <a:pt x="29" y="482"/>
                      <a:pt x="29" y="482"/>
                      <a:pt x="29" y="482"/>
                    </a:cubicBezTo>
                    <a:cubicBezTo>
                      <a:pt x="29" y="481"/>
                      <a:pt x="29" y="481"/>
                      <a:pt x="29" y="481"/>
                    </a:cubicBezTo>
                    <a:cubicBezTo>
                      <a:pt x="26" y="482"/>
                      <a:pt x="26" y="482"/>
                      <a:pt x="26" y="482"/>
                    </a:cubicBezTo>
                    <a:cubicBezTo>
                      <a:pt x="25" y="480"/>
                      <a:pt x="25" y="478"/>
                      <a:pt x="24" y="476"/>
                    </a:cubicBezTo>
                    <a:cubicBezTo>
                      <a:pt x="27" y="476"/>
                      <a:pt x="27" y="476"/>
                      <a:pt x="27" y="476"/>
                    </a:cubicBezTo>
                    <a:cubicBezTo>
                      <a:pt x="27" y="475"/>
                      <a:pt x="27" y="475"/>
                      <a:pt x="27" y="475"/>
                    </a:cubicBezTo>
                    <a:cubicBezTo>
                      <a:pt x="24" y="476"/>
                      <a:pt x="24" y="476"/>
                      <a:pt x="24" y="476"/>
                    </a:cubicBezTo>
                    <a:cubicBezTo>
                      <a:pt x="24" y="474"/>
                      <a:pt x="23" y="472"/>
                      <a:pt x="23" y="470"/>
                    </a:cubicBezTo>
                    <a:cubicBezTo>
                      <a:pt x="26" y="469"/>
                      <a:pt x="26" y="469"/>
                      <a:pt x="26" y="469"/>
                    </a:cubicBezTo>
                    <a:cubicBezTo>
                      <a:pt x="26" y="468"/>
                      <a:pt x="26" y="468"/>
                      <a:pt x="26" y="468"/>
                    </a:cubicBezTo>
                    <a:cubicBezTo>
                      <a:pt x="23" y="469"/>
                      <a:pt x="23" y="469"/>
                      <a:pt x="23" y="469"/>
                    </a:cubicBezTo>
                    <a:cubicBezTo>
                      <a:pt x="22" y="467"/>
                      <a:pt x="22" y="465"/>
                      <a:pt x="22" y="463"/>
                    </a:cubicBezTo>
                    <a:cubicBezTo>
                      <a:pt x="25" y="463"/>
                      <a:pt x="25" y="463"/>
                      <a:pt x="25" y="463"/>
                    </a:cubicBezTo>
                    <a:cubicBezTo>
                      <a:pt x="24" y="462"/>
                      <a:pt x="24" y="462"/>
                      <a:pt x="24" y="462"/>
                    </a:cubicBezTo>
                    <a:cubicBezTo>
                      <a:pt x="21" y="463"/>
                      <a:pt x="21" y="463"/>
                      <a:pt x="21" y="463"/>
                    </a:cubicBezTo>
                    <a:cubicBezTo>
                      <a:pt x="21" y="461"/>
                      <a:pt x="21" y="459"/>
                      <a:pt x="20" y="457"/>
                    </a:cubicBezTo>
                    <a:cubicBezTo>
                      <a:pt x="26" y="457"/>
                      <a:pt x="26" y="457"/>
                      <a:pt x="26" y="457"/>
                    </a:cubicBezTo>
                    <a:cubicBezTo>
                      <a:pt x="26" y="456"/>
                      <a:pt x="26" y="456"/>
                      <a:pt x="26" y="456"/>
                    </a:cubicBezTo>
                    <a:cubicBezTo>
                      <a:pt x="33" y="455"/>
                      <a:pt x="33" y="455"/>
                      <a:pt x="33" y="455"/>
                    </a:cubicBezTo>
                    <a:cubicBezTo>
                      <a:pt x="33" y="454"/>
                      <a:pt x="33" y="454"/>
                      <a:pt x="33" y="454"/>
                    </a:cubicBezTo>
                    <a:cubicBezTo>
                      <a:pt x="26" y="455"/>
                      <a:pt x="26" y="455"/>
                      <a:pt x="26" y="455"/>
                    </a:cubicBezTo>
                    <a:cubicBezTo>
                      <a:pt x="26" y="455"/>
                      <a:pt x="26" y="455"/>
                      <a:pt x="26" y="455"/>
                    </a:cubicBezTo>
                    <a:cubicBezTo>
                      <a:pt x="20" y="456"/>
                      <a:pt x="20" y="456"/>
                      <a:pt x="20" y="456"/>
                    </a:cubicBezTo>
                    <a:cubicBezTo>
                      <a:pt x="20" y="454"/>
                      <a:pt x="20" y="452"/>
                      <a:pt x="19" y="450"/>
                    </a:cubicBezTo>
                    <a:cubicBezTo>
                      <a:pt x="22" y="450"/>
                      <a:pt x="22" y="450"/>
                      <a:pt x="22" y="450"/>
                    </a:cubicBezTo>
                    <a:cubicBezTo>
                      <a:pt x="22" y="449"/>
                      <a:pt x="22" y="449"/>
                      <a:pt x="22" y="449"/>
                    </a:cubicBezTo>
                    <a:cubicBezTo>
                      <a:pt x="19" y="450"/>
                      <a:pt x="19" y="450"/>
                      <a:pt x="19" y="450"/>
                    </a:cubicBezTo>
                    <a:cubicBezTo>
                      <a:pt x="19" y="448"/>
                      <a:pt x="19" y="446"/>
                      <a:pt x="18" y="444"/>
                    </a:cubicBezTo>
                    <a:cubicBezTo>
                      <a:pt x="21" y="444"/>
                      <a:pt x="21" y="444"/>
                      <a:pt x="21" y="444"/>
                    </a:cubicBezTo>
                    <a:cubicBezTo>
                      <a:pt x="21" y="443"/>
                      <a:pt x="21" y="443"/>
                      <a:pt x="21" y="443"/>
                    </a:cubicBezTo>
                    <a:cubicBezTo>
                      <a:pt x="18" y="443"/>
                      <a:pt x="18" y="443"/>
                      <a:pt x="18" y="443"/>
                    </a:cubicBezTo>
                    <a:cubicBezTo>
                      <a:pt x="18" y="441"/>
                      <a:pt x="18" y="439"/>
                      <a:pt x="17" y="437"/>
                    </a:cubicBezTo>
                    <a:cubicBezTo>
                      <a:pt x="20" y="437"/>
                      <a:pt x="20" y="437"/>
                      <a:pt x="20" y="437"/>
                    </a:cubicBezTo>
                    <a:cubicBezTo>
                      <a:pt x="20" y="436"/>
                      <a:pt x="20" y="436"/>
                      <a:pt x="20" y="436"/>
                    </a:cubicBezTo>
                    <a:cubicBezTo>
                      <a:pt x="17" y="437"/>
                      <a:pt x="17" y="437"/>
                      <a:pt x="17" y="437"/>
                    </a:cubicBezTo>
                    <a:cubicBezTo>
                      <a:pt x="17" y="435"/>
                      <a:pt x="17" y="433"/>
                      <a:pt x="17" y="431"/>
                    </a:cubicBezTo>
                    <a:cubicBezTo>
                      <a:pt x="20" y="431"/>
                      <a:pt x="20" y="431"/>
                      <a:pt x="20" y="431"/>
                    </a:cubicBezTo>
                    <a:cubicBezTo>
                      <a:pt x="20" y="430"/>
                      <a:pt x="20" y="430"/>
                      <a:pt x="20" y="430"/>
                    </a:cubicBezTo>
                    <a:cubicBezTo>
                      <a:pt x="17" y="430"/>
                      <a:pt x="17" y="430"/>
                      <a:pt x="17" y="430"/>
                    </a:cubicBezTo>
                    <a:cubicBezTo>
                      <a:pt x="16" y="428"/>
                      <a:pt x="16" y="426"/>
                      <a:pt x="16" y="424"/>
                    </a:cubicBezTo>
                    <a:cubicBezTo>
                      <a:pt x="19" y="424"/>
                      <a:pt x="19" y="424"/>
                      <a:pt x="19" y="424"/>
                    </a:cubicBezTo>
                    <a:cubicBezTo>
                      <a:pt x="19" y="423"/>
                      <a:pt x="19" y="423"/>
                      <a:pt x="19" y="423"/>
                    </a:cubicBezTo>
                    <a:cubicBezTo>
                      <a:pt x="16" y="424"/>
                      <a:pt x="16" y="424"/>
                      <a:pt x="16" y="424"/>
                    </a:cubicBezTo>
                    <a:cubicBezTo>
                      <a:pt x="16" y="422"/>
                      <a:pt x="16" y="420"/>
                      <a:pt x="16" y="418"/>
                    </a:cubicBezTo>
                    <a:cubicBezTo>
                      <a:pt x="19" y="418"/>
                      <a:pt x="19" y="418"/>
                      <a:pt x="19" y="418"/>
                    </a:cubicBezTo>
                    <a:cubicBezTo>
                      <a:pt x="18" y="417"/>
                      <a:pt x="18" y="417"/>
                      <a:pt x="18" y="417"/>
                    </a:cubicBezTo>
                    <a:cubicBezTo>
                      <a:pt x="16" y="417"/>
                      <a:pt x="16" y="417"/>
                      <a:pt x="16" y="417"/>
                    </a:cubicBezTo>
                    <a:cubicBezTo>
                      <a:pt x="15" y="415"/>
                      <a:pt x="15" y="413"/>
                      <a:pt x="15" y="411"/>
                    </a:cubicBezTo>
                    <a:cubicBezTo>
                      <a:pt x="18" y="411"/>
                      <a:pt x="18" y="411"/>
                      <a:pt x="18" y="411"/>
                    </a:cubicBezTo>
                    <a:cubicBezTo>
                      <a:pt x="18" y="410"/>
                      <a:pt x="18" y="410"/>
                      <a:pt x="18" y="410"/>
                    </a:cubicBezTo>
                    <a:cubicBezTo>
                      <a:pt x="15" y="410"/>
                      <a:pt x="15" y="410"/>
                      <a:pt x="15" y="410"/>
                    </a:cubicBezTo>
                    <a:cubicBezTo>
                      <a:pt x="15" y="409"/>
                      <a:pt x="15" y="407"/>
                      <a:pt x="15" y="405"/>
                    </a:cubicBezTo>
                    <a:cubicBezTo>
                      <a:pt x="18" y="405"/>
                      <a:pt x="18" y="405"/>
                      <a:pt x="18" y="405"/>
                    </a:cubicBezTo>
                    <a:cubicBezTo>
                      <a:pt x="18" y="404"/>
                      <a:pt x="18" y="404"/>
                      <a:pt x="18" y="404"/>
                    </a:cubicBezTo>
                    <a:cubicBezTo>
                      <a:pt x="15" y="404"/>
                      <a:pt x="15" y="404"/>
                      <a:pt x="15" y="404"/>
                    </a:cubicBezTo>
                    <a:cubicBezTo>
                      <a:pt x="15" y="402"/>
                      <a:pt x="15" y="400"/>
                      <a:pt x="15" y="398"/>
                    </a:cubicBezTo>
                    <a:cubicBezTo>
                      <a:pt x="18" y="398"/>
                      <a:pt x="18" y="398"/>
                      <a:pt x="18" y="398"/>
                    </a:cubicBezTo>
                    <a:cubicBezTo>
                      <a:pt x="18" y="397"/>
                      <a:pt x="18" y="397"/>
                      <a:pt x="18" y="397"/>
                    </a:cubicBezTo>
                    <a:cubicBezTo>
                      <a:pt x="15" y="397"/>
                      <a:pt x="15" y="397"/>
                      <a:pt x="15" y="397"/>
                    </a:cubicBezTo>
                    <a:cubicBezTo>
                      <a:pt x="15" y="396"/>
                      <a:pt x="15" y="394"/>
                      <a:pt x="15" y="392"/>
                    </a:cubicBezTo>
                    <a:cubicBezTo>
                      <a:pt x="20" y="392"/>
                      <a:pt x="20" y="392"/>
                      <a:pt x="20" y="392"/>
                    </a:cubicBezTo>
                    <a:cubicBezTo>
                      <a:pt x="20" y="392"/>
                      <a:pt x="20" y="392"/>
                      <a:pt x="20" y="392"/>
                    </a:cubicBezTo>
                    <a:cubicBezTo>
                      <a:pt x="28" y="392"/>
                      <a:pt x="28" y="392"/>
                      <a:pt x="28" y="392"/>
                    </a:cubicBezTo>
                    <a:cubicBezTo>
                      <a:pt x="28" y="391"/>
                      <a:pt x="28" y="391"/>
                      <a:pt x="28" y="391"/>
                    </a:cubicBezTo>
                    <a:cubicBezTo>
                      <a:pt x="20" y="391"/>
                      <a:pt x="20" y="391"/>
                      <a:pt x="20" y="391"/>
                    </a:cubicBezTo>
                    <a:cubicBezTo>
                      <a:pt x="20" y="390"/>
                      <a:pt x="20" y="390"/>
                      <a:pt x="20" y="390"/>
                    </a:cubicBezTo>
                    <a:cubicBezTo>
                      <a:pt x="15" y="390"/>
                      <a:pt x="15" y="390"/>
                      <a:pt x="15" y="390"/>
                    </a:cubicBezTo>
                    <a:cubicBezTo>
                      <a:pt x="15" y="389"/>
                      <a:pt x="15" y="387"/>
                      <a:pt x="15" y="385"/>
                    </a:cubicBezTo>
                    <a:cubicBezTo>
                      <a:pt x="18" y="385"/>
                      <a:pt x="18" y="385"/>
                      <a:pt x="18" y="385"/>
                    </a:cubicBezTo>
                    <a:cubicBezTo>
                      <a:pt x="18" y="384"/>
                      <a:pt x="18" y="384"/>
                      <a:pt x="18" y="384"/>
                    </a:cubicBezTo>
                    <a:cubicBezTo>
                      <a:pt x="15" y="384"/>
                      <a:pt x="15" y="384"/>
                      <a:pt x="15" y="384"/>
                    </a:cubicBezTo>
                    <a:cubicBezTo>
                      <a:pt x="15" y="382"/>
                      <a:pt x="15" y="380"/>
                      <a:pt x="15" y="378"/>
                    </a:cubicBezTo>
                    <a:cubicBezTo>
                      <a:pt x="18" y="379"/>
                      <a:pt x="18" y="379"/>
                      <a:pt x="18" y="379"/>
                    </a:cubicBezTo>
                    <a:cubicBezTo>
                      <a:pt x="18" y="378"/>
                      <a:pt x="18" y="378"/>
                      <a:pt x="18" y="378"/>
                    </a:cubicBezTo>
                    <a:cubicBezTo>
                      <a:pt x="15" y="378"/>
                      <a:pt x="15" y="378"/>
                      <a:pt x="15" y="378"/>
                    </a:cubicBezTo>
                    <a:cubicBezTo>
                      <a:pt x="15" y="376"/>
                      <a:pt x="15" y="374"/>
                      <a:pt x="15" y="372"/>
                    </a:cubicBezTo>
                    <a:cubicBezTo>
                      <a:pt x="18" y="372"/>
                      <a:pt x="18" y="372"/>
                      <a:pt x="18" y="372"/>
                    </a:cubicBezTo>
                    <a:cubicBezTo>
                      <a:pt x="18" y="371"/>
                      <a:pt x="18" y="371"/>
                      <a:pt x="18" y="371"/>
                    </a:cubicBezTo>
                    <a:cubicBezTo>
                      <a:pt x="15" y="371"/>
                      <a:pt x="15" y="371"/>
                      <a:pt x="15" y="371"/>
                    </a:cubicBezTo>
                    <a:cubicBezTo>
                      <a:pt x="15" y="369"/>
                      <a:pt x="15" y="367"/>
                      <a:pt x="16" y="365"/>
                    </a:cubicBezTo>
                    <a:cubicBezTo>
                      <a:pt x="18" y="366"/>
                      <a:pt x="18" y="366"/>
                      <a:pt x="18" y="366"/>
                    </a:cubicBezTo>
                    <a:cubicBezTo>
                      <a:pt x="19" y="365"/>
                      <a:pt x="19" y="365"/>
                      <a:pt x="19" y="365"/>
                    </a:cubicBezTo>
                    <a:cubicBezTo>
                      <a:pt x="16" y="365"/>
                      <a:pt x="16" y="365"/>
                      <a:pt x="16" y="365"/>
                    </a:cubicBezTo>
                    <a:cubicBezTo>
                      <a:pt x="16" y="363"/>
                      <a:pt x="16" y="361"/>
                      <a:pt x="16" y="359"/>
                    </a:cubicBezTo>
                    <a:cubicBezTo>
                      <a:pt x="19" y="359"/>
                      <a:pt x="19" y="359"/>
                      <a:pt x="19" y="359"/>
                    </a:cubicBezTo>
                    <a:cubicBezTo>
                      <a:pt x="19" y="358"/>
                      <a:pt x="19" y="358"/>
                      <a:pt x="19" y="358"/>
                    </a:cubicBezTo>
                    <a:cubicBezTo>
                      <a:pt x="16" y="358"/>
                      <a:pt x="16" y="358"/>
                      <a:pt x="16" y="358"/>
                    </a:cubicBezTo>
                    <a:cubicBezTo>
                      <a:pt x="16" y="356"/>
                      <a:pt x="16" y="354"/>
                      <a:pt x="17" y="352"/>
                    </a:cubicBezTo>
                    <a:cubicBezTo>
                      <a:pt x="20" y="353"/>
                      <a:pt x="20" y="353"/>
                      <a:pt x="20" y="353"/>
                    </a:cubicBezTo>
                    <a:cubicBezTo>
                      <a:pt x="20" y="352"/>
                      <a:pt x="20" y="352"/>
                      <a:pt x="20" y="352"/>
                    </a:cubicBezTo>
                    <a:cubicBezTo>
                      <a:pt x="17" y="351"/>
                      <a:pt x="17" y="351"/>
                      <a:pt x="17" y="351"/>
                    </a:cubicBezTo>
                    <a:cubicBezTo>
                      <a:pt x="17" y="350"/>
                      <a:pt x="17" y="348"/>
                      <a:pt x="17" y="346"/>
                    </a:cubicBezTo>
                    <a:cubicBezTo>
                      <a:pt x="20" y="346"/>
                      <a:pt x="20" y="346"/>
                      <a:pt x="20" y="346"/>
                    </a:cubicBezTo>
                    <a:cubicBezTo>
                      <a:pt x="20" y="345"/>
                      <a:pt x="20" y="345"/>
                      <a:pt x="20" y="345"/>
                    </a:cubicBezTo>
                    <a:cubicBezTo>
                      <a:pt x="17" y="345"/>
                      <a:pt x="17" y="345"/>
                      <a:pt x="17" y="345"/>
                    </a:cubicBezTo>
                    <a:cubicBezTo>
                      <a:pt x="18" y="343"/>
                      <a:pt x="18" y="341"/>
                      <a:pt x="18" y="339"/>
                    </a:cubicBezTo>
                    <a:cubicBezTo>
                      <a:pt x="21" y="340"/>
                      <a:pt x="21" y="340"/>
                      <a:pt x="21" y="340"/>
                    </a:cubicBezTo>
                    <a:cubicBezTo>
                      <a:pt x="21" y="339"/>
                      <a:pt x="21" y="339"/>
                      <a:pt x="21" y="339"/>
                    </a:cubicBezTo>
                    <a:cubicBezTo>
                      <a:pt x="18" y="338"/>
                      <a:pt x="18" y="338"/>
                      <a:pt x="18" y="338"/>
                    </a:cubicBezTo>
                    <a:cubicBezTo>
                      <a:pt x="19" y="336"/>
                      <a:pt x="19" y="335"/>
                      <a:pt x="19" y="333"/>
                    </a:cubicBezTo>
                    <a:cubicBezTo>
                      <a:pt x="22" y="333"/>
                      <a:pt x="22" y="333"/>
                      <a:pt x="22" y="333"/>
                    </a:cubicBezTo>
                    <a:cubicBezTo>
                      <a:pt x="22" y="332"/>
                      <a:pt x="22" y="332"/>
                      <a:pt x="22" y="332"/>
                    </a:cubicBezTo>
                    <a:cubicBezTo>
                      <a:pt x="19" y="332"/>
                      <a:pt x="19" y="332"/>
                      <a:pt x="19" y="332"/>
                    </a:cubicBezTo>
                    <a:cubicBezTo>
                      <a:pt x="20" y="330"/>
                      <a:pt x="20" y="328"/>
                      <a:pt x="20" y="327"/>
                    </a:cubicBezTo>
                    <a:cubicBezTo>
                      <a:pt x="26" y="328"/>
                      <a:pt x="26" y="328"/>
                      <a:pt x="26" y="328"/>
                    </a:cubicBezTo>
                    <a:cubicBezTo>
                      <a:pt x="26" y="327"/>
                      <a:pt x="26" y="327"/>
                      <a:pt x="26" y="327"/>
                    </a:cubicBezTo>
                    <a:cubicBezTo>
                      <a:pt x="33" y="328"/>
                      <a:pt x="33" y="328"/>
                      <a:pt x="33" y="328"/>
                    </a:cubicBezTo>
                    <a:cubicBezTo>
                      <a:pt x="33" y="328"/>
                      <a:pt x="33" y="328"/>
                      <a:pt x="33" y="328"/>
                    </a:cubicBezTo>
                    <a:cubicBezTo>
                      <a:pt x="26" y="326"/>
                      <a:pt x="26" y="326"/>
                      <a:pt x="26" y="326"/>
                    </a:cubicBezTo>
                    <a:cubicBezTo>
                      <a:pt x="26" y="326"/>
                      <a:pt x="26" y="326"/>
                      <a:pt x="26" y="326"/>
                    </a:cubicBezTo>
                    <a:cubicBezTo>
                      <a:pt x="20" y="325"/>
                      <a:pt x="20" y="325"/>
                      <a:pt x="20" y="325"/>
                    </a:cubicBezTo>
                    <a:cubicBezTo>
                      <a:pt x="21" y="323"/>
                      <a:pt x="21" y="321"/>
                      <a:pt x="21" y="320"/>
                    </a:cubicBezTo>
                    <a:cubicBezTo>
                      <a:pt x="24" y="320"/>
                      <a:pt x="24" y="320"/>
                      <a:pt x="24" y="320"/>
                    </a:cubicBezTo>
                    <a:cubicBezTo>
                      <a:pt x="25" y="320"/>
                      <a:pt x="25" y="320"/>
                      <a:pt x="25" y="320"/>
                    </a:cubicBezTo>
                    <a:cubicBezTo>
                      <a:pt x="22" y="319"/>
                      <a:pt x="22" y="319"/>
                      <a:pt x="22" y="319"/>
                    </a:cubicBezTo>
                    <a:cubicBezTo>
                      <a:pt x="22" y="317"/>
                      <a:pt x="22" y="315"/>
                      <a:pt x="23" y="313"/>
                    </a:cubicBezTo>
                    <a:cubicBezTo>
                      <a:pt x="26" y="314"/>
                      <a:pt x="26" y="314"/>
                      <a:pt x="26" y="314"/>
                    </a:cubicBezTo>
                    <a:cubicBezTo>
                      <a:pt x="26" y="313"/>
                      <a:pt x="26" y="313"/>
                      <a:pt x="26" y="313"/>
                    </a:cubicBezTo>
                    <a:cubicBezTo>
                      <a:pt x="23" y="312"/>
                      <a:pt x="23" y="312"/>
                      <a:pt x="23" y="312"/>
                    </a:cubicBezTo>
                    <a:cubicBezTo>
                      <a:pt x="23" y="311"/>
                      <a:pt x="24" y="309"/>
                      <a:pt x="24" y="307"/>
                    </a:cubicBezTo>
                    <a:cubicBezTo>
                      <a:pt x="27" y="308"/>
                      <a:pt x="27" y="308"/>
                      <a:pt x="27" y="308"/>
                    </a:cubicBezTo>
                    <a:cubicBezTo>
                      <a:pt x="27" y="307"/>
                      <a:pt x="27" y="307"/>
                      <a:pt x="27" y="307"/>
                    </a:cubicBezTo>
                    <a:cubicBezTo>
                      <a:pt x="24" y="306"/>
                      <a:pt x="24" y="306"/>
                      <a:pt x="24" y="306"/>
                    </a:cubicBezTo>
                    <a:cubicBezTo>
                      <a:pt x="25" y="304"/>
                      <a:pt x="25" y="302"/>
                      <a:pt x="26" y="300"/>
                    </a:cubicBezTo>
                    <a:cubicBezTo>
                      <a:pt x="29" y="301"/>
                      <a:pt x="29" y="301"/>
                      <a:pt x="29" y="301"/>
                    </a:cubicBezTo>
                    <a:cubicBezTo>
                      <a:pt x="29" y="300"/>
                      <a:pt x="29" y="300"/>
                      <a:pt x="29" y="300"/>
                    </a:cubicBezTo>
                    <a:cubicBezTo>
                      <a:pt x="26" y="300"/>
                      <a:pt x="26" y="300"/>
                      <a:pt x="26" y="300"/>
                    </a:cubicBezTo>
                    <a:cubicBezTo>
                      <a:pt x="26" y="298"/>
                      <a:pt x="27" y="296"/>
                      <a:pt x="27" y="294"/>
                    </a:cubicBezTo>
                    <a:cubicBezTo>
                      <a:pt x="30" y="295"/>
                      <a:pt x="30" y="295"/>
                      <a:pt x="30" y="295"/>
                    </a:cubicBezTo>
                    <a:cubicBezTo>
                      <a:pt x="30" y="294"/>
                      <a:pt x="30" y="294"/>
                      <a:pt x="30" y="294"/>
                    </a:cubicBezTo>
                    <a:cubicBezTo>
                      <a:pt x="28" y="293"/>
                      <a:pt x="28" y="293"/>
                      <a:pt x="28" y="293"/>
                    </a:cubicBezTo>
                    <a:cubicBezTo>
                      <a:pt x="28" y="291"/>
                      <a:pt x="28" y="290"/>
                      <a:pt x="29" y="288"/>
                    </a:cubicBezTo>
                    <a:cubicBezTo>
                      <a:pt x="32" y="289"/>
                      <a:pt x="32" y="289"/>
                      <a:pt x="32" y="289"/>
                    </a:cubicBezTo>
                    <a:cubicBezTo>
                      <a:pt x="32" y="288"/>
                      <a:pt x="32" y="288"/>
                      <a:pt x="32" y="288"/>
                    </a:cubicBezTo>
                    <a:cubicBezTo>
                      <a:pt x="29" y="287"/>
                      <a:pt x="29" y="287"/>
                      <a:pt x="29" y="287"/>
                    </a:cubicBezTo>
                    <a:cubicBezTo>
                      <a:pt x="30" y="285"/>
                      <a:pt x="30" y="283"/>
                      <a:pt x="31" y="281"/>
                    </a:cubicBezTo>
                    <a:cubicBezTo>
                      <a:pt x="34" y="282"/>
                      <a:pt x="34" y="282"/>
                      <a:pt x="34" y="282"/>
                    </a:cubicBezTo>
                    <a:cubicBezTo>
                      <a:pt x="34" y="282"/>
                      <a:pt x="34" y="282"/>
                      <a:pt x="34" y="282"/>
                    </a:cubicBezTo>
                    <a:cubicBezTo>
                      <a:pt x="31" y="281"/>
                      <a:pt x="31" y="281"/>
                      <a:pt x="31" y="281"/>
                    </a:cubicBezTo>
                    <a:cubicBezTo>
                      <a:pt x="32" y="279"/>
                      <a:pt x="32" y="277"/>
                      <a:pt x="33" y="275"/>
                    </a:cubicBezTo>
                    <a:cubicBezTo>
                      <a:pt x="36" y="276"/>
                      <a:pt x="36" y="276"/>
                      <a:pt x="36" y="276"/>
                    </a:cubicBezTo>
                    <a:cubicBezTo>
                      <a:pt x="36" y="275"/>
                      <a:pt x="36" y="275"/>
                      <a:pt x="36" y="275"/>
                    </a:cubicBezTo>
                    <a:cubicBezTo>
                      <a:pt x="33" y="274"/>
                      <a:pt x="33" y="274"/>
                      <a:pt x="33" y="274"/>
                    </a:cubicBezTo>
                    <a:cubicBezTo>
                      <a:pt x="34" y="273"/>
                      <a:pt x="34" y="271"/>
                      <a:pt x="35" y="269"/>
                    </a:cubicBezTo>
                    <a:cubicBezTo>
                      <a:pt x="38" y="270"/>
                      <a:pt x="38" y="270"/>
                      <a:pt x="38" y="270"/>
                    </a:cubicBezTo>
                    <a:cubicBezTo>
                      <a:pt x="38" y="269"/>
                      <a:pt x="38" y="269"/>
                      <a:pt x="38" y="269"/>
                    </a:cubicBezTo>
                    <a:cubicBezTo>
                      <a:pt x="35" y="268"/>
                      <a:pt x="35" y="268"/>
                      <a:pt x="35" y="268"/>
                    </a:cubicBezTo>
                    <a:cubicBezTo>
                      <a:pt x="36" y="267"/>
                      <a:pt x="36" y="265"/>
                      <a:pt x="37" y="263"/>
                    </a:cubicBezTo>
                    <a:cubicBezTo>
                      <a:pt x="42" y="265"/>
                      <a:pt x="42" y="265"/>
                      <a:pt x="42" y="265"/>
                    </a:cubicBezTo>
                    <a:cubicBezTo>
                      <a:pt x="42" y="265"/>
                      <a:pt x="42" y="265"/>
                      <a:pt x="42" y="265"/>
                    </a:cubicBezTo>
                    <a:cubicBezTo>
                      <a:pt x="50" y="267"/>
                      <a:pt x="50" y="267"/>
                      <a:pt x="50" y="267"/>
                    </a:cubicBezTo>
                    <a:cubicBezTo>
                      <a:pt x="50" y="267"/>
                      <a:pt x="50" y="267"/>
                      <a:pt x="50" y="267"/>
                    </a:cubicBezTo>
                    <a:cubicBezTo>
                      <a:pt x="43" y="264"/>
                      <a:pt x="43" y="264"/>
                      <a:pt x="43" y="264"/>
                    </a:cubicBezTo>
                    <a:cubicBezTo>
                      <a:pt x="43" y="263"/>
                      <a:pt x="43" y="263"/>
                      <a:pt x="43" y="263"/>
                    </a:cubicBezTo>
                    <a:cubicBezTo>
                      <a:pt x="38" y="262"/>
                      <a:pt x="38" y="262"/>
                      <a:pt x="38" y="262"/>
                    </a:cubicBezTo>
                    <a:cubicBezTo>
                      <a:pt x="38" y="260"/>
                      <a:pt x="39" y="258"/>
                      <a:pt x="39" y="257"/>
                    </a:cubicBezTo>
                    <a:cubicBezTo>
                      <a:pt x="42" y="258"/>
                      <a:pt x="42" y="258"/>
                      <a:pt x="42" y="258"/>
                    </a:cubicBezTo>
                    <a:cubicBezTo>
                      <a:pt x="43" y="257"/>
                      <a:pt x="43" y="257"/>
                      <a:pt x="43" y="257"/>
                    </a:cubicBezTo>
                    <a:cubicBezTo>
                      <a:pt x="40" y="256"/>
                      <a:pt x="40" y="256"/>
                      <a:pt x="40" y="256"/>
                    </a:cubicBezTo>
                    <a:cubicBezTo>
                      <a:pt x="40" y="254"/>
                      <a:pt x="41" y="252"/>
                      <a:pt x="42" y="250"/>
                    </a:cubicBezTo>
                    <a:cubicBezTo>
                      <a:pt x="45" y="252"/>
                      <a:pt x="45" y="252"/>
                      <a:pt x="45" y="252"/>
                    </a:cubicBezTo>
                    <a:cubicBezTo>
                      <a:pt x="45" y="251"/>
                      <a:pt x="45" y="251"/>
                      <a:pt x="45" y="251"/>
                    </a:cubicBezTo>
                    <a:cubicBezTo>
                      <a:pt x="42" y="250"/>
                      <a:pt x="42" y="250"/>
                      <a:pt x="42" y="250"/>
                    </a:cubicBezTo>
                    <a:cubicBezTo>
                      <a:pt x="43" y="248"/>
                      <a:pt x="44" y="246"/>
                      <a:pt x="44" y="244"/>
                    </a:cubicBezTo>
                    <a:cubicBezTo>
                      <a:pt x="47" y="246"/>
                      <a:pt x="47" y="246"/>
                      <a:pt x="47" y="246"/>
                    </a:cubicBezTo>
                    <a:cubicBezTo>
                      <a:pt x="47" y="245"/>
                      <a:pt x="47" y="245"/>
                      <a:pt x="47" y="245"/>
                    </a:cubicBezTo>
                    <a:cubicBezTo>
                      <a:pt x="45" y="244"/>
                      <a:pt x="45" y="244"/>
                      <a:pt x="45" y="244"/>
                    </a:cubicBezTo>
                    <a:cubicBezTo>
                      <a:pt x="45" y="242"/>
                      <a:pt x="46" y="240"/>
                      <a:pt x="47" y="238"/>
                    </a:cubicBezTo>
                    <a:cubicBezTo>
                      <a:pt x="50" y="240"/>
                      <a:pt x="50" y="240"/>
                      <a:pt x="50" y="240"/>
                    </a:cubicBezTo>
                    <a:cubicBezTo>
                      <a:pt x="50" y="239"/>
                      <a:pt x="50" y="239"/>
                      <a:pt x="50" y="239"/>
                    </a:cubicBezTo>
                    <a:cubicBezTo>
                      <a:pt x="47" y="238"/>
                      <a:pt x="47" y="238"/>
                      <a:pt x="47" y="238"/>
                    </a:cubicBezTo>
                    <a:cubicBezTo>
                      <a:pt x="48" y="236"/>
                      <a:pt x="49" y="234"/>
                      <a:pt x="50" y="232"/>
                    </a:cubicBezTo>
                    <a:cubicBezTo>
                      <a:pt x="52" y="234"/>
                      <a:pt x="52" y="234"/>
                      <a:pt x="52" y="234"/>
                    </a:cubicBezTo>
                    <a:cubicBezTo>
                      <a:pt x="53" y="233"/>
                      <a:pt x="53" y="233"/>
                      <a:pt x="53" y="233"/>
                    </a:cubicBezTo>
                    <a:cubicBezTo>
                      <a:pt x="50" y="232"/>
                      <a:pt x="50" y="232"/>
                      <a:pt x="50" y="232"/>
                    </a:cubicBezTo>
                    <a:cubicBezTo>
                      <a:pt x="51" y="230"/>
                      <a:pt x="52" y="228"/>
                      <a:pt x="53" y="226"/>
                    </a:cubicBezTo>
                    <a:cubicBezTo>
                      <a:pt x="55" y="228"/>
                      <a:pt x="55" y="228"/>
                      <a:pt x="55" y="228"/>
                    </a:cubicBezTo>
                    <a:cubicBezTo>
                      <a:pt x="56" y="227"/>
                      <a:pt x="56" y="227"/>
                      <a:pt x="56" y="227"/>
                    </a:cubicBezTo>
                    <a:cubicBezTo>
                      <a:pt x="53" y="226"/>
                      <a:pt x="53" y="226"/>
                      <a:pt x="53" y="226"/>
                    </a:cubicBezTo>
                    <a:cubicBezTo>
                      <a:pt x="54" y="224"/>
                      <a:pt x="55" y="222"/>
                      <a:pt x="55" y="221"/>
                    </a:cubicBezTo>
                    <a:cubicBezTo>
                      <a:pt x="58" y="222"/>
                      <a:pt x="58" y="222"/>
                      <a:pt x="58" y="222"/>
                    </a:cubicBezTo>
                    <a:cubicBezTo>
                      <a:pt x="58" y="221"/>
                      <a:pt x="58" y="221"/>
                      <a:pt x="58" y="221"/>
                    </a:cubicBezTo>
                    <a:cubicBezTo>
                      <a:pt x="56" y="220"/>
                      <a:pt x="56" y="220"/>
                      <a:pt x="56" y="220"/>
                    </a:cubicBezTo>
                    <a:cubicBezTo>
                      <a:pt x="57" y="218"/>
                      <a:pt x="58" y="216"/>
                      <a:pt x="59" y="215"/>
                    </a:cubicBezTo>
                    <a:cubicBezTo>
                      <a:pt x="61" y="216"/>
                      <a:pt x="61" y="216"/>
                      <a:pt x="61" y="216"/>
                    </a:cubicBezTo>
                    <a:cubicBezTo>
                      <a:pt x="61" y="215"/>
                      <a:pt x="61" y="215"/>
                      <a:pt x="61" y="215"/>
                    </a:cubicBezTo>
                    <a:cubicBezTo>
                      <a:pt x="59" y="214"/>
                      <a:pt x="59" y="214"/>
                      <a:pt x="59" y="214"/>
                    </a:cubicBezTo>
                    <a:cubicBezTo>
                      <a:pt x="60" y="212"/>
                      <a:pt x="61" y="211"/>
                      <a:pt x="62" y="209"/>
                    </a:cubicBezTo>
                    <a:cubicBezTo>
                      <a:pt x="64" y="210"/>
                      <a:pt x="64" y="210"/>
                      <a:pt x="64" y="210"/>
                    </a:cubicBezTo>
                    <a:cubicBezTo>
                      <a:pt x="65" y="210"/>
                      <a:pt x="65" y="210"/>
                      <a:pt x="65" y="210"/>
                    </a:cubicBezTo>
                    <a:cubicBezTo>
                      <a:pt x="62" y="208"/>
                      <a:pt x="62" y="208"/>
                      <a:pt x="62" y="208"/>
                    </a:cubicBezTo>
                    <a:cubicBezTo>
                      <a:pt x="63" y="207"/>
                      <a:pt x="64" y="205"/>
                      <a:pt x="65" y="204"/>
                    </a:cubicBezTo>
                    <a:cubicBezTo>
                      <a:pt x="69" y="206"/>
                      <a:pt x="69" y="206"/>
                      <a:pt x="69" y="206"/>
                    </a:cubicBezTo>
                    <a:cubicBezTo>
                      <a:pt x="70" y="206"/>
                      <a:pt x="70" y="206"/>
                      <a:pt x="70" y="206"/>
                    </a:cubicBezTo>
                    <a:cubicBezTo>
                      <a:pt x="76" y="210"/>
                      <a:pt x="76" y="210"/>
                      <a:pt x="76" y="210"/>
                    </a:cubicBezTo>
                    <a:cubicBezTo>
                      <a:pt x="77" y="209"/>
                      <a:pt x="77" y="209"/>
                      <a:pt x="77" y="209"/>
                    </a:cubicBezTo>
                    <a:cubicBezTo>
                      <a:pt x="70" y="205"/>
                      <a:pt x="70" y="205"/>
                      <a:pt x="70" y="205"/>
                    </a:cubicBezTo>
                    <a:cubicBezTo>
                      <a:pt x="70" y="205"/>
                      <a:pt x="70" y="205"/>
                      <a:pt x="70" y="205"/>
                    </a:cubicBezTo>
                    <a:cubicBezTo>
                      <a:pt x="66" y="202"/>
                      <a:pt x="66" y="202"/>
                      <a:pt x="66" y="202"/>
                    </a:cubicBezTo>
                    <a:cubicBezTo>
                      <a:pt x="66" y="201"/>
                      <a:pt x="67" y="199"/>
                      <a:pt x="68" y="198"/>
                    </a:cubicBezTo>
                    <a:cubicBezTo>
                      <a:pt x="71" y="199"/>
                      <a:pt x="71" y="199"/>
                      <a:pt x="71" y="199"/>
                    </a:cubicBezTo>
                    <a:cubicBezTo>
                      <a:pt x="71" y="198"/>
                      <a:pt x="71" y="198"/>
                      <a:pt x="71" y="198"/>
                    </a:cubicBezTo>
                    <a:cubicBezTo>
                      <a:pt x="69" y="197"/>
                      <a:pt x="69" y="197"/>
                      <a:pt x="69" y="197"/>
                    </a:cubicBezTo>
                    <a:cubicBezTo>
                      <a:pt x="70" y="195"/>
                      <a:pt x="71" y="194"/>
                      <a:pt x="72" y="192"/>
                    </a:cubicBezTo>
                    <a:cubicBezTo>
                      <a:pt x="74" y="194"/>
                      <a:pt x="74" y="194"/>
                      <a:pt x="74" y="194"/>
                    </a:cubicBezTo>
                    <a:cubicBezTo>
                      <a:pt x="75" y="193"/>
                      <a:pt x="75" y="193"/>
                      <a:pt x="75" y="193"/>
                    </a:cubicBezTo>
                    <a:cubicBezTo>
                      <a:pt x="72" y="191"/>
                      <a:pt x="72" y="191"/>
                      <a:pt x="72" y="191"/>
                    </a:cubicBezTo>
                    <a:cubicBezTo>
                      <a:pt x="73" y="190"/>
                      <a:pt x="74" y="188"/>
                      <a:pt x="75" y="186"/>
                    </a:cubicBezTo>
                    <a:cubicBezTo>
                      <a:pt x="78" y="188"/>
                      <a:pt x="78" y="188"/>
                      <a:pt x="78" y="188"/>
                    </a:cubicBezTo>
                    <a:cubicBezTo>
                      <a:pt x="78" y="187"/>
                      <a:pt x="78" y="187"/>
                      <a:pt x="78" y="187"/>
                    </a:cubicBezTo>
                    <a:cubicBezTo>
                      <a:pt x="76" y="186"/>
                      <a:pt x="76" y="186"/>
                      <a:pt x="76" y="186"/>
                    </a:cubicBezTo>
                    <a:cubicBezTo>
                      <a:pt x="77" y="184"/>
                      <a:pt x="78" y="183"/>
                      <a:pt x="79" y="181"/>
                    </a:cubicBezTo>
                    <a:cubicBezTo>
                      <a:pt x="81" y="183"/>
                      <a:pt x="81" y="183"/>
                      <a:pt x="81" y="183"/>
                    </a:cubicBezTo>
                    <a:cubicBezTo>
                      <a:pt x="82" y="182"/>
                      <a:pt x="82" y="182"/>
                      <a:pt x="82" y="182"/>
                    </a:cubicBezTo>
                    <a:cubicBezTo>
                      <a:pt x="79" y="180"/>
                      <a:pt x="79" y="180"/>
                      <a:pt x="79" y="180"/>
                    </a:cubicBezTo>
                    <a:cubicBezTo>
                      <a:pt x="80" y="179"/>
                      <a:pt x="81" y="177"/>
                      <a:pt x="83" y="176"/>
                    </a:cubicBezTo>
                    <a:cubicBezTo>
                      <a:pt x="85" y="177"/>
                      <a:pt x="85" y="177"/>
                      <a:pt x="85" y="177"/>
                    </a:cubicBezTo>
                    <a:cubicBezTo>
                      <a:pt x="85" y="177"/>
                      <a:pt x="85" y="177"/>
                      <a:pt x="85" y="177"/>
                    </a:cubicBezTo>
                    <a:cubicBezTo>
                      <a:pt x="83" y="175"/>
                      <a:pt x="83" y="175"/>
                      <a:pt x="83" y="175"/>
                    </a:cubicBezTo>
                    <a:cubicBezTo>
                      <a:pt x="84" y="173"/>
                      <a:pt x="85" y="172"/>
                      <a:pt x="86" y="170"/>
                    </a:cubicBezTo>
                    <a:cubicBezTo>
                      <a:pt x="89" y="172"/>
                      <a:pt x="89" y="172"/>
                      <a:pt x="89" y="172"/>
                    </a:cubicBezTo>
                    <a:cubicBezTo>
                      <a:pt x="89" y="171"/>
                      <a:pt x="89" y="171"/>
                      <a:pt x="89" y="171"/>
                    </a:cubicBezTo>
                    <a:cubicBezTo>
                      <a:pt x="87" y="170"/>
                      <a:pt x="87" y="170"/>
                      <a:pt x="87" y="170"/>
                    </a:cubicBezTo>
                    <a:cubicBezTo>
                      <a:pt x="88" y="168"/>
                      <a:pt x="89" y="166"/>
                      <a:pt x="90" y="165"/>
                    </a:cubicBezTo>
                    <a:cubicBezTo>
                      <a:pt x="93" y="167"/>
                      <a:pt x="93" y="167"/>
                      <a:pt x="93" y="167"/>
                    </a:cubicBezTo>
                    <a:cubicBezTo>
                      <a:pt x="93" y="166"/>
                      <a:pt x="93" y="166"/>
                      <a:pt x="93" y="166"/>
                    </a:cubicBezTo>
                    <a:cubicBezTo>
                      <a:pt x="91" y="164"/>
                      <a:pt x="91" y="164"/>
                      <a:pt x="91" y="164"/>
                    </a:cubicBezTo>
                    <a:cubicBezTo>
                      <a:pt x="92" y="163"/>
                      <a:pt x="93" y="161"/>
                      <a:pt x="94" y="160"/>
                    </a:cubicBezTo>
                    <a:cubicBezTo>
                      <a:pt x="96" y="161"/>
                      <a:pt x="96" y="161"/>
                      <a:pt x="96" y="161"/>
                    </a:cubicBezTo>
                    <a:cubicBezTo>
                      <a:pt x="97" y="161"/>
                      <a:pt x="97" y="161"/>
                      <a:pt x="97" y="161"/>
                    </a:cubicBezTo>
                    <a:cubicBezTo>
                      <a:pt x="95" y="159"/>
                      <a:pt x="95" y="159"/>
                      <a:pt x="95" y="159"/>
                    </a:cubicBezTo>
                    <a:cubicBezTo>
                      <a:pt x="96" y="158"/>
                      <a:pt x="97" y="156"/>
                      <a:pt x="98" y="155"/>
                    </a:cubicBezTo>
                    <a:cubicBezTo>
                      <a:pt x="101" y="156"/>
                      <a:pt x="101" y="156"/>
                      <a:pt x="101" y="156"/>
                    </a:cubicBezTo>
                    <a:cubicBezTo>
                      <a:pt x="101" y="156"/>
                      <a:pt x="101" y="156"/>
                      <a:pt x="101" y="156"/>
                    </a:cubicBezTo>
                    <a:cubicBezTo>
                      <a:pt x="99" y="154"/>
                      <a:pt x="99" y="154"/>
                      <a:pt x="99" y="154"/>
                    </a:cubicBezTo>
                    <a:cubicBezTo>
                      <a:pt x="100" y="153"/>
                      <a:pt x="101" y="151"/>
                      <a:pt x="102" y="150"/>
                    </a:cubicBezTo>
                    <a:cubicBezTo>
                      <a:pt x="106" y="153"/>
                      <a:pt x="106" y="153"/>
                      <a:pt x="106" y="153"/>
                    </a:cubicBezTo>
                    <a:cubicBezTo>
                      <a:pt x="107" y="153"/>
                      <a:pt x="107" y="153"/>
                      <a:pt x="107" y="153"/>
                    </a:cubicBezTo>
                    <a:cubicBezTo>
                      <a:pt x="113" y="158"/>
                      <a:pt x="113" y="158"/>
                      <a:pt x="113" y="158"/>
                    </a:cubicBezTo>
                    <a:cubicBezTo>
                      <a:pt x="113" y="157"/>
                      <a:pt x="113" y="157"/>
                      <a:pt x="113" y="157"/>
                    </a:cubicBezTo>
                    <a:cubicBezTo>
                      <a:pt x="107" y="152"/>
                      <a:pt x="107" y="152"/>
                      <a:pt x="107" y="152"/>
                    </a:cubicBezTo>
                    <a:cubicBezTo>
                      <a:pt x="107" y="152"/>
                      <a:pt x="107" y="152"/>
                      <a:pt x="107" y="152"/>
                    </a:cubicBezTo>
                    <a:cubicBezTo>
                      <a:pt x="103" y="149"/>
                      <a:pt x="103" y="149"/>
                      <a:pt x="103" y="149"/>
                    </a:cubicBezTo>
                    <a:cubicBezTo>
                      <a:pt x="104" y="147"/>
                      <a:pt x="106" y="146"/>
                      <a:pt x="107" y="144"/>
                    </a:cubicBezTo>
                    <a:cubicBezTo>
                      <a:pt x="109" y="146"/>
                      <a:pt x="109" y="146"/>
                      <a:pt x="109" y="146"/>
                    </a:cubicBezTo>
                    <a:cubicBezTo>
                      <a:pt x="109" y="146"/>
                      <a:pt x="109" y="146"/>
                      <a:pt x="109" y="146"/>
                    </a:cubicBezTo>
                    <a:cubicBezTo>
                      <a:pt x="107" y="144"/>
                      <a:pt x="107" y="144"/>
                      <a:pt x="107" y="144"/>
                    </a:cubicBezTo>
                    <a:cubicBezTo>
                      <a:pt x="109" y="142"/>
                      <a:pt x="110" y="141"/>
                      <a:pt x="111" y="140"/>
                    </a:cubicBezTo>
                    <a:cubicBezTo>
                      <a:pt x="113" y="141"/>
                      <a:pt x="113" y="141"/>
                      <a:pt x="113" y="141"/>
                    </a:cubicBezTo>
                    <a:cubicBezTo>
                      <a:pt x="114" y="141"/>
                      <a:pt x="114" y="141"/>
                      <a:pt x="114" y="141"/>
                    </a:cubicBezTo>
                    <a:cubicBezTo>
                      <a:pt x="112" y="139"/>
                      <a:pt x="112" y="139"/>
                      <a:pt x="112" y="139"/>
                    </a:cubicBezTo>
                    <a:cubicBezTo>
                      <a:pt x="113" y="138"/>
                      <a:pt x="114" y="136"/>
                      <a:pt x="116" y="135"/>
                    </a:cubicBezTo>
                    <a:cubicBezTo>
                      <a:pt x="118" y="137"/>
                      <a:pt x="118" y="137"/>
                      <a:pt x="118" y="137"/>
                    </a:cubicBezTo>
                    <a:cubicBezTo>
                      <a:pt x="118" y="136"/>
                      <a:pt x="118" y="136"/>
                      <a:pt x="118" y="136"/>
                    </a:cubicBezTo>
                    <a:cubicBezTo>
                      <a:pt x="116" y="134"/>
                      <a:pt x="116" y="134"/>
                      <a:pt x="116" y="134"/>
                    </a:cubicBezTo>
                    <a:cubicBezTo>
                      <a:pt x="117" y="133"/>
                      <a:pt x="119" y="131"/>
                      <a:pt x="120" y="130"/>
                    </a:cubicBezTo>
                    <a:cubicBezTo>
                      <a:pt x="122" y="132"/>
                      <a:pt x="122" y="132"/>
                      <a:pt x="122" y="132"/>
                    </a:cubicBezTo>
                    <a:cubicBezTo>
                      <a:pt x="123" y="131"/>
                      <a:pt x="123" y="131"/>
                      <a:pt x="123" y="131"/>
                    </a:cubicBezTo>
                    <a:cubicBezTo>
                      <a:pt x="121" y="129"/>
                      <a:pt x="121" y="129"/>
                      <a:pt x="121" y="129"/>
                    </a:cubicBezTo>
                    <a:cubicBezTo>
                      <a:pt x="122" y="128"/>
                      <a:pt x="123" y="127"/>
                      <a:pt x="125" y="125"/>
                    </a:cubicBezTo>
                    <a:cubicBezTo>
                      <a:pt x="127" y="127"/>
                      <a:pt x="127" y="127"/>
                      <a:pt x="127" y="127"/>
                    </a:cubicBezTo>
                    <a:cubicBezTo>
                      <a:pt x="127" y="127"/>
                      <a:pt x="127" y="127"/>
                      <a:pt x="127" y="127"/>
                    </a:cubicBezTo>
                    <a:cubicBezTo>
                      <a:pt x="125" y="125"/>
                      <a:pt x="125" y="125"/>
                      <a:pt x="125" y="125"/>
                    </a:cubicBezTo>
                    <a:cubicBezTo>
                      <a:pt x="127" y="123"/>
                      <a:pt x="128" y="122"/>
                      <a:pt x="129" y="121"/>
                    </a:cubicBezTo>
                    <a:cubicBezTo>
                      <a:pt x="131" y="123"/>
                      <a:pt x="131" y="123"/>
                      <a:pt x="131" y="123"/>
                    </a:cubicBezTo>
                    <a:cubicBezTo>
                      <a:pt x="132" y="122"/>
                      <a:pt x="132" y="122"/>
                      <a:pt x="132" y="122"/>
                    </a:cubicBezTo>
                    <a:cubicBezTo>
                      <a:pt x="130" y="120"/>
                      <a:pt x="130" y="120"/>
                      <a:pt x="130" y="120"/>
                    </a:cubicBezTo>
                    <a:cubicBezTo>
                      <a:pt x="131" y="119"/>
                      <a:pt x="133" y="117"/>
                      <a:pt x="134" y="116"/>
                    </a:cubicBezTo>
                    <a:cubicBezTo>
                      <a:pt x="136" y="118"/>
                      <a:pt x="136" y="118"/>
                      <a:pt x="136" y="118"/>
                    </a:cubicBezTo>
                    <a:cubicBezTo>
                      <a:pt x="137" y="118"/>
                      <a:pt x="137" y="118"/>
                      <a:pt x="137" y="118"/>
                    </a:cubicBezTo>
                    <a:cubicBezTo>
                      <a:pt x="135" y="116"/>
                      <a:pt x="135" y="116"/>
                      <a:pt x="135" y="116"/>
                    </a:cubicBezTo>
                    <a:cubicBezTo>
                      <a:pt x="136" y="114"/>
                      <a:pt x="137" y="113"/>
                      <a:pt x="139" y="112"/>
                    </a:cubicBezTo>
                    <a:cubicBezTo>
                      <a:pt x="141" y="114"/>
                      <a:pt x="141" y="114"/>
                      <a:pt x="141" y="114"/>
                    </a:cubicBezTo>
                    <a:cubicBezTo>
                      <a:pt x="141" y="113"/>
                      <a:pt x="141" y="113"/>
                      <a:pt x="141" y="113"/>
                    </a:cubicBezTo>
                    <a:cubicBezTo>
                      <a:pt x="139" y="111"/>
                      <a:pt x="139" y="111"/>
                      <a:pt x="139" y="111"/>
                    </a:cubicBezTo>
                    <a:cubicBezTo>
                      <a:pt x="141" y="110"/>
                      <a:pt x="142" y="109"/>
                      <a:pt x="144" y="107"/>
                    </a:cubicBezTo>
                    <a:cubicBezTo>
                      <a:pt x="146" y="109"/>
                      <a:pt x="146" y="109"/>
                      <a:pt x="146" y="109"/>
                    </a:cubicBezTo>
                    <a:cubicBezTo>
                      <a:pt x="146" y="109"/>
                      <a:pt x="146" y="109"/>
                      <a:pt x="146" y="109"/>
                    </a:cubicBezTo>
                    <a:cubicBezTo>
                      <a:pt x="144" y="107"/>
                      <a:pt x="144" y="107"/>
                      <a:pt x="144" y="107"/>
                    </a:cubicBezTo>
                    <a:cubicBezTo>
                      <a:pt x="146" y="106"/>
                      <a:pt x="147" y="105"/>
                      <a:pt x="148" y="103"/>
                    </a:cubicBezTo>
                    <a:cubicBezTo>
                      <a:pt x="152" y="107"/>
                      <a:pt x="152" y="107"/>
                      <a:pt x="152" y="107"/>
                    </a:cubicBezTo>
                    <a:cubicBezTo>
                      <a:pt x="152" y="107"/>
                      <a:pt x="152" y="107"/>
                      <a:pt x="152" y="107"/>
                    </a:cubicBezTo>
                    <a:cubicBezTo>
                      <a:pt x="157" y="113"/>
                      <a:pt x="157" y="113"/>
                      <a:pt x="157" y="113"/>
                    </a:cubicBezTo>
                    <a:cubicBezTo>
                      <a:pt x="158" y="113"/>
                      <a:pt x="158" y="113"/>
                      <a:pt x="158" y="113"/>
                    </a:cubicBezTo>
                    <a:cubicBezTo>
                      <a:pt x="153" y="107"/>
                      <a:pt x="153" y="107"/>
                      <a:pt x="153" y="107"/>
                    </a:cubicBezTo>
                    <a:cubicBezTo>
                      <a:pt x="153" y="106"/>
                      <a:pt x="153" y="106"/>
                      <a:pt x="153" y="106"/>
                    </a:cubicBezTo>
                    <a:cubicBezTo>
                      <a:pt x="150" y="102"/>
                      <a:pt x="150" y="102"/>
                      <a:pt x="150" y="102"/>
                    </a:cubicBezTo>
                    <a:cubicBezTo>
                      <a:pt x="151" y="101"/>
                      <a:pt x="153" y="100"/>
                      <a:pt x="154" y="99"/>
                    </a:cubicBezTo>
                    <a:cubicBezTo>
                      <a:pt x="156" y="101"/>
                      <a:pt x="156" y="101"/>
                      <a:pt x="156" y="101"/>
                    </a:cubicBezTo>
                    <a:cubicBezTo>
                      <a:pt x="156" y="101"/>
                      <a:pt x="156" y="101"/>
                      <a:pt x="156" y="101"/>
                    </a:cubicBezTo>
                    <a:cubicBezTo>
                      <a:pt x="154" y="98"/>
                      <a:pt x="154" y="98"/>
                      <a:pt x="154" y="98"/>
                    </a:cubicBezTo>
                    <a:cubicBezTo>
                      <a:pt x="156" y="97"/>
                      <a:pt x="157" y="96"/>
                      <a:pt x="159" y="95"/>
                    </a:cubicBezTo>
                    <a:cubicBezTo>
                      <a:pt x="161" y="97"/>
                      <a:pt x="161" y="97"/>
                      <a:pt x="161" y="97"/>
                    </a:cubicBezTo>
                    <a:cubicBezTo>
                      <a:pt x="161" y="97"/>
                      <a:pt x="161" y="97"/>
                      <a:pt x="161" y="97"/>
                    </a:cubicBezTo>
                    <a:cubicBezTo>
                      <a:pt x="160" y="94"/>
                      <a:pt x="160" y="94"/>
                      <a:pt x="160" y="94"/>
                    </a:cubicBezTo>
                    <a:cubicBezTo>
                      <a:pt x="161" y="93"/>
                      <a:pt x="163" y="92"/>
                      <a:pt x="164" y="91"/>
                    </a:cubicBezTo>
                    <a:cubicBezTo>
                      <a:pt x="166" y="93"/>
                      <a:pt x="166" y="93"/>
                      <a:pt x="166" y="93"/>
                    </a:cubicBezTo>
                    <a:cubicBezTo>
                      <a:pt x="167" y="93"/>
                      <a:pt x="167" y="93"/>
                      <a:pt x="167" y="93"/>
                    </a:cubicBezTo>
                    <a:cubicBezTo>
                      <a:pt x="165" y="90"/>
                      <a:pt x="165" y="90"/>
                      <a:pt x="165" y="90"/>
                    </a:cubicBezTo>
                    <a:cubicBezTo>
                      <a:pt x="166" y="89"/>
                      <a:pt x="168" y="88"/>
                      <a:pt x="169" y="87"/>
                    </a:cubicBezTo>
                    <a:cubicBezTo>
                      <a:pt x="171" y="89"/>
                      <a:pt x="171" y="89"/>
                      <a:pt x="171" y="89"/>
                    </a:cubicBezTo>
                    <a:cubicBezTo>
                      <a:pt x="172" y="89"/>
                      <a:pt x="172" y="89"/>
                      <a:pt x="172" y="89"/>
                    </a:cubicBezTo>
                    <a:cubicBezTo>
                      <a:pt x="170" y="86"/>
                      <a:pt x="170" y="86"/>
                      <a:pt x="170" y="86"/>
                    </a:cubicBezTo>
                    <a:cubicBezTo>
                      <a:pt x="172" y="85"/>
                      <a:pt x="173" y="84"/>
                      <a:pt x="175" y="83"/>
                    </a:cubicBezTo>
                    <a:cubicBezTo>
                      <a:pt x="176" y="85"/>
                      <a:pt x="176" y="85"/>
                      <a:pt x="176" y="85"/>
                    </a:cubicBezTo>
                    <a:cubicBezTo>
                      <a:pt x="177" y="85"/>
                      <a:pt x="177" y="85"/>
                      <a:pt x="177" y="85"/>
                    </a:cubicBezTo>
                    <a:cubicBezTo>
                      <a:pt x="175" y="83"/>
                      <a:pt x="175" y="83"/>
                      <a:pt x="175" y="83"/>
                    </a:cubicBezTo>
                    <a:cubicBezTo>
                      <a:pt x="177" y="81"/>
                      <a:pt x="179" y="80"/>
                      <a:pt x="180" y="79"/>
                    </a:cubicBezTo>
                    <a:cubicBezTo>
                      <a:pt x="182" y="82"/>
                      <a:pt x="182" y="82"/>
                      <a:pt x="182" y="82"/>
                    </a:cubicBezTo>
                    <a:cubicBezTo>
                      <a:pt x="182" y="81"/>
                      <a:pt x="182" y="81"/>
                      <a:pt x="182" y="81"/>
                    </a:cubicBezTo>
                    <a:cubicBezTo>
                      <a:pt x="181" y="79"/>
                      <a:pt x="181" y="79"/>
                      <a:pt x="181" y="79"/>
                    </a:cubicBezTo>
                    <a:cubicBezTo>
                      <a:pt x="182" y="78"/>
                      <a:pt x="184" y="77"/>
                      <a:pt x="186" y="76"/>
                    </a:cubicBezTo>
                    <a:cubicBezTo>
                      <a:pt x="187" y="78"/>
                      <a:pt x="187" y="78"/>
                      <a:pt x="187" y="78"/>
                    </a:cubicBezTo>
                    <a:cubicBezTo>
                      <a:pt x="188" y="78"/>
                      <a:pt x="188" y="78"/>
                      <a:pt x="188" y="78"/>
                    </a:cubicBezTo>
                    <a:cubicBezTo>
                      <a:pt x="186" y="75"/>
                      <a:pt x="186" y="75"/>
                      <a:pt x="186" y="75"/>
                    </a:cubicBezTo>
                    <a:cubicBezTo>
                      <a:pt x="188" y="74"/>
                      <a:pt x="190" y="73"/>
                      <a:pt x="191" y="72"/>
                    </a:cubicBezTo>
                    <a:cubicBezTo>
                      <a:pt x="193" y="75"/>
                      <a:pt x="193" y="75"/>
                      <a:pt x="193" y="75"/>
                    </a:cubicBezTo>
                    <a:cubicBezTo>
                      <a:pt x="193" y="74"/>
                      <a:pt x="193" y="74"/>
                      <a:pt x="193" y="74"/>
                    </a:cubicBezTo>
                    <a:cubicBezTo>
                      <a:pt x="192" y="72"/>
                      <a:pt x="192" y="72"/>
                      <a:pt x="192" y="72"/>
                    </a:cubicBezTo>
                    <a:cubicBezTo>
                      <a:pt x="193" y="71"/>
                      <a:pt x="195" y="70"/>
                      <a:pt x="197" y="69"/>
                    </a:cubicBezTo>
                    <a:cubicBezTo>
                      <a:pt x="198" y="71"/>
                      <a:pt x="198" y="71"/>
                      <a:pt x="198" y="71"/>
                    </a:cubicBezTo>
                    <a:cubicBezTo>
                      <a:pt x="199" y="71"/>
                      <a:pt x="199" y="71"/>
                      <a:pt x="199" y="71"/>
                    </a:cubicBezTo>
                    <a:cubicBezTo>
                      <a:pt x="197" y="68"/>
                      <a:pt x="197" y="68"/>
                      <a:pt x="197" y="68"/>
                    </a:cubicBezTo>
                    <a:cubicBezTo>
                      <a:pt x="199" y="67"/>
                      <a:pt x="200" y="66"/>
                      <a:pt x="202" y="66"/>
                    </a:cubicBezTo>
                    <a:cubicBezTo>
                      <a:pt x="205" y="70"/>
                      <a:pt x="205" y="70"/>
                      <a:pt x="205" y="70"/>
                    </a:cubicBezTo>
                    <a:cubicBezTo>
                      <a:pt x="205" y="70"/>
                      <a:pt x="205" y="70"/>
                      <a:pt x="205" y="70"/>
                    </a:cubicBezTo>
                    <a:cubicBezTo>
                      <a:pt x="209" y="77"/>
                      <a:pt x="209" y="77"/>
                      <a:pt x="209" y="77"/>
                    </a:cubicBezTo>
                    <a:cubicBezTo>
                      <a:pt x="210" y="76"/>
                      <a:pt x="210" y="76"/>
                      <a:pt x="210" y="76"/>
                    </a:cubicBezTo>
                    <a:cubicBezTo>
                      <a:pt x="206" y="70"/>
                      <a:pt x="206" y="70"/>
                      <a:pt x="206" y="70"/>
                    </a:cubicBezTo>
                    <a:cubicBezTo>
                      <a:pt x="206" y="69"/>
                      <a:pt x="206" y="69"/>
                      <a:pt x="206" y="69"/>
                    </a:cubicBezTo>
                    <a:cubicBezTo>
                      <a:pt x="204" y="65"/>
                      <a:pt x="204" y="65"/>
                      <a:pt x="204" y="65"/>
                    </a:cubicBezTo>
                    <a:cubicBezTo>
                      <a:pt x="205" y="64"/>
                      <a:pt x="207" y="63"/>
                      <a:pt x="208" y="62"/>
                    </a:cubicBezTo>
                    <a:cubicBezTo>
                      <a:pt x="210" y="65"/>
                      <a:pt x="210" y="65"/>
                      <a:pt x="210" y="65"/>
                    </a:cubicBezTo>
                    <a:cubicBezTo>
                      <a:pt x="210" y="64"/>
                      <a:pt x="210" y="64"/>
                      <a:pt x="210" y="64"/>
                    </a:cubicBezTo>
                    <a:cubicBezTo>
                      <a:pt x="209" y="62"/>
                      <a:pt x="209" y="62"/>
                      <a:pt x="209" y="62"/>
                    </a:cubicBezTo>
                    <a:cubicBezTo>
                      <a:pt x="210" y="61"/>
                      <a:pt x="212" y="60"/>
                      <a:pt x="214" y="59"/>
                    </a:cubicBezTo>
                    <a:cubicBezTo>
                      <a:pt x="215" y="61"/>
                      <a:pt x="215" y="61"/>
                      <a:pt x="215" y="61"/>
                    </a:cubicBezTo>
                    <a:cubicBezTo>
                      <a:pt x="216" y="61"/>
                      <a:pt x="216" y="61"/>
                      <a:pt x="216" y="61"/>
                    </a:cubicBezTo>
                    <a:cubicBezTo>
                      <a:pt x="215" y="59"/>
                      <a:pt x="215" y="59"/>
                      <a:pt x="215" y="59"/>
                    </a:cubicBezTo>
                    <a:cubicBezTo>
                      <a:pt x="216" y="58"/>
                      <a:pt x="218" y="57"/>
                      <a:pt x="220" y="56"/>
                    </a:cubicBezTo>
                    <a:cubicBezTo>
                      <a:pt x="221" y="58"/>
                      <a:pt x="221" y="58"/>
                      <a:pt x="221" y="58"/>
                    </a:cubicBezTo>
                    <a:cubicBezTo>
                      <a:pt x="222" y="58"/>
                      <a:pt x="222" y="58"/>
                      <a:pt x="222" y="58"/>
                    </a:cubicBezTo>
                    <a:cubicBezTo>
                      <a:pt x="220" y="55"/>
                      <a:pt x="220" y="55"/>
                      <a:pt x="220" y="55"/>
                    </a:cubicBezTo>
                    <a:cubicBezTo>
                      <a:pt x="222" y="55"/>
                      <a:pt x="224" y="54"/>
                      <a:pt x="226" y="53"/>
                    </a:cubicBezTo>
                    <a:cubicBezTo>
                      <a:pt x="227" y="56"/>
                      <a:pt x="227" y="56"/>
                      <a:pt x="227" y="56"/>
                    </a:cubicBezTo>
                    <a:cubicBezTo>
                      <a:pt x="228" y="55"/>
                      <a:pt x="228" y="55"/>
                      <a:pt x="228" y="55"/>
                    </a:cubicBezTo>
                    <a:cubicBezTo>
                      <a:pt x="226" y="53"/>
                      <a:pt x="226" y="53"/>
                      <a:pt x="226" y="53"/>
                    </a:cubicBezTo>
                    <a:cubicBezTo>
                      <a:pt x="228" y="52"/>
                      <a:pt x="230" y="51"/>
                      <a:pt x="231" y="50"/>
                    </a:cubicBezTo>
                    <a:cubicBezTo>
                      <a:pt x="233" y="53"/>
                      <a:pt x="233" y="53"/>
                      <a:pt x="233" y="53"/>
                    </a:cubicBezTo>
                    <a:cubicBezTo>
                      <a:pt x="233" y="52"/>
                      <a:pt x="233" y="52"/>
                      <a:pt x="233" y="52"/>
                    </a:cubicBezTo>
                    <a:cubicBezTo>
                      <a:pt x="232" y="50"/>
                      <a:pt x="232" y="50"/>
                      <a:pt x="232" y="50"/>
                    </a:cubicBezTo>
                    <a:cubicBezTo>
                      <a:pt x="234" y="49"/>
                      <a:pt x="236" y="48"/>
                      <a:pt x="237" y="47"/>
                    </a:cubicBezTo>
                    <a:cubicBezTo>
                      <a:pt x="239" y="50"/>
                      <a:pt x="239" y="50"/>
                      <a:pt x="239" y="50"/>
                    </a:cubicBezTo>
                    <a:cubicBezTo>
                      <a:pt x="239" y="50"/>
                      <a:pt x="239" y="50"/>
                      <a:pt x="239" y="50"/>
                    </a:cubicBezTo>
                    <a:cubicBezTo>
                      <a:pt x="238" y="47"/>
                      <a:pt x="238" y="47"/>
                      <a:pt x="238" y="47"/>
                    </a:cubicBezTo>
                    <a:cubicBezTo>
                      <a:pt x="240" y="46"/>
                      <a:pt x="242" y="45"/>
                      <a:pt x="243" y="45"/>
                    </a:cubicBezTo>
                    <a:cubicBezTo>
                      <a:pt x="245" y="47"/>
                      <a:pt x="245" y="47"/>
                      <a:pt x="245" y="47"/>
                    </a:cubicBezTo>
                    <a:cubicBezTo>
                      <a:pt x="245" y="47"/>
                      <a:pt x="245" y="47"/>
                      <a:pt x="245" y="47"/>
                    </a:cubicBezTo>
                    <a:cubicBezTo>
                      <a:pt x="244" y="44"/>
                      <a:pt x="244" y="44"/>
                      <a:pt x="244" y="44"/>
                    </a:cubicBezTo>
                    <a:cubicBezTo>
                      <a:pt x="246" y="44"/>
                      <a:pt x="248" y="43"/>
                      <a:pt x="250" y="42"/>
                    </a:cubicBezTo>
                    <a:cubicBezTo>
                      <a:pt x="251" y="45"/>
                      <a:pt x="251" y="45"/>
                      <a:pt x="251" y="45"/>
                    </a:cubicBezTo>
                    <a:cubicBezTo>
                      <a:pt x="251" y="45"/>
                      <a:pt x="251" y="45"/>
                      <a:pt x="251" y="45"/>
                    </a:cubicBezTo>
                    <a:cubicBezTo>
                      <a:pt x="250" y="42"/>
                      <a:pt x="250" y="42"/>
                      <a:pt x="250" y="42"/>
                    </a:cubicBezTo>
                    <a:cubicBezTo>
                      <a:pt x="252" y="41"/>
                      <a:pt x="254" y="40"/>
                      <a:pt x="256" y="40"/>
                    </a:cubicBezTo>
                    <a:cubicBezTo>
                      <a:pt x="257" y="43"/>
                      <a:pt x="257" y="43"/>
                      <a:pt x="257" y="43"/>
                    </a:cubicBezTo>
                    <a:cubicBezTo>
                      <a:pt x="257" y="42"/>
                      <a:pt x="257" y="42"/>
                      <a:pt x="257" y="42"/>
                    </a:cubicBezTo>
                    <a:cubicBezTo>
                      <a:pt x="256" y="39"/>
                      <a:pt x="256" y="39"/>
                      <a:pt x="256" y="39"/>
                    </a:cubicBezTo>
                    <a:cubicBezTo>
                      <a:pt x="258" y="39"/>
                      <a:pt x="260" y="38"/>
                      <a:pt x="261" y="38"/>
                    </a:cubicBezTo>
                    <a:cubicBezTo>
                      <a:pt x="263" y="43"/>
                      <a:pt x="263" y="43"/>
                      <a:pt x="263" y="43"/>
                    </a:cubicBezTo>
                    <a:cubicBezTo>
                      <a:pt x="264" y="43"/>
                      <a:pt x="264" y="43"/>
                      <a:pt x="264" y="43"/>
                    </a:cubicBezTo>
                    <a:cubicBezTo>
                      <a:pt x="266" y="50"/>
                      <a:pt x="266" y="50"/>
                      <a:pt x="266" y="50"/>
                    </a:cubicBezTo>
                    <a:cubicBezTo>
                      <a:pt x="267" y="50"/>
                      <a:pt x="267" y="50"/>
                      <a:pt x="267" y="50"/>
                    </a:cubicBezTo>
                    <a:cubicBezTo>
                      <a:pt x="264" y="42"/>
                      <a:pt x="264" y="42"/>
                      <a:pt x="264" y="42"/>
                    </a:cubicBezTo>
                    <a:cubicBezTo>
                      <a:pt x="265" y="42"/>
                      <a:pt x="265" y="42"/>
                      <a:pt x="265" y="42"/>
                    </a:cubicBezTo>
                    <a:cubicBezTo>
                      <a:pt x="263" y="37"/>
                      <a:pt x="263" y="37"/>
                      <a:pt x="263" y="37"/>
                    </a:cubicBezTo>
                    <a:cubicBezTo>
                      <a:pt x="265" y="36"/>
                      <a:pt x="266" y="36"/>
                      <a:pt x="268" y="35"/>
                    </a:cubicBezTo>
                    <a:cubicBezTo>
                      <a:pt x="269" y="38"/>
                      <a:pt x="269" y="38"/>
                      <a:pt x="269" y="38"/>
                    </a:cubicBezTo>
                    <a:cubicBezTo>
                      <a:pt x="270" y="38"/>
                      <a:pt x="270" y="38"/>
                      <a:pt x="270" y="38"/>
                    </a:cubicBezTo>
                    <a:cubicBezTo>
                      <a:pt x="269" y="35"/>
                      <a:pt x="269" y="35"/>
                      <a:pt x="269" y="35"/>
                    </a:cubicBezTo>
                    <a:cubicBezTo>
                      <a:pt x="271" y="34"/>
                      <a:pt x="272" y="34"/>
                      <a:pt x="274" y="33"/>
                    </a:cubicBezTo>
                    <a:cubicBezTo>
                      <a:pt x="275" y="36"/>
                      <a:pt x="275" y="36"/>
                      <a:pt x="275" y="36"/>
                    </a:cubicBezTo>
                    <a:cubicBezTo>
                      <a:pt x="276" y="36"/>
                      <a:pt x="276" y="36"/>
                      <a:pt x="276" y="36"/>
                    </a:cubicBezTo>
                    <a:cubicBezTo>
                      <a:pt x="275" y="33"/>
                      <a:pt x="275" y="33"/>
                      <a:pt x="275" y="33"/>
                    </a:cubicBezTo>
                    <a:cubicBezTo>
                      <a:pt x="277" y="32"/>
                      <a:pt x="279" y="32"/>
                      <a:pt x="280" y="31"/>
                    </a:cubicBezTo>
                    <a:cubicBezTo>
                      <a:pt x="281" y="34"/>
                      <a:pt x="281" y="34"/>
                      <a:pt x="281" y="34"/>
                    </a:cubicBezTo>
                    <a:cubicBezTo>
                      <a:pt x="282" y="34"/>
                      <a:pt x="282" y="34"/>
                      <a:pt x="282" y="34"/>
                    </a:cubicBezTo>
                    <a:cubicBezTo>
                      <a:pt x="281" y="31"/>
                      <a:pt x="281" y="31"/>
                      <a:pt x="281" y="31"/>
                    </a:cubicBezTo>
                    <a:cubicBezTo>
                      <a:pt x="283" y="30"/>
                      <a:pt x="285" y="30"/>
                      <a:pt x="287" y="29"/>
                    </a:cubicBezTo>
                    <a:cubicBezTo>
                      <a:pt x="288" y="32"/>
                      <a:pt x="288" y="32"/>
                      <a:pt x="288" y="32"/>
                    </a:cubicBezTo>
                    <a:cubicBezTo>
                      <a:pt x="288" y="32"/>
                      <a:pt x="288" y="32"/>
                      <a:pt x="288" y="32"/>
                    </a:cubicBezTo>
                    <a:cubicBezTo>
                      <a:pt x="287" y="29"/>
                      <a:pt x="287" y="29"/>
                      <a:pt x="287" y="29"/>
                    </a:cubicBezTo>
                    <a:cubicBezTo>
                      <a:pt x="289" y="28"/>
                      <a:pt x="291" y="28"/>
                      <a:pt x="293" y="27"/>
                    </a:cubicBezTo>
                    <a:cubicBezTo>
                      <a:pt x="294" y="30"/>
                      <a:pt x="294" y="30"/>
                      <a:pt x="294" y="30"/>
                    </a:cubicBezTo>
                    <a:cubicBezTo>
                      <a:pt x="295" y="30"/>
                      <a:pt x="295" y="30"/>
                      <a:pt x="295" y="30"/>
                    </a:cubicBezTo>
                    <a:cubicBezTo>
                      <a:pt x="295" y="30"/>
                      <a:pt x="295" y="30"/>
                      <a:pt x="295" y="30"/>
                    </a:cubicBezTo>
                    <a:cubicBezTo>
                      <a:pt x="294" y="27"/>
                      <a:pt x="294" y="27"/>
                      <a:pt x="294" y="27"/>
                    </a:cubicBezTo>
                    <a:cubicBezTo>
                      <a:pt x="296" y="27"/>
                      <a:pt x="298" y="26"/>
                      <a:pt x="299" y="26"/>
                    </a:cubicBezTo>
                    <a:cubicBezTo>
                      <a:pt x="300" y="29"/>
                      <a:pt x="300" y="29"/>
                      <a:pt x="300" y="29"/>
                    </a:cubicBezTo>
                    <a:cubicBezTo>
                      <a:pt x="301" y="29"/>
                      <a:pt x="301" y="29"/>
                      <a:pt x="301" y="29"/>
                    </a:cubicBezTo>
                    <a:cubicBezTo>
                      <a:pt x="300" y="26"/>
                      <a:pt x="300" y="26"/>
                      <a:pt x="300" y="26"/>
                    </a:cubicBezTo>
                    <a:cubicBezTo>
                      <a:pt x="302" y="25"/>
                      <a:pt x="304" y="25"/>
                      <a:pt x="306" y="24"/>
                    </a:cubicBezTo>
                    <a:cubicBezTo>
                      <a:pt x="306" y="27"/>
                      <a:pt x="306" y="27"/>
                      <a:pt x="306" y="27"/>
                    </a:cubicBezTo>
                    <a:cubicBezTo>
                      <a:pt x="307" y="27"/>
                      <a:pt x="307" y="27"/>
                      <a:pt x="307" y="27"/>
                    </a:cubicBezTo>
                    <a:cubicBezTo>
                      <a:pt x="307" y="27"/>
                      <a:pt x="307" y="27"/>
                      <a:pt x="307" y="27"/>
                    </a:cubicBezTo>
                    <a:cubicBezTo>
                      <a:pt x="307" y="24"/>
                      <a:pt x="307" y="24"/>
                      <a:pt x="307" y="24"/>
                    </a:cubicBezTo>
                    <a:cubicBezTo>
                      <a:pt x="308" y="24"/>
                      <a:pt x="310" y="23"/>
                      <a:pt x="312" y="23"/>
                    </a:cubicBezTo>
                    <a:cubicBezTo>
                      <a:pt x="313" y="26"/>
                      <a:pt x="313" y="26"/>
                      <a:pt x="313" y="26"/>
                    </a:cubicBezTo>
                    <a:cubicBezTo>
                      <a:pt x="314" y="26"/>
                      <a:pt x="314" y="26"/>
                      <a:pt x="314" y="26"/>
                    </a:cubicBezTo>
                    <a:cubicBezTo>
                      <a:pt x="313" y="23"/>
                      <a:pt x="313" y="23"/>
                      <a:pt x="313" y="23"/>
                    </a:cubicBezTo>
                    <a:cubicBezTo>
                      <a:pt x="315" y="22"/>
                      <a:pt x="317" y="22"/>
                      <a:pt x="319" y="22"/>
                    </a:cubicBezTo>
                    <a:cubicBezTo>
                      <a:pt x="319" y="24"/>
                      <a:pt x="319" y="24"/>
                      <a:pt x="319" y="24"/>
                    </a:cubicBezTo>
                    <a:cubicBezTo>
                      <a:pt x="320" y="24"/>
                      <a:pt x="320" y="24"/>
                      <a:pt x="320" y="24"/>
                    </a:cubicBezTo>
                    <a:cubicBezTo>
                      <a:pt x="319" y="21"/>
                      <a:pt x="319" y="21"/>
                      <a:pt x="319" y="21"/>
                    </a:cubicBezTo>
                    <a:cubicBezTo>
                      <a:pt x="321" y="21"/>
                      <a:pt x="323" y="21"/>
                      <a:pt x="325" y="20"/>
                    </a:cubicBezTo>
                    <a:cubicBezTo>
                      <a:pt x="326" y="26"/>
                      <a:pt x="326" y="26"/>
                      <a:pt x="326" y="26"/>
                    </a:cubicBezTo>
                    <a:cubicBezTo>
                      <a:pt x="326" y="26"/>
                      <a:pt x="326" y="26"/>
                      <a:pt x="326" y="26"/>
                    </a:cubicBezTo>
                    <a:cubicBezTo>
                      <a:pt x="327" y="33"/>
                      <a:pt x="327" y="33"/>
                      <a:pt x="327" y="33"/>
                    </a:cubicBezTo>
                    <a:cubicBezTo>
                      <a:pt x="328" y="33"/>
                      <a:pt x="328" y="33"/>
                      <a:pt x="328" y="33"/>
                    </a:cubicBezTo>
                    <a:cubicBezTo>
                      <a:pt x="327" y="26"/>
                      <a:pt x="327" y="26"/>
                      <a:pt x="327" y="26"/>
                    </a:cubicBezTo>
                    <a:cubicBezTo>
                      <a:pt x="327" y="26"/>
                      <a:pt x="327" y="26"/>
                      <a:pt x="327" y="26"/>
                    </a:cubicBezTo>
                    <a:cubicBezTo>
                      <a:pt x="326" y="20"/>
                      <a:pt x="326" y="20"/>
                      <a:pt x="326" y="20"/>
                    </a:cubicBezTo>
                    <a:cubicBezTo>
                      <a:pt x="328" y="20"/>
                      <a:pt x="330" y="19"/>
                      <a:pt x="332" y="19"/>
                    </a:cubicBezTo>
                    <a:cubicBezTo>
                      <a:pt x="332" y="22"/>
                      <a:pt x="332" y="22"/>
                      <a:pt x="332" y="22"/>
                    </a:cubicBezTo>
                    <a:cubicBezTo>
                      <a:pt x="333" y="22"/>
                      <a:pt x="333" y="22"/>
                      <a:pt x="333" y="22"/>
                    </a:cubicBezTo>
                    <a:cubicBezTo>
                      <a:pt x="332" y="19"/>
                      <a:pt x="332" y="19"/>
                      <a:pt x="332" y="19"/>
                    </a:cubicBezTo>
                    <a:cubicBezTo>
                      <a:pt x="334" y="19"/>
                      <a:pt x="336" y="19"/>
                      <a:pt x="338" y="18"/>
                    </a:cubicBezTo>
                    <a:cubicBezTo>
                      <a:pt x="338" y="21"/>
                      <a:pt x="338" y="21"/>
                      <a:pt x="338" y="21"/>
                    </a:cubicBezTo>
                    <a:cubicBezTo>
                      <a:pt x="339" y="21"/>
                      <a:pt x="339" y="21"/>
                      <a:pt x="339" y="21"/>
                    </a:cubicBezTo>
                    <a:cubicBezTo>
                      <a:pt x="339" y="18"/>
                      <a:pt x="339" y="18"/>
                      <a:pt x="339" y="18"/>
                    </a:cubicBezTo>
                    <a:cubicBezTo>
                      <a:pt x="341" y="18"/>
                      <a:pt x="343" y="18"/>
                      <a:pt x="345" y="17"/>
                    </a:cubicBezTo>
                    <a:cubicBezTo>
                      <a:pt x="345" y="20"/>
                      <a:pt x="345" y="20"/>
                      <a:pt x="345" y="20"/>
                    </a:cubicBezTo>
                    <a:cubicBezTo>
                      <a:pt x="346" y="20"/>
                      <a:pt x="346" y="20"/>
                      <a:pt x="346" y="20"/>
                    </a:cubicBezTo>
                    <a:cubicBezTo>
                      <a:pt x="345" y="17"/>
                      <a:pt x="345" y="17"/>
                      <a:pt x="345" y="17"/>
                    </a:cubicBezTo>
                    <a:cubicBezTo>
                      <a:pt x="347" y="17"/>
                      <a:pt x="349" y="17"/>
                      <a:pt x="351" y="17"/>
                    </a:cubicBezTo>
                    <a:cubicBezTo>
                      <a:pt x="351" y="20"/>
                      <a:pt x="351" y="20"/>
                      <a:pt x="351" y="20"/>
                    </a:cubicBezTo>
                    <a:cubicBezTo>
                      <a:pt x="352" y="20"/>
                      <a:pt x="352" y="20"/>
                      <a:pt x="352" y="20"/>
                    </a:cubicBezTo>
                    <a:cubicBezTo>
                      <a:pt x="352" y="20"/>
                      <a:pt x="352" y="20"/>
                      <a:pt x="352" y="20"/>
                    </a:cubicBezTo>
                    <a:cubicBezTo>
                      <a:pt x="352" y="17"/>
                      <a:pt x="352" y="17"/>
                      <a:pt x="352" y="17"/>
                    </a:cubicBezTo>
                    <a:cubicBezTo>
                      <a:pt x="354" y="16"/>
                      <a:pt x="356" y="16"/>
                      <a:pt x="358" y="16"/>
                    </a:cubicBezTo>
                    <a:cubicBezTo>
                      <a:pt x="358" y="19"/>
                      <a:pt x="358" y="19"/>
                      <a:pt x="358" y="19"/>
                    </a:cubicBezTo>
                    <a:cubicBezTo>
                      <a:pt x="359" y="19"/>
                      <a:pt x="359" y="19"/>
                      <a:pt x="359" y="19"/>
                    </a:cubicBezTo>
                    <a:cubicBezTo>
                      <a:pt x="359" y="19"/>
                      <a:pt x="359" y="19"/>
                      <a:pt x="359" y="19"/>
                    </a:cubicBezTo>
                    <a:cubicBezTo>
                      <a:pt x="359" y="19"/>
                      <a:pt x="359" y="19"/>
                      <a:pt x="359" y="19"/>
                    </a:cubicBezTo>
                    <a:cubicBezTo>
                      <a:pt x="358" y="16"/>
                      <a:pt x="358" y="16"/>
                      <a:pt x="358" y="16"/>
                    </a:cubicBezTo>
                    <a:cubicBezTo>
                      <a:pt x="360" y="16"/>
                      <a:pt x="362" y="16"/>
                      <a:pt x="364" y="15"/>
                    </a:cubicBezTo>
                    <a:cubicBezTo>
                      <a:pt x="364" y="18"/>
                      <a:pt x="364" y="18"/>
                      <a:pt x="364" y="18"/>
                    </a:cubicBezTo>
                    <a:cubicBezTo>
                      <a:pt x="365" y="18"/>
                      <a:pt x="365" y="18"/>
                      <a:pt x="365" y="18"/>
                    </a:cubicBezTo>
                    <a:cubicBezTo>
                      <a:pt x="365" y="18"/>
                      <a:pt x="365" y="18"/>
                      <a:pt x="365" y="18"/>
                    </a:cubicBezTo>
                    <a:cubicBezTo>
                      <a:pt x="365" y="15"/>
                      <a:pt x="365" y="15"/>
                      <a:pt x="365" y="15"/>
                    </a:cubicBezTo>
                    <a:cubicBezTo>
                      <a:pt x="367" y="15"/>
                      <a:pt x="369" y="15"/>
                      <a:pt x="371" y="15"/>
                    </a:cubicBezTo>
                    <a:cubicBezTo>
                      <a:pt x="371" y="18"/>
                      <a:pt x="371" y="18"/>
                      <a:pt x="371" y="18"/>
                    </a:cubicBezTo>
                    <a:cubicBezTo>
                      <a:pt x="372" y="18"/>
                      <a:pt x="372" y="18"/>
                      <a:pt x="372" y="18"/>
                    </a:cubicBezTo>
                    <a:cubicBezTo>
                      <a:pt x="372" y="15"/>
                      <a:pt x="372" y="15"/>
                      <a:pt x="372" y="15"/>
                    </a:cubicBezTo>
                    <a:cubicBezTo>
                      <a:pt x="373" y="15"/>
                      <a:pt x="375" y="15"/>
                      <a:pt x="377" y="15"/>
                    </a:cubicBezTo>
                    <a:cubicBezTo>
                      <a:pt x="377" y="18"/>
                      <a:pt x="377" y="18"/>
                      <a:pt x="377" y="18"/>
                    </a:cubicBezTo>
                    <a:cubicBezTo>
                      <a:pt x="378" y="18"/>
                      <a:pt x="378" y="18"/>
                      <a:pt x="378" y="18"/>
                    </a:cubicBezTo>
                    <a:cubicBezTo>
                      <a:pt x="378" y="15"/>
                      <a:pt x="378" y="15"/>
                      <a:pt x="378" y="15"/>
                    </a:cubicBezTo>
                    <a:cubicBezTo>
                      <a:pt x="380" y="15"/>
                      <a:pt x="382" y="15"/>
                      <a:pt x="384" y="15"/>
                    </a:cubicBezTo>
                    <a:cubicBezTo>
                      <a:pt x="384" y="18"/>
                      <a:pt x="384" y="18"/>
                      <a:pt x="384" y="18"/>
                    </a:cubicBezTo>
                    <a:cubicBezTo>
                      <a:pt x="385" y="18"/>
                      <a:pt x="385" y="18"/>
                      <a:pt x="385" y="18"/>
                    </a:cubicBezTo>
                    <a:cubicBezTo>
                      <a:pt x="385" y="15"/>
                      <a:pt x="385" y="15"/>
                      <a:pt x="385" y="15"/>
                    </a:cubicBezTo>
                    <a:cubicBezTo>
                      <a:pt x="386" y="15"/>
                      <a:pt x="388" y="15"/>
                      <a:pt x="390" y="15"/>
                    </a:cubicBezTo>
                    <a:cubicBezTo>
                      <a:pt x="390" y="20"/>
                      <a:pt x="390" y="20"/>
                      <a:pt x="390" y="20"/>
                    </a:cubicBezTo>
                    <a:cubicBezTo>
                      <a:pt x="390" y="20"/>
                      <a:pt x="390" y="20"/>
                      <a:pt x="390" y="20"/>
                    </a:cubicBezTo>
                    <a:cubicBezTo>
                      <a:pt x="390" y="28"/>
                      <a:pt x="390" y="28"/>
                      <a:pt x="390" y="28"/>
                    </a:cubicBezTo>
                    <a:cubicBezTo>
                      <a:pt x="391" y="28"/>
                      <a:pt x="391" y="28"/>
                      <a:pt x="391" y="28"/>
                    </a:cubicBezTo>
                    <a:cubicBezTo>
                      <a:pt x="391" y="20"/>
                      <a:pt x="391" y="20"/>
                      <a:pt x="391" y="20"/>
                    </a:cubicBezTo>
                    <a:cubicBezTo>
                      <a:pt x="392" y="20"/>
                      <a:pt x="392" y="20"/>
                      <a:pt x="392" y="20"/>
                    </a:cubicBezTo>
                    <a:cubicBezTo>
                      <a:pt x="392" y="15"/>
                      <a:pt x="392" y="15"/>
                      <a:pt x="392" y="15"/>
                    </a:cubicBezTo>
                    <a:cubicBezTo>
                      <a:pt x="393" y="15"/>
                      <a:pt x="395" y="15"/>
                      <a:pt x="397" y="15"/>
                    </a:cubicBezTo>
                    <a:cubicBezTo>
                      <a:pt x="397" y="18"/>
                      <a:pt x="397" y="18"/>
                      <a:pt x="397" y="18"/>
                    </a:cubicBezTo>
                    <a:cubicBezTo>
                      <a:pt x="398" y="18"/>
                      <a:pt x="398" y="18"/>
                      <a:pt x="398" y="18"/>
                    </a:cubicBezTo>
                    <a:cubicBezTo>
                      <a:pt x="398" y="15"/>
                      <a:pt x="398" y="15"/>
                      <a:pt x="398" y="15"/>
                    </a:cubicBezTo>
                    <a:cubicBezTo>
                      <a:pt x="400" y="15"/>
                      <a:pt x="402" y="15"/>
                      <a:pt x="404" y="15"/>
                    </a:cubicBezTo>
                    <a:cubicBezTo>
                      <a:pt x="403" y="18"/>
                      <a:pt x="403" y="18"/>
                      <a:pt x="403" y="18"/>
                    </a:cubicBezTo>
                    <a:cubicBezTo>
                      <a:pt x="404" y="18"/>
                      <a:pt x="404" y="18"/>
                      <a:pt x="404" y="18"/>
                    </a:cubicBezTo>
                    <a:cubicBezTo>
                      <a:pt x="404" y="15"/>
                      <a:pt x="404" y="15"/>
                      <a:pt x="404" y="15"/>
                    </a:cubicBezTo>
                    <a:cubicBezTo>
                      <a:pt x="406" y="15"/>
                      <a:pt x="408" y="15"/>
                      <a:pt x="410" y="15"/>
                    </a:cubicBezTo>
                    <a:cubicBezTo>
                      <a:pt x="410" y="18"/>
                      <a:pt x="410" y="18"/>
                      <a:pt x="410" y="18"/>
                    </a:cubicBezTo>
                    <a:cubicBezTo>
                      <a:pt x="411" y="18"/>
                      <a:pt x="411" y="18"/>
                      <a:pt x="411" y="18"/>
                    </a:cubicBezTo>
                    <a:cubicBezTo>
                      <a:pt x="411" y="15"/>
                      <a:pt x="411" y="15"/>
                      <a:pt x="411" y="15"/>
                    </a:cubicBezTo>
                    <a:cubicBezTo>
                      <a:pt x="413" y="15"/>
                      <a:pt x="415" y="15"/>
                      <a:pt x="417" y="15"/>
                    </a:cubicBezTo>
                    <a:cubicBezTo>
                      <a:pt x="416" y="18"/>
                      <a:pt x="416" y="18"/>
                      <a:pt x="416" y="18"/>
                    </a:cubicBezTo>
                    <a:cubicBezTo>
                      <a:pt x="417" y="18"/>
                      <a:pt x="417" y="18"/>
                      <a:pt x="417" y="18"/>
                    </a:cubicBezTo>
                    <a:cubicBezTo>
                      <a:pt x="417" y="15"/>
                      <a:pt x="417" y="15"/>
                      <a:pt x="417" y="15"/>
                    </a:cubicBezTo>
                    <a:cubicBezTo>
                      <a:pt x="419" y="16"/>
                      <a:pt x="421" y="16"/>
                      <a:pt x="423" y="16"/>
                    </a:cubicBezTo>
                    <a:cubicBezTo>
                      <a:pt x="423" y="19"/>
                      <a:pt x="423" y="19"/>
                      <a:pt x="423" y="19"/>
                    </a:cubicBezTo>
                    <a:cubicBezTo>
                      <a:pt x="424" y="19"/>
                      <a:pt x="424" y="19"/>
                      <a:pt x="424" y="19"/>
                    </a:cubicBezTo>
                    <a:cubicBezTo>
                      <a:pt x="424" y="16"/>
                      <a:pt x="424" y="16"/>
                      <a:pt x="424" y="16"/>
                    </a:cubicBezTo>
                    <a:cubicBezTo>
                      <a:pt x="426" y="16"/>
                      <a:pt x="428" y="16"/>
                      <a:pt x="430" y="17"/>
                    </a:cubicBezTo>
                    <a:cubicBezTo>
                      <a:pt x="429" y="20"/>
                      <a:pt x="429" y="20"/>
                      <a:pt x="429" y="20"/>
                    </a:cubicBezTo>
                    <a:cubicBezTo>
                      <a:pt x="430" y="20"/>
                      <a:pt x="430" y="20"/>
                      <a:pt x="430" y="20"/>
                    </a:cubicBezTo>
                    <a:cubicBezTo>
                      <a:pt x="431" y="17"/>
                      <a:pt x="431" y="17"/>
                      <a:pt x="431" y="17"/>
                    </a:cubicBezTo>
                    <a:cubicBezTo>
                      <a:pt x="432" y="17"/>
                      <a:pt x="434" y="17"/>
                      <a:pt x="436" y="17"/>
                    </a:cubicBezTo>
                    <a:cubicBezTo>
                      <a:pt x="436" y="20"/>
                      <a:pt x="436" y="20"/>
                      <a:pt x="436" y="20"/>
                    </a:cubicBezTo>
                    <a:cubicBezTo>
                      <a:pt x="437" y="20"/>
                      <a:pt x="437" y="20"/>
                      <a:pt x="437" y="20"/>
                    </a:cubicBezTo>
                    <a:cubicBezTo>
                      <a:pt x="437" y="17"/>
                      <a:pt x="437" y="17"/>
                      <a:pt x="437" y="17"/>
                    </a:cubicBezTo>
                    <a:cubicBezTo>
                      <a:pt x="439" y="18"/>
                      <a:pt x="441" y="18"/>
                      <a:pt x="443" y="18"/>
                    </a:cubicBezTo>
                    <a:cubicBezTo>
                      <a:pt x="442" y="21"/>
                      <a:pt x="442" y="21"/>
                      <a:pt x="442" y="21"/>
                    </a:cubicBezTo>
                    <a:cubicBezTo>
                      <a:pt x="443" y="21"/>
                      <a:pt x="443" y="21"/>
                      <a:pt x="443" y="21"/>
                    </a:cubicBezTo>
                    <a:cubicBezTo>
                      <a:pt x="444" y="18"/>
                      <a:pt x="444" y="18"/>
                      <a:pt x="444" y="18"/>
                    </a:cubicBezTo>
                    <a:cubicBezTo>
                      <a:pt x="445" y="19"/>
                      <a:pt x="447" y="19"/>
                      <a:pt x="449" y="19"/>
                    </a:cubicBezTo>
                    <a:cubicBezTo>
                      <a:pt x="449" y="22"/>
                      <a:pt x="449" y="22"/>
                      <a:pt x="449" y="22"/>
                    </a:cubicBezTo>
                    <a:cubicBezTo>
                      <a:pt x="450" y="22"/>
                      <a:pt x="450" y="22"/>
                      <a:pt x="450" y="22"/>
                    </a:cubicBezTo>
                    <a:cubicBezTo>
                      <a:pt x="450" y="19"/>
                      <a:pt x="450" y="19"/>
                      <a:pt x="450" y="19"/>
                    </a:cubicBezTo>
                    <a:cubicBezTo>
                      <a:pt x="452" y="20"/>
                      <a:pt x="454" y="20"/>
                      <a:pt x="455" y="20"/>
                    </a:cubicBezTo>
                    <a:cubicBezTo>
                      <a:pt x="454" y="26"/>
                      <a:pt x="454" y="26"/>
                      <a:pt x="454" y="26"/>
                    </a:cubicBezTo>
                    <a:cubicBezTo>
                      <a:pt x="455" y="26"/>
                      <a:pt x="455" y="26"/>
                      <a:pt x="455" y="26"/>
                    </a:cubicBezTo>
                    <a:cubicBezTo>
                      <a:pt x="453" y="33"/>
                      <a:pt x="453" y="33"/>
                      <a:pt x="453" y="33"/>
                    </a:cubicBezTo>
                    <a:cubicBezTo>
                      <a:pt x="454" y="33"/>
                      <a:pt x="454" y="33"/>
                      <a:pt x="454" y="33"/>
                    </a:cubicBezTo>
                    <a:cubicBezTo>
                      <a:pt x="456" y="26"/>
                      <a:pt x="456" y="26"/>
                      <a:pt x="456" y="26"/>
                    </a:cubicBezTo>
                    <a:cubicBezTo>
                      <a:pt x="456" y="26"/>
                      <a:pt x="456" y="26"/>
                      <a:pt x="456" y="26"/>
                    </a:cubicBezTo>
                    <a:cubicBezTo>
                      <a:pt x="457" y="20"/>
                      <a:pt x="457" y="20"/>
                      <a:pt x="457" y="20"/>
                    </a:cubicBezTo>
                    <a:cubicBezTo>
                      <a:pt x="459" y="21"/>
                      <a:pt x="460" y="21"/>
                      <a:pt x="462" y="21"/>
                    </a:cubicBezTo>
                    <a:cubicBezTo>
                      <a:pt x="462" y="24"/>
                      <a:pt x="462" y="24"/>
                      <a:pt x="462" y="24"/>
                    </a:cubicBezTo>
                    <a:cubicBezTo>
                      <a:pt x="462" y="24"/>
                      <a:pt x="462" y="24"/>
                      <a:pt x="462" y="24"/>
                    </a:cubicBezTo>
                    <a:cubicBezTo>
                      <a:pt x="463" y="22"/>
                      <a:pt x="463" y="22"/>
                      <a:pt x="463" y="22"/>
                    </a:cubicBezTo>
                    <a:cubicBezTo>
                      <a:pt x="465" y="22"/>
                      <a:pt x="467" y="22"/>
                      <a:pt x="469" y="23"/>
                    </a:cubicBezTo>
                    <a:cubicBezTo>
                      <a:pt x="468" y="26"/>
                      <a:pt x="468" y="26"/>
                      <a:pt x="468" y="26"/>
                    </a:cubicBezTo>
                    <a:cubicBezTo>
                      <a:pt x="469" y="26"/>
                      <a:pt x="469" y="26"/>
                      <a:pt x="469" y="26"/>
                    </a:cubicBezTo>
                    <a:cubicBezTo>
                      <a:pt x="469" y="23"/>
                      <a:pt x="469" y="23"/>
                      <a:pt x="469" y="23"/>
                    </a:cubicBezTo>
                    <a:cubicBezTo>
                      <a:pt x="471" y="23"/>
                      <a:pt x="473" y="24"/>
                      <a:pt x="475" y="24"/>
                    </a:cubicBezTo>
                    <a:cubicBezTo>
                      <a:pt x="474" y="27"/>
                      <a:pt x="474" y="27"/>
                      <a:pt x="474" y="27"/>
                    </a:cubicBezTo>
                    <a:cubicBezTo>
                      <a:pt x="475" y="27"/>
                      <a:pt x="475" y="27"/>
                      <a:pt x="475" y="27"/>
                    </a:cubicBezTo>
                    <a:cubicBezTo>
                      <a:pt x="476" y="24"/>
                      <a:pt x="476" y="24"/>
                      <a:pt x="476" y="24"/>
                    </a:cubicBezTo>
                    <a:cubicBezTo>
                      <a:pt x="478" y="25"/>
                      <a:pt x="480" y="25"/>
                      <a:pt x="481" y="26"/>
                    </a:cubicBezTo>
                    <a:cubicBezTo>
                      <a:pt x="481" y="29"/>
                      <a:pt x="481" y="29"/>
                      <a:pt x="481" y="29"/>
                    </a:cubicBezTo>
                    <a:cubicBezTo>
                      <a:pt x="481" y="29"/>
                      <a:pt x="481" y="29"/>
                      <a:pt x="481" y="29"/>
                    </a:cubicBezTo>
                    <a:cubicBezTo>
                      <a:pt x="482" y="26"/>
                      <a:pt x="482" y="26"/>
                      <a:pt x="482" y="26"/>
                    </a:cubicBezTo>
                    <a:cubicBezTo>
                      <a:pt x="484" y="26"/>
                      <a:pt x="486" y="27"/>
                      <a:pt x="488" y="27"/>
                    </a:cubicBezTo>
                    <a:cubicBezTo>
                      <a:pt x="487" y="30"/>
                      <a:pt x="487" y="30"/>
                      <a:pt x="487" y="30"/>
                    </a:cubicBezTo>
                    <a:cubicBezTo>
                      <a:pt x="488" y="30"/>
                      <a:pt x="488" y="30"/>
                      <a:pt x="488" y="30"/>
                    </a:cubicBezTo>
                    <a:cubicBezTo>
                      <a:pt x="489" y="27"/>
                      <a:pt x="489" y="27"/>
                      <a:pt x="489" y="27"/>
                    </a:cubicBezTo>
                    <a:cubicBezTo>
                      <a:pt x="490" y="28"/>
                      <a:pt x="492" y="28"/>
                      <a:pt x="494" y="29"/>
                    </a:cubicBezTo>
                    <a:cubicBezTo>
                      <a:pt x="493" y="32"/>
                      <a:pt x="493" y="32"/>
                      <a:pt x="493" y="32"/>
                    </a:cubicBezTo>
                    <a:cubicBezTo>
                      <a:pt x="494" y="32"/>
                      <a:pt x="494" y="32"/>
                      <a:pt x="494" y="32"/>
                    </a:cubicBezTo>
                    <a:cubicBezTo>
                      <a:pt x="495" y="29"/>
                      <a:pt x="495" y="29"/>
                      <a:pt x="495" y="29"/>
                    </a:cubicBezTo>
                    <a:cubicBezTo>
                      <a:pt x="497" y="30"/>
                      <a:pt x="499" y="30"/>
                      <a:pt x="500" y="31"/>
                    </a:cubicBezTo>
                    <a:cubicBezTo>
                      <a:pt x="500" y="34"/>
                      <a:pt x="500" y="34"/>
                      <a:pt x="500" y="34"/>
                    </a:cubicBezTo>
                    <a:cubicBezTo>
                      <a:pt x="500" y="34"/>
                      <a:pt x="500" y="34"/>
                      <a:pt x="500" y="34"/>
                    </a:cubicBezTo>
                    <a:cubicBezTo>
                      <a:pt x="501" y="31"/>
                      <a:pt x="501" y="31"/>
                      <a:pt x="501" y="31"/>
                    </a:cubicBezTo>
                    <a:cubicBezTo>
                      <a:pt x="503" y="32"/>
                      <a:pt x="505" y="32"/>
                      <a:pt x="507" y="33"/>
                    </a:cubicBezTo>
                    <a:cubicBezTo>
                      <a:pt x="506" y="36"/>
                      <a:pt x="506" y="36"/>
                      <a:pt x="506" y="36"/>
                    </a:cubicBezTo>
                    <a:cubicBezTo>
                      <a:pt x="507" y="36"/>
                      <a:pt x="507" y="36"/>
                      <a:pt x="507" y="36"/>
                    </a:cubicBezTo>
                    <a:cubicBezTo>
                      <a:pt x="507" y="33"/>
                      <a:pt x="507" y="33"/>
                      <a:pt x="507" y="33"/>
                    </a:cubicBezTo>
                    <a:cubicBezTo>
                      <a:pt x="509" y="34"/>
                      <a:pt x="511" y="34"/>
                      <a:pt x="513" y="35"/>
                    </a:cubicBezTo>
                    <a:cubicBezTo>
                      <a:pt x="512" y="38"/>
                      <a:pt x="512" y="38"/>
                      <a:pt x="512" y="38"/>
                    </a:cubicBezTo>
                    <a:cubicBezTo>
                      <a:pt x="513" y="38"/>
                      <a:pt x="513" y="38"/>
                      <a:pt x="513" y="38"/>
                    </a:cubicBezTo>
                    <a:cubicBezTo>
                      <a:pt x="514" y="35"/>
                      <a:pt x="514" y="35"/>
                      <a:pt x="514" y="35"/>
                    </a:cubicBezTo>
                    <a:cubicBezTo>
                      <a:pt x="515" y="36"/>
                      <a:pt x="517" y="36"/>
                      <a:pt x="519" y="37"/>
                    </a:cubicBezTo>
                    <a:cubicBezTo>
                      <a:pt x="517" y="42"/>
                      <a:pt x="517" y="42"/>
                      <a:pt x="517" y="42"/>
                    </a:cubicBezTo>
                    <a:cubicBezTo>
                      <a:pt x="517" y="42"/>
                      <a:pt x="517" y="42"/>
                      <a:pt x="517" y="42"/>
                    </a:cubicBezTo>
                    <a:cubicBezTo>
                      <a:pt x="515" y="50"/>
                      <a:pt x="515" y="50"/>
                      <a:pt x="515" y="50"/>
                    </a:cubicBezTo>
                    <a:cubicBezTo>
                      <a:pt x="515" y="50"/>
                      <a:pt x="515" y="50"/>
                      <a:pt x="515" y="50"/>
                    </a:cubicBezTo>
                    <a:cubicBezTo>
                      <a:pt x="518" y="43"/>
                      <a:pt x="518" y="43"/>
                      <a:pt x="518" y="43"/>
                    </a:cubicBezTo>
                    <a:cubicBezTo>
                      <a:pt x="518" y="43"/>
                      <a:pt x="518" y="43"/>
                      <a:pt x="518" y="43"/>
                    </a:cubicBezTo>
                    <a:cubicBezTo>
                      <a:pt x="520" y="38"/>
                      <a:pt x="520" y="38"/>
                      <a:pt x="520" y="38"/>
                    </a:cubicBezTo>
                    <a:cubicBezTo>
                      <a:pt x="522" y="38"/>
                      <a:pt x="524" y="39"/>
                      <a:pt x="525" y="39"/>
                    </a:cubicBezTo>
                    <a:cubicBezTo>
                      <a:pt x="524" y="42"/>
                      <a:pt x="524" y="42"/>
                      <a:pt x="524" y="42"/>
                    </a:cubicBezTo>
                    <a:cubicBezTo>
                      <a:pt x="525" y="43"/>
                      <a:pt x="525" y="43"/>
                      <a:pt x="525" y="43"/>
                    </a:cubicBezTo>
                    <a:cubicBezTo>
                      <a:pt x="526" y="40"/>
                      <a:pt x="526" y="40"/>
                      <a:pt x="526" y="40"/>
                    </a:cubicBezTo>
                    <a:cubicBezTo>
                      <a:pt x="528" y="40"/>
                      <a:pt x="530" y="41"/>
                      <a:pt x="531" y="42"/>
                    </a:cubicBezTo>
                    <a:cubicBezTo>
                      <a:pt x="530" y="45"/>
                      <a:pt x="530" y="45"/>
                      <a:pt x="530" y="45"/>
                    </a:cubicBezTo>
                    <a:cubicBezTo>
                      <a:pt x="531" y="45"/>
                      <a:pt x="531" y="45"/>
                      <a:pt x="531" y="45"/>
                    </a:cubicBezTo>
                    <a:cubicBezTo>
                      <a:pt x="532" y="42"/>
                      <a:pt x="532" y="42"/>
                      <a:pt x="532" y="42"/>
                    </a:cubicBezTo>
                    <a:cubicBezTo>
                      <a:pt x="534" y="43"/>
                      <a:pt x="536" y="44"/>
                      <a:pt x="537" y="44"/>
                    </a:cubicBezTo>
                    <a:cubicBezTo>
                      <a:pt x="536" y="47"/>
                      <a:pt x="536" y="47"/>
                      <a:pt x="536" y="47"/>
                    </a:cubicBezTo>
                    <a:cubicBezTo>
                      <a:pt x="537" y="47"/>
                      <a:pt x="537" y="47"/>
                      <a:pt x="537" y="47"/>
                    </a:cubicBezTo>
                    <a:cubicBezTo>
                      <a:pt x="538" y="45"/>
                      <a:pt x="538" y="45"/>
                      <a:pt x="538" y="45"/>
                    </a:cubicBezTo>
                    <a:cubicBezTo>
                      <a:pt x="540" y="45"/>
                      <a:pt x="542" y="46"/>
                      <a:pt x="543" y="47"/>
                    </a:cubicBezTo>
                    <a:cubicBezTo>
                      <a:pt x="542" y="50"/>
                      <a:pt x="542" y="50"/>
                      <a:pt x="542" y="50"/>
                    </a:cubicBezTo>
                    <a:cubicBezTo>
                      <a:pt x="543" y="50"/>
                      <a:pt x="543" y="50"/>
                      <a:pt x="543" y="50"/>
                    </a:cubicBezTo>
                    <a:cubicBezTo>
                      <a:pt x="544" y="47"/>
                      <a:pt x="544" y="47"/>
                      <a:pt x="544" y="47"/>
                    </a:cubicBezTo>
                    <a:cubicBezTo>
                      <a:pt x="546" y="48"/>
                      <a:pt x="548" y="49"/>
                      <a:pt x="549" y="50"/>
                    </a:cubicBezTo>
                    <a:cubicBezTo>
                      <a:pt x="548" y="52"/>
                      <a:pt x="548" y="52"/>
                      <a:pt x="548" y="52"/>
                    </a:cubicBezTo>
                    <a:cubicBezTo>
                      <a:pt x="549" y="53"/>
                      <a:pt x="549" y="53"/>
                      <a:pt x="549" y="53"/>
                    </a:cubicBezTo>
                    <a:cubicBezTo>
                      <a:pt x="550" y="50"/>
                      <a:pt x="550" y="50"/>
                      <a:pt x="550" y="50"/>
                    </a:cubicBezTo>
                    <a:cubicBezTo>
                      <a:pt x="552" y="51"/>
                      <a:pt x="554" y="52"/>
                      <a:pt x="555" y="53"/>
                    </a:cubicBezTo>
                    <a:cubicBezTo>
                      <a:pt x="554" y="55"/>
                      <a:pt x="554" y="55"/>
                      <a:pt x="554" y="55"/>
                    </a:cubicBezTo>
                    <a:cubicBezTo>
                      <a:pt x="555" y="56"/>
                      <a:pt x="555" y="56"/>
                      <a:pt x="555" y="56"/>
                    </a:cubicBezTo>
                    <a:cubicBezTo>
                      <a:pt x="556" y="53"/>
                      <a:pt x="556" y="53"/>
                      <a:pt x="556" y="53"/>
                    </a:cubicBezTo>
                    <a:cubicBezTo>
                      <a:pt x="558" y="54"/>
                      <a:pt x="560" y="55"/>
                      <a:pt x="561" y="55"/>
                    </a:cubicBezTo>
                    <a:cubicBezTo>
                      <a:pt x="560" y="58"/>
                      <a:pt x="560" y="58"/>
                      <a:pt x="560" y="58"/>
                    </a:cubicBezTo>
                    <a:cubicBezTo>
                      <a:pt x="561" y="58"/>
                      <a:pt x="561" y="58"/>
                      <a:pt x="561" y="58"/>
                    </a:cubicBezTo>
                    <a:cubicBezTo>
                      <a:pt x="562" y="56"/>
                      <a:pt x="562" y="56"/>
                      <a:pt x="562" y="56"/>
                    </a:cubicBezTo>
                    <a:cubicBezTo>
                      <a:pt x="564" y="57"/>
                      <a:pt x="565" y="58"/>
                      <a:pt x="567" y="59"/>
                    </a:cubicBezTo>
                    <a:cubicBezTo>
                      <a:pt x="566" y="61"/>
                      <a:pt x="566" y="61"/>
                      <a:pt x="566" y="61"/>
                    </a:cubicBezTo>
                    <a:cubicBezTo>
                      <a:pt x="566" y="61"/>
                      <a:pt x="566" y="61"/>
                      <a:pt x="566" y="61"/>
                    </a:cubicBezTo>
                    <a:cubicBezTo>
                      <a:pt x="568" y="59"/>
                      <a:pt x="568" y="59"/>
                      <a:pt x="568" y="59"/>
                    </a:cubicBezTo>
                    <a:cubicBezTo>
                      <a:pt x="569" y="60"/>
                      <a:pt x="571" y="61"/>
                      <a:pt x="573" y="62"/>
                    </a:cubicBezTo>
                    <a:cubicBezTo>
                      <a:pt x="571" y="64"/>
                      <a:pt x="571" y="64"/>
                      <a:pt x="571" y="64"/>
                    </a:cubicBezTo>
                    <a:cubicBezTo>
                      <a:pt x="572" y="65"/>
                      <a:pt x="572" y="65"/>
                      <a:pt x="572" y="65"/>
                    </a:cubicBezTo>
                    <a:cubicBezTo>
                      <a:pt x="574" y="62"/>
                      <a:pt x="574" y="62"/>
                      <a:pt x="574" y="62"/>
                    </a:cubicBezTo>
                    <a:cubicBezTo>
                      <a:pt x="575" y="63"/>
                      <a:pt x="577" y="64"/>
                      <a:pt x="578" y="65"/>
                    </a:cubicBezTo>
                    <a:cubicBezTo>
                      <a:pt x="575" y="69"/>
                      <a:pt x="575" y="69"/>
                      <a:pt x="575" y="69"/>
                    </a:cubicBezTo>
                    <a:cubicBezTo>
                      <a:pt x="576" y="70"/>
                      <a:pt x="576" y="70"/>
                      <a:pt x="576" y="70"/>
                    </a:cubicBezTo>
                    <a:cubicBezTo>
                      <a:pt x="572" y="76"/>
                      <a:pt x="572" y="76"/>
                      <a:pt x="572" y="76"/>
                    </a:cubicBezTo>
                    <a:cubicBezTo>
                      <a:pt x="573" y="77"/>
                      <a:pt x="573" y="77"/>
                      <a:pt x="573" y="77"/>
                    </a:cubicBezTo>
                    <a:cubicBezTo>
                      <a:pt x="576" y="70"/>
                      <a:pt x="576" y="70"/>
                      <a:pt x="576" y="70"/>
                    </a:cubicBezTo>
                    <a:cubicBezTo>
                      <a:pt x="577" y="70"/>
                      <a:pt x="577" y="70"/>
                      <a:pt x="577" y="70"/>
                    </a:cubicBezTo>
                    <a:cubicBezTo>
                      <a:pt x="580" y="66"/>
                      <a:pt x="580" y="66"/>
                      <a:pt x="580" y="66"/>
                    </a:cubicBezTo>
                    <a:cubicBezTo>
                      <a:pt x="581" y="66"/>
                      <a:pt x="583" y="67"/>
                      <a:pt x="584" y="68"/>
                    </a:cubicBezTo>
                    <a:cubicBezTo>
                      <a:pt x="583" y="71"/>
                      <a:pt x="583" y="71"/>
                      <a:pt x="583" y="71"/>
                    </a:cubicBezTo>
                    <a:cubicBezTo>
                      <a:pt x="583" y="71"/>
                      <a:pt x="583" y="71"/>
                      <a:pt x="583" y="71"/>
                    </a:cubicBezTo>
                    <a:cubicBezTo>
                      <a:pt x="585" y="69"/>
                      <a:pt x="585" y="69"/>
                      <a:pt x="585" y="69"/>
                    </a:cubicBezTo>
                    <a:cubicBezTo>
                      <a:pt x="587" y="70"/>
                      <a:pt x="588" y="71"/>
                      <a:pt x="590" y="72"/>
                    </a:cubicBezTo>
                    <a:cubicBezTo>
                      <a:pt x="588" y="74"/>
                      <a:pt x="588" y="74"/>
                      <a:pt x="588" y="74"/>
                    </a:cubicBezTo>
                    <a:cubicBezTo>
                      <a:pt x="589" y="75"/>
                      <a:pt x="589" y="75"/>
                      <a:pt x="589" y="75"/>
                    </a:cubicBezTo>
                    <a:cubicBezTo>
                      <a:pt x="590" y="72"/>
                      <a:pt x="590" y="72"/>
                      <a:pt x="590" y="72"/>
                    </a:cubicBezTo>
                    <a:cubicBezTo>
                      <a:pt x="592" y="73"/>
                      <a:pt x="594" y="74"/>
                      <a:pt x="595" y="75"/>
                    </a:cubicBezTo>
                    <a:cubicBezTo>
                      <a:pt x="594" y="78"/>
                      <a:pt x="594" y="78"/>
                      <a:pt x="594" y="78"/>
                    </a:cubicBezTo>
                    <a:cubicBezTo>
                      <a:pt x="594" y="78"/>
                      <a:pt x="594" y="78"/>
                      <a:pt x="594" y="78"/>
                    </a:cubicBezTo>
                    <a:cubicBezTo>
                      <a:pt x="596" y="76"/>
                      <a:pt x="596" y="76"/>
                      <a:pt x="596" y="76"/>
                    </a:cubicBezTo>
                    <a:cubicBezTo>
                      <a:pt x="598" y="77"/>
                      <a:pt x="599" y="78"/>
                      <a:pt x="601" y="79"/>
                    </a:cubicBezTo>
                    <a:cubicBezTo>
                      <a:pt x="599" y="81"/>
                      <a:pt x="599" y="81"/>
                      <a:pt x="599" y="81"/>
                    </a:cubicBezTo>
                    <a:cubicBezTo>
                      <a:pt x="600" y="82"/>
                      <a:pt x="600" y="82"/>
                      <a:pt x="600" y="82"/>
                    </a:cubicBezTo>
                    <a:cubicBezTo>
                      <a:pt x="601" y="79"/>
                      <a:pt x="601" y="79"/>
                      <a:pt x="601" y="79"/>
                    </a:cubicBezTo>
                    <a:cubicBezTo>
                      <a:pt x="603" y="80"/>
                      <a:pt x="605" y="81"/>
                      <a:pt x="606" y="83"/>
                    </a:cubicBezTo>
                    <a:cubicBezTo>
                      <a:pt x="605" y="85"/>
                      <a:pt x="605" y="85"/>
                      <a:pt x="605" y="85"/>
                    </a:cubicBezTo>
                    <a:cubicBezTo>
                      <a:pt x="605" y="85"/>
                      <a:pt x="605" y="85"/>
                      <a:pt x="605" y="85"/>
                    </a:cubicBezTo>
                    <a:cubicBezTo>
                      <a:pt x="607" y="83"/>
                      <a:pt x="607" y="83"/>
                      <a:pt x="607" y="83"/>
                    </a:cubicBezTo>
                    <a:cubicBezTo>
                      <a:pt x="608" y="84"/>
                      <a:pt x="610" y="85"/>
                      <a:pt x="612" y="86"/>
                    </a:cubicBezTo>
                    <a:cubicBezTo>
                      <a:pt x="610" y="89"/>
                      <a:pt x="610" y="89"/>
                      <a:pt x="610" y="89"/>
                    </a:cubicBezTo>
                    <a:cubicBezTo>
                      <a:pt x="611" y="89"/>
                      <a:pt x="611" y="89"/>
                      <a:pt x="611" y="89"/>
                    </a:cubicBezTo>
                    <a:cubicBezTo>
                      <a:pt x="612" y="87"/>
                      <a:pt x="612" y="87"/>
                      <a:pt x="612" y="87"/>
                    </a:cubicBezTo>
                    <a:cubicBezTo>
                      <a:pt x="614" y="88"/>
                      <a:pt x="615" y="89"/>
                      <a:pt x="617" y="90"/>
                    </a:cubicBezTo>
                    <a:cubicBezTo>
                      <a:pt x="615" y="93"/>
                      <a:pt x="615" y="93"/>
                      <a:pt x="615" y="93"/>
                    </a:cubicBezTo>
                    <a:cubicBezTo>
                      <a:pt x="616" y="93"/>
                      <a:pt x="616" y="93"/>
                      <a:pt x="616" y="93"/>
                    </a:cubicBezTo>
                    <a:cubicBezTo>
                      <a:pt x="617" y="91"/>
                      <a:pt x="617" y="91"/>
                      <a:pt x="617" y="91"/>
                    </a:cubicBezTo>
                    <a:cubicBezTo>
                      <a:pt x="619" y="92"/>
                      <a:pt x="621" y="93"/>
                      <a:pt x="622" y="94"/>
                    </a:cubicBezTo>
                    <a:cubicBezTo>
                      <a:pt x="620" y="97"/>
                      <a:pt x="620" y="97"/>
                      <a:pt x="620" y="97"/>
                    </a:cubicBezTo>
                    <a:cubicBezTo>
                      <a:pt x="621" y="97"/>
                      <a:pt x="621" y="97"/>
                      <a:pt x="621" y="97"/>
                    </a:cubicBezTo>
                    <a:cubicBezTo>
                      <a:pt x="623" y="95"/>
                      <a:pt x="623" y="95"/>
                      <a:pt x="623" y="95"/>
                    </a:cubicBezTo>
                    <a:cubicBezTo>
                      <a:pt x="624" y="96"/>
                      <a:pt x="626" y="97"/>
                      <a:pt x="627" y="98"/>
                    </a:cubicBezTo>
                    <a:cubicBezTo>
                      <a:pt x="625" y="101"/>
                      <a:pt x="625" y="101"/>
                      <a:pt x="625" y="101"/>
                    </a:cubicBezTo>
                    <a:cubicBezTo>
                      <a:pt x="626" y="101"/>
                      <a:pt x="626" y="101"/>
                      <a:pt x="626" y="101"/>
                    </a:cubicBezTo>
                    <a:cubicBezTo>
                      <a:pt x="628" y="99"/>
                      <a:pt x="628" y="99"/>
                      <a:pt x="628" y="99"/>
                    </a:cubicBezTo>
                    <a:cubicBezTo>
                      <a:pt x="629" y="100"/>
                      <a:pt x="630" y="101"/>
                      <a:pt x="632" y="102"/>
                    </a:cubicBezTo>
                    <a:cubicBezTo>
                      <a:pt x="628" y="106"/>
                      <a:pt x="628" y="106"/>
                      <a:pt x="628" y="106"/>
                    </a:cubicBezTo>
                    <a:cubicBezTo>
                      <a:pt x="629" y="107"/>
                      <a:pt x="629" y="107"/>
                      <a:pt x="629" y="107"/>
                    </a:cubicBezTo>
                    <a:cubicBezTo>
                      <a:pt x="624" y="113"/>
                      <a:pt x="624" y="113"/>
                      <a:pt x="624" y="113"/>
                    </a:cubicBezTo>
                    <a:cubicBezTo>
                      <a:pt x="624" y="113"/>
                      <a:pt x="624" y="113"/>
                      <a:pt x="624" y="113"/>
                    </a:cubicBezTo>
                    <a:cubicBezTo>
                      <a:pt x="629" y="107"/>
                      <a:pt x="629" y="107"/>
                      <a:pt x="629" y="107"/>
                    </a:cubicBezTo>
                    <a:cubicBezTo>
                      <a:pt x="630" y="107"/>
                      <a:pt x="630" y="107"/>
                      <a:pt x="630" y="107"/>
                    </a:cubicBezTo>
                    <a:cubicBezTo>
                      <a:pt x="633" y="103"/>
                      <a:pt x="633" y="103"/>
                      <a:pt x="633" y="103"/>
                    </a:cubicBezTo>
                    <a:cubicBezTo>
                      <a:pt x="635" y="105"/>
                      <a:pt x="636" y="106"/>
                      <a:pt x="637" y="107"/>
                    </a:cubicBezTo>
                    <a:cubicBezTo>
                      <a:pt x="635" y="109"/>
                      <a:pt x="635" y="109"/>
                      <a:pt x="635" y="109"/>
                    </a:cubicBezTo>
                    <a:cubicBezTo>
                      <a:pt x="636" y="109"/>
                      <a:pt x="636" y="109"/>
                      <a:pt x="636" y="109"/>
                    </a:cubicBezTo>
                    <a:cubicBezTo>
                      <a:pt x="638" y="107"/>
                      <a:pt x="638" y="107"/>
                      <a:pt x="638" y="107"/>
                    </a:cubicBezTo>
                    <a:cubicBezTo>
                      <a:pt x="639" y="109"/>
                      <a:pt x="641" y="110"/>
                      <a:pt x="642" y="111"/>
                    </a:cubicBezTo>
                    <a:cubicBezTo>
                      <a:pt x="640" y="113"/>
                      <a:pt x="640" y="113"/>
                      <a:pt x="640" y="113"/>
                    </a:cubicBezTo>
                    <a:cubicBezTo>
                      <a:pt x="641" y="114"/>
                      <a:pt x="641" y="114"/>
                      <a:pt x="641" y="114"/>
                    </a:cubicBezTo>
                    <a:cubicBezTo>
                      <a:pt x="643" y="112"/>
                      <a:pt x="643" y="112"/>
                      <a:pt x="643" y="112"/>
                    </a:cubicBezTo>
                    <a:cubicBezTo>
                      <a:pt x="644" y="113"/>
                      <a:pt x="646" y="114"/>
                      <a:pt x="647" y="116"/>
                    </a:cubicBezTo>
                    <a:cubicBezTo>
                      <a:pt x="645" y="118"/>
                      <a:pt x="645" y="118"/>
                      <a:pt x="645" y="118"/>
                    </a:cubicBezTo>
                    <a:cubicBezTo>
                      <a:pt x="646" y="118"/>
                      <a:pt x="646" y="118"/>
                      <a:pt x="646" y="118"/>
                    </a:cubicBezTo>
                    <a:cubicBezTo>
                      <a:pt x="648" y="116"/>
                      <a:pt x="648" y="116"/>
                      <a:pt x="648" y="116"/>
                    </a:cubicBezTo>
                    <a:cubicBezTo>
                      <a:pt x="649" y="117"/>
                      <a:pt x="650" y="119"/>
                      <a:pt x="652" y="120"/>
                    </a:cubicBezTo>
                    <a:cubicBezTo>
                      <a:pt x="650" y="122"/>
                      <a:pt x="650" y="122"/>
                      <a:pt x="650" y="122"/>
                    </a:cubicBezTo>
                    <a:cubicBezTo>
                      <a:pt x="650" y="123"/>
                      <a:pt x="650" y="123"/>
                      <a:pt x="650" y="123"/>
                    </a:cubicBezTo>
                    <a:cubicBezTo>
                      <a:pt x="652" y="121"/>
                      <a:pt x="652" y="121"/>
                      <a:pt x="652" y="121"/>
                    </a:cubicBezTo>
                    <a:cubicBezTo>
                      <a:pt x="654" y="122"/>
                      <a:pt x="655" y="123"/>
                      <a:pt x="656" y="125"/>
                    </a:cubicBezTo>
                    <a:cubicBezTo>
                      <a:pt x="654" y="127"/>
                      <a:pt x="654" y="127"/>
                      <a:pt x="654" y="127"/>
                    </a:cubicBezTo>
                    <a:cubicBezTo>
                      <a:pt x="655" y="127"/>
                      <a:pt x="655" y="127"/>
                      <a:pt x="655" y="127"/>
                    </a:cubicBezTo>
                    <a:cubicBezTo>
                      <a:pt x="657" y="125"/>
                      <a:pt x="657" y="125"/>
                      <a:pt x="657" y="125"/>
                    </a:cubicBezTo>
                    <a:cubicBezTo>
                      <a:pt x="658" y="127"/>
                      <a:pt x="660" y="128"/>
                      <a:pt x="661" y="129"/>
                    </a:cubicBezTo>
                    <a:cubicBezTo>
                      <a:pt x="659" y="131"/>
                      <a:pt x="659" y="131"/>
                      <a:pt x="659" y="131"/>
                    </a:cubicBezTo>
                    <a:cubicBezTo>
                      <a:pt x="660" y="132"/>
                      <a:pt x="660" y="132"/>
                      <a:pt x="660" y="132"/>
                    </a:cubicBezTo>
                    <a:cubicBezTo>
                      <a:pt x="662" y="130"/>
                      <a:pt x="662" y="130"/>
                      <a:pt x="662" y="130"/>
                    </a:cubicBezTo>
                    <a:cubicBezTo>
                      <a:pt x="663" y="131"/>
                      <a:pt x="664" y="133"/>
                      <a:pt x="666" y="134"/>
                    </a:cubicBezTo>
                    <a:cubicBezTo>
                      <a:pt x="664" y="136"/>
                      <a:pt x="664" y="136"/>
                      <a:pt x="664" y="136"/>
                    </a:cubicBezTo>
                    <a:cubicBezTo>
                      <a:pt x="664" y="137"/>
                      <a:pt x="664" y="137"/>
                      <a:pt x="664" y="137"/>
                    </a:cubicBezTo>
                    <a:cubicBezTo>
                      <a:pt x="666" y="135"/>
                      <a:pt x="666" y="135"/>
                      <a:pt x="666" y="135"/>
                    </a:cubicBezTo>
                    <a:cubicBezTo>
                      <a:pt x="667" y="136"/>
                      <a:pt x="669" y="138"/>
                      <a:pt x="670" y="139"/>
                    </a:cubicBezTo>
                    <a:cubicBezTo>
                      <a:pt x="668" y="141"/>
                      <a:pt x="668" y="141"/>
                      <a:pt x="668" y="141"/>
                    </a:cubicBezTo>
                    <a:cubicBezTo>
                      <a:pt x="668" y="141"/>
                      <a:pt x="668" y="141"/>
                      <a:pt x="668" y="141"/>
                    </a:cubicBezTo>
                    <a:cubicBezTo>
                      <a:pt x="671" y="140"/>
                      <a:pt x="671" y="140"/>
                      <a:pt x="671" y="140"/>
                    </a:cubicBezTo>
                    <a:cubicBezTo>
                      <a:pt x="672" y="141"/>
                      <a:pt x="673" y="142"/>
                      <a:pt x="674" y="144"/>
                    </a:cubicBezTo>
                    <a:cubicBezTo>
                      <a:pt x="672" y="146"/>
                      <a:pt x="672" y="146"/>
                      <a:pt x="672" y="146"/>
                    </a:cubicBezTo>
                    <a:cubicBezTo>
                      <a:pt x="673" y="146"/>
                      <a:pt x="673" y="146"/>
                      <a:pt x="673" y="146"/>
                    </a:cubicBezTo>
                    <a:cubicBezTo>
                      <a:pt x="675" y="145"/>
                      <a:pt x="675" y="145"/>
                      <a:pt x="675" y="145"/>
                    </a:cubicBezTo>
                    <a:cubicBezTo>
                      <a:pt x="676" y="146"/>
                      <a:pt x="677" y="147"/>
                      <a:pt x="678" y="148"/>
                    </a:cubicBezTo>
                    <a:cubicBezTo>
                      <a:pt x="674" y="152"/>
                      <a:pt x="674" y="152"/>
                      <a:pt x="674" y="152"/>
                    </a:cubicBezTo>
                    <a:cubicBezTo>
                      <a:pt x="675" y="152"/>
                      <a:pt x="675" y="152"/>
                      <a:pt x="675" y="152"/>
                    </a:cubicBezTo>
                    <a:cubicBezTo>
                      <a:pt x="669" y="157"/>
                      <a:pt x="669" y="157"/>
                      <a:pt x="669" y="157"/>
                    </a:cubicBezTo>
                    <a:cubicBezTo>
                      <a:pt x="669" y="158"/>
                      <a:pt x="669" y="158"/>
                      <a:pt x="669" y="158"/>
                    </a:cubicBezTo>
                    <a:cubicBezTo>
                      <a:pt x="675" y="153"/>
                      <a:pt x="675" y="153"/>
                      <a:pt x="675" y="153"/>
                    </a:cubicBezTo>
                    <a:cubicBezTo>
                      <a:pt x="675" y="153"/>
                      <a:pt x="675" y="153"/>
                      <a:pt x="675" y="153"/>
                    </a:cubicBezTo>
                    <a:cubicBezTo>
                      <a:pt x="679" y="150"/>
                      <a:pt x="679" y="150"/>
                      <a:pt x="679" y="150"/>
                    </a:cubicBezTo>
                    <a:cubicBezTo>
                      <a:pt x="681" y="151"/>
                      <a:pt x="682" y="153"/>
                      <a:pt x="683" y="154"/>
                    </a:cubicBezTo>
                    <a:cubicBezTo>
                      <a:pt x="681" y="156"/>
                      <a:pt x="681" y="156"/>
                      <a:pt x="681" y="156"/>
                    </a:cubicBezTo>
                    <a:cubicBezTo>
                      <a:pt x="681" y="156"/>
                      <a:pt x="681" y="156"/>
                      <a:pt x="681" y="156"/>
                    </a:cubicBezTo>
                    <a:cubicBezTo>
                      <a:pt x="683" y="155"/>
                      <a:pt x="683" y="155"/>
                      <a:pt x="683" y="155"/>
                    </a:cubicBezTo>
                    <a:cubicBezTo>
                      <a:pt x="684" y="156"/>
                      <a:pt x="686" y="158"/>
                      <a:pt x="687" y="159"/>
                    </a:cubicBezTo>
                    <a:cubicBezTo>
                      <a:pt x="685" y="161"/>
                      <a:pt x="685" y="161"/>
                      <a:pt x="685" y="161"/>
                    </a:cubicBezTo>
                    <a:cubicBezTo>
                      <a:pt x="685" y="161"/>
                      <a:pt x="685" y="161"/>
                      <a:pt x="685" y="161"/>
                    </a:cubicBezTo>
                    <a:cubicBezTo>
                      <a:pt x="687" y="160"/>
                      <a:pt x="687" y="160"/>
                      <a:pt x="687" y="160"/>
                    </a:cubicBezTo>
                    <a:cubicBezTo>
                      <a:pt x="689" y="161"/>
                      <a:pt x="690" y="163"/>
                      <a:pt x="691" y="164"/>
                    </a:cubicBezTo>
                    <a:cubicBezTo>
                      <a:pt x="689" y="166"/>
                      <a:pt x="689" y="166"/>
                      <a:pt x="689" y="166"/>
                    </a:cubicBezTo>
                    <a:cubicBezTo>
                      <a:pt x="689" y="167"/>
                      <a:pt x="689" y="167"/>
                      <a:pt x="689" y="167"/>
                    </a:cubicBezTo>
                    <a:cubicBezTo>
                      <a:pt x="691" y="165"/>
                      <a:pt x="691" y="165"/>
                      <a:pt x="691" y="165"/>
                    </a:cubicBezTo>
                    <a:cubicBezTo>
                      <a:pt x="693" y="166"/>
                      <a:pt x="694" y="168"/>
                      <a:pt x="695" y="170"/>
                    </a:cubicBezTo>
                    <a:cubicBezTo>
                      <a:pt x="693" y="171"/>
                      <a:pt x="693" y="171"/>
                      <a:pt x="693" y="171"/>
                    </a:cubicBezTo>
                    <a:cubicBezTo>
                      <a:pt x="693" y="172"/>
                      <a:pt x="693" y="172"/>
                      <a:pt x="693" y="172"/>
                    </a:cubicBezTo>
                    <a:cubicBezTo>
                      <a:pt x="695" y="170"/>
                      <a:pt x="695" y="170"/>
                      <a:pt x="695" y="170"/>
                    </a:cubicBezTo>
                    <a:cubicBezTo>
                      <a:pt x="696" y="172"/>
                      <a:pt x="698" y="173"/>
                      <a:pt x="699" y="175"/>
                    </a:cubicBezTo>
                    <a:cubicBezTo>
                      <a:pt x="696" y="177"/>
                      <a:pt x="696" y="177"/>
                      <a:pt x="696" y="177"/>
                    </a:cubicBezTo>
                    <a:cubicBezTo>
                      <a:pt x="697" y="177"/>
                      <a:pt x="697" y="177"/>
                      <a:pt x="697" y="177"/>
                    </a:cubicBezTo>
                    <a:cubicBezTo>
                      <a:pt x="699" y="176"/>
                      <a:pt x="699" y="176"/>
                      <a:pt x="699" y="176"/>
                    </a:cubicBezTo>
                    <a:cubicBezTo>
                      <a:pt x="700" y="177"/>
                      <a:pt x="701" y="179"/>
                      <a:pt x="702" y="180"/>
                    </a:cubicBezTo>
                    <a:cubicBezTo>
                      <a:pt x="700" y="182"/>
                      <a:pt x="700" y="182"/>
                      <a:pt x="700" y="182"/>
                    </a:cubicBezTo>
                    <a:cubicBezTo>
                      <a:pt x="700" y="183"/>
                      <a:pt x="700" y="183"/>
                      <a:pt x="700" y="183"/>
                    </a:cubicBezTo>
                    <a:cubicBezTo>
                      <a:pt x="703" y="181"/>
                      <a:pt x="703" y="181"/>
                      <a:pt x="703" y="181"/>
                    </a:cubicBezTo>
                    <a:cubicBezTo>
                      <a:pt x="704" y="183"/>
                      <a:pt x="705" y="184"/>
                      <a:pt x="706" y="186"/>
                    </a:cubicBezTo>
                    <a:cubicBezTo>
                      <a:pt x="704" y="187"/>
                      <a:pt x="704" y="187"/>
                      <a:pt x="704" y="187"/>
                    </a:cubicBezTo>
                    <a:cubicBezTo>
                      <a:pt x="704" y="188"/>
                      <a:pt x="704" y="188"/>
                      <a:pt x="704" y="188"/>
                    </a:cubicBezTo>
                    <a:cubicBezTo>
                      <a:pt x="706" y="186"/>
                      <a:pt x="706" y="186"/>
                      <a:pt x="706" y="186"/>
                    </a:cubicBezTo>
                    <a:cubicBezTo>
                      <a:pt x="707" y="188"/>
                      <a:pt x="709" y="190"/>
                      <a:pt x="710" y="191"/>
                    </a:cubicBezTo>
                    <a:cubicBezTo>
                      <a:pt x="707" y="193"/>
                      <a:pt x="707" y="193"/>
                      <a:pt x="707" y="193"/>
                    </a:cubicBezTo>
                    <a:cubicBezTo>
                      <a:pt x="708" y="194"/>
                      <a:pt x="708" y="194"/>
                      <a:pt x="708" y="194"/>
                    </a:cubicBezTo>
                    <a:cubicBezTo>
                      <a:pt x="710" y="192"/>
                      <a:pt x="710" y="192"/>
                      <a:pt x="710" y="192"/>
                    </a:cubicBezTo>
                    <a:cubicBezTo>
                      <a:pt x="711" y="194"/>
                      <a:pt x="712" y="195"/>
                      <a:pt x="713" y="197"/>
                    </a:cubicBezTo>
                    <a:cubicBezTo>
                      <a:pt x="711" y="198"/>
                      <a:pt x="711" y="198"/>
                      <a:pt x="711" y="198"/>
                    </a:cubicBezTo>
                    <a:cubicBezTo>
                      <a:pt x="711" y="199"/>
                      <a:pt x="711" y="199"/>
                      <a:pt x="711" y="199"/>
                    </a:cubicBezTo>
                    <a:cubicBezTo>
                      <a:pt x="713" y="198"/>
                      <a:pt x="713" y="198"/>
                      <a:pt x="713" y="198"/>
                    </a:cubicBezTo>
                    <a:cubicBezTo>
                      <a:pt x="714" y="199"/>
                      <a:pt x="715" y="201"/>
                      <a:pt x="716" y="202"/>
                    </a:cubicBezTo>
                    <a:cubicBezTo>
                      <a:pt x="711" y="205"/>
                      <a:pt x="711" y="205"/>
                      <a:pt x="711" y="205"/>
                    </a:cubicBezTo>
                    <a:cubicBezTo>
                      <a:pt x="712" y="205"/>
                      <a:pt x="712" y="205"/>
                      <a:pt x="712" y="205"/>
                    </a:cubicBezTo>
                    <a:cubicBezTo>
                      <a:pt x="705" y="209"/>
                      <a:pt x="705" y="209"/>
                      <a:pt x="705" y="209"/>
                    </a:cubicBezTo>
                    <a:cubicBezTo>
                      <a:pt x="705" y="210"/>
                      <a:pt x="705" y="210"/>
                      <a:pt x="705" y="210"/>
                    </a:cubicBezTo>
                    <a:cubicBezTo>
                      <a:pt x="712" y="206"/>
                      <a:pt x="712" y="206"/>
                      <a:pt x="712" y="206"/>
                    </a:cubicBezTo>
                    <a:cubicBezTo>
                      <a:pt x="712" y="206"/>
                      <a:pt x="712" y="206"/>
                      <a:pt x="712" y="206"/>
                    </a:cubicBezTo>
                    <a:cubicBezTo>
                      <a:pt x="717" y="204"/>
                      <a:pt x="717" y="204"/>
                      <a:pt x="717" y="204"/>
                    </a:cubicBezTo>
                    <a:cubicBezTo>
                      <a:pt x="718" y="205"/>
                      <a:pt x="719" y="207"/>
                      <a:pt x="720" y="208"/>
                    </a:cubicBezTo>
                    <a:cubicBezTo>
                      <a:pt x="717" y="210"/>
                      <a:pt x="717" y="210"/>
                      <a:pt x="717" y="210"/>
                    </a:cubicBezTo>
                    <a:cubicBezTo>
                      <a:pt x="717" y="210"/>
                      <a:pt x="717" y="210"/>
                      <a:pt x="717" y="210"/>
                    </a:cubicBezTo>
                    <a:cubicBezTo>
                      <a:pt x="720" y="209"/>
                      <a:pt x="720" y="209"/>
                      <a:pt x="720" y="209"/>
                    </a:cubicBezTo>
                    <a:cubicBezTo>
                      <a:pt x="721" y="211"/>
                      <a:pt x="722" y="212"/>
                      <a:pt x="723" y="214"/>
                    </a:cubicBezTo>
                    <a:cubicBezTo>
                      <a:pt x="720" y="215"/>
                      <a:pt x="720" y="215"/>
                      <a:pt x="720" y="215"/>
                    </a:cubicBezTo>
                    <a:cubicBezTo>
                      <a:pt x="721" y="216"/>
                      <a:pt x="721" y="216"/>
                      <a:pt x="721" y="216"/>
                    </a:cubicBezTo>
                    <a:cubicBezTo>
                      <a:pt x="723" y="215"/>
                      <a:pt x="723" y="215"/>
                      <a:pt x="723" y="215"/>
                    </a:cubicBezTo>
                    <a:cubicBezTo>
                      <a:pt x="724" y="216"/>
                      <a:pt x="725" y="218"/>
                      <a:pt x="726" y="220"/>
                    </a:cubicBezTo>
                    <a:cubicBezTo>
                      <a:pt x="723" y="221"/>
                      <a:pt x="723" y="221"/>
                      <a:pt x="723" y="221"/>
                    </a:cubicBezTo>
                    <a:cubicBezTo>
                      <a:pt x="724" y="222"/>
                      <a:pt x="724" y="222"/>
                      <a:pt x="724" y="222"/>
                    </a:cubicBezTo>
                    <a:cubicBezTo>
                      <a:pt x="726" y="221"/>
                      <a:pt x="726" y="221"/>
                      <a:pt x="726" y="221"/>
                    </a:cubicBezTo>
                    <a:cubicBezTo>
                      <a:pt x="727" y="222"/>
                      <a:pt x="728" y="224"/>
                      <a:pt x="729" y="226"/>
                    </a:cubicBezTo>
                    <a:cubicBezTo>
                      <a:pt x="726" y="227"/>
                      <a:pt x="726" y="227"/>
                      <a:pt x="726" y="227"/>
                    </a:cubicBezTo>
                    <a:cubicBezTo>
                      <a:pt x="726" y="228"/>
                      <a:pt x="726" y="228"/>
                      <a:pt x="726" y="228"/>
                    </a:cubicBezTo>
                    <a:cubicBezTo>
                      <a:pt x="729" y="226"/>
                      <a:pt x="729" y="226"/>
                      <a:pt x="729" y="226"/>
                    </a:cubicBezTo>
                    <a:cubicBezTo>
                      <a:pt x="730" y="228"/>
                      <a:pt x="731" y="230"/>
                      <a:pt x="732" y="232"/>
                    </a:cubicBezTo>
                    <a:cubicBezTo>
                      <a:pt x="729" y="233"/>
                      <a:pt x="729" y="233"/>
                      <a:pt x="729" y="233"/>
                    </a:cubicBezTo>
                    <a:cubicBezTo>
                      <a:pt x="729" y="234"/>
                      <a:pt x="729" y="234"/>
                      <a:pt x="729" y="234"/>
                    </a:cubicBezTo>
                    <a:cubicBezTo>
                      <a:pt x="732" y="232"/>
                      <a:pt x="732" y="232"/>
                      <a:pt x="732" y="232"/>
                    </a:cubicBezTo>
                    <a:cubicBezTo>
                      <a:pt x="733" y="234"/>
                      <a:pt x="734" y="236"/>
                      <a:pt x="734" y="238"/>
                    </a:cubicBezTo>
                    <a:cubicBezTo>
                      <a:pt x="732" y="239"/>
                      <a:pt x="732" y="239"/>
                      <a:pt x="732" y="239"/>
                    </a:cubicBezTo>
                    <a:cubicBezTo>
                      <a:pt x="732" y="240"/>
                      <a:pt x="732" y="240"/>
                      <a:pt x="732" y="240"/>
                    </a:cubicBezTo>
                    <a:cubicBezTo>
                      <a:pt x="735" y="238"/>
                      <a:pt x="735" y="238"/>
                      <a:pt x="735" y="238"/>
                    </a:cubicBezTo>
                    <a:cubicBezTo>
                      <a:pt x="735" y="240"/>
                      <a:pt x="736" y="242"/>
                      <a:pt x="737" y="244"/>
                    </a:cubicBezTo>
                    <a:cubicBezTo>
                      <a:pt x="734" y="245"/>
                      <a:pt x="734" y="245"/>
                      <a:pt x="734" y="245"/>
                    </a:cubicBezTo>
                    <a:cubicBezTo>
                      <a:pt x="735" y="246"/>
                      <a:pt x="735" y="246"/>
                      <a:pt x="735" y="246"/>
                    </a:cubicBezTo>
                    <a:cubicBezTo>
                      <a:pt x="737" y="244"/>
                      <a:pt x="737" y="244"/>
                      <a:pt x="737" y="244"/>
                    </a:cubicBezTo>
                    <a:cubicBezTo>
                      <a:pt x="738" y="246"/>
                      <a:pt x="739" y="248"/>
                      <a:pt x="739" y="250"/>
                    </a:cubicBezTo>
                    <a:cubicBezTo>
                      <a:pt x="737" y="251"/>
                      <a:pt x="737" y="251"/>
                      <a:pt x="737" y="251"/>
                    </a:cubicBezTo>
                    <a:cubicBezTo>
                      <a:pt x="737" y="252"/>
                      <a:pt x="737" y="252"/>
                      <a:pt x="737" y="252"/>
                    </a:cubicBezTo>
                    <a:cubicBezTo>
                      <a:pt x="740" y="250"/>
                      <a:pt x="740" y="250"/>
                      <a:pt x="740" y="250"/>
                    </a:cubicBezTo>
                    <a:cubicBezTo>
                      <a:pt x="740" y="252"/>
                      <a:pt x="741" y="254"/>
                      <a:pt x="742" y="256"/>
                    </a:cubicBezTo>
                    <a:cubicBezTo>
                      <a:pt x="739" y="257"/>
                      <a:pt x="739" y="257"/>
                      <a:pt x="739" y="257"/>
                    </a:cubicBezTo>
                    <a:cubicBezTo>
                      <a:pt x="739" y="258"/>
                      <a:pt x="739" y="258"/>
                      <a:pt x="739" y="258"/>
                    </a:cubicBezTo>
                    <a:cubicBezTo>
                      <a:pt x="742" y="257"/>
                      <a:pt x="742" y="257"/>
                      <a:pt x="742" y="257"/>
                    </a:cubicBezTo>
                    <a:cubicBezTo>
                      <a:pt x="743" y="258"/>
                      <a:pt x="743" y="260"/>
                      <a:pt x="744" y="262"/>
                    </a:cubicBezTo>
                    <a:cubicBezTo>
                      <a:pt x="739" y="263"/>
                      <a:pt x="739" y="263"/>
                      <a:pt x="739" y="263"/>
                    </a:cubicBezTo>
                    <a:cubicBezTo>
                      <a:pt x="739" y="264"/>
                      <a:pt x="739" y="264"/>
                      <a:pt x="739" y="264"/>
                    </a:cubicBezTo>
                    <a:cubicBezTo>
                      <a:pt x="732" y="267"/>
                      <a:pt x="732" y="267"/>
                      <a:pt x="732" y="267"/>
                    </a:cubicBezTo>
                    <a:cubicBezTo>
                      <a:pt x="732" y="267"/>
                      <a:pt x="732" y="267"/>
                      <a:pt x="732" y="267"/>
                    </a:cubicBezTo>
                    <a:cubicBezTo>
                      <a:pt x="739" y="265"/>
                      <a:pt x="739" y="265"/>
                      <a:pt x="739" y="265"/>
                    </a:cubicBezTo>
                    <a:cubicBezTo>
                      <a:pt x="739" y="265"/>
                      <a:pt x="739" y="265"/>
                      <a:pt x="739" y="265"/>
                    </a:cubicBezTo>
                    <a:cubicBezTo>
                      <a:pt x="745" y="263"/>
                      <a:pt x="745" y="263"/>
                      <a:pt x="745" y="263"/>
                    </a:cubicBezTo>
                    <a:cubicBezTo>
                      <a:pt x="745" y="265"/>
                      <a:pt x="746" y="267"/>
                      <a:pt x="746" y="268"/>
                    </a:cubicBezTo>
                    <a:cubicBezTo>
                      <a:pt x="744" y="269"/>
                      <a:pt x="744" y="269"/>
                      <a:pt x="744" y="269"/>
                    </a:cubicBezTo>
                    <a:cubicBezTo>
                      <a:pt x="744" y="270"/>
                      <a:pt x="744" y="270"/>
                      <a:pt x="744" y="270"/>
                    </a:cubicBezTo>
                    <a:cubicBezTo>
                      <a:pt x="747" y="269"/>
                      <a:pt x="747" y="269"/>
                      <a:pt x="747" y="269"/>
                    </a:cubicBezTo>
                    <a:cubicBezTo>
                      <a:pt x="747" y="271"/>
                      <a:pt x="748" y="273"/>
                      <a:pt x="748" y="274"/>
                    </a:cubicBezTo>
                    <a:cubicBezTo>
                      <a:pt x="746" y="275"/>
                      <a:pt x="746" y="275"/>
                      <a:pt x="746" y="275"/>
                    </a:cubicBezTo>
                    <a:cubicBezTo>
                      <a:pt x="746" y="276"/>
                      <a:pt x="746" y="276"/>
                      <a:pt x="746" y="276"/>
                    </a:cubicBezTo>
                    <a:cubicBezTo>
                      <a:pt x="749" y="275"/>
                      <a:pt x="749" y="275"/>
                      <a:pt x="749" y="275"/>
                    </a:cubicBezTo>
                    <a:cubicBezTo>
                      <a:pt x="749" y="277"/>
                      <a:pt x="750" y="279"/>
                      <a:pt x="750" y="281"/>
                    </a:cubicBezTo>
                    <a:cubicBezTo>
                      <a:pt x="748" y="282"/>
                      <a:pt x="748" y="282"/>
                      <a:pt x="748" y="282"/>
                    </a:cubicBezTo>
                    <a:cubicBezTo>
                      <a:pt x="748" y="282"/>
                      <a:pt x="748" y="282"/>
                      <a:pt x="748" y="282"/>
                    </a:cubicBezTo>
                    <a:cubicBezTo>
                      <a:pt x="751" y="281"/>
                      <a:pt x="751" y="281"/>
                      <a:pt x="751" y="281"/>
                    </a:cubicBezTo>
                    <a:cubicBezTo>
                      <a:pt x="751" y="283"/>
                      <a:pt x="752" y="285"/>
                      <a:pt x="752" y="287"/>
                    </a:cubicBezTo>
                    <a:cubicBezTo>
                      <a:pt x="749" y="288"/>
                      <a:pt x="749" y="288"/>
                      <a:pt x="749" y="288"/>
                    </a:cubicBezTo>
                    <a:cubicBezTo>
                      <a:pt x="750" y="289"/>
                      <a:pt x="750" y="289"/>
                      <a:pt x="750" y="289"/>
                    </a:cubicBezTo>
                    <a:cubicBezTo>
                      <a:pt x="753" y="288"/>
                      <a:pt x="753" y="288"/>
                      <a:pt x="753" y="288"/>
                    </a:cubicBezTo>
                    <a:cubicBezTo>
                      <a:pt x="753" y="290"/>
                      <a:pt x="754" y="291"/>
                      <a:pt x="754" y="293"/>
                    </a:cubicBezTo>
                    <a:cubicBezTo>
                      <a:pt x="751" y="294"/>
                      <a:pt x="751" y="294"/>
                      <a:pt x="751" y="294"/>
                    </a:cubicBezTo>
                    <a:cubicBezTo>
                      <a:pt x="751" y="295"/>
                      <a:pt x="751" y="295"/>
                      <a:pt x="751" y="295"/>
                    </a:cubicBezTo>
                    <a:cubicBezTo>
                      <a:pt x="754" y="294"/>
                      <a:pt x="754" y="294"/>
                      <a:pt x="754" y="294"/>
                    </a:cubicBezTo>
                    <a:cubicBezTo>
                      <a:pt x="755" y="296"/>
                      <a:pt x="755" y="298"/>
                      <a:pt x="756" y="300"/>
                    </a:cubicBezTo>
                    <a:cubicBezTo>
                      <a:pt x="753" y="300"/>
                      <a:pt x="753" y="300"/>
                      <a:pt x="753" y="300"/>
                    </a:cubicBezTo>
                    <a:cubicBezTo>
                      <a:pt x="753" y="301"/>
                      <a:pt x="753" y="301"/>
                      <a:pt x="753" y="301"/>
                    </a:cubicBezTo>
                    <a:cubicBezTo>
                      <a:pt x="756" y="300"/>
                      <a:pt x="756" y="300"/>
                      <a:pt x="756" y="300"/>
                    </a:cubicBezTo>
                    <a:cubicBezTo>
                      <a:pt x="756" y="302"/>
                      <a:pt x="757" y="304"/>
                      <a:pt x="757" y="306"/>
                    </a:cubicBezTo>
                    <a:cubicBezTo>
                      <a:pt x="754" y="307"/>
                      <a:pt x="754" y="307"/>
                      <a:pt x="754" y="307"/>
                    </a:cubicBezTo>
                    <a:cubicBezTo>
                      <a:pt x="755" y="308"/>
                      <a:pt x="755" y="308"/>
                      <a:pt x="755" y="308"/>
                    </a:cubicBezTo>
                    <a:cubicBezTo>
                      <a:pt x="758" y="307"/>
                      <a:pt x="758" y="307"/>
                      <a:pt x="758" y="307"/>
                    </a:cubicBezTo>
                    <a:cubicBezTo>
                      <a:pt x="758" y="309"/>
                      <a:pt x="758" y="311"/>
                      <a:pt x="759" y="313"/>
                    </a:cubicBezTo>
                    <a:cubicBezTo>
                      <a:pt x="756" y="313"/>
                      <a:pt x="756" y="313"/>
                      <a:pt x="756" y="313"/>
                    </a:cubicBezTo>
                    <a:cubicBezTo>
                      <a:pt x="756" y="314"/>
                      <a:pt x="756" y="314"/>
                      <a:pt x="756" y="314"/>
                    </a:cubicBezTo>
                    <a:cubicBezTo>
                      <a:pt x="759" y="313"/>
                      <a:pt x="759" y="313"/>
                      <a:pt x="759" y="313"/>
                    </a:cubicBezTo>
                    <a:cubicBezTo>
                      <a:pt x="759" y="315"/>
                      <a:pt x="760" y="317"/>
                      <a:pt x="760" y="319"/>
                    </a:cubicBezTo>
                    <a:cubicBezTo>
                      <a:pt x="757" y="320"/>
                      <a:pt x="757" y="320"/>
                      <a:pt x="757" y="320"/>
                    </a:cubicBezTo>
                    <a:cubicBezTo>
                      <a:pt x="757" y="320"/>
                      <a:pt x="757" y="320"/>
                      <a:pt x="757" y="320"/>
                    </a:cubicBezTo>
                    <a:cubicBezTo>
                      <a:pt x="760" y="320"/>
                      <a:pt x="760" y="320"/>
                      <a:pt x="760" y="320"/>
                    </a:cubicBezTo>
                    <a:cubicBezTo>
                      <a:pt x="761" y="321"/>
                      <a:pt x="761" y="323"/>
                      <a:pt x="761" y="325"/>
                    </a:cubicBezTo>
                    <a:cubicBezTo>
                      <a:pt x="756" y="326"/>
                      <a:pt x="756" y="326"/>
                      <a:pt x="756" y="326"/>
                    </a:cubicBezTo>
                    <a:cubicBezTo>
                      <a:pt x="756" y="326"/>
                      <a:pt x="756" y="326"/>
                      <a:pt x="756" y="326"/>
                    </a:cubicBezTo>
                    <a:cubicBezTo>
                      <a:pt x="748" y="328"/>
                      <a:pt x="748" y="328"/>
                      <a:pt x="748" y="328"/>
                    </a:cubicBezTo>
                    <a:cubicBezTo>
                      <a:pt x="748" y="328"/>
                      <a:pt x="748" y="328"/>
                      <a:pt x="748" y="328"/>
                    </a:cubicBezTo>
                    <a:cubicBezTo>
                      <a:pt x="756" y="327"/>
                      <a:pt x="756" y="327"/>
                      <a:pt x="756" y="327"/>
                    </a:cubicBezTo>
                    <a:cubicBezTo>
                      <a:pt x="756" y="328"/>
                      <a:pt x="756" y="328"/>
                      <a:pt x="756" y="328"/>
                    </a:cubicBezTo>
                    <a:cubicBezTo>
                      <a:pt x="761" y="327"/>
                      <a:pt x="761" y="327"/>
                      <a:pt x="761" y="327"/>
                    </a:cubicBezTo>
                    <a:cubicBezTo>
                      <a:pt x="762" y="328"/>
                      <a:pt x="762" y="330"/>
                      <a:pt x="762" y="332"/>
                    </a:cubicBezTo>
                    <a:cubicBezTo>
                      <a:pt x="759" y="332"/>
                      <a:pt x="759" y="332"/>
                      <a:pt x="759" y="332"/>
                    </a:cubicBezTo>
                    <a:cubicBezTo>
                      <a:pt x="759" y="333"/>
                      <a:pt x="759" y="333"/>
                      <a:pt x="759" y="333"/>
                    </a:cubicBezTo>
                    <a:cubicBezTo>
                      <a:pt x="762" y="333"/>
                      <a:pt x="762" y="333"/>
                      <a:pt x="762" y="333"/>
                    </a:cubicBezTo>
                    <a:cubicBezTo>
                      <a:pt x="763" y="335"/>
                      <a:pt x="763" y="336"/>
                      <a:pt x="763" y="338"/>
                    </a:cubicBezTo>
                    <a:cubicBezTo>
                      <a:pt x="760" y="339"/>
                      <a:pt x="760" y="339"/>
                      <a:pt x="760" y="339"/>
                    </a:cubicBezTo>
                    <a:cubicBezTo>
                      <a:pt x="760" y="340"/>
                      <a:pt x="760" y="340"/>
                      <a:pt x="760" y="340"/>
                    </a:cubicBezTo>
                    <a:cubicBezTo>
                      <a:pt x="763" y="339"/>
                      <a:pt x="763" y="339"/>
                      <a:pt x="763" y="339"/>
                    </a:cubicBezTo>
                    <a:cubicBezTo>
                      <a:pt x="764" y="341"/>
                      <a:pt x="764" y="343"/>
                      <a:pt x="764" y="345"/>
                    </a:cubicBezTo>
                    <a:cubicBezTo>
                      <a:pt x="761" y="345"/>
                      <a:pt x="761" y="345"/>
                      <a:pt x="761" y="345"/>
                    </a:cubicBezTo>
                    <a:cubicBezTo>
                      <a:pt x="761" y="346"/>
                      <a:pt x="761" y="346"/>
                      <a:pt x="761" y="346"/>
                    </a:cubicBezTo>
                    <a:cubicBezTo>
                      <a:pt x="764" y="346"/>
                      <a:pt x="764" y="346"/>
                      <a:pt x="764" y="346"/>
                    </a:cubicBezTo>
                    <a:cubicBezTo>
                      <a:pt x="765" y="348"/>
                      <a:pt x="765" y="350"/>
                      <a:pt x="765" y="351"/>
                    </a:cubicBezTo>
                    <a:cubicBezTo>
                      <a:pt x="762" y="352"/>
                      <a:pt x="762" y="352"/>
                      <a:pt x="762" y="352"/>
                    </a:cubicBezTo>
                    <a:cubicBezTo>
                      <a:pt x="762" y="353"/>
                      <a:pt x="762" y="353"/>
                      <a:pt x="762" y="353"/>
                    </a:cubicBezTo>
                    <a:cubicBezTo>
                      <a:pt x="765" y="352"/>
                      <a:pt x="765" y="352"/>
                      <a:pt x="765" y="352"/>
                    </a:cubicBezTo>
                    <a:cubicBezTo>
                      <a:pt x="765" y="354"/>
                      <a:pt x="765" y="356"/>
                      <a:pt x="766" y="358"/>
                    </a:cubicBezTo>
                    <a:cubicBezTo>
                      <a:pt x="763" y="358"/>
                      <a:pt x="763" y="358"/>
                      <a:pt x="763" y="358"/>
                    </a:cubicBezTo>
                    <a:cubicBezTo>
                      <a:pt x="763" y="359"/>
                      <a:pt x="763" y="359"/>
                      <a:pt x="763" y="359"/>
                    </a:cubicBezTo>
                    <a:cubicBezTo>
                      <a:pt x="766" y="359"/>
                      <a:pt x="766" y="359"/>
                      <a:pt x="766" y="359"/>
                    </a:cubicBezTo>
                    <a:cubicBezTo>
                      <a:pt x="766" y="361"/>
                      <a:pt x="766" y="363"/>
                      <a:pt x="766" y="365"/>
                    </a:cubicBezTo>
                    <a:cubicBezTo>
                      <a:pt x="763" y="365"/>
                      <a:pt x="763" y="365"/>
                      <a:pt x="763" y="365"/>
                    </a:cubicBezTo>
                    <a:cubicBezTo>
                      <a:pt x="763" y="366"/>
                      <a:pt x="763" y="366"/>
                      <a:pt x="763" y="366"/>
                    </a:cubicBezTo>
                    <a:cubicBezTo>
                      <a:pt x="766" y="365"/>
                      <a:pt x="766" y="365"/>
                      <a:pt x="766" y="365"/>
                    </a:cubicBezTo>
                    <a:cubicBezTo>
                      <a:pt x="766" y="367"/>
                      <a:pt x="766" y="369"/>
                      <a:pt x="766" y="371"/>
                    </a:cubicBezTo>
                    <a:cubicBezTo>
                      <a:pt x="763" y="371"/>
                      <a:pt x="763" y="371"/>
                      <a:pt x="763" y="371"/>
                    </a:cubicBezTo>
                    <a:cubicBezTo>
                      <a:pt x="764" y="372"/>
                      <a:pt x="764" y="372"/>
                      <a:pt x="764" y="372"/>
                    </a:cubicBezTo>
                    <a:cubicBezTo>
                      <a:pt x="767" y="372"/>
                      <a:pt x="767" y="372"/>
                      <a:pt x="767" y="372"/>
                    </a:cubicBezTo>
                    <a:cubicBezTo>
                      <a:pt x="767" y="374"/>
                      <a:pt x="767" y="376"/>
                      <a:pt x="767" y="378"/>
                    </a:cubicBezTo>
                    <a:cubicBezTo>
                      <a:pt x="764" y="378"/>
                      <a:pt x="764" y="378"/>
                      <a:pt x="764" y="378"/>
                    </a:cubicBezTo>
                    <a:cubicBezTo>
                      <a:pt x="764" y="379"/>
                      <a:pt x="764" y="379"/>
                      <a:pt x="764" y="379"/>
                    </a:cubicBezTo>
                    <a:cubicBezTo>
                      <a:pt x="767" y="378"/>
                      <a:pt x="767" y="378"/>
                      <a:pt x="767" y="378"/>
                    </a:cubicBezTo>
                    <a:cubicBezTo>
                      <a:pt x="767" y="380"/>
                      <a:pt x="767" y="382"/>
                      <a:pt x="767" y="384"/>
                    </a:cubicBezTo>
                    <a:cubicBezTo>
                      <a:pt x="764" y="384"/>
                      <a:pt x="764" y="384"/>
                      <a:pt x="764" y="384"/>
                    </a:cubicBezTo>
                    <a:cubicBezTo>
                      <a:pt x="764" y="385"/>
                      <a:pt x="764" y="385"/>
                      <a:pt x="764" y="385"/>
                    </a:cubicBezTo>
                    <a:cubicBezTo>
                      <a:pt x="767" y="385"/>
                      <a:pt x="767" y="385"/>
                      <a:pt x="767" y="385"/>
                    </a:cubicBezTo>
                    <a:cubicBezTo>
                      <a:pt x="767" y="387"/>
                      <a:pt x="767" y="389"/>
                      <a:pt x="767" y="390"/>
                    </a:cubicBezTo>
                    <a:cubicBezTo>
                      <a:pt x="762" y="390"/>
                      <a:pt x="762" y="390"/>
                      <a:pt x="762" y="390"/>
                    </a:cubicBezTo>
                    <a:cubicBezTo>
                      <a:pt x="762" y="391"/>
                      <a:pt x="762" y="391"/>
                      <a:pt x="762" y="391"/>
                    </a:cubicBezTo>
                    <a:cubicBezTo>
                      <a:pt x="754" y="391"/>
                      <a:pt x="754" y="391"/>
                      <a:pt x="754" y="391"/>
                    </a:cubicBezTo>
                    <a:cubicBezTo>
                      <a:pt x="754" y="392"/>
                      <a:pt x="754" y="392"/>
                      <a:pt x="754" y="392"/>
                    </a:cubicBezTo>
                    <a:cubicBezTo>
                      <a:pt x="762" y="392"/>
                      <a:pt x="762" y="392"/>
                      <a:pt x="762" y="392"/>
                    </a:cubicBezTo>
                    <a:cubicBezTo>
                      <a:pt x="762" y="392"/>
                      <a:pt x="762" y="392"/>
                      <a:pt x="762" y="392"/>
                    </a:cubicBezTo>
                    <a:cubicBezTo>
                      <a:pt x="767" y="392"/>
                      <a:pt x="767" y="392"/>
                      <a:pt x="767" y="392"/>
                    </a:cubicBezTo>
                    <a:cubicBezTo>
                      <a:pt x="767" y="394"/>
                      <a:pt x="767" y="396"/>
                      <a:pt x="767" y="397"/>
                    </a:cubicBezTo>
                    <a:close/>
                  </a:path>
                </a:pathLst>
              </a:custGeom>
              <a:solidFill>
                <a:srgbClr val="01AAE5"/>
              </a:solidFill>
              <a:ln>
                <a:noFill/>
              </a:ln>
              <a:extLst/>
            </p:spPr>
            <p:txBody>
              <a:bodyPr/>
              <a:lstStyle/>
              <a:p>
                <a:pPr eaLnBrk="1" hangingPunct="1">
                  <a:defRPr/>
                </a:pPr>
                <a:endParaRPr lang="zh-CN" altLang="en-US" sz="1050"/>
              </a:p>
            </p:txBody>
          </p:sp>
        </p:grpSp>
      </p:grpSp>
      <p:grpSp>
        <p:nvGrpSpPr>
          <p:cNvPr id="36" name="组合 2256"/>
          <p:cNvGrpSpPr/>
          <p:nvPr/>
        </p:nvGrpSpPr>
        <p:grpSpPr>
          <a:xfrm flipH="1">
            <a:off x="8914073" y="4099334"/>
            <a:ext cx="1872208" cy="2135191"/>
            <a:chOff x="1201043" y="1413570"/>
            <a:chExt cx="1584176" cy="1928560"/>
          </a:xfrm>
        </p:grpSpPr>
        <p:sp>
          <p:nvSpPr>
            <p:cNvPr id="3365" name="Freeform 17"/>
            <p:cNvSpPr>
              <a:spLocks/>
            </p:cNvSpPr>
            <p:nvPr/>
          </p:nvSpPr>
          <p:spPr bwMode="auto">
            <a:xfrm>
              <a:off x="1201043" y="1602605"/>
              <a:ext cx="1584176" cy="1739525"/>
            </a:xfrm>
            <a:custGeom>
              <a:avLst/>
              <a:gdLst>
                <a:gd name="T0" fmla="*/ 0 w 554"/>
                <a:gd name="T1" fmla="*/ 0 h 851"/>
                <a:gd name="T2" fmla="*/ 0 w 554"/>
                <a:gd name="T3" fmla="*/ 851 h 851"/>
                <a:gd name="T4" fmla="*/ 554 w 554"/>
                <a:gd name="T5" fmla="*/ 780 h 851"/>
                <a:gd name="T6" fmla="*/ 554 w 554"/>
                <a:gd name="T7" fmla="*/ 71 h 851"/>
                <a:gd name="T8" fmla="*/ 389 w 554"/>
                <a:gd name="T9" fmla="*/ 50 h 851"/>
                <a:gd name="T10" fmla="*/ 277 w 554"/>
                <a:gd name="T11" fmla="*/ 146 h 851"/>
                <a:gd name="T12" fmla="*/ 161 w 554"/>
                <a:gd name="T13" fmla="*/ 21 h 851"/>
                <a:gd name="T14" fmla="*/ 0 w 554"/>
                <a:gd name="T15" fmla="*/ 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851">
                  <a:moveTo>
                    <a:pt x="0" y="0"/>
                  </a:moveTo>
                  <a:cubicBezTo>
                    <a:pt x="0" y="726"/>
                    <a:pt x="0" y="851"/>
                    <a:pt x="0" y="851"/>
                  </a:cubicBezTo>
                  <a:cubicBezTo>
                    <a:pt x="554" y="780"/>
                    <a:pt x="554" y="780"/>
                    <a:pt x="554" y="780"/>
                  </a:cubicBezTo>
                  <a:cubicBezTo>
                    <a:pt x="554" y="196"/>
                    <a:pt x="554" y="71"/>
                    <a:pt x="554" y="71"/>
                  </a:cubicBezTo>
                  <a:cubicBezTo>
                    <a:pt x="389" y="50"/>
                    <a:pt x="389" y="50"/>
                    <a:pt x="389" y="50"/>
                  </a:cubicBezTo>
                  <a:cubicBezTo>
                    <a:pt x="377" y="105"/>
                    <a:pt x="331" y="146"/>
                    <a:pt x="277" y="146"/>
                  </a:cubicBezTo>
                  <a:cubicBezTo>
                    <a:pt x="213" y="146"/>
                    <a:pt x="161" y="90"/>
                    <a:pt x="161" y="21"/>
                  </a:cubicBezTo>
                  <a:cubicBezTo>
                    <a:pt x="0" y="0"/>
                    <a:pt x="0" y="0"/>
                    <a:pt x="0" y="0"/>
                  </a:cubicBezTo>
                </a:path>
              </a:pathLst>
            </a:custGeom>
            <a:solidFill>
              <a:srgbClr val="0070C0">
                <a:alpha val="40000"/>
              </a:srgbClr>
            </a:solidFill>
            <a:ln w="1270" cap="flat">
              <a:noFill/>
              <a:prstDash val="solid"/>
              <a:bevel/>
            </a:ln>
            <a:effectLst/>
            <a:extLst/>
          </p:spPr>
          <p:txBody>
            <a:bodyPr lIns="0" tIns="0" rIns="0" bIns="0" anchor="ctr"/>
            <a:lstStyle/>
            <a:p>
              <a:pPr algn="ctr" defTabSz="826472" eaLnBrk="1" hangingPunct="1">
                <a:defRPr/>
              </a:pPr>
              <a:endParaRPr lang="zh-CN" altLang="en-US" sz="1200">
                <a:solidFill>
                  <a:schemeClr val="bg1"/>
                </a:solidFill>
                <a:effectLst>
                  <a:outerShdw blurRad="38100" dist="38100" dir="2700000" algn="tl">
                    <a:srgbClr val="000000">
                      <a:alpha val="43137"/>
                    </a:srgbClr>
                  </a:outerShdw>
                </a:effectLst>
              </a:endParaRPr>
            </a:p>
          </p:txBody>
        </p:sp>
        <p:grpSp>
          <p:nvGrpSpPr>
            <p:cNvPr id="37" name="组合 11"/>
            <p:cNvGrpSpPr>
              <a:grpSpLocks/>
            </p:cNvGrpSpPr>
            <p:nvPr/>
          </p:nvGrpSpPr>
          <p:grpSpPr bwMode="auto">
            <a:xfrm>
              <a:off x="1689862" y="1413570"/>
              <a:ext cx="591426" cy="565318"/>
              <a:chOff x="15841663" y="2584450"/>
              <a:chExt cx="2933700" cy="2936875"/>
            </a:xfrm>
          </p:grpSpPr>
          <p:grpSp>
            <p:nvGrpSpPr>
              <p:cNvPr id="40" name="Group 1310"/>
              <p:cNvGrpSpPr>
                <a:grpSpLocks/>
              </p:cNvGrpSpPr>
              <p:nvPr/>
            </p:nvGrpSpPr>
            <p:grpSpPr bwMode="auto">
              <a:xfrm>
                <a:off x="17581563" y="2936875"/>
                <a:ext cx="869950" cy="1055688"/>
                <a:chOff x="11075" y="1850"/>
                <a:chExt cx="548" cy="665"/>
              </a:xfrm>
            </p:grpSpPr>
            <p:sp>
              <p:nvSpPr>
                <p:cNvPr id="4268" name="Freeform 1110"/>
                <p:cNvSpPr>
                  <a:spLocks/>
                </p:cNvSpPr>
                <p:nvPr/>
              </p:nvSpPr>
              <p:spPr bwMode="auto">
                <a:xfrm>
                  <a:off x="11530" y="2203"/>
                  <a:ext cx="8" cy="9"/>
                </a:xfrm>
                <a:custGeom>
                  <a:avLst/>
                  <a:gdLst>
                    <a:gd name="T0" fmla="*/ 0 w 5"/>
                    <a:gd name="T1" fmla="*/ 4 h 4"/>
                    <a:gd name="T2" fmla="*/ 5 w 5"/>
                    <a:gd name="T3" fmla="*/ 2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2"/>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69" name="Freeform 1111"/>
                <p:cNvSpPr>
                  <a:spLocks/>
                </p:cNvSpPr>
                <p:nvPr/>
              </p:nvSpPr>
              <p:spPr bwMode="auto">
                <a:xfrm>
                  <a:off x="11521" y="2194"/>
                  <a:ext cx="8" cy="9"/>
                </a:xfrm>
                <a:custGeom>
                  <a:avLst/>
                  <a:gdLst>
                    <a:gd name="T0" fmla="*/ 2 w 7"/>
                    <a:gd name="T1" fmla="*/ 2 h 2"/>
                    <a:gd name="T2" fmla="*/ 7 w 7"/>
                    <a:gd name="T3" fmla="*/ 0 h 2"/>
                    <a:gd name="T4" fmla="*/ 7 w 7"/>
                    <a:gd name="T5" fmla="*/ 0 h 2"/>
                    <a:gd name="T6" fmla="*/ 0 w 7"/>
                    <a:gd name="T7" fmla="*/ 2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lnTo>
                        <a:pt x="7" y="0"/>
                      </a:lnTo>
                      <a:lnTo>
                        <a:pt x="7" y="0"/>
                      </a:lnTo>
                      <a:lnTo>
                        <a:pt x="0" y="2"/>
                      </a:lnTo>
                      <a:lnTo>
                        <a:pt x="2" y="2"/>
                      </a:lnTo>
                      <a:close/>
                    </a:path>
                  </a:pathLst>
                </a:custGeom>
                <a:solidFill>
                  <a:srgbClr val="01AAE5"/>
                </a:solidFill>
                <a:ln>
                  <a:noFill/>
                </a:ln>
                <a:extLst/>
              </p:spPr>
              <p:txBody>
                <a:bodyPr/>
                <a:lstStyle/>
                <a:p>
                  <a:pPr eaLnBrk="1" hangingPunct="1">
                    <a:defRPr/>
                  </a:pPr>
                  <a:endParaRPr lang="zh-CN" altLang="en-US" sz="1050"/>
                </a:p>
              </p:txBody>
            </p:sp>
            <p:sp>
              <p:nvSpPr>
                <p:cNvPr id="4270" name="Freeform 1112"/>
                <p:cNvSpPr>
                  <a:spLocks/>
                </p:cNvSpPr>
                <p:nvPr/>
              </p:nvSpPr>
              <p:spPr bwMode="auto">
                <a:xfrm>
                  <a:off x="11521" y="2203"/>
                  <a:ext cx="17" cy="0"/>
                </a:xfrm>
                <a:custGeom>
                  <a:avLst/>
                  <a:gdLst>
                    <a:gd name="T0" fmla="*/ 0 w 7"/>
                    <a:gd name="T1" fmla="*/ 5 h 5"/>
                    <a:gd name="T2" fmla="*/ 7 w 7"/>
                    <a:gd name="T3" fmla="*/ 0 h 5"/>
                    <a:gd name="T4" fmla="*/ 5 w 7"/>
                    <a:gd name="T5" fmla="*/ 0 h 5"/>
                    <a:gd name="T6" fmla="*/ 0 w 7"/>
                    <a:gd name="T7" fmla="*/ 3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1" name="Freeform 1113"/>
                <p:cNvSpPr>
                  <a:spLocks/>
                </p:cNvSpPr>
                <p:nvPr/>
              </p:nvSpPr>
              <p:spPr bwMode="auto">
                <a:xfrm>
                  <a:off x="11538" y="2212"/>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272" name="Freeform 1114"/>
                <p:cNvSpPr>
                  <a:spLocks/>
                </p:cNvSpPr>
                <p:nvPr/>
              </p:nvSpPr>
              <p:spPr bwMode="auto">
                <a:xfrm>
                  <a:off x="11521" y="2194"/>
                  <a:ext cx="8" cy="0"/>
                </a:xfrm>
                <a:custGeom>
                  <a:avLst/>
                  <a:gdLst>
                    <a:gd name="T0" fmla="*/ 0 w 4"/>
                    <a:gd name="T1" fmla="*/ 5 h 5"/>
                    <a:gd name="T2" fmla="*/ 4 w 4"/>
                    <a:gd name="T3" fmla="*/ 2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3" name="Freeform 1115"/>
                <p:cNvSpPr>
                  <a:spLocks/>
                </p:cNvSpPr>
                <p:nvPr/>
              </p:nvSpPr>
              <p:spPr bwMode="auto">
                <a:xfrm>
                  <a:off x="11538" y="2212"/>
                  <a:ext cx="0" cy="0"/>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4" name="Freeform 1116"/>
                <p:cNvSpPr>
                  <a:spLocks/>
                </p:cNvSpPr>
                <p:nvPr/>
              </p:nvSpPr>
              <p:spPr bwMode="auto">
                <a:xfrm>
                  <a:off x="11530" y="2212"/>
                  <a:ext cx="8" cy="0"/>
                </a:xfrm>
                <a:custGeom>
                  <a:avLst/>
                  <a:gdLst>
                    <a:gd name="T0" fmla="*/ 0 w 7"/>
                    <a:gd name="T1" fmla="*/ 4 h 4"/>
                    <a:gd name="T2" fmla="*/ 7 w 7"/>
                    <a:gd name="T3" fmla="*/ 0 h 4"/>
                    <a:gd name="T4" fmla="*/ 7 w 7"/>
                    <a:gd name="T5" fmla="*/ 0 h 4"/>
                    <a:gd name="T6" fmla="*/ 0 w 7"/>
                    <a:gd name="T7" fmla="*/ 2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7" y="0"/>
                      </a:lnTo>
                      <a:lnTo>
                        <a:pt x="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75" name="Freeform 1117"/>
                <p:cNvSpPr>
                  <a:spLocks/>
                </p:cNvSpPr>
                <p:nvPr/>
              </p:nvSpPr>
              <p:spPr bwMode="auto">
                <a:xfrm>
                  <a:off x="11505" y="2159"/>
                  <a:ext cx="8" cy="9"/>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6" name="Freeform 1118"/>
                <p:cNvSpPr>
                  <a:spLocks/>
                </p:cNvSpPr>
                <p:nvPr/>
              </p:nvSpPr>
              <p:spPr bwMode="auto">
                <a:xfrm>
                  <a:off x="11505" y="2168"/>
                  <a:ext cx="17" cy="9"/>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4277" name="Freeform 1119"/>
                <p:cNvSpPr>
                  <a:spLocks/>
                </p:cNvSpPr>
                <p:nvPr/>
              </p:nvSpPr>
              <p:spPr bwMode="auto">
                <a:xfrm>
                  <a:off x="11513" y="2168"/>
                  <a:ext cx="8" cy="9"/>
                </a:xfrm>
                <a:custGeom>
                  <a:avLst/>
                  <a:gdLst>
                    <a:gd name="T0" fmla="*/ 0 w 7"/>
                    <a:gd name="T1" fmla="*/ 5 h 5"/>
                    <a:gd name="T2" fmla="*/ 7 w 7"/>
                    <a:gd name="T3" fmla="*/ 0 h 5"/>
                    <a:gd name="T4" fmla="*/ 5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8" name="Freeform 1120"/>
                <p:cNvSpPr>
                  <a:spLocks/>
                </p:cNvSpPr>
                <p:nvPr/>
              </p:nvSpPr>
              <p:spPr bwMode="auto">
                <a:xfrm>
                  <a:off x="11513" y="2177"/>
                  <a:ext cx="8" cy="0"/>
                </a:xfrm>
                <a:custGeom>
                  <a:avLst/>
                  <a:gdLst>
                    <a:gd name="T0" fmla="*/ 0 w 4"/>
                    <a:gd name="T1" fmla="*/ 5 h 5"/>
                    <a:gd name="T2" fmla="*/ 4 w 4"/>
                    <a:gd name="T3" fmla="*/ 3 h 5"/>
                    <a:gd name="T4" fmla="*/ 4 w 4"/>
                    <a:gd name="T5" fmla="*/ 0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4"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79" name="Freeform 1121"/>
                <p:cNvSpPr>
                  <a:spLocks/>
                </p:cNvSpPr>
                <p:nvPr/>
              </p:nvSpPr>
              <p:spPr bwMode="auto">
                <a:xfrm>
                  <a:off x="11521" y="2177"/>
                  <a:ext cx="0"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280" name="Freeform 1122"/>
                <p:cNvSpPr>
                  <a:spLocks/>
                </p:cNvSpPr>
                <p:nvPr/>
              </p:nvSpPr>
              <p:spPr bwMode="auto">
                <a:xfrm>
                  <a:off x="11505" y="2168"/>
                  <a:ext cx="8" cy="0"/>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281" name="Freeform 1123"/>
                <p:cNvSpPr>
                  <a:spLocks/>
                </p:cNvSpPr>
                <p:nvPr/>
              </p:nvSpPr>
              <p:spPr bwMode="auto">
                <a:xfrm>
                  <a:off x="11521" y="2177"/>
                  <a:ext cx="0" cy="9"/>
                </a:xfrm>
                <a:custGeom>
                  <a:avLst/>
                  <a:gdLst>
                    <a:gd name="T0" fmla="*/ 0 w 8"/>
                    <a:gd name="T1" fmla="*/ 4 h 4"/>
                    <a:gd name="T2" fmla="*/ 8 w 8"/>
                    <a:gd name="T3" fmla="*/ 2 h 4"/>
                    <a:gd name="T4" fmla="*/ 8 w 8"/>
                    <a:gd name="T5" fmla="*/ 0 h 4"/>
                    <a:gd name="T6" fmla="*/ 0 w 8"/>
                    <a:gd name="T7" fmla="*/ 4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lnTo>
                        <a:pt x="8" y="2"/>
                      </a:lnTo>
                      <a:lnTo>
                        <a:pt x="8"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82" name="Freeform 1124"/>
                <p:cNvSpPr>
                  <a:spLocks/>
                </p:cNvSpPr>
                <p:nvPr/>
              </p:nvSpPr>
              <p:spPr bwMode="auto">
                <a:xfrm>
                  <a:off x="11521" y="2186"/>
                  <a:ext cx="0" cy="0"/>
                </a:xfrm>
                <a:custGeom>
                  <a:avLst/>
                  <a:gdLst>
                    <a:gd name="T0" fmla="*/ 0 w 7"/>
                    <a:gd name="T1" fmla="*/ 3 h 3"/>
                    <a:gd name="T2" fmla="*/ 7 w 7"/>
                    <a:gd name="T3" fmla="*/ 0 h 3"/>
                    <a:gd name="T4" fmla="*/ 5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4283" name="Freeform 1125"/>
                <p:cNvSpPr>
                  <a:spLocks/>
                </p:cNvSpPr>
                <p:nvPr/>
              </p:nvSpPr>
              <p:spPr bwMode="auto">
                <a:xfrm>
                  <a:off x="11521" y="2186"/>
                  <a:ext cx="0" cy="9"/>
                </a:xfrm>
                <a:custGeom>
                  <a:avLst/>
                  <a:gdLst>
                    <a:gd name="T0" fmla="*/ 0 w 5"/>
                    <a:gd name="T1" fmla="*/ 4 h 4"/>
                    <a:gd name="T2" fmla="*/ 5 w 5"/>
                    <a:gd name="T3" fmla="*/ 0 h 4"/>
                    <a:gd name="T4" fmla="*/ 5 w 5"/>
                    <a:gd name="T5" fmla="*/ 0 h 4"/>
                    <a:gd name="T6" fmla="*/ 0 w 5"/>
                    <a:gd name="T7" fmla="*/ 2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84" name="Freeform 1126"/>
                <p:cNvSpPr>
                  <a:spLocks/>
                </p:cNvSpPr>
                <p:nvPr/>
              </p:nvSpPr>
              <p:spPr bwMode="auto">
                <a:xfrm>
                  <a:off x="11521" y="2177"/>
                  <a:ext cx="0" cy="9"/>
                </a:xfrm>
                <a:custGeom>
                  <a:avLst/>
                  <a:gdLst>
                    <a:gd name="T0" fmla="*/ 0 w 5"/>
                    <a:gd name="T1" fmla="*/ 5 h 5"/>
                    <a:gd name="T2" fmla="*/ 5 w 5"/>
                    <a:gd name="T3" fmla="*/ 0 h 5"/>
                    <a:gd name="T4" fmla="*/ 5 w 5"/>
                    <a:gd name="T5" fmla="*/ 0 h 5"/>
                    <a:gd name="T6" fmla="*/ 0 w 5"/>
                    <a:gd name="T7" fmla="*/ 3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85" name="Freeform 1127"/>
                <p:cNvSpPr>
                  <a:spLocks/>
                </p:cNvSpPr>
                <p:nvPr/>
              </p:nvSpPr>
              <p:spPr bwMode="auto">
                <a:xfrm>
                  <a:off x="11530" y="2212"/>
                  <a:ext cx="8" cy="0"/>
                </a:xfrm>
                <a:custGeom>
                  <a:avLst/>
                  <a:gdLst>
                    <a:gd name="T0" fmla="*/ 0 w 4"/>
                    <a:gd name="T1" fmla="*/ 3 h 3"/>
                    <a:gd name="T2" fmla="*/ 4 w 4"/>
                    <a:gd name="T3" fmla="*/ 0 h 3"/>
                    <a:gd name="T4" fmla="*/ 4 w 4"/>
                    <a:gd name="T5" fmla="*/ 0 h 3"/>
                    <a:gd name="T6" fmla="*/ 0 w 4"/>
                    <a:gd name="T7" fmla="*/ 3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lnTo>
                        <a:pt x="4" y="0"/>
                      </a:lnTo>
                      <a:lnTo>
                        <a:pt x="4"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4286" name="Freeform 1128"/>
                <p:cNvSpPr>
                  <a:spLocks/>
                </p:cNvSpPr>
                <p:nvPr/>
              </p:nvSpPr>
              <p:spPr bwMode="auto">
                <a:xfrm>
                  <a:off x="11546" y="2255"/>
                  <a:ext cx="33" cy="17"/>
                </a:xfrm>
                <a:custGeom>
                  <a:avLst/>
                  <a:gdLst>
                    <a:gd name="T0" fmla="*/ 0 w 23"/>
                    <a:gd name="T1" fmla="*/ 12 h 12"/>
                    <a:gd name="T2" fmla="*/ 23 w 23"/>
                    <a:gd name="T3" fmla="*/ 0 h 12"/>
                    <a:gd name="T4" fmla="*/ 23 w 23"/>
                    <a:gd name="T5" fmla="*/ 0 h 12"/>
                    <a:gd name="T6" fmla="*/ 0 w 23"/>
                    <a:gd name="T7" fmla="*/ 9 h 12"/>
                    <a:gd name="T8" fmla="*/ 0 w 23"/>
                    <a:gd name="T9" fmla="*/ 12 h 12"/>
                  </a:gdLst>
                  <a:ahLst/>
                  <a:cxnLst>
                    <a:cxn ang="0">
                      <a:pos x="T0" y="T1"/>
                    </a:cxn>
                    <a:cxn ang="0">
                      <a:pos x="T2" y="T3"/>
                    </a:cxn>
                    <a:cxn ang="0">
                      <a:pos x="T4" y="T5"/>
                    </a:cxn>
                    <a:cxn ang="0">
                      <a:pos x="T6" y="T7"/>
                    </a:cxn>
                    <a:cxn ang="0">
                      <a:pos x="T8" y="T9"/>
                    </a:cxn>
                  </a:cxnLst>
                  <a:rect l="0" t="0" r="r" b="b"/>
                  <a:pathLst>
                    <a:path w="23" h="12">
                      <a:moveTo>
                        <a:pt x="0" y="12"/>
                      </a:moveTo>
                      <a:lnTo>
                        <a:pt x="23" y="0"/>
                      </a:lnTo>
                      <a:lnTo>
                        <a:pt x="23"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287" name="Freeform 1129"/>
                <p:cNvSpPr>
                  <a:spLocks/>
                </p:cNvSpPr>
                <p:nvPr/>
              </p:nvSpPr>
              <p:spPr bwMode="auto">
                <a:xfrm>
                  <a:off x="11546" y="2247"/>
                  <a:ext cx="25" cy="17"/>
                </a:xfrm>
                <a:custGeom>
                  <a:avLst/>
                  <a:gdLst>
                    <a:gd name="T0" fmla="*/ 0 w 18"/>
                    <a:gd name="T1" fmla="*/ 10 h 10"/>
                    <a:gd name="T2" fmla="*/ 18 w 18"/>
                    <a:gd name="T3" fmla="*/ 0 h 10"/>
                    <a:gd name="T4" fmla="*/ 16 w 18"/>
                    <a:gd name="T5" fmla="*/ 0 h 10"/>
                    <a:gd name="T6" fmla="*/ 0 w 18"/>
                    <a:gd name="T7" fmla="*/ 7 h 10"/>
                    <a:gd name="T8" fmla="*/ 0 w 18"/>
                    <a:gd name="T9" fmla="*/ 10 h 10"/>
                  </a:gdLst>
                  <a:ahLst/>
                  <a:cxnLst>
                    <a:cxn ang="0">
                      <a:pos x="T0" y="T1"/>
                    </a:cxn>
                    <a:cxn ang="0">
                      <a:pos x="T2" y="T3"/>
                    </a:cxn>
                    <a:cxn ang="0">
                      <a:pos x="T4" y="T5"/>
                    </a:cxn>
                    <a:cxn ang="0">
                      <a:pos x="T6" y="T7"/>
                    </a:cxn>
                    <a:cxn ang="0">
                      <a:pos x="T8" y="T9"/>
                    </a:cxn>
                  </a:cxnLst>
                  <a:rect l="0" t="0" r="r" b="b"/>
                  <a:pathLst>
                    <a:path w="18" h="10">
                      <a:moveTo>
                        <a:pt x="0" y="10"/>
                      </a:moveTo>
                      <a:lnTo>
                        <a:pt x="18" y="0"/>
                      </a:lnTo>
                      <a:lnTo>
                        <a:pt x="16"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288" name="Freeform 1130"/>
                <p:cNvSpPr>
                  <a:spLocks/>
                </p:cNvSpPr>
                <p:nvPr/>
              </p:nvSpPr>
              <p:spPr bwMode="auto">
                <a:xfrm>
                  <a:off x="11546" y="2255"/>
                  <a:ext cx="25" cy="9"/>
                </a:xfrm>
                <a:custGeom>
                  <a:avLst/>
                  <a:gdLst>
                    <a:gd name="T0" fmla="*/ 0 w 21"/>
                    <a:gd name="T1" fmla="*/ 9 h 9"/>
                    <a:gd name="T2" fmla="*/ 21 w 21"/>
                    <a:gd name="T3" fmla="*/ 0 h 9"/>
                    <a:gd name="T4" fmla="*/ 21 w 21"/>
                    <a:gd name="T5" fmla="*/ 0 h 9"/>
                    <a:gd name="T6" fmla="*/ 0 w 21"/>
                    <a:gd name="T7" fmla="*/ 9 h 9"/>
                    <a:gd name="T8" fmla="*/ 0 w 21"/>
                    <a:gd name="T9" fmla="*/ 9 h 9"/>
                  </a:gdLst>
                  <a:ahLst/>
                  <a:cxnLst>
                    <a:cxn ang="0">
                      <a:pos x="T0" y="T1"/>
                    </a:cxn>
                    <a:cxn ang="0">
                      <a:pos x="T2" y="T3"/>
                    </a:cxn>
                    <a:cxn ang="0">
                      <a:pos x="T4" y="T5"/>
                    </a:cxn>
                    <a:cxn ang="0">
                      <a:pos x="T6" y="T7"/>
                    </a:cxn>
                    <a:cxn ang="0">
                      <a:pos x="T8" y="T9"/>
                    </a:cxn>
                  </a:cxnLst>
                  <a:rect l="0" t="0" r="r" b="b"/>
                  <a:pathLst>
                    <a:path w="21" h="9">
                      <a:moveTo>
                        <a:pt x="0" y="9"/>
                      </a:moveTo>
                      <a:lnTo>
                        <a:pt x="21" y="0"/>
                      </a:lnTo>
                      <a:lnTo>
                        <a:pt x="21"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289" name="Freeform 1131"/>
                <p:cNvSpPr>
                  <a:spLocks/>
                </p:cNvSpPr>
                <p:nvPr/>
              </p:nvSpPr>
              <p:spPr bwMode="auto">
                <a:xfrm>
                  <a:off x="11546" y="2247"/>
                  <a:ext cx="25" cy="9"/>
                </a:xfrm>
                <a:custGeom>
                  <a:avLst/>
                  <a:gdLst>
                    <a:gd name="T0" fmla="*/ 0 w 19"/>
                    <a:gd name="T1" fmla="*/ 7 h 7"/>
                    <a:gd name="T2" fmla="*/ 19 w 19"/>
                    <a:gd name="T3" fmla="*/ 0 h 7"/>
                    <a:gd name="T4" fmla="*/ 17 w 19"/>
                    <a:gd name="T5" fmla="*/ 0 h 7"/>
                    <a:gd name="T6" fmla="*/ 0 w 19"/>
                    <a:gd name="T7" fmla="*/ 7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290" name="Freeform 1132"/>
                <p:cNvSpPr>
                  <a:spLocks/>
                </p:cNvSpPr>
                <p:nvPr/>
              </p:nvSpPr>
              <p:spPr bwMode="auto">
                <a:xfrm>
                  <a:off x="11546" y="2264"/>
                  <a:ext cx="33" cy="9"/>
                </a:xfrm>
                <a:custGeom>
                  <a:avLst/>
                  <a:gdLst>
                    <a:gd name="T0" fmla="*/ 0 w 26"/>
                    <a:gd name="T1" fmla="*/ 12 h 12"/>
                    <a:gd name="T2" fmla="*/ 26 w 26"/>
                    <a:gd name="T3" fmla="*/ 0 h 12"/>
                    <a:gd name="T4" fmla="*/ 26 w 26"/>
                    <a:gd name="T5" fmla="*/ 0 h 12"/>
                    <a:gd name="T6" fmla="*/ 0 w 26"/>
                    <a:gd name="T7" fmla="*/ 9 h 12"/>
                    <a:gd name="T8" fmla="*/ 0 w 26"/>
                    <a:gd name="T9" fmla="*/ 12 h 12"/>
                  </a:gdLst>
                  <a:ahLst/>
                  <a:cxnLst>
                    <a:cxn ang="0">
                      <a:pos x="T0" y="T1"/>
                    </a:cxn>
                    <a:cxn ang="0">
                      <a:pos x="T2" y="T3"/>
                    </a:cxn>
                    <a:cxn ang="0">
                      <a:pos x="T4" y="T5"/>
                    </a:cxn>
                    <a:cxn ang="0">
                      <a:pos x="T6" y="T7"/>
                    </a:cxn>
                    <a:cxn ang="0">
                      <a:pos x="T8" y="T9"/>
                    </a:cxn>
                  </a:cxnLst>
                  <a:rect l="0" t="0" r="r" b="b"/>
                  <a:pathLst>
                    <a:path w="26" h="12">
                      <a:moveTo>
                        <a:pt x="0" y="12"/>
                      </a:moveTo>
                      <a:lnTo>
                        <a:pt x="26" y="0"/>
                      </a:lnTo>
                      <a:lnTo>
                        <a:pt x="26"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291" name="Freeform 1133"/>
                <p:cNvSpPr>
                  <a:spLocks/>
                </p:cNvSpPr>
                <p:nvPr/>
              </p:nvSpPr>
              <p:spPr bwMode="auto">
                <a:xfrm>
                  <a:off x="11546" y="2264"/>
                  <a:ext cx="33" cy="9"/>
                </a:xfrm>
                <a:custGeom>
                  <a:avLst/>
                  <a:gdLst>
                    <a:gd name="T0" fmla="*/ 0 w 28"/>
                    <a:gd name="T1" fmla="*/ 12 h 12"/>
                    <a:gd name="T2" fmla="*/ 28 w 28"/>
                    <a:gd name="T3" fmla="*/ 0 h 12"/>
                    <a:gd name="T4" fmla="*/ 28 w 28"/>
                    <a:gd name="T5" fmla="*/ 0 h 12"/>
                    <a:gd name="T6" fmla="*/ 0 w 28"/>
                    <a:gd name="T7" fmla="*/ 12 h 12"/>
                    <a:gd name="T8" fmla="*/ 0 w 28"/>
                    <a:gd name="T9" fmla="*/ 12 h 12"/>
                  </a:gdLst>
                  <a:ahLst/>
                  <a:cxnLst>
                    <a:cxn ang="0">
                      <a:pos x="T0" y="T1"/>
                    </a:cxn>
                    <a:cxn ang="0">
                      <a:pos x="T2" y="T3"/>
                    </a:cxn>
                    <a:cxn ang="0">
                      <a:pos x="T4" y="T5"/>
                    </a:cxn>
                    <a:cxn ang="0">
                      <a:pos x="T6" y="T7"/>
                    </a:cxn>
                    <a:cxn ang="0">
                      <a:pos x="T8" y="T9"/>
                    </a:cxn>
                  </a:cxnLst>
                  <a:rect l="0" t="0" r="r" b="b"/>
                  <a:pathLst>
                    <a:path w="28" h="12">
                      <a:moveTo>
                        <a:pt x="0" y="12"/>
                      </a:moveTo>
                      <a:lnTo>
                        <a:pt x="28"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292" name="Freeform 1134"/>
                <p:cNvSpPr>
                  <a:spLocks/>
                </p:cNvSpPr>
                <p:nvPr/>
              </p:nvSpPr>
              <p:spPr bwMode="auto">
                <a:xfrm>
                  <a:off x="11546" y="2255"/>
                  <a:ext cx="33" cy="17"/>
                </a:xfrm>
                <a:custGeom>
                  <a:avLst/>
                  <a:gdLst>
                    <a:gd name="T0" fmla="*/ 0 w 24"/>
                    <a:gd name="T1" fmla="*/ 12 h 12"/>
                    <a:gd name="T2" fmla="*/ 24 w 24"/>
                    <a:gd name="T3" fmla="*/ 3 h 12"/>
                    <a:gd name="T4" fmla="*/ 24 w 24"/>
                    <a:gd name="T5" fmla="*/ 0 h 12"/>
                    <a:gd name="T6" fmla="*/ 0 w 24"/>
                    <a:gd name="T7" fmla="*/ 12 h 12"/>
                    <a:gd name="T8" fmla="*/ 0 w 24"/>
                    <a:gd name="T9" fmla="*/ 12 h 12"/>
                  </a:gdLst>
                  <a:ahLst/>
                  <a:cxnLst>
                    <a:cxn ang="0">
                      <a:pos x="T0" y="T1"/>
                    </a:cxn>
                    <a:cxn ang="0">
                      <a:pos x="T2" y="T3"/>
                    </a:cxn>
                    <a:cxn ang="0">
                      <a:pos x="T4" y="T5"/>
                    </a:cxn>
                    <a:cxn ang="0">
                      <a:pos x="T6" y="T7"/>
                    </a:cxn>
                    <a:cxn ang="0">
                      <a:pos x="T8" y="T9"/>
                    </a:cxn>
                  </a:cxnLst>
                  <a:rect l="0" t="0" r="r" b="b"/>
                  <a:pathLst>
                    <a:path w="24" h="12">
                      <a:moveTo>
                        <a:pt x="0" y="12"/>
                      </a:moveTo>
                      <a:lnTo>
                        <a:pt x="24" y="3"/>
                      </a:lnTo>
                      <a:lnTo>
                        <a:pt x="24"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293" name="Freeform 1135"/>
                <p:cNvSpPr>
                  <a:spLocks/>
                </p:cNvSpPr>
                <p:nvPr/>
              </p:nvSpPr>
              <p:spPr bwMode="auto">
                <a:xfrm>
                  <a:off x="11546" y="2247"/>
                  <a:ext cx="17" cy="9"/>
                </a:xfrm>
                <a:custGeom>
                  <a:avLst/>
                  <a:gdLst>
                    <a:gd name="T0" fmla="*/ 0 w 14"/>
                    <a:gd name="T1" fmla="*/ 10 h 10"/>
                    <a:gd name="T2" fmla="*/ 14 w 14"/>
                    <a:gd name="T3" fmla="*/ 2 h 10"/>
                    <a:gd name="T4" fmla="*/ 14 w 14"/>
                    <a:gd name="T5" fmla="*/ 0 h 10"/>
                    <a:gd name="T6" fmla="*/ 0 w 14"/>
                    <a:gd name="T7" fmla="*/ 7 h 10"/>
                    <a:gd name="T8" fmla="*/ 0 w 14"/>
                    <a:gd name="T9" fmla="*/ 10 h 10"/>
                  </a:gdLst>
                  <a:ahLst/>
                  <a:cxnLst>
                    <a:cxn ang="0">
                      <a:pos x="T0" y="T1"/>
                    </a:cxn>
                    <a:cxn ang="0">
                      <a:pos x="T2" y="T3"/>
                    </a:cxn>
                    <a:cxn ang="0">
                      <a:pos x="T4" y="T5"/>
                    </a:cxn>
                    <a:cxn ang="0">
                      <a:pos x="T6" y="T7"/>
                    </a:cxn>
                    <a:cxn ang="0">
                      <a:pos x="T8" y="T9"/>
                    </a:cxn>
                  </a:cxnLst>
                  <a:rect l="0" t="0" r="r" b="b"/>
                  <a:pathLst>
                    <a:path w="14" h="10">
                      <a:moveTo>
                        <a:pt x="0" y="10"/>
                      </a:moveTo>
                      <a:lnTo>
                        <a:pt x="14" y="2"/>
                      </a:lnTo>
                      <a:lnTo>
                        <a:pt x="14" y="0"/>
                      </a:lnTo>
                      <a:lnTo>
                        <a:pt x="0" y="7"/>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294" name="Freeform 1136"/>
                <p:cNvSpPr>
                  <a:spLocks/>
                </p:cNvSpPr>
                <p:nvPr/>
              </p:nvSpPr>
              <p:spPr bwMode="auto">
                <a:xfrm>
                  <a:off x="11546" y="2238"/>
                  <a:ext cx="8" cy="9"/>
                </a:xfrm>
                <a:custGeom>
                  <a:avLst/>
                  <a:gdLst>
                    <a:gd name="T0" fmla="*/ 0 w 12"/>
                    <a:gd name="T1" fmla="*/ 7 h 7"/>
                    <a:gd name="T2" fmla="*/ 12 w 12"/>
                    <a:gd name="T3" fmla="*/ 0 h 7"/>
                    <a:gd name="T4" fmla="*/ 12 w 12"/>
                    <a:gd name="T5" fmla="*/ 0 h 7"/>
                    <a:gd name="T6" fmla="*/ 0 w 12"/>
                    <a:gd name="T7" fmla="*/ 5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4295" name="Freeform 1137"/>
                <p:cNvSpPr>
                  <a:spLocks/>
                </p:cNvSpPr>
                <p:nvPr/>
              </p:nvSpPr>
              <p:spPr bwMode="auto">
                <a:xfrm>
                  <a:off x="11555" y="2273"/>
                  <a:ext cx="25" cy="9"/>
                </a:xfrm>
                <a:custGeom>
                  <a:avLst/>
                  <a:gdLst>
                    <a:gd name="T0" fmla="*/ 0 w 29"/>
                    <a:gd name="T1" fmla="*/ 14 h 14"/>
                    <a:gd name="T2" fmla="*/ 29 w 29"/>
                    <a:gd name="T3" fmla="*/ 0 h 14"/>
                    <a:gd name="T4" fmla="*/ 29 w 29"/>
                    <a:gd name="T5" fmla="*/ 0 h 14"/>
                    <a:gd name="T6" fmla="*/ 0 w 29"/>
                    <a:gd name="T7" fmla="*/ 12 h 14"/>
                    <a:gd name="T8" fmla="*/ 0 w 29"/>
                    <a:gd name="T9" fmla="*/ 14 h 14"/>
                  </a:gdLst>
                  <a:ahLst/>
                  <a:cxnLst>
                    <a:cxn ang="0">
                      <a:pos x="T0" y="T1"/>
                    </a:cxn>
                    <a:cxn ang="0">
                      <a:pos x="T2" y="T3"/>
                    </a:cxn>
                    <a:cxn ang="0">
                      <a:pos x="T4" y="T5"/>
                    </a:cxn>
                    <a:cxn ang="0">
                      <a:pos x="T6" y="T7"/>
                    </a:cxn>
                    <a:cxn ang="0">
                      <a:pos x="T8" y="T9"/>
                    </a:cxn>
                  </a:cxnLst>
                  <a:rect l="0" t="0" r="r" b="b"/>
                  <a:pathLst>
                    <a:path w="29" h="14">
                      <a:moveTo>
                        <a:pt x="0" y="14"/>
                      </a:moveTo>
                      <a:lnTo>
                        <a:pt x="29" y="0"/>
                      </a:lnTo>
                      <a:lnTo>
                        <a:pt x="29"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4296" name="Freeform 1138"/>
                <p:cNvSpPr>
                  <a:spLocks/>
                </p:cNvSpPr>
                <p:nvPr/>
              </p:nvSpPr>
              <p:spPr bwMode="auto">
                <a:xfrm>
                  <a:off x="11546" y="2247"/>
                  <a:ext cx="17" cy="0"/>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297" name="Freeform 1139"/>
                <p:cNvSpPr>
                  <a:spLocks/>
                </p:cNvSpPr>
                <p:nvPr/>
              </p:nvSpPr>
              <p:spPr bwMode="auto">
                <a:xfrm>
                  <a:off x="11546" y="2229"/>
                  <a:ext cx="0" cy="0"/>
                </a:xfrm>
                <a:custGeom>
                  <a:avLst/>
                  <a:gdLst>
                    <a:gd name="T0" fmla="*/ 2 w 7"/>
                    <a:gd name="T1" fmla="*/ 4 h 4"/>
                    <a:gd name="T2" fmla="*/ 7 w 7"/>
                    <a:gd name="T3" fmla="*/ 0 h 4"/>
                    <a:gd name="T4" fmla="*/ 7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4298" name="Freeform 1140"/>
                <p:cNvSpPr>
                  <a:spLocks/>
                </p:cNvSpPr>
                <p:nvPr/>
              </p:nvSpPr>
              <p:spPr bwMode="auto">
                <a:xfrm>
                  <a:off x="11538" y="2220"/>
                  <a:ext cx="8" cy="0"/>
                </a:xfrm>
                <a:custGeom>
                  <a:avLst/>
                  <a:gdLst>
                    <a:gd name="T0" fmla="*/ 0 w 7"/>
                    <a:gd name="T1" fmla="*/ 5 h 5"/>
                    <a:gd name="T2" fmla="*/ 7 w 7"/>
                    <a:gd name="T3" fmla="*/ 3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3"/>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99" name="Freeform 1141"/>
                <p:cNvSpPr>
                  <a:spLocks/>
                </p:cNvSpPr>
                <p:nvPr/>
              </p:nvSpPr>
              <p:spPr bwMode="auto">
                <a:xfrm>
                  <a:off x="11546" y="2220"/>
                  <a:ext cx="0" cy="9"/>
                </a:xfrm>
                <a:custGeom>
                  <a:avLst/>
                  <a:gdLst>
                    <a:gd name="T0" fmla="*/ 0 w 5"/>
                    <a:gd name="T1" fmla="*/ 3 h 3"/>
                    <a:gd name="T2" fmla="*/ 5 w 5"/>
                    <a:gd name="T3" fmla="*/ 0 h 3"/>
                    <a:gd name="T4" fmla="*/ 5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4300" name="Freeform 1142"/>
                <p:cNvSpPr>
                  <a:spLocks/>
                </p:cNvSpPr>
                <p:nvPr/>
              </p:nvSpPr>
              <p:spPr bwMode="auto">
                <a:xfrm>
                  <a:off x="11546" y="2238"/>
                  <a:ext cx="0" cy="0"/>
                </a:xfrm>
                <a:custGeom>
                  <a:avLst/>
                  <a:gdLst>
                    <a:gd name="T0" fmla="*/ 3 w 10"/>
                    <a:gd name="T1" fmla="*/ 4 h 4"/>
                    <a:gd name="T2" fmla="*/ 10 w 10"/>
                    <a:gd name="T3" fmla="*/ 0 h 4"/>
                    <a:gd name="T4" fmla="*/ 10 w 10"/>
                    <a:gd name="T5" fmla="*/ 0 h 4"/>
                    <a:gd name="T6" fmla="*/ 0 w 10"/>
                    <a:gd name="T7" fmla="*/ 2 h 4"/>
                    <a:gd name="T8" fmla="*/ 3 w 10"/>
                    <a:gd name="T9" fmla="*/ 4 h 4"/>
                  </a:gdLst>
                  <a:ahLst/>
                  <a:cxnLst>
                    <a:cxn ang="0">
                      <a:pos x="T0" y="T1"/>
                    </a:cxn>
                    <a:cxn ang="0">
                      <a:pos x="T2" y="T3"/>
                    </a:cxn>
                    <a:cxn ang="0">
                      <a:pos x="T4" y="T5"/>
                    </a:cxn>
                    <a:cxn ang="0">
                      <a:pos x="T6" y="T7"/>
                    </a:cxn>
                    <a:cxn ang="0">
                      <a:pos x="T8" y="T9"/>
                    </a:cxn>
                  </a:cxnLst>
                  <a:rect l="0" t="0" r="r" b="b"/>
                  <a:pathLst>
                    <a:path w="10" h="4">
                      <a:moveTo>
                        <a:pt x="3" y="4"/>
                      </a:moveTo>
                      <a:lnTo>
                        <a:pt x="10" y="0"/>
                      </a:lnTo>
                      <a:lnTo>
                        <a:pt x="10" y="0"/>
                      </a:lnTo>
                      <a:lnTo>
                        <a:pt x="0" y="2"/>
                      </a:lnTo>
                      <a:lnTo>
                        <a:pt x="3" y="4"/>
                      </a:lnTo>
                      <a:close/>
                    </a:path>
                  </a:pathLst>
                </a:custGeom>
                <a:solidFill>
                  <a:srgbClr val="01AAE5"/>
                </a:solidFill>
                <a:ln>
                  <a:noFill/>
                </a:ln>
                <a:extLst/>
              </p:spPr>
              <p:txBody>
                <a:bodyPr/>
                <a:lstStyle/>
                <a:p>
                  <a:pPr eaLnBrk="1" hangingPunct="1">
                    <a:defRPr/>
                  </a:pPr>
                  <a:endParaRPr lang="zh-CN" altLang="en-US" sz="1050"/>
                </a:p>
              </p:txBody>
            </p:sp>
            <p:sp>
              <p:nvSpPr>
                <p:cNvPr id="4301" name="Freeform 1143"/>
                <p:cNvSpPr>
                  <a:spLocks/>
                </p:cNvSpPr>
                <p:nvPr/>
              </p:nvSpPr>
              <p:spPr bwMode="auto">
                <a:xfrm>
                  <a:off x="11538" y="2212"/>
                  <a:ext cx="8" cy="9"/>
                </a:xfrm>
                <a:custGeom>
                  <a:avLst/>
                  <a:gdLst>
                    <a:gd name="T0" fmla="*/ 3 w 7"/>
                    <a:gd name="T1" fmla="*/ 5 h 5"/>
                    <a:gd name="T2" fmla="*/ 7 w 7"/>
                    <a:gd name="T3" fmla="*/ 0 h 5"/>
                    <a:gd name="T4" fmla="*/ 7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7"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4302" name="Freeform 1144"/>
                <p:cNvSpPr>
                  <a:spLocks/>
                </p:cNvSpPr>
                <p:nvPr/>
              </p:nvSpPr>
              <p:spPr bwMode="auto">
                <a:xfrm>
                  <a:off x="11546" y="2238"/>
                  <a:ext cx="8" cy="9"/>
                </a:xfrm>
                <a:custGeom>
                  <a:avLst/>
                  <a:gdLst>
                    <a:gd name="T0" fmla="*/ 0 w 9"/>
                    <a:gd name="T1" fmla="*/ 5 h 5"/>
                    <a:gd name="T2" fmla="*/ 9 w 9"/>
                    <a:gd name="T3" fmla="*/ 0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0"/>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03" name="Freeform 1145"/>
                <p:cNvSpPr>
                  <a:spLocks/>
                </p:cNvSpPr>
                <p:nvPr/>
              </p:nvSpPr>
              <p:spPr bwMode="auto">
                <a:xfrm>
                  <a:off x="11546" y="2229"/>
                  <a:ext cx="0" cy="9"/>
                </a:xfrm>
                <a:custGeom>
                  <a:avLst/>
                  <a:gdLst>
                    <a:gd name="T0" fmla="*/ 0 w 8"/>
                    <a:gd name="T1" fmla="*/ 5 h 5"/>
                    <a:gd name="T2" fmla="*/ 8 w 8"/>
                    <a:gd name="T3" fmla="*/ 2 h 5"/>
                    <a:gd name="T4" fmla="*/ 8 w 8"/>
                    <a:gd name="T5" fmla="*/ 0 h 5"/>
                    <a:gd name="T6" fmla="*/ 0 w 8"/>
                    <a:gd name="T7" fmla="*/ 5 h 5"/>
                    <a:gd name="T8" fmla="*/ 0 w 8"/>
                    <a:gd name="T9" fmla="*/ 5 h 5"/>
                  </a:gdLst>
                  <a:ahLst/>
                  <a:cxnLst>
                    <a:cxn ang="0">
                      <a:pos x="T0" y="T1"/>
                    </a:cxn>
                    <a:cxn ang="0">
                      <a:pos x="T2" y="T3"/>
                    </a:cxn>
                    <a:cxn ang="0">
                      <a:pos x="T4" y="T5"/>
                    </a:cxn>
                    <a:cxn ang="0">
                      <a:pos x="T6" y="T7"/>
                    </a:cxn>
                    <a:cxn ang="0">
                      <a:pos x="T8" y="T9"/>
                    </a:cxn>
                  </a:cxnLst>
                  <a:rect l="0" t="0" r="r" b="b"/>
                  <a:pathLst>
                    <a:path w="8" h="5">
                      <a:moveTo>
                        <a:pt x="0" y="5"/>
                      </a:moveTo>
                      <a:lnTo>
                        <a:pt x="8" y="2"/>
                      </a:lnTo>
                      <a:lnTo>
                        <a:pt x="8"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04" name="Freeform 1146"/>
                <p:cNvSpPr>
                  <a:spLocks/>
                </p:cNvSpPr>
                <p:nvPr/>
              </p:nvSpPr>
              <p:spPr bwMode="auto">
                <a:xfrm>
                  <a:off x="11455" y="2090"/>
                  <a:ext cx="8"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05" name="Freeform 1147"/>
                <p:cNvSpPr>
                  <a:spLocks/>
                </p:cNvSpPr>
                <p:nvPr/>
              </p:nvSpPr>
              <p:spPr bwMode="auto">
                <a:xfrm>
                  <a:off x="11455" y="2090"/>
                  <a:ext cx="8" cy="9"/>
                </a:xfrm>
                <a:custGeom>
                  <a:avLst/>
                  <a:gdLst>
                    <a:gd name="T0" fmla="*/ 0 w 7"/>
                    <a:gd name="T1" fmla="*/ 8 h 8"/>
                    <a:gd name="T2" fmla="*/ 7 w 7"/>
                    <a:gd name="T3" fmla="*/ 0 h 8"/>
                    <a:gd name="T4" fmla="*/ 7 w 7"/>
                    <a:gd name="T5" fmla="*/ 0 h 8"/>
                    <a:gd name="T6" fmla="*/ 0 w 7"/>
                    <a:gd name="T7" fmla="*/ 8 h 8"/>
                    <a:gd name="T8" fmla="*/ 0 w 7"/>
                    <a:gd name="T9" fmla="*/ 8 h 8"/>
                  </a:gdLst>
                  <a:ahLst/>
                  <a:cxnLst>
                    <a:cxn ang="0">
                      <a:pos x="T0" y="T1"/>
                    </a:cxn>
                    <a:cxn ang="0">
                      <a:pos x="T2" y="T3"/>
                    </a:cxn>
                    <a:cxn ang="0">
                      <a:pos x="T4" y="T5"/>
                    </a:cxn>
                    <a:cxn ang="0">
                      <a:pos x="T6" y="T7"/>
                    </a:cxn>
                    <a:cxn ang="0">
                      <a:pos x="T8" y="T9"/>
                    </a:cxn>
                  </a:cxnLst>
                  <a:rect l="0" t="0" r="r" b="b"/>
                  <a:pathLst>
                    <a:path w="7" h="8">
                      <a:moveTo>
                        <a:pt x="0" y="8"/>
                      </a:moveTo>
                      <a:lnTo>
                        <a:pt x="7" y="0"/>
                      </a:lnTo>
                      <a:lnTo>
                        <a:pt x="7"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4306" name="Freeform 1148"/>
                <p:cNvSpPr>
                  <a:spLocks/>
                </p:cNvSpPr>
                <p:nvPr/>
              </p:nvSpPr>
              <p:spPr bwMode="auto">
                <a:xfrm>
                  <a:off x="11455" y="2090"/>
                  <a:ext cx="8" cy="0"/>
                </a:xfrm>
                <a:custGeom>
                  <a:avLst/>
                  <a:gdLst>
                    <a:gd name="T0" fmla="*/ 0 w 7"/>
                    <a:gd name="T1" fmla="*/ 7 h 7"/>
                    <a:gd name="T2" fmla="*/ 7 w 7"/>
                    <a:gd name="T3" fmla="*/ 0 h 7"/>
                    <a:gd name="T4" fmla="*/ 7 w 7"/>
                    <a:gd name="T5" fmla="*/ 0 h 7"/>
                    <a:gd name="T6" fmla="*/ 0 w 7"/>
                    <a:gd name="T7" fmla="*/ 5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07" name="Freeform 1149"/>
                <p:cNvSpPr>
                  <a:spLocks/>
                </p:cNvSpPr>
                <p:nvPr/>
              </p:nvSpPr>
              <p:spPr bwMode="auto">
                <a:xfrm>
                  <a:off x="11455" y="2090"/>
                  <a:ext cx="17" cy="17"/>
                </a:xfrm>
                <a:custGeom>
                  <a:avLst/>
                  <a:gdLst>
                    <a:gd name="T0" fmla="*/ 2 w 12"/>
                    <a:gd name="T1" fmla="*/ 10 h 10"/>
                    <a:gd name="T2" fmla="*/ 12 w 12"/>
                    <a:gd name="T3" fmla="*/ 0 h 10"/>
                    <a:gd name="T4" fmla="*/ 9 w 12"/>
                    <a:gd name="T5" fmla="*/ 0 h 10"/>
                    <a:gd name="T6" fmla="*/ 0 w 12"/>
                    <a:gd name="T7" fmla="*/ 7 h 10"/>
                    <a:gd name="T8" fmla="*/ 2 w 12"/>
                    <a:gd name="T9" fmla="*/ 10 h 10"/>
                  </a:gdLst>
                  <a:ahLst/>
                  <a:cxnLst>
                    <a:cxn ang="0">
                      <a:pos x="T0" y="T1"/>
                    </a:cxn>
                    <a:cxn ang="0">
                      <a:pos x="T2" y="T3"/>
                    </a:cxn>
                    <a:cxn ang="0">
                      <a:pos x="T4" y="T5"/>
                    </a:cxn>
                    <a:cxn ang="0">
                      <a:pos x="T6" y="T7"/>
                    </a:cxn>
                    <a:cxn ang="0">
                      <a:pos x="T8" y="T9"/>
                    </a:cxn>
                  </a:cxnLst>
                  <a:rect l="0" t="0" r="r" b="b"/>
                  <a:pathLst>
                    <a:path w="12" h="10">
                      <a:moveTo>
                        <a:pt x="2" y="10"/>
                      </a:moveTo>
                      <a:lnTo>
                        <a:pt x="12" y="0"/>
                      </a:lnTo>
                      <a:lnTo>
                        <a:pt x="9" y="0"/>
                      </a:lnTo>
                      <a:lnTo>
                        <a:pt x="0" y="7"/>
                      </a:lnTo>
                      <a:lnTo>
                        <a:pt x="2" y="10"/>
                      </a:lnTo>
                      <a:close/>
                    </a:path>
                  </a:pathLst>
                </a:custGeom>
                <a:solidFill>
                  <a:srgbClr val="01AAE5"/>
                </a:solidFill>
                <a:ln>
                  <a:noFill/>
                </a:ln>
                <a:extLst/>
              </p:spPr>
              <p:txBody>
                <a:bodyPr/>
                <a:lstStyle/>
                <a:p>
                  <a:pPr eaLnBrk="1" hangingPunct="1">
                    <a:defRPr/>
                  </a:pPr>
                  <a:endParaRPr lang="zh-CN" altLang="en-US" sz="1050"/>
                </a:p>
              </p:txBody>
            </p:sp>
            <p:sp>
              <p:nvSpPr>
                <p:cNvPr id="4308" name="Freeform 1150"/>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309" name="Freeform 1151"/>
                <p:cNvSpPr>
                  <a:spLocks/>
                </p:cNvSpPr>
                <p:nvPr/>
              </p:nvSpPr>
              <p:spPr bwMode="auto">
                <a:xfrm>
                  <a:off x="11463" y="2099"/>
                  <a:ext cx="17" cy="17"/>
                </a:xfrm>
                <a:custGeom>
                  <a:avLst/>
                  <a:gdLst>
                    <a:gd name="T0" fmla="*/ 2 w 16"/>
                    <a:gd name="T1" fmla="*/ 12 h 12"/>
                    <a:gd name="T2" fmla="*/ 16 w 16"/>
                    <a:gd name="T3" fmla="*/ 0 h 12"/>
                    <a:gd name="T4" fmla="*/ 14 w 16"/>
                    <a:gd name="T5" fmla="*/ 0 h 12"/>
                    <a:gd name="T6" fmla="*/ 0 w 16"/>
                    <a:gd name="T7" fmla="*/ 10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0"/>
                      </a:lnTo>
                      <a:lnTo>
                        <a:pt x="14" y="0"/>
                      </a:lnTo>
                      <a:lnTo>
                        <a:pt x="0" y="10"/>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310" name="Freeform 1152"/>
                <p:cNvSpPr>
                  <a:spLocks/>
                </p:cNvSpPr>
                <p:nvPr/>
              </p:nvSpPr>
              <p:spPr bwMode="auto">
                <a:xfrm>
                  <a:off x="11463" y="2099"/>
                  <a:ext cx="8" cy="9"/>
                </a:xfrm>
                <a:custGeom>
                  <a:avLst/>
                  <a:gdLst>
                    <a:gd name="T0" fmla="*/ 0 w 12"/>
                    <a:gd name="T1" fmla="*/ 9 h 9"/>
                    <a:gd name="T2" fmla="*/ 12 w 12"/>
                    <a:gd name="T3" fmla="*/ 0 h 9"/>
                    <a:gd name="T4" fmla="*/ 12 w 12"/>
                    <a:gd name="T5" fmla="*/ 0 h 9"/>
                    <a:gd name="T6" fmla="*/ 0 w 12"/>
                    <a:gd name="T7" fmla="*/ 9 h 9"/>
                    <a:gd name="T8" fmla="*/ 0 w 12"/>
                    <a:gd name="T9" fmla="*/ 9 h 9"/>
                  </a:gdLst>
                  <a:ahLst/>
                  <a:cxnLst>
                    <a:cxn ang="0">
                      <a:pos x="T0" y="T1"/>
                    </a:cxn>
                    <a:cxn ang="0">
                      <a:pos x="T2" y="T3"/>
                    </a:cxn>
                    <a:cxn ang="0">
                      <a:pos x="T4" y="T5"/>
                    </a:cxn>
                    <a:cxn ang="0">
                      <a:pos x="T6" y="T7"/>
                    </a:cxn>
                    <a:cxn ang="0">
                      <a:pos x="T8" y="T9"/>
                    </a:cxn>
                  </a:cxnLst>
                  <a:rect l="0" t="0" r="r" b="b"/>
                  <a:pathLst>
                    <a:path w="12" h="9">
                      <a:moveTo>
                        <a:pt x="0" y="9"/>
                      </a:moveTo>
                      <a:lnTo>
                        <a:pt x="12" y="0"/>
                      </a:lnTo>
                      <a:lnTo>
                        <a:pt x="12"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311" name="Freeform 1153"/>
                <p:cNvSpPr>
                  <a:spLocks/>
                </p:cNvSpPr>
                <p:nvPr/>
              </p:nvSpPr>
              <p:spPr bwMode="auto">
                <a:xfrm>
                  <a:off x="11447" y="2090"/>
                  <a:ext cx="8" cy="0"/>
                </a:xfrm>
                <a:custGeom>
                  <a:avLst/>
                  <a:gdLst>
                    <a:gd name="T0" fmla="*/ 2 w 7"/>
                    <a:gd name="T1" fmla="*/ 4 h 4"/>
                    <a:gd name="T2" fmla="*/ 7 w 7"/>
                    <a:gd name="T3" fmla="*/ 0 h 4"/>
                    <a:gd name="T4" fmla="*/ 7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7"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4312" name="Freeform 1154"/>
                <p:cNvSpPr>
                  <a:spLocks/>
                </p:cNvSpPr>
                <p:nvPr/>
              </p:nvSpPr>
              <p:spPr bwMode="auto">
                <a:xfrm>
                  <a:off x="11447" y="2081"/>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313" name="Freeform 1155"/>
                <p:cNvSpPr>
                  <a:spLocks/>
                </p:cNvSpPr>
                <p:nvPr/>
              </p:nvSpPr>
              <p:spPr bwMode="auto">
                <a:xfrm>
                  <a:off x="11438" y="2072"/>
                  <a:ext cx="8" cy="0"/>
                </a:xfrm>
                <a:custGeom>
                  <a:avLst/>
                  <a:gdLst>
                    <a:gd name="T0" fmla="*/ 2 w 7"/>
                    <a:gd name="T1" fmla="*/ 4 h 4"/>
                    <a:gd name="T2" fmla="*/ 7 w 7"/>
                    <a:gd name="T3" fmla="*/ 2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4314" name="Freeform 1156"/>
                <p:cNvSpPr>
                  <a:spLocks/>
                </p:cNvSpPr>
                <p:nvPr/>
              </p:nvSpPr>
              <p:spPr bwMode="auto">
                <a:xfrm>
                  <a:off x="11438" y="2064"/>
                  <a:ext cx="8" cy="9"/>
                </a:xfrm>
                <a:custGeom>
                  <a:avLst/>
                  <a:gdLst>
                    <a:gd name="T0" fmla="*/ 3 w 7"/>
                    <a:gd name="T1" fmla="*/ 5 h 5"/>
                    <a:gd name="T2" fmla="*/ 7 w 7"/>
                    <a:gd name="T3" fmla="*/ 0 h 5"/>
                    <a:gd name="T4" fmla="*/ 5 w 7"/>
                    <a:gd name="T5" fmla="*/ 0 h 5"/>
                    <a:gd name="T6" fmla="*/ 0 w 7"/>
                    <a:gd name="T7" fmla="*/ 5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315" name="Freeform 1157"/>
                <p:cNvSpPr>
                  <a:spLocks/>
                </p:cNvSpPr>
                <p:nvPr/>
              </p:nvSpPr>
              <p:spPr bwMode="auto">
                <a:xfrm>
                  <a:off x="11438" y="2064"/>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316" name="Freeform 1158"/>
                <p:cNvSpPr>
                  <a:spLocks/>
                </p:cNvSpPr>
                <p:nvPr/>
              </p:nvSpPr>
              <p:spPr bwMode="auto">
                <a:xfrm>
                  <a:off x="11430" y="2064"/>
                  <a:ext cx="8" cy="0"/>
                </a:xfrm>
                <a:custGeom>
                  <a:avLst/>
                  <a:gdLst>
                    <a:gd name="T0" fmla="*/ 2 w 7"/>
                    <a:gd name="T1" fmla="*/ 4 h 4"/>
                    <a:gd name="T2" fmla="*/ 7 w 7"/>
                    <a:gd name="T3" fmla="*/ 0 h 4"/>
                    <a:gd name="T4" fmla="*/ 5 w 7"/>
                    <a:gd name="T5" fmla="*/ 0 h 4"/>
                    <a:gd name="T6" fmla="*/ 0 w 7"/>
                    <a:gd name="T7" fmla="*/ 4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4317" name="Freeform 1159"/>
                <p:cNvSpPr>
                  <a:spLocks/>
                </p:cNvSpPr>
                <p:nvPr/>
              </p:nvSpPr>
              <p:spPr bwMode="auto">
                <a:xfrm>
                  <a:off x="11447" y="2072"/>
                  <a:ext cx="0" cy="9"/>
                </a:xfrm>
                <a:custGeom>
                  <a:avLst/>
                  <a:gdLst>
                    <a:gd name="T0" fmla="*/ 3 w 8"/>
                    <a:gd name="T1" fmla="*/ 5 h 5"/>
                    <a:gd name="T2" fmla="*/ 8 w 8"/>
                    <a:gd name="T3" fmla="*/ 0 h 5"/>
                    <a:gd name="T4" fmla="*/ 5 w 8"/>
                    <a:gd name="T5" fmla="*/ 0 h 5"/>
                    <a:gd name="T6" fmla="*/ 0 w 8"/>
                    <a:gd name="T7" fmla="*/ 3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0"/>
                      </a:lnTo>
                      <a:lnTo>
                        <a:pt x="5" y="0"/>
                      </a:lnTo>
                      <a:lnTo>
                        <a:pt x="0" y="3"/>
                      </a:lnTo>
                      <a:lnTo>
                        <a:pt x="3" y="5"/>
                      </a:lnTo>
                      <a:close/>
                    </a:path>
                  </a:pathLst>
                </a:custGeom>
                <a:solidFill>
                  <a:srgbClr val="01AAE5"/>
                </a:solidFill>
                <a:ln>
                  <a:noFill/>
                </a:ln>
                <a:extLst/>
              </p:spPr>
              <p:txBody>
                <a:bodyPr/>
                <a:lstStyle/>
                <a:p>
                  <a:pPr eaLnBrk="1" hangingPunct="1">
                    <a:defRPr/>
                  </a:pPr>
                  <a:endParaRPr lang="zh-CN" altLang="en-US" sz="1050"/>
                </a:p>
              </p:txBody>
            </p:sp>
            <p:sp>
              <p:nvSpPr>
                <p:cNvPr id="4318" name="Freeform 1160"/>
                <p:cNvSpPr>
                  <a:spLocks/>
                </p:cNvSpPr>
                <p:nvPr/>
              </p:nvSpPr>
              <p:spPr bwMode="auto">
                <a:xfrm>
                  <a:off x="11447" y="2081"/>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319" name="Freeform 1161"/>
                <p:cNvSpPr>
                  <a:spLocks/>
                </p:cNvSpPr>
                <p:nvPr/>
              </p:nvSpPr>
              <p:spPr bwMode="auto">
                <a:xfrm>
                  <a:off x="11463" y="2107"/>
                  <a:ext cx="17" cy="9"/>
                </a:xfrm>
                <a:custGeom>
                  <a:avLst/>
                  <a:gdLst>
                    <a:gd name="T0" fmla="*/ 0 w 17"/>
                    <a:gd name="T1" fmla="*/ 11 h 11"/>
                    <a:gd name="T2" fmla="*/ 17 w 17"/>
                    <a:gd name="T3" fmla="*/ 0 h 11"/>
                    <a:gd name="T4" fmla="*/ 14 w 17"/>
                    <a:gd name="T5" fmla="*/ 0 h 11"/>
                    <a:gd name="T6" fmla="*/ 0 w 17"/>
                    <a:gd name="T7" fmla="*/ 11 h 11"/>
                    <a:gd name="T8" fmla="*/ 0 w 17"/>
                    <a:gd name="T9" fmla="*/ 11 h 11"/>
                  </a:gdLst>
                  <a:ahLst/>
                  <a:cxnLst>
                    <a:cxn ang="0">
                      <a:pos x="T0" y="T1"/>
                    </a:cxn>
                    <a:cxn ang="0">
                      <a:pos x="T2" y="T3"/>
                    </a:cxn>
                    <a:cxn ang="0">
                      <a:pos x="T4" y="T5"/>
                    </a:cxn>
                    <a:cxn ang="0">
                      <a:pos x="T6" y="T7"/>
                    </a:cxn>
                    <a:cxn ang="0">
                      <a:pos x="T8" y="T9"/>
                    </a:cxn>
                  </a:cxnLst>
                  <a:rect l="0" t="0" r="r" b="b"/>
                  <a:pathLst>
                    <a:path w="17" h="11">
                      <a:moveTo>
                        <a:pt x="0" y="11"/>
                      </a:moveTo>
                      <a:lnTo>
                        <a:pt x="17" y="0"/>
                      </a:lnTo>
                      <a:lnTo>
                        <a:pt x="14" y="0"/>
                      </a:lnTo>
                      <a:lnTo>
                        <a:pt x="0" y="11"/>
                      </a:lnTo>
                      <a:lnTo>
                        <a:pt x="0" y="11"/>
                      </a:lnTo>
                      <a:close/>
                    </a:path>
                  </a:pathLst>
                </a:custGeom>
                <a:solidFill>
                  <a:srgbClr val="01AAE5"/>
                </a:solidFill>
                <a:ln>
                  <a:noFill/>
                </a:ln>
                <a:extLst/>
              </p:spPr>
              <p:txBody>
                <a:bodyPr/>
                <a:lstStyle/>
                <a:p>
                  <a:pPr eaLnBrk="1" hangingPunct="1">
                    <a:defRPr/>
                  </a:pPr>
                  <a:endParaRPr lang="zh-CN" altLang="en-US" sz="1050"/>
                </a:p>
              </p:txBody>
            </p:sp>
            <p:sp>
              <p:nvSpPr>
                <p:cNvPr id="4320" name="Freeform 1162"/>
                <p:cNvSpPr>
                  <a:spLocks/>
                </p:cNvSpPr>
                <p:nvPr/>
              </p:nvSpPr>
              <p:spPr bwMode="auto">
                <a:xfrm>
                  <a:off x="11447" y="2081"/>
                  <a:ext cx="0" cy="0"/>
                </a:xfrm>
                <a:custGeom>
                  <a:avLst/>
                  <a:gdLst>
                    <a:gd name="T0" fmla="*/ 2 w 7"/>
                    <a:gd name="T1" fmla="*/ 4 h 4"/>
                    <a:gd name="T2" fmla="*/ 7 w 7"/>
                    <a:gd name="T3" fmla="*/ 0 h 4"/>
                    <a:gd name="T4" fmla="*/ 5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0"/>
                      </a:lnTo>
                      <a:lnTo>
                        <a:pt x="5" y="0"/>
                      </a:lnTo>
                      <a:lnTo>
                        <a:pt x="0" y="2"/>
                      </a:lnTo>
                      <a:lnTo>
                        <a:pt x="2" y="4"/>
                      </a:lnTo>
                      <a:close/>
                    </a:path>
                  </a:pathLst>
                </a:custGeom>
                <a:solidFill>
                  <a:srgbClr val="01AAE5"/>
                </a:solidFill>
                <a:ln>
                  <a:noFill/>
                </a:ln>
                <a:extLst/>
              </p:spPr>
              <p:txBody>
                <a:bodyPr/>
                <a:lstStyle/>
                <a:p>
                  <a:pPr eaLnBrk="1" hangingPunct="1">
                    <a:defRPr/>
                  </a:pPr>
                  <a:endParaRPr lang="zh-CN" altLang="en-US" sz="1050"/>
                </a:p>
              </p:txBody>
            </p:sp>
            <p:sp>
              <p:nvSpPr>
                <p:cNvPr id="4321" name="Freeform 1163"/>
                <p:cNvSpPr>
                  <a:spLocks/>
                </p:cNvSpPr>
                <p:nvPr/>
              </p:nvSpPr>
              <p:spPr bwMode="auto">
                <a:xfrm>
                  <a:off x="11472" y="2116"/>
                  <a:ext cx="25" cy="17"/>
                </a:xfrm>
                <a:custGeom>
                  <a:avLst/>
                  <a:gdLst>
                    <a:gd name="T0" fmla="*/ 2 w 16"/>
                    <a:gd name="T1" fmla="*/ 12 h 12"/>
                    <a:gd name="T2" fmla="*/ 16 w 16"/>
                    <a:gd name="T3" fmla="*/ 3 h 12"/>
                    <a:gd name="T4" fmla="*/ 16 w 16"/>
                    <a:gd name="T5" fmla="*/ 0 h 12"/>
                    <a:gd name="T6" fmla="*/ 0 w 16"/>
                    <a:gd name="T7" fmla="*/ 12 h 12"/>
                    <a:gd name="T8" fmla="*/ 2 w 16"/>
                    <a:gd name="T9" fmla="*/ 12 h 12"/>
                  </a:gdLst>
                  <a:ahLst/>
                  <a:cxnLst>
                    <a:cxn ang="0">
                      <a:pos x="T0" y="T1"/>
                    </a:cxn>
                    <a:cxn ang="0">
                      <a:pos x="T2" y="T3"/>
                    </a:cxn>
                    <a:cxn ang="0">
                      <a:pos x="T4" y="T5"/>
                    </a:cxn>
                    <a:cxn ang="0">
                      <a:pos x="T6" y="T7"/>
                    </a:cxn>
                    <a:cxn ang="0">
                      <a:pos x="T8" y="T9"/>
                    </a:cxn>
                  </a:cxnLst>
                  <a:rect l="0" t="0" r="r" b="b"/>
                  <a:pathLst>
                    <a:path w="16" h="12">
                      <a:moveTo>
                        <a:pt x="2" y="12"/>
                      </a:moveTo>
                      <a:lnTo>
                        <a:pt x="16" y="3"/>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322" name="Freeform 1164"/>
                <p:cNvSpPr>
                  <a:spLocks/>
                </p:cNvSpPr>
                <p:nvPr/>
              </p:nvSpPr>
              <p:spPr bwMode="auto">
                <a:xfrm>
                  <a:off x="11496" y="2142"/>
                  <a:ext cx="0" cy="9"/>
                </a:xfrm>
                <a:custGeom>
                  <a:avLst/>
                  <a:gdLst>
                    <a:gd name="T0" fmla="*/ 3 w 8"/>
                    <a:gd name="T1" fmla="*/ 5 h 5"/>
                    <a:gd name="T2" fmla="*/ 8 w 8"/>
                    <a:gd name="T3" fmla="*/ 3 h 5"/>
                    <a:gd name="T4" fmla="*/ 8 w 8"/>
                    <a:gd name="T5" fmla="*/ 0 h 5"/>
                    <a:gd name="T6" fmla="*/ 0 w 8"/>
                    <a:gd name="T7" fmla="*/ 5 h 5"/>
                    <a:gd name="T8" fmla="*/ 3 w 8"/>
                    <a:gd name="T9" fmla="*/ 5 h 5"/>
                  </a:gdLst>
                  <a:ahLst/>
                  <a:cxnLst>
                    <a:cxn ang="0">
                      <a:pos x="T0" y="T1"/>
                    </a:cxn>
                    <a:cxn ang="0">
                      <a:pos x="T2" y="T3"/>
                    </a:cxn>
                    <a:cxn ang="0">
                      <a:pos x="T4" y="T5"/>
                    </a:cxn>
                    <a:cxn ang="0">
                      <a:pos x="T6" y="T7"/>
                    </a:cxn>
                    <a:cxn ang="0">
                      <a:pos x="T8" y="T9"/>
                    </a:cxn>
                  </a:cxnLst>
                  <a:rect l="0" t="0" r="r" b="b"/>
                  <a:pathLst>
                    <a:path w="8" h="5">
                      <a:moveTo>
                        <a:pt x="3" y="5"/>
                      </a:moveTo>
                      <a:lnTo>
                        <a:pt x="8" y="3"/>
                      </a:lnTo>
                      <a:lnTo>
                        <a:pt x="8"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323" name="Freeform 1165"/>
                <p:cNvSpPr>
                  <a:spLocks/>
                </p:cNvSpPr>
                <p:nvPr/>
              </p:nvSpPr>
              <p:spPr bwMode="auto">
                <a:xfrm>
                  <a:off x="11496" y="2151"/>
                  <a:ext cx="0" cy="0"/>
                </a:xfrm>
                <a:custGeom>
                  <a:avLst/>
                  <a:gdLst>
                    <a:gd name="T0" fmla="*/ 2 w 7"/>
                    <a:gd name="T1" fmla="*/ 5 h 5"/>
                    <a:gd name="T2" fmla="*/ 7 w 7"/>
                    <a:gd name="T3" fmla="*/ 0 h 5"/>
                    <a:gd name="T4" fmla="*/ 7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7"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4324" name="Freeform 1166"/>
                <p:cNvSpPr>
                  <a:spLocks/>
                </p:cNvSpPr>
                <p:nvPr/>
              </p:nvSpPr>
              <p:spPr bwMode="auto">
                <a:xfrm>
                  <a:off x="11472" y="2107"/>
                  <a:ext cx="8" cy="9"/>
                </a:xfrm>
                <a:custGeom>
                  <a:avLst/>
                  <a:gdLst>
                    <a:gd name="T0" fmla="*/ 0 w 17"/>
                    <a:gd name="T1" fmla="*/ 12 h 12"/>
                    <a:gd name="T2" fmla="*/ 17 w 17"/>
                    <a:gd name="T3" fmla="*/ 0 h 12"/>
                    <a:gd name="T4" fmla="*/ 17 w 17"/>
                    <a:gd name="T5" fmla="*/ 0 h 12"/>
                    <a:gd name="T6" fmla="*/ 0 w 17"/>
                    <a:gd name="T7" fmla="*/ 12 h 12"/>
                    <a:gd name="T8" fmla="*/ 0 w 17"/>
                    <a:gd name="T9" fmla="*/ 12 h 12"/>
                  </a:gdLst>
                  <a:ahLst/>
                  <a:cxnLst>
                    <a:cxn ang="0">
                      <a:pos x="T0" y="T1"/>
                    </a:cxn>
                    <a:cxn ang="0">
                      <a:pos x="T2" y="T3"/>
                    </a:cxn>
                    <a:cxn ang="0">
                      <a:pos x="T4" y="T5"/>
                    </a:cxn>
                    <a:cxn ang="0">
                      <a:pos x="T6" y="T7"/>
                    </a:cxn>
                    <a:cxn ang="0">
                      <a:pos x="T8" y="T9"/>
                    </a:cxn>
                  </a:cxnLst>
                  <a:rect l="0" t="0" r="r" b="b"/>
                  <a:pathLst>
                    <a:path w="17" h="12">
                      <a:moveTo>
                        <a:pt x="0" y="12"/>
                      </a:moveTo>
                      <a:lnTo>
                        <a:pt x="17" y="0"/>
                      </a:lnTo>
                      <a:lnTo>
                        <a:pt x="1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325" name="Freeform 1167"/>
                <p:cNvSpPr>
                  <a:spLocks/>
                </p:cNvSpPr>
                <p:nvPr/>
              </p:nvSpPr>
              <p:spPr bwMode="auto">
                <a:xfrm>
                  <a:off x="11488" y="2133"/>
                  <a:ext cx="8" cy="9"/>
                </a:xfrm>
                <a:custGeom>
                  <a:avLst/>
                  <a:gdLst>
                    <a:gd name="T0" fmla="*/ 0 w 9"/>
                    <a:gd name="T1" fmla="*/ 7 h 7"/>
                    <a:gd name="T2" fmla="*/ 9 w 9"/>
                    <a:gd name="T3" fmla="*/ 3 h 7"/>
                    <a:gd name="T4" fmla="*/ 9 w 9"/>
                    <a:gd name="T5" fmla="*/ 0 h 7"/>
                    <a:gd name="T6" fmla="*/ 0 w 9"/>
                    <a:gd name="T7" fmla="*/ 7 h 7"/>
                    <a:gd name="T8" fmla="*/ 0 w 9"/>
                    <a:gd name="T9" fmla="*/ 7 h 7"/>
                  </a:gdLst>
                  <a:ahLst/>
                  <a:cxnLst>
                    <a:cxn ang="0">
                      <a:pos x="T0" y="T1"/>
                    </a:cxn>
                    <a:cxn ang="0">
                      <a:pos x="T2" y="T3"/>
                    </a:cxn>
                    <a:cxn ang="0">
                      <a:pos x="T4" y="T5"/>
                    </a:cxn>
                    <a:cxn ang="0">
                      <a:pos x="T6" y="T7"/>
                    </a:cxn>
                    <a:cxn ang="0">
                      <a:pos x="T8" y="T9"/>
                    </a:cxn>
                  </a:cxnLst>
                  <a:rect l="0" t="0" r="r" b="b"/>
                  <a:pathLst>
                    <a:path w="9" h="7">
                      <a:moveTo>
                        <a:pt x="0" y="7"/>
                      </a:moveTo>
                      <a:lnTo>
                        <a:pt x="9" y="3"/>
                      </a:lnTo>
                      <a:lnTo>
                        <a:pt x="9"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26" name="Freeform 1168"/>
                <p:cNvSpPr>
                  <a:spLocks/>
                </p:cNvSpPr>
                <p:nvPr/>
              </p:nvSpPr>
              <p:spPr bwMode="auto">
                <a:xfrm>
                  <a:off x="11496" y="2151"/>
                  <a:ext cx="8" cy="9"/>
                </a:xfrm>
                <a:custGeom>
                  <a:avLst/>
                  <a:gdLst>
                    <a:gd name="T0" fmla="*/ 0 w 5"/>
                    <a:gd name="T1" fmla="*/ 2 h 2"/>
                    <a:gd name="T2" fmla="*/ 5 w 5"/>
                    <a:gd name="T3" fmla="*/ 0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0"/>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27" name="Freeform 1169"/>
                <p:cNvSpPr>
                  <a:spLocks/>
                </p:cNvSpPr>
                <p:nvPr/>
              </p:nvSpPr>
              <p:spPr bwMode="auto">
                <a:xfrm>
                  <a:off x="11496" y="2151"/>
                  <a:ext cx="8" cy="0"/>
                </a:xfrm>
                <a:custGeom>
                  <a:avLst/>
                  <a:gdLst>
                    <a:gd name="T0" fmla="*/ 3 w 7"/>
                    <a:gd name="T1" fmla="*/ 4 h 4"/>
                    <a:gd name="T2" fmla="*/ 7 w 7"/>
                    <a:gd name="T3" fmla="*/ 0 h 4"/>
                    <a:gd name="T4" fmla="*/ 7 w 7"/>
                    <a:gd name="T5" fmla="*/ 0 h 4"/>
                    <a:gd name="T6" fmla="*/ 0 w 7"/>
                    <a:gd name="T7" fmla="*/ 4 h 4"/>
                    <a:gd name="T8" fmla="*/ 3 w 7"/>
                    <a:gd name="T9" fmla="*/ 4 h 4"/>
                  </a:gdLst>
                  <a:ahLst/>
                  <a:cxnLst>
                    <a:cxn ang="0">
                      <a:pos x="T0" y="T1"/>
                    </a:cxn>
                    <a:cxn ang="0">
                      <a:pos x="T2" y="T3"/>
                    </a:cxn>
                    <a:cxn ang="0">
                      <a:pos x="T4" y="T5"/>
                    </a:cxn>
                    <a:cxn ang="0">
                      <a:pos x="T6" y="T7"/>
                    </a:cxn>
                    <a:cxn ang="0">
                      <a:pos x="T8" y="T9"/>
                    </a:cxn>
                  </a:cxnLst>
                  <a:rect l="0" t="0" r="r" b="b"/>
                  <a:pathLst>
                    <a:path w="7" h="4">
                      <a:moveTo>
                        <a:pt x="3" y="4"/>
                      </a:moveTo>
                      <a:lnTo>
                        <a:pt x="7" y="0"/>
                      </a:lnTo>
                      <a:lnTo>
                        <a:pt x="7" y="0"/>
                      </a:lnTo>
                      <a:lnTo>
                        <a:pt x="0" y="4"/>
                      </a:lnTo>
                      <a:lnTo>
                        <a:pt x="3" y="4"/>
                      </a:lnTo>
                      <a:close/>
                    </a:path>
                  </a:pathLst>
                </a:custGeom>
                <a:solidFill>
                  <a:srgbClr val="01AAE5"/>
                </a:solidFill>
                <a:ln>
                  <a:noFill/>
                </a:ln>
                <a:extLst/>
              </p:spPr>
              <p:txBody>
                <a:bodyPr/>
                <a:lstStyle/>
                <a:p>
                  <a:pPr eaLnBrk="1" hangingPunct="1">
                    <a:defRPr/>
                  </a:pPr>
                  <a:endParaRPr lang="zh-CN" altLang="en-US" sz="1050"/>
                </a:p>
              </p:txBody>
            </p:sp>
            <p:sp>
              <p:nvSpPr>
                <p:cNvPr id="4328" name="Freeform 1170"/>
                <p:cNvSpPr>
                  <a:spLocks/>
                </p:cNvSpPr>
                <p:nvPr/>
              </p:nvSpPr>
              <p:spPr bwMode="auto">
                <a:xfrm>
                  <a:off x="11488" y="2133"/>
                  <a:ext cx="8" cy="9"/>
                </a:xfrm>
                <a:custGeom>
                  <a:avLst/>
                  <a:gdLst>
                    <a:gd name="T0" fmla="*/ 0 w 12"/>
                    <a:gd name="T1" fmla="*/ 7 h 7"/>
                    <a:gd name="T2" fmla="*/ 12 w 12"/>
                    <a:gd name="T3" fmla="*/ 0 h 7"/>
                    <a:gd name="T4" fmla="*/ 12 w 12"/>
                    <a:gd name="T5" fmla="*/ 0 h 7"/>
                    <a:gd name="T6" fmla="*/ 0 w 12"/>
                    <a:gd name="T7" fmla="*/ 7 h 7"/>
                    <a:gd name="T8" fmla="*/ 0 w 12"/>
                    <a:gd name="T9" fmla="*/ 7 h 7"/>
                  </a:gdLst>
                  <a:ahLst/>
                  <a:cxnLst>
                    <a:cxn ang="0">
                      <a:pos x="T0" y="T1"/>
                    </a:cxn>
                    <a:cxn ang="0">
                      <a:pos x="T2" y="T3"/>
                    </a:cxn>
                    <a:cxn ang="0">
                      <a:pos x="T4" y="T5"/>
                    </a:cxn>
                    <a:cxn ang="0">
                      <a:pos x="T6" y="T7"/>
                    </a:cxn>
                    <a:cxn ang="0">
                      <a:pos x="T8" y="T9"/>
                    </a:cxn>
                  </a:cxnLst>
                  <a:rect l="0" t="0" r="r" b="b"/>
                  <a:pathLst>
                    <a:path w="12" h="7">
                      <a:moveTo>
                        <a:pt x="0" y="7"/>
                      </a:moveTo>
                      <a:lnTo>
                        <a:pt x="12" y="0"/>
                      </a:lnTo>
                      <a:lnTo>
                        <a:pt x="1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29" name="Freeform 1171"/>
                <p:cNvSpPr>
                  <a:spLocks/>
                </p:cNvSpPr>
                <p:nvPr/>
              </p:nvSpPr>
              <p:spPr bwMode="auto">
                <a:xfrm>
                  <a:off x="11496" y="2151"/>
                  <a:ext cx="8" cy="0"/>
                </a:xfrm>
                <a:custGeom>
                  <a:avLst/>
                  <a:gdLst>
                    <a:gd name="T0" fmla="*/ 0 w 7"/>
                    <a:gd name="T1" fmla="*/ 5 h 5"/>
                    <a:gd name="T2" fmla="*/ 7 w 7"/>
                    <a:gd name="T3" fmla="*/ 2 h 5"/>
                    <a:gd name="T4" fmla="*/ 4 w 7"/>
                    <a:gd name="T5" fmla="*/ 0 h 5"/>
                    <a:gd name="T6" fmla="*/ 0 w 7"/>
                    <a:gd name="T7" fmla="*/ 5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4"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30" name="Freeform 1172"/>
                <p:cNvSpPr>
                  <a:spLocks/>
                </p:cNvSpPr>
                <p:nvPr/>
              </p:nvSpPr>
              <p:spPr bwMode="auto">
                <a:xfrm>
                  <a:off x="11496" y="2142"/>
                  <a:ext cx="0" cy="9"/>
                </a:xfrm>
                <a:custGeom>
                  <a:avLst/>
                  <a:gdLst>
                    <a:gd name="T0" fmla="*/ 2 w 10"/>
                    <a:gd name="T1" fmla="*/ 5 h 5"/>
                    <a:gd name="T2" fmla="*/ 10 w 10"/>
                    <a:gd name="T3" fmla="*/ 0 h 5"/>
                    <a:gd name="T4" fmla="*/ 10 w 10"/>
                    <a:gd name="T5" fmla="*/ 0 h 5"/>
                    <a:gd name="T6" fmla="*/ 0 w 10"/>
                    <a:gd name="T7" fmla="*/ 5 h 5"/>
                    <a:gd name="T8" fmla="*/ 2 w 10"/>
                    <a:gd name="T9" fmla="*/ 5 h 5"/>
                  </a:gdLst>
                  <a:ahLst/>
                  <a:cxnLst>
                    <a:cxn ang="0">
                      <a:pos x="T0" y="T1"/>
                    </a:cxn>
                    <a:cxn ang="0">
                      <a:pos x="T2" y="T3"/>
                    </a:cxn>
                    <a:cxn ang="0">
                      <a:pos x="T4" y="T5"/>
                    </a:cxn>
                    <a:cxn ang="0">
                      <a:pos x="T6" y="T7"/>
                    </a:cxn>
                    <a:cxn ang="0">
                      <a:pos x="T8" y="T9"/>
                    </a:cxn>
                  </a:cxnLst>
                  <a:rect l="0" t="0" r="r" b="b"/>
                  <a:pathLst>
                    <a:path w="10" h="5">
                      <a:moveTo>
                        <a:pt x="2" y="5"/>
                      </a:moveTo>
                      <a:lnTo>
                        <a:pt x="10" y="0"/>
                      </a:lnTo>
                      <a:lnTo>
                        <a:pt x="10"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331" name="Freeform 1173"/>
                <p:cNvSpPr>
                  <a:spLocks/>
                </p:cNvSpPr>
                <p:nvPr/>
              </p:nvSpPr>
              <p:spPr bwMode="auto">
                <a:xfrm>
                  <a:off x="11472" y="2116"/>
                  <a:ext cx="17" cy="9"/>
                </a:xfrm>
                <a:custGeom>
                  <a:avLst/>
                  <a:gdLst>
                    <a:gd name="T0" fmla="*/ 2 w 19"/>
                    <a:gd name="T1" fmla="*/ 14 h 14"/>
                    <a:gd name="T2" fmla="*/ 19 w 19"/>
                    <a:gd name="T3" fmla="*/ 2 h 14"/>
                    <a:gd name="T4" fmla="*/ 19 w 19"/>
                    <a:gd name="T5" fmla="*/ 0 h 14"/>
                    <a:gd name="T6" fmla="*/ 0 w 19"/>
                    <a:gd name="T7" fmla="*/ 14 h 14"/>
                    <a:gd name="T8" fmla="*/ 2 w 19"/>
                    <a:gd name="T9" fmla="*/ 14 h 14"/>
                  </a:gdLst>
                  <a:ahLst/>
                  <a:cxnLst>
                    <a:cxn ang="0">
                      <a:pos x="T0" y="T1"/>
                    </a:cxn>
                    <a:cxn ang="0">
                      <a:pos x="T2" y="T3"/>
                    </a:cxn>
                    <a:cxn ang="0">
                      <a:pos x="T4" y="T5"/>
                    </a:cxn>
                    <a:cxn ang="0">
                      <a:pos x="T6" y="T7"/>
                    </a:cxn>
                    <a:cxn ang="0">
                      <a:pos x="T8" y="T9"/>
                    </a:cxn>
                  </a:cxnLst>
                  <a:rect l="0" t="0" r="r" b="b"/>
                  <a:pathLst>
                    <a:path w="19" h="14">
                      <a:moveTo>
                        <a:pt x="2" y="14"/>
                      </a:moveTo>
                      <a:lnTo>
                        <a:pt x="19" y="2"/>
                      </a:lnTo>
                      <a:lnTo>
                        <a:pt x="19" y="0"/>
                      </a:lnTo>
                      <a:lnTo>
                        <a:pt x="0"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4332" name="Freeform 1174"/>
                <p:cNvSpPr>
                  <a:spLocks/>
                </p:cNvSpPr>
                <p:nvPr/>
              </p:nvSpPr>
              <p:spPr bwMode="auto">
                <a:xfrm>
                  <a:off x="11472" y="2116"/>
                  <a:ext cx="25" cy="9"/>
                </a:xfrm>
                <a:custGeom>
                  <a:avLst/>
                  <a:gdLst>
                    <a:gd name="T0" fmla="*/ 3 w 19"/>
                    <a:gd name="T1" fmla="*/ 14 h 14"/>
                    <a:gd name="T2" fmla="*/ 19 w 19"/>
                    <a:gd name="T3" fmla="*/ 2 h 14"/>
                    <a:gd name="T4" fmla="*/ 19 w 19"/>
                    <a:gd name="T5" fmla="*/ 0 h 14"/>
                    <a:gd name="T6" fmla="*/ 0 w 19"/>
                    <a:gd name="T7" fmla="*/ 14 h 14"/>
                    <a:gd name="T8" fmla="*/ 3 w 19"/>
                    <a:gd name="T9" fmla="*/ 14 h 14"/>
                  </a:gdLst>
                  <a:ahLst/>
                  <a:cxnLst>
                    <a:cxn ang="0">
                      <a:pos x="T0" y="T1"/>
                    </a:cxn>
                    <a:cxn ang="0">
                      <a:pos x="T2" y="T3"/>
                    </a:cxn>
                    <a:cxn ang="0">
                      <a:pos x="T4" y="T5"/>
                    </a:cxn>
                    <a:cxn ang="0">
                      <a:pos x="T6" y="T7"/>
                    </a:cxn>
                    <a:cxn ang="0">
                      <a:pos x="T8" y="T9"/>
                    </a:cxn>
                  </a:cxnLst>
                  <a:rect l="0" t="0" r="r" b="b"/>
                  <a:pathLst>
                    <a:path w="19" h="14">
                      <a:moveTo>
                        <a:pt x="3" y="14"/>
                      </a:moveTo>
                      <a:lnTo>
                        <a:pt x="19" y="2"/>
                      </a:lnTo>
                      <a:lnTo>
                        <a:pt x="19"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4333" name="Freeform 1175"/>
                <p:cNvSpPr>
                  <a:spLocks/>
                </p:cNvSpPr>
                <p:nvPr/>
              </p:nvSpPr>
              <p:spPr bwMode="auto">
                <a:xfrm>
                  <a:off x="11430" y="2055"/>
                  <a:ext cx="8" cy="9"/>
                </a:xfrm>
                <a:custGeom>
                  <a:avLst/>
                  <a:gdLst>
                    <a:gd name="T0" fmla="*/ 2 w 7"/>
                    <a:gd name="T1" fmla="*/ 5 h 5"/>
                    <a:gd name="T2" fmla="*/ 7 w 7"/>
                    <a:gd name="T3" fmla="*/ 0 h 5"/>
                    <a:gd name="T4" fmla="*/ 4 w 7"/>
                    <a:gd name="T5" fmla="*/ 0 h 5"/>
                    <a:gd name="T6" fmla="*/ 0 w 7"/>
                    <a:gd name="T7" fmla="*/ 5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334" name="Freeform 1176"/>
                <p:cNvSpPr>
                  <a:spLocks/>
                </p:cNvSpPr>
                <p:nvPr/>
              </p:nvSpPr>
              <p:spPr bwMode="auto">
                <a:xfrm>
                  <a:off x="11480" y="2125"/>
                  <a:ext cx="17" cy="17"/>
                </a:xfrm>
                <a:custGeom>
                  <a:avLst/>
                  <a:gdLst>
                    <a:gd name="T0" fmla="*/ 0 w 12"/>
                    <a:gd name="T1" fmla="*/ 10 h 10"/>
                    <a:gd name="T2" fmla="*/ 12 w 12"/>
                    <a:gd name="T3" fmla="*/ 3 h 10"/>
                    <a:gd name="T4" fmla="*/ 12 w 12"/>
                    <a:gd name="T5" fmla="*/ 0 h 10"/>
                    <a:gd name="T6" fmla="*/ 0 w 12"/>
                    <a:gd name="T7" fmla="*/ 10 h 10"/>
                    <a:gd name="T8" fmla="*/ 0 w 12"/>
                    <a:gd name="T9" fmla="*/ 10 h 10"/>
                  </a:gdLst>
                  <a:ahLst/>
                  <a:cxnLst>
                    <a:cxn ang="0">
                      <a:pos x="T0" y="T1"/>
                    </a:cxn>
                    <a:cxn ang="0">
                      <a:pos x="T2" y="T3"/>
                    </a:cxn>
                    <a:cxn ang="0">
                      <a:pos x="T4" y="T5"/>
                    </a:cxn>
                    <a:cxn ang="0">
                      <a:pos x="T6" y="T7"/>
                    </a:cxn>
                    <a:cxn ang="0">
                      <a:pos x="T8" y="T9"/>
                    </a:cxn>
                  </a:cxnLst>
                  <a:rect l="0" t="0" r="r" b="b"/>
                  <a:pathLst>
                    <a:path w="12" h="10">
                      <a:moveTo>
                        <a:pt x="0" y="10"/>
                      </a:moveTo>
                      <a:lnTo>
                        <a:pt x="12" y="3"/>
                      </a:lnTo>
                      <a:lnTo>
                        <a:pt x="12"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335" name="Freeform 1177"/>
                <p:cNvSpPr>
                  <a:spLocks/>
                </p:cNvSpPr>
                <p:nvPr/>
              </p:nvSpPr>
              <p:spPr bwMode="auto">
                <a:xfrm>
                  <a:off x="11480" y="2125"/>
                  <a:ext cx="17" cy="9"/>
                </a:xfrm>
                <a:custGeom>
                  <a:avLst/>
                  <a:gdLst>
                    <a:gd name="T0" fmla="*/ 0 w 14"/>
                    <a:gd name="T1" fmla="*/ 9 h 9"/>
                    <a:gd name="T2" fmla="*/ 14 w 14"/>
                    <a:gd name="T3" fmla="*/ 0 h 9"/>
                    <a:gd name="T4" fmla="*/ 14 w 14"/>
                    <a:gd name="T5" fmla="*/ 0 h 9"/>
                    <a:gd name="T6" fmla="*/ 0 w 14"/>
                    <a:gd name="T7" fmla="*/ 9 h 9"/>
                    <a:gd name="T8" fmla="*/ 0 w 14"/>
                    <a:gd name="T9" fmla="*/ 9 h 9"/>
                  </a:gdLst>
                  <a:ahLst/>
                  <a:cxnLst>
                    <a:cxn ang="0">
                      <a:pos x="T0" y="T1"/>
                    </a:cxn>
                    <a:cxn ang="0">
                      <a:pos x="T2" y="T3"/>
                    </a:cxn>
                    <a:cxn ang="0">
                      <a:pos x="T4" y="T5"/>
                    </a:cxn>
                    <a:cxn ang="0">
                      <a:pos x="T6" y="T7"/>
                    </a:cxn>
                    <a:cxn ang="0">
                      <a:pos x="T8" y="T9"/>
                    </a:cxn>
                  </a:cxnLst>
                  <a:rect l="0" t="0" r="r" b="b"/>
                  <a:pathLst>
                    <a:path w="14" h="9">
                      <a:moveTo>
                        <a:pt x="0" y="9"/>
                      </a:moveTo>
                      <a:lnTo>
                        <a:pt x="14" y="0"/>
                      </a:lnTo>
                      <a:lnTo>
                        <a:pt x="14"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336" name="Freeform 1178"/>
                <p:cNvSpPr>
                  <a:spLocks/>
                </p:cNvSpPr>
                <p:nvPr/>
              </p:nvSpPr>
              <p:spPr bwMode="auto">
                <a:xfrm>
                  <a:off x="11505" y="2159"/>
                  <a:ext cx="0" cy="0"/>
                </a:xfrm>
                <a:custGeom>
                  <a:avLst/>
                  <a:gdLst>
                    <a:gd name="T0" fmla="*/ 0 w 5"/>
                    <a:gd name="T1" fmla="*/ 5 h 5"/>
                    <a:gd name="T2" fmla="*/ 5 w 5"/>
                    <a:gd name="T3" fmla="*/ 0 h 5"/>
                    <a:gd name="T4" fmla="*/ 5 w 5"/>
                    <a:gd name="T5" fmla="*/ 0 h 5"/>
                    <a:gd name="T6" fmla="*/ 0 w 5"/>
                    <a:gd name="T7" fmla="*/ 2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37" name="Freeform 1179"/>
                <p:cNvSpPr>
                  <a:spLocks/>
                </p:cNvSpPr>
                <p:nvPr/>
              </p:nvSpPr>
              <p:spPr bwMode="auto">
                <a:xfrm>
                  <a:off x="11472" y="2116"/>
                  <a:ext cx="25" cy="17"/>
                </a:xfrm>
                <a:custGeom>
                  <a:avLst/>
                  <a:gdLst>
                    <a:gd name="T0" fmla="*/ 2 w 18"/>
                    <a:gd name="T1" fmla="*/ 12 h 12"/>
                    <a:gd name="T2" fmla="*/ 18 w 18"/>
                    <a:gd name="T3" fmla="*/ 0 h 12"/>
                    <a:gd name="T4" fmla="*/ 16 w 18"/>
                    <a:gd name="T5" fmla="*/ 0 h 12"/>
                    <a:gd name="T6" fmla="*/ 0 w 18"/>
                    <a:gd name="T7" fmla="*/ 12 h 12"/>
                    <a:gd name="T8" fmla="*/ 2 w 18"/>
                    <a:gd name="T9" fmla="*/ 12 h 12"/>
                  </a:gdLst>
                  <a:ahLst/>
                  <a:cxnLst>
                    <a:cxn ang="0">
                      <a:pos x="T0" y="T1"/>
                    </a:cxn>
                    <a:cxn ang="0">
                      <a:pos x="T2" y="T3"/>
                    </a:cxn>
                    <a:cxn ang="0">
                      <a:pos x="T4" y="T5"/>
                    </a:cxn>
                    <a:cxn ang="0">
                      <a:pos x="T6" y="T7"/>
                    </a:cxn>
                    <a:cxn ang="0">
                      <a:pos x="T8" y="T9"/>
                    </a:cxn>
                  </a:cxnLst>
                  <a:rect l="0" t="0" r="r" b="b"/>
                  <a:pathLst>
                    <a:path w="18" h="12">
                      <a:moveTo>
                        <a:pt x="2" y="12"/>
                      </a:moveTo>
                      <a:lnTo>
                        <a:pt x="18" y="0"/>
                      </a:lnTo>
                      <a:lnTo>
                        <a:pt x="16"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338" name="Freeform 1180"/>
                <p:cNvSpPr>
                  <a:spLocks/>
                </p:cNvSpPr>
                <p:nvPr/>
              </p:nvSpPr>
              <p:spPr bwMode="auto">
                <a:xfrm>
                  <a:off x="11472" y="2107"/>
                  <a:ext cx="17" cy="17"/>
                </a:xfrm>
                <a:custGeom>
                  <a:avLst/>
                  <a:gdLst>
                    <a:gd name="T0" fmla="*/ 0 w 16"/>
                    <a:gd name="T1" fmla="*/ 15 h 15"/>
                    <a:gd name="T2" fmla="*/ 16 w 16"/>
                    <a:gd name="T3" fmla="*/ 0 h 15"/>
                    <a:gd name="T4" fmla="*/ 16 w 16"/>
                    <a:gd name="T5" fmla="*/ 0 h 15"/>
                    <a:gd name="T6" fmla="*/ 0 w 16"/>
                    <a:gd name="T7" fmla="*/ 12 h 15"/>
                    <a:gd name="T8" fmla="*/ 0 w 16"/>
                    <a:gd name="T9" fmla="*/ 15 h 15"/>
                  </a:gdLst>
                  <a:ahLst/>
                  <a:cxnLst>
                    <a:cxn ang="0">
                      <a:pos x="T0" y="T1"/>
                    </a:cxn>
                    <a:cxn ang="0">
                      <a:pos x="T2" y="T3"/>
                    </a:cxn>
                    <a:cxn ang="0">
                      <a:pos x="T4" y="T5"/>
                    </a:cxn>
                    <a:cxn ang="0">
                      <a:pos x="T6" y="T7"/>
                    </a:cxn>
                    <a:cxn ang="0">
                      <a:pos x="T8" y="T9"/>
                    </a:cxn>
                  </a:cxnLst>
                  <a:rect l="0" t="0" r="r" b="b"/>
                  <a:pathLst>
                    <a:path w="16" h="15">
                      <a:moveTo>
                        <a:pt x="0" y="15"/>
                      </a:moveTo>
                      <a:lnTo>
                        <a:pt x="16" y="0"/>
                      </a:lnTo>
                      <a:lnTo>
                        <a:pt x="16" y="0"/>
                      </a:lnTo>
                      <a:lnTo>
                        <a:pt x="0" y="12"/>
                      </a:lnTo>
                      <a:lnTo>
                        <a:pt x="0" y="15"/>
                      </a:lnTo>
                      <a:close/>
                    </a:path>
                  </a:pathLst>
                </a:custGeom>
                <a:solidFill>
                  <a:srgbClr val="01AAE5"/>
                </a:solidFill>
                <a:ln>
                  <a:noFill/>
                </a:ln>
                <a:extLst/>
              </p:spPr>
              <p:txBody>
                <a:bodyPr/>
                <a:lstStyle/>
                <a:p>
                  <a:pPr eaLnBrk="1" hangingPunct="1">
                    <a:defRPr/>
                  </a:pPr>
                  <a:endParaRPr lang="zh-CN" altLang="en-US" sz="1050"/>
                </a:p>
              </p:txBody>
            </p:sp>
            <p:sp>
              <p:nvSpPr>
                <p:cNvPr id="4339" name="Freeform 1181"/>
                <p:cNvSpPr>
                  <a:spLocks/>
                </p:cNvSpPr>
                <p:nvPr/>
              </p:nvSpPr>
              <p:spPr bwMode="auto">
                <a:xfrm>
                  <a:off x="11605" y="2438"/>
                  <a:ext cx="17" cy="9"/>
                </a:xfrm>
                <a:custGeom>
                  <a:avLst/>
                  <a:gdLst>
                    <a:gd name="T0" fmla="*/ 2 w 16"/>
                    <a:gd name="T1" fmla="*/ 3 h 3"/>
                    <a:gd name="T2" fmla="*/ 16 w 16"/>
                    <a:gd name="T3" fmla="*/ 0 h 3"/>
                    <a:gd name="T4" fmla="*/ 16 w 16"/>
                    <a:gd name="T5" fmla="*/ 0 h 3"/>
                    <a:gd name="T6" fmla="*/ 0 w 16"/>
                    <a:gd name="T7" fmla="*/ 3 h 3"/>
                    <a:gd name="T8" fmla="*/ 2 w 16"/>
                    <a:gd name="T9" fmla="*/ 3 h 3"/>
                  </a:gdLst>
                  <a:ahLst/>
                  <a:cxnLst>
                    <a:cxn ang="0">
                      <a:pos x="T0" y="T1"/>
                    </a:cxn>
                    <a:cxn ang="0">
                      <a:pos x="T2" y="T3"/>
                    </a:cxn>
                    <a:cxn ang="0">
                      <a:pos x="T4" y="T5"/>
                    </a:cxn>
                    <a:cxn ang="0">
                      <a:pos x="T6" y="T7"/>
                    </a:cxn>
                    <a:cxn ang="0">
                      <a:pos x="T8" y="T9"/>
                    </a:cxn>
                  </a:cxnLst>
                  <a:rect l="0" t="0" r="r" b="b"/>
                  <a:pathLst>
                    <a:path w="16" h="3">
                      <a:moveTo>
                        <a:pt x="2" y="3"/>
                      </a:moveTo>
                      <a:lnTo>
                        <a:pt x="16" y="0"/>
                      </a:lnTo>
                      <a:lnTo>
                        <a:pt x="16"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4340" name="Freeform 1182"/>
                <p:cNvSpPr>
                  <a:spLocks/>
                </p:cNvSpPr>
                <p:nvPr/>
              </p:nvSpPr>
              <p:spPr bwMode="auto">
                <a:xfrm>
                  <a:off x="11605" y="2430"/>
                  <a:ext cx="17" cy="9"/>
                </a:xfrm>
                <a:custGeom>
                  <a:avLst/>
                  <a:gdLst>
                    <a:gd name="T0" fmla="*/ 0 w 16"/>
                    <a:gd name="T1" fmla="*/ 5 h 5"/>
                    <a:gd name="T2" fmla="*/ 16 w 16"/>
                    <a:gd name="T3" fmla="*/ 3 h 5"/>
                    <a:gd name="T4" fmla="*/ 16 w 16"/>
                    <a:gd name="T5" fmla="*/ 0 h 5"/>
                    <a:gd name="T6" fmla="*/ 0 w 16"/>
                    <a:gd name="T7" fmla="*/ 5 h 5"/>
                    <a:gd name="T8" fmla="*/ 0 w 16"/>
                    <a:gd name="T9" fmla="*/ 5 h 5"/>
                  </a:gdLst>
                  <a:ahLst/>
                  <a:cxnLst>
                    <a:cxn ang="0">
                      <a:pos x="T0" y="T1"/>
                    </a:cxn>
                    <a:cxn ang="0">
                      <a:pos x="T2" y="T3"/>
                    </a:cxn>
                    <a:cxn ang="0">
                      <a:pos x="T4" y="T5"/>
                    </a:cxn>
                    <a:cxn ang="0">
                      <a:pos x="T6" y="T7"/>
                    </a:cxn>
                    <a:cxn ang="0">
                      <a:pos x="T8" y="T9"/>
                    </a:cxn>
                  </a:cxnLst>
                  <a:rect l="0" t="0" r="r" b="b"/>
                  <a:pathLst>
                    <a:path w="16" h="5">
                      <a:moveTo>
                        <a:pt x="0" y="5"/>
                      </a:moveTo>
                      <a:lnTo>
                        <a:pt x="16" y="3"/>
                      </a:lnTo>
                      <a:lnTo>
                        <a:pt x="16"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41" name="Freeform 1183"/>
                <p:cNvSpPr>
                  <a:spLocks/>
                </p:cNvSpPr>
                <p:nvPr/>
              </p:nvSpPr>
              <p:spPr bwMode="auto">
                <a:xfrm>
                  <a:off x="11605" y="2447"/>
                  <a:ext cx="17" cy="0"/>
                </a:xfrm>
                <a:custGeom>
                  <a:avLst/>
                  <a:gdLst>
                    <a:gd name="T0" fmla="*/ 0 w 14"/>
                    <a:gd name="T1" fmla="*/ 2 h 2"/>
                    <a:gd name="T2" fmla="*/ 14 w 14"/>
                    <a:gd name="T3" fmla="*/ 0 h 2"/>
                    <a:gd name="T4" fmla="*/ 14 w 14"/>
                    <a:gd name="T5" fmla="*/ 0 h 2"/>
                    <a:gd name="T6" fmla="*/ 0 w 14"/>
                    <a:gd name="T7" fmla="*/ 0 h 2"/>
                    <a:gd name="T8" fmla="*/ 0 w 14"/>
                    <a:gd name="T9" fmla="*/ 2 h 2"/>
                  </a:gdLst>
                  <a:ahLst/>
                  <a:cxnLst>
                    <a:cxn ang="0">
                      <a:pos x="T0" y="T1"/>
                    </a:cxn>
                    <a:cxn ang="0">
                      <a:pos x="T2" y="T3"/>
                    </a:cxn>
                    <a:cxn ang="0">
                      <a:pos x="T4" y="T5"/>
                    </a:cxn>
                    <a:cxn ang="0">
                      <a:pos x="T6" y="T7"/>
                    </a:cxn>
                    <a:cxn ang="0">
                      <a:pos x="T8" y="T9"/>
                    </a:cxn>
                  </a:cxnLst>
                  <a:rect l="0" t="0" r="r" b="b"/>
                  <a:pathLst>
                    <a:path w="14" h="2">
                      <a:moveTo>
                        <a:pt x="0" y="2"/>
                      </a:moveTo>
                      <a:lnTo>
                        <a:pt x="14" y="0"/>
                      </a:lnTo>
                      <a:lnTo>
                        <a:pt x="14"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42" name="Freeform 1184"/>
                <p:cNvSpPr>
                  <a:spLocks/>
                </p:cNvSpPr>
                <p:nvPr/>
              </p:nvSpPr>
              <p:spPr bwMode="auto">
                <a:xfrm>
                  <a:off x="11605" y="2430"/>
                  <a:ext cx="17" cy="0"/>
                </a:xfrm>
                <a:custGeom>
                  <a:avLst/>
                  <a:gdLst>
                    <a:gd name="T0" fmla="*/ 0 w 16"/>
                    <a:gd name="T1" fmla="*/ 2 h 2"/>
                    <a:gd name="T2" fmla="*/ 16 w 16"/>
                    <a:gd name="T3" fmla="*/ 0 h 2"/>
                    <a:gd name="T4" fmla="*/ 16 w 16"/>
                    <a:gd name="T5" fmla="*/ 0 h 2"/>
                    <a:gd name="T6" fmla="*/ 0 w 16"/>
                    <a:gd name="T7" fmla="*/ 2 h 2"/>
                    <a:gd name="T8" fmla="*/ 0 w 16"/>
                    <a:gd name="T9" fmla="*/ 2 h 2"/>
                  </a:gdLst>
                  <a:ahLst/>
                  <a:cxnLst>
                    <a:cxn ang="0">
                      <a:pos x="T0" y="T1"/>
                    </a:cxn>
                    <a:cxn ang="0">
                      <a:pos x="T2" y="T3"/>
                    </a:cxn>
                    <a:cxn ang="0">
                      <a:pos x="T4" y="T5"/>
                    </a:cxn>
                    <a:cxn ang="0">
                      <a:pos x="T6" y="T7"/>
                    </a:cxn>
                    <a:cxn ang="0">
                      <a:pos x="T8" y="T9"/>
                    </a:cxn>
                  </a:cxnLst>
                  <a:rect l="0" t="0" r="r" b="b"/>
                  <a:pathLst>
                    <a:path w="16" h="2">
                      <a:moveTo>
                        <a:pt x="0" y="2"/>
                      </a:moveTo>
                      <a:lnTo>
                        <a:pt x="16" y="0"/>
                      </a:lnTo>
                      <a:lnTo>
                        <a:pt x="16"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43" name="Freeform 1185"/>
                <p:cNvSpPr>
                  <a:spLocks/>
                </p:cNvSpPr>
                <p:nvPr/>
              </p:nvSpPr>
              <p:spPr bwMode="auto">
                <a:xfrm>
                  <a:off x="11605" y="2447"/>
                  <a:ext cx="17" cy="9"/>
                </a:xfrm>
                <a:custGeom>
                  <a:avLst/>
                  <a:gdLst>
                    <a:gd name="T0" fmla="*/ 2 w 14"/>
                    <a:gd name="T1" fmla="*/ 3 h 3"/>
                    <a:gd name="T2" fmla="*/ 14 w 14"/>
                    <a:gd name="T3" fmla="*/ 0 h 3"/>
                    <a:gd name="T4" fmla="*/ 14 w 14"/>
                    <a:gd name="T5" fmla="*/ 0 h 3"/>
                    <a:gd name="T6" fmla="*/ 0 w 14"/>
                    <a:gd name="T7" fmla="*/ 3 h 3"/>
                    <a:gd name="T8" fmla="*/ 2 w 14"/>
                    <a:gd name="T9" fmla="*/ 3 h 3"/>
                  </a:gdLst>
                  <a:ahLst/>
                  <a:cxnLst>
                    <a:cxn ang="0">
                      <a:pos x="T0" y="T1"/>
                    </a:cxn>
                    <a:cxn ang="0">
                      <a:pos x="T2" y="T3"/>
                    </a:cxn>
                    <a:cxn ang="0">
                      <a:pos x="T4" y="T5"/>
                    </a:cxn>
                    <a:cxn ang="0">
                      <a:pos x="T6" y="T7"/>
                    </a:cxn>
                    <a:cxn ang="0">
                      <a:pos x="T8" y="T9"/>
                    </a:cxn>
                  </a:cxnLst>
                  <a:rect l="0" t="0" r="r" b="b"/>
                  <a:pathLst>
                    <a:path w="14" h="3">
                      <a:moveTo>
                        <a:pt x="2" y="3"/>
                      </a:moveTo>
                      <a:lnTo>
                        <a:pt x="14" y="0"/>
                      </a:lnTo>
                      <a:lnTo>
                        <a:pt x="14" y="0"/>
                      </a:lnTo>
                      <a:lnTo>
                        <a:pt x="0" y="3"/>
                      </a:lnTo>
                      <a:lnTo>
                        <a:pt x="2" y="3"/>
                      </a:lnTo>
                      <a:close/>
                    </a:path>
                  </a:pathLst>
                </a:custGeom>
                <a:solidFill>
                  <a:srgbClr val="01AAE5"/>
                </a:solidFill>
                <a:ln>
                  <a:noFill/>
                </a:ln>
                <a:extLst/>
              </p:spPr>
              <p:txBody>
                <a:bodyPr/>
                <a:lstStyle/>
                <a:p>
                  <a:pPr eaLnBrk="1" hangingPunct="1">
                    <a:defRPr/>
                  </a:pPr>
                  <a:endParaRPr lang="zh-CN" altLang="en-US" sz="1050"/>
                </a:p>
              </p:txBody>
            </p:sp>
            <p:sp>
              <p:nvSpPr>
                <p:cNvPr id="4344" name="Freeform 1186"/>
                <p:cNvSpPr>
                  <a:spLocks/>
                </p:cNvSpPr>
                <p:nvPr/>
              </p:nvSpPr>
              <p:spPr bwMode="auto">
                <a:xfrm>
                  <a:off x="11605" y="2430"/>
                  <a:ext cx="17" cy="0"/>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45" name="Freeform 1187"/>
                <p:cNvSpPr>
                  <a:spLocks/>
                </p:cNvSpPr>
                <p:nvPr/>
              </p:nvSpPr>
              <p:spPr bwMode="auto">
                <a:xfrm>
                  <a:off x="11605" y="2456"/>
                  <a:ext cx="17" cy="9"/>
                </a:xfrm>
                <a:custGeom>
                  <a:avLst/>
                  <a:gdLst>
                    <a:gd name="T0" fmla="*/ 3 w 12"/>
                    <a:gd name="T1" fmla="*/ 3 h 3"/>
                    <a:gd name="T2" fmla="*/ 12 w 12"/>
                    <a:gd name="T3" fmla="*/ 3 h 3"/>
                    <a:gd name="T4" fmla="*/ 12 w 12"/>
                    <a:gd name="T5" fmla="*/ 0 h 3"/>
                    <a:gd name="T6" fmla="*/ 0 w 12"/>
                    <a:gd name="T7" fmla="*/ 3 h 3"/>
                    <a:gd name="T8" fmla="*/ 3 w 12"/>
                    <a:gd name="T9" fmla="*/ 3 h 3"/>
                  </a:gdLst>
                  <a:ahLst/>
                  <a:cxnLst>
                    <a:cxn ang="0">
                      <a:pos x="T0" y="T1"/>
                    </a:cxn>
                    <a:cxn ang="0">
                      <a:pos x="T2" y="T3"/>
                    </a:cxn>
                    <a:cxn ang="0">
                      <a:pos x="T4" y="T5"/>
                    </a:cxn>
                    <a:cxn ang="0">
                      <a:pos x="T6" y="T7"/>
                    </a:cxn>
                    <a:cxn ang="0">
                      <a:pos x="T8" y="T9"/>
                    </a:cxn>
                  </a:cxnLst>
                  <a:rect l="0" t="0" r="r" b="b"/>
                  <a:pathLst>
                    <a:path w="12" h="3">
                      <a:moveTo>
                        <a:pt x="3" y="3"/>
                      </a:moveTo>
                      <a:lnTo>
                        <a:pt x="12" y="3"/>
                      </a:lnTo>
                      <a:lnTo>
                        <a:pt x="12" y="0"/>
                      </a:lnTo>
                      <a:lnTo>
                        <a:pt x="0" y="3"/>
                      </a:lnTo>
                      <a:lnTo>
                        <a:pt x="3" y="3"/>
                      </a:lnTo>
                      <a:close/>
                    </a:path>
                  </a:pathLst>
                </a:custGeom>
                <a:solidFill>
                  <a:srgbClr val="01AAE5"/>
                </a:solidFill>
                <a:ln>
                  <a:noFill/>
                </a:ln>
                <a:extLst/>
              </p:spPr>
              <p:txBody>
                <a:bodyPr/>
                <a:lstStyle/>
                <a:p>
                  <a:pPr eaLnBrk="1" hangingPunct="1">
                    <a:defRPr/>
                  </a:pPr>
                  <a:endParaRPr lang="zh-CN" altLang="en-US" sz="1050"/>
                </a:p>
              </p:txBody>
            </p:sp>
            <p:sp>
              <p:nvSpPr>
                <p:cNvPr id="4346" name="Freeform 1188"/>
                <p:cNvSpPr>
                  <a:spLocks/>
                </p:cNvSpPr>
                <p:nvPr/>
              </p:nvSpPr>
              <p:spPr bwMode="auto">
                <a:xfrm>
                  <a:off x="11605" y="2456"/>
                  <a:ext cx="17" cy="0"/>
                </a:xfrm>
                <a:custGeom>
                  <a:avLst/>
                  <a:gdLst>
                    <a:gd name="T0" fmla="*/ 0 w 12"/>
                    <a:gd name="T1" fmla="*/ 2 h 2"/>
                    <a:gd name="T2" fmla="*/ 12 w 12"/>
                    <a:gd name="T3" fmla="*/ 0 h 2"/>
                    <a:gd name="T4" fmla="*/ 12 w 12"/>
                    <a:gd name="T5" fmla="*/ 0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47" name="Freeform 1189"/>
                <p:cNvSpPr>
                  <a:spLocks/>
                </p:cNvSpPr>
                <p:nvPr/>
              </p:nvSpPr>
              <p:spPr bwMode="auto">
                <a:xfrm>
                  <a:off x="11596" y="2395"/>
                  <a:ext cx="17" cy="9"/>
                </a:xfrm>
                <a:custGeom>
                  <a:avLst/>
                  <a:gdLst>
                    <a:gd name="T0" fmla="*/ 0 w 19"/>
                    <a:gd name="T1" fmla="*/ 5 h 5"/>
                    <a:gd name="T2" fmla="*/ 19 w 19"/>
                    <a:gd name="T3" fmla="*/ 2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2"/>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48" name="Freeform 1190"/>
                <p:cNvSpPr>
                  <a:spLocks/>
                </p:cNvSpPr>
                <p:nvPr/>
              </p:nvSpPr>
              <p:spPr bwMode="auto">
                <a:xfrm>
                  <a:off x="11596" y="2403"/>
                  <a:ext cx="17" cy="9"/>
                </a:xfrm>
                <a:custGeom>
                  <a:avLst/>
                  <a:gdLst>
                    <a:gd name="T0" fmla="*/ 0 w 19"/>
                    <a:gd name="T1" fmla="*/ 4 h 4"/>
                    <a:gd name="T2" fmla="*/ 19 w 19"/>
                    <a:gd name="T3" fmla="*/ 0 h 4"/>
                    <a:gd name="T4" fmla="*/ 19 w 19"/>
                    <a:gd name="T5" fmla="*/ 0 h 4"/>
                    <a:gd name="T6" fmla="*/ 0 w 19"/>
                    <a:gd name="T7" fmla="*/ 2 h 4"/>
                    <a:gd name="T8" fmla="*/ 0 w 19"/>
                    <a:gd name="T9" fmla="*/ 4 h 4"/>
                  </a:gdLst>
                  <a:ahLst/>
                  <a:cxnLst>
                    <a:cxn ang="0">
                      <a:pos x="T0" y="T1"/>
                    </a:cxn>
                    <a:cxn ang="0">
                      <a:pos x="T2" y="T3"/>
                    </a:cxn>
                    <a:cxn ang="0">
                      <a:pos x="T4" y="T5"/>
                    </a:cxn>
                    <a:cxn ang="0">
                      <a:pos x="T6" y="T7"/>
                    </a:cxn>
                    <a:cxn ang="0">
                      <a:pos x="T8" y="T9"/>
                    </a:cxn>
                  </a:cxnLst>
                  <a:rect l="0" t="0" r="r" b="b"/>
                  <a:pathLst>
                    <a:path w="19" h="4">
                      <a:moveTo>
                        <a:pt x="0" y="4"/>
                      </a:moveTo>
                      <a:lnTo>
                        <a:pt x="19" y="0"/>
                      </a:lnTo>
                      <a:lnTo>
                        <a:pt x="19"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4349" name="Freeform 1191"/>
                <p:cNvSpPr>
                  <a:spLocks/>
                </p:cNvSpPr>
                <p:nvPr/>
              </p:nvSpPr>
              <p:spPr bwMode="auto">
                <a:xfrm>
                  <a:off x="11596" y="2403"/>
                  <a:ext cx="17" cy="9"/>
                </a:xfrm>
                <a:custGeom>
                  <a:avLst/>
                  <a:gdLst>
                    <a:gd name="T0" fmla="*/ 0 w 22"/>
                    <a:gd name="T1" fmla="*/ 5 h 5"/>
                    <a:gd name="T2" fmla="*/ 22 w 22"/>
                    <a:gd name="T3" fmla="*/ 2 h 5"/>
                    <a:gd name="T4" fmla="*/ 22 w 22"/>
                    <a:gd name="T5" fmla="*/ 0 h 5"/>
                    <a:gd name="T6" fmla="*/ 0 w 22"/>
                    <a:gd name="T7" fmla="*/ 5 h 5"/>
                    <a:gd name="T8" fmla="*/ 0 w 22"/>
                    <a:gd name="T9" fmla="*/ 5 h 5"/>
                  </a:gdLst>
                  <a:ahLst/>
                  <a:cxnLst>
                    <a:cxn ang="0">
                      <a:pos x="T0" y="T1"/>
                    </a:cxn>
                    <a:cxn ang="0">
                      <a:pos x="T2" y="T3"/>
                    </a:cxn>
                    <a:cxn ang="0">
                      <a:pos x="T4" y="T5"/>
                    </a:cxn>
                    <a:cxn ang="0">
                      <a:pos x="T6" y="T7"/>
                    </a:cxn>
                    <a:cxn ang="0">
                      <a:pos x="T8" y="T9"/>
                    </a:cxn>
                  </a:cxnLst>
                  <a:rect l="0" t="0" r="r" b="b"/>
                  <a:pathLst>
                    <a:path w="22" h="5">
                      <a:moveTo>
                        <a:pt x="0" y="5"/>
                      </a:moveTo>
                      <a:lnTo>
                        <a:pt x="22" y="2"/>
                      </a:lnTo>
                      <a:lnTo>
                        <a:pt x="2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0" name="Freeform 1192"/>
                <p:cNvSpPr>
                  <a:spLocks/>
                </p:cNvSpPr>
                <p:nvPr/>
              </p:nvSpPr>
              <p:spPr bwMode="auto">
                <a:xfrm>
                  <a:off x="11596" y="2412"/>
                  <a:ext cx="17" cy="9"/>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1" name="Freeform 1193"/>
                <p:cNvSpPr>
                  <a:spLocks/>
                </p:cNvSpPr>
                <p:nvPr/>
              </p:nvSpPr>
              <p:spPr bwMode="auto">
                <a:xfrm>
                  <a:off x="11605" y="2464"/>
                  <a:ext cx="17" cy="0"/>
                </a:xfrm>
                <a:custGeom>
                  <a:avLst/>
                  <a:gdLst>
                    <a:gd name="T0" fmla="*/ 0 w 9"/>
                    <a:gd name="T1" fmla="*/ 2 h 2"/>
                    <a:gd name="T2" fmla="*/ 9 w 9"/>
                    <a:gd name="T3" fmla="*/ 0 h 2"/>
                    <a:gd name="T4" fmla="*/ 9 w 9"/>
                    <a:gd name="T5" fmla="*/ 0 h 2"/>
                    <a:gd name="T6" fmla="*/ 0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9" y="0"/>
                      </a:lnTo>
                      <a:lnTo>
                        <a:pt x="9"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52" name="Freeform 1194"/>
                <p:cNvSpPr>
                  <a:spLocks/>
                </p:cNvSpPr>
                <p:nvPr/>
              </p:nvSpPr>
              <p:spPr bwMode="auto">
                <a:xfrm>
                  <a:off x="11605" y="2430"/>
                  <a:ext cx="17" cy="0"/>
                </a:xfrm>
                <a:custGeom>
                  <a:avLst/>
                  <a:gdLst>
                    <a:gd name="T0" fmla="*/ 0 w 19"/>
                    <a:gd name="T1" fmla="*/ 5 h 5"/>
                    <a:gd name="T2" fmla="*/ 19 w 19"/>
                    <a:gd name="T3" fmla="*/ 0 h 5"/>
                    <a:gd name="T4" fmla="*/ 19 w 19"/>
                    <a:gd name="T5" fmla="*/ 0 h 5"/>
                    <a:gd name="T6" fmla="*/ 0 w 19"/>
                    <a:gd name="T7" fmla="*/ 2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0"/>
                      </a:lnTo>
                      <a:lnTo>
                        <a:pt x="19"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3" name="Freeform 1195"/>
                <p:cNvSpPr>
                  <a:spLocks/>
                </p:cNvSpPr>
                <p:nvPr/>
              </p:nvSpPr>
              <p:spPr bwMode="auto">
                <a:xfrm>
                  <a:off x="11596" y="2421"/>
                  <a:ext cx="25" cy="9"/>
                </a:xfrm>
                <a:custGeom>
                  <a:avLst/>
                  <a:gdLst>
                    <a:gd name="T0" fmla="*/ 0 w 21"/>
                    <a:gd name="T1" fmla="*/ 5 h 5"/>
                    <a:gd name="T2" fmla="*/ 21 w 21"/>
                    <a:gd name="T3" fmla="*/ 3 h 5"/>
                    <a:gd name="T4" fmla="*/ 21 w 21"/>
                    <a:gd name="T5" fmla="*/ 0 h 5"/>
                    <a:gd name="T6" fmla="*/ 0 w 21"/>
                    <a:gd name="T7" fmla="*/ 5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3"/>
                      </a:lnTo>
                      <a:lnTo>
                        <a:pt x="21"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4" name="Freeform 1196"/>
                <p:cNvSpPr>
                  <a:spLocks/>
                </p:cNvSpPr>
                <p:nvPr/>
              </p:nvSpPr>
              <p:spPr bwMode="auto">
                <a:xfrm>
                  <a:off x="11596" y="2412"/>
                  <a:ext cx="17" cy="9"/>
                </a:xfrm>
                <a:custGeom>
                  <a:avLst/>
                  <a:gdLst>
                    <a:gd name="T0" fmla="*/ 0 w 19"/>
                    <a:gd name="T1" fmla="*/ 5 h 5"/>
                    <a:gd name="T2" fmla="*/ 19 w 19"/>
                    <a:gd name="T3" fmla="*/ 3 h 5"/>
                    <a:gd name="T4" fmla="*/ 19 w 19"/>
                    <a:gd name="T5" fmla="*/ 0 h 5"/>
                    <a:gd name="T6" fmla="*/ 0 w 19"/>
                    <a:gd name="T7" fmla="*/ 5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19" y="3"/>
                      </a:lnTo>
                      <a:lnTo>
                        <a:pt x="1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5" name="Freeform 1197"/>
                <p:cNvSpPr>
                  <a:spLocks/>
                </p:cNvSpPr>
                <p:nvPr/>
              </p:nvSpPr>
              <p:spPr bwMode="auto">
                <a:xfrm>
                  <a:off x="11596" y="2421"/>
                  <a:ext cx="25" cy="9"/>
                </a:xfrm>
                <a:custGeom>
                  <a:avLst/>
                  <a:gdLst>
                    <a:gd name="T0" fmla="*/ 0 w 21"/>
                    <a:gd name="T1" fmla="*/ 5 h 5"/>
                    <a:gd name="T2" fmla="*/ 21 w 21"/>
                    <a:gd name="T3" fmla="*/ 0 h 5"/>
                    <a:gd name="T4" fmla="*/ 21 w 21"/>
                    <a:gd name="T5" fmla="*/ 0 h 5"/>
                    <a:gd name="T6" fmla="*/ 0 w 21"/>
                    <a:gd name="T7" fmla="*/ 2 h 5"/>
                    <a:gd name="T8" fmla="*/ 0 w 21"/>
                    <a:gd name="T9" fmla="*/ 5 h 5"/>
                  </a:gdLst>
                  <a:ahLst/>
                  <a:cxnLst>
                    <a:cxn ang="0">
                      <a:pos x="T0" y="T1"/>
                    </a:cxn>
                    <a:cxn ang="0">
                      <a:pos x="T2" y="T3"/>
                    </a:cxn>
                    <a:cxn ang="0">
                      <a:pos x="T4" y="T5"/>
                    </a:cxn>
                    <a:cxn ang="0">
                      <a:pos x="T6" y="T7"/>
                    </a:cxn>
                    <a:cxn ang="0">
                      <a:pos x="T8" y="T9"/>
                    </a:cxn>
                  </a:cxnLst>
                  <a:rect l="0" t="0" r="r" b="b"/>
                  <a:pathLst>
                    <a:path w="21" h="5">
                      <a:moveTo>
                        <a:pt x="0" y="5"/>
                      </a:moveTo>
                      <a:lnTo>
                        <a:pt x="21" y="0"/>
                      </a:lnTo>
                      <a:lnTo>
                        <a:pt x="21"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56" name="Freeform 1198"/>
                <p:cNvSpPr>
                  <a:spLocks/>
                </p:cNvSpPr>
                <p:nvPr/>
              </p:nvSpPr>
              <p:spPr bwMode="auto">
                <a:xfrm>
                  <a:off x="11613" y="2491"/>
                  <a:ext cx="8" cy="0"/>
                </a:xfrm>
                <a:custGeom>
                  <a:avLst/>
                  <a:gdLst>
                    <a:gd name="T0" fmla="*/ 0 w 7"/>
                    <a:gd name="T1" fmla="*/ 2 h 2"/>
                    <a:gd name="T2" fmla="*/ 7 w 7"/>
                    <a:gd name="T3" fmla="*/ 0 h 2"/>
                    <a:gd name="T4" fmla="*/ 7 w 7"/>
                    <a:gd name="T5" fmla="*/ 0 h 2"/>
                    <a:gd name="T6" fmla="*/ 0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57" name="Freeform 1199"/>
                <p:cNvSpPr>
                  <a:spLocks/>
                </p:cNvSpPr>
                <p:nvPr/>
              </p:nvSpPr>
              <p:spPr bwMode="auto">
                <a:xfrm>
                  <a:off x="11605" y="2464"/>
                  <a:ext cx="17" cy="0"/>
                </a:xfrm>
                <a:custGeom>
                  <a:avLst/>
                  <a:gdLst>
                    <a:gd name="T0" fmla="*/ 0 w 9"/>
                    <a:gd name="T1" fmla="*/ 3 h 3"/>
                    <a:gd name="T2" fmla="*/ 9 w 9"/>
                    <a:gd name="T3" fmla="*/ 3 h 3"/>
                    <a:gd name="T4" fmla="*/ 9 w 9"/>
                    <a:gd name="T5" fmla="*/ 0 h 3"/>
                    <a:gd name="T6" fmla="*/ 0 w 9"/>
                    <a:gd name="T7" fmla="*/ 3 h 3"/>
                    <a:gd name="T8" fmla="*/ 0 w 9"/>
                    <a:gd name="T9" fmla="*/ 3 h 3"/>
                  </a:gdLst>
                  <a:ahLst/>
                  <a:cxnLst>
                    <a:cxn ang="0">
                      <a:pos x="T0" y="T1"/>
                    </a:cxn>
                    <a:cxn ang="0">
                      <a:pos x="T2" y="T3"/>
                    </a:cxn>
                    <a:cxn ang="0">
                      <a:pos x="T4" y="T5"/>
                    </a:cxn>
                    <a:cxn ang="0">
                      <a:pos x="T6" y="T7"/>
                    </a:cxn>
                    <a:cxn ang="0">
                      <a:pos x="T8" y="T9"/>
                    </a:cxn>
                  </a:cxnLst>
                  <a:rect l="0" t="0" r="r" b="b"/>
                  <a:pathLst>
                    <a:path w="9" h="3">
                      <a:moveTo>
                        <a:pt x="0" y="3"/>
                      </a:moveTo>
                      <a:lnTo>
                        <a:pt x="9" y="3"/>
                      </a:lnTo>
                      <a:lnTo>
                        <a:pt x="9"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4358" name="Rectangle 1200"/>
                <p:cNvSpPr>
                  <a:spLocks noChangeArrowheads="1"/>
                </p:cNvSpPr>
                <p:nvPr/>
              </p:nvSpPr>
              <p:spPr bwMode="auto">
                <a:xfrm>
                  <a:off x="11613" y="2499"/>
                  <a:ext cx="8" cy="9"/>
                </a:xfrm>
                <a:prstGeom prst="rect">
                  <a:avLst/>
                </a:prstGeom>
                <a:solidFill>
                  <a:srgbClr val="01AAE5"/>
                </a:solidFill>
                <a:ln>
                  <a:noFill/>
                </a:ln>
                <a:extLst/>
              </p:spPr>
              <p:txBody>
                <a:bodyPr/>
                <a:lstStyle/>
                <a:p>
                  <a:pPr eaLnBrk="1" hangingPunct="1">
                    <a:defRPr/>
                  </a:pPr>
                  <a:endParaRPr lang="zh-CN" altLang="en-US" sz="1050"/>
                </a:p>
              </p:txBody>
            </p:sp>
            <p:sp>
              <p:nvSpPr>
                <p:cNvPr id="4359" name="Freeform 1201"/>
                <p:cNvSpPr>
                  <a:spLocks/>
                </p:cNvSpPr>
                <p:nvPr/>
              </p:nvSpPr>
              <p:spPr bwMode="auto">
                <a:xfrm>
                  <a:off x="11596" y="2395"/>
                  <a:ext cx="17" cy="0"/>
                </a:xfrm>
                <a:custGeom>
                  <a:avLst/>
                  <a:gdLst>
                    <a:gd name="T0" fmla="*/ 0 w 17"/>
                    <a:gd name="T1" fmla="*/ 4 h 4"/>
                    <a:gd name="T2" fmla="*/ 17 w 17"/>
                    <a:gd name="T3" fmla="*/ 0 h 4"/>
                    <a:gd name="T4" fmla="*/ 17 w 17"/>
                    <a:gd name="T5" fmla="*/ 0 h 4"/>
                    <a:gd name="T6" fmla="*/ 0 w 17"/>
                    <a:gd name="T7" fmla="*/ 2 h 4"/>
                    <a:gd name="T8" fmla="*/ 0 w 17"/>
                    <a:gd name="T9" fmla="*/ 4 h 4"/>
                  </a:gdLst>
                  <a:ahLst/>
                  <a:cxnLst>
                    <a:cxn ang="0">
                      <a:pos x="T0" y="T1"/>
                    </a:cxn>
                    <a:cxn ang="0">
                      <a:pos x="T2" y="T3"/>
                    </a:cxn>
                    <a:cxn ang="0">
                      <a:pos x="T4" y="T5"/>
                    </a:cxn>
                    <a:cxn ang="0">
                      <a:pos x="T6" y="T7"/>
                    </a:cxn>
                    <a:cxn ang="0">
                      <a:pos x="T8" y="T9"/>
                    </a:cxn>
                  </a:cxnLst>
                  <a:rect l="0" t="0" r="r" b="b"/>
                  <a:pathLst>
                    <a:path w="17" h="4">
                      <a:moveTo>
                        <a:pt x="0" y="4"/>
                      </a:moveTo>
                      <a:lnTo>
                        <a:pt x="17" y="0"/>
                      </a:lnTo>
                      <a:lnTo>
                        <a:pt x="17"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4360" name="Rectangle 1202"/>
                <p:cNvSpPr>
                  <a:spLocks noChangeArrowheads="1"/>
                </p:cNvSpPr>
                <p:nvPr/>
              </p:nvSpPr>
              <p:spPr bwMode="auto">
                <a:xfrm>
                  <a:off x="11613" y="2508"/>
                  <a:ext cx="8" cy="0"/>
                </a:xfrm>
                <a:prstGeom prst="rect">
                  <a:avLst/>
                </a:prstGeom>
                <a:solidFill>
                  <a:srgbClr val="01AAE5"/>
                </a:solidFill>
                <a:ln>
                  <a:noFill/>
                </a:ln>
                <a:extLst/>
              </p:spPr>
              <p:txBody>
                <a:bodyPr/>
                <a:lstStyle/>
                <a:p>
                  <a:pPr eaLnBrk="1" hangingPunct="1">
                    <a:defRPr/>
                  </a:pPr>
                  <a:endParaRPr lang="zh-CN" altLang="en-US" sz="1050"/>
                </a:p>
              </p:txBody>
            </p:sp>
            <p:sp>
              <p:nvSpPr>
                <p:cNvPr id="4361" name="Rectangle 120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4362" name="Freeform 1204"/>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4363" name="Freeform 1205"/>
                <p:cNvSpPr>
                  <a:spLocks/>
                </p:cNvSpPr>
                <p:nvPr/>
              </p:nvSpPr>
              <p:spPr bwMode="auto">
                <a:xfrm>
                  <a:off x="11313" y="1942"/>
                  <a:ext cx="42" cy="44"/>
                </a:xfrm>
                <a:custGeom>
                  <a:avLst/>
                  <a:gdLst>
                    <a:gd name="T0" fmla="*/ 0 w 33"/>
                    <a:gd name="T1" fmla="*/ 43 h 43"/>
                    <a:gd name="T2" fmla="*/ 33 w 33"/>
                    <a:gd name="T3" fmla="*/ 0 h 43"/>
                    <a:gd name="T4" fmla="*/ 31 w 33"/>
                    <a:gd name="T5" fmla="*/ 0 h 43"/>
                    <a:gd name="T6" fmla="*/ 0 w 33"/>
                    <a:gd name="T7" fmla="*/ 43 h 43"/>
                    <a:gd name="T8" fmla="*/ 0 w 33"/>
                    <a:gd name="T9" fmla="*/ 43 h 43"/>
                  </a:gdLst>
                  <a:ahLst/>
                  <a:cxnLst>
                    <a:cxn ang="0">
                      <a:pos x="T0" y="T1"/>
                    </a:cxn>
                    <a:cxn ang="0">
                      <a:pos x="T2" y="T3"/>
                    </a:cxn>
                    <a:cxn ang="0">
                      <a:pos x="T4" y="T5"/>
                    </a:cxn>
                    <a:cxn ang="0">
                      <a:pos x="T6" y="T7"/>
                    </a:cxn>
                    <a:cxn ang="0">
                      <a:pos x="T8" y="T9"/>
                    </a:cxn>
                  </a:cxnLst>
                  <a:rect l="0" t="0" r="r" b="b"/>
                  <a:pathLst>
                    <a:path w="33" h="43">
                      <a:moveTo>
                        <a:pt x="0" y="43"/>
                      </a:moveTo>
                      <a:lnTo>
                        <a:pt x="33" y="0"/>
                      </a:lnTo>
                      <a:lnTo>
                        <a:pt x="31" y="0"/>
                      </a:lnTo>
                      <a:lnTo>
                        <a:pt x="0" y="43"/>
                      </a:lnTo>
                      <a:lnTo>
                        <a:pt x="0" y="43"/>
                      </a:lnTo>
                    </a:path>
                  </a:pathLst>
                </a:custGeom>
                <a:noFill/>
                <a:ln>
                  <a:noFill/>
                </a:ln>
                <a:extLst/>
              </p:spPr>
              <p:txBody>
                <a:bodyPr/>
                <a:lstStyle/>
                <a:p>
                  <a:pPr eaLnBrk="1" hangingPunct="1">
                    <a:defRPr/>
                  </a:pPr>
                  <a:endParaRPr lang="zh-CN" altLang="en-US" sz="1050"/>
                </a:p>
              </p:txBody>
            </p:sp>
            <p:sp>
              <p:nvSpPr>
                <p:cNvPr id="4364" name="Rectangle 1206"/>
                <p:cNvSpPr>
                  <a:spLocks noChangeArrowheads="1"/>
                </p:cNvSpPr>
                <p:nvPr/>
              </p:nvSpPr>
              <p:spPr bwMode="auto">
                <a:xfrm>
                  <a:off x="11613" y="2508"/>
                  <a:ext cx="8" cy="9"/>
                </a:xfrm>
                <a:prstGeom prst="rect">
                  <a:avLst/>
                </a:prstGeom>
                <a:solidFill>
                  <a:srgbClr val="01AAE5"/>
                </a:solidFill>
                <a:ln>
                  <a:noFill/>
                </a:ln>
                <a:extLst/>
              </p:spPr>
              <p:txBody>
                <a:bodyPr/>
                <a:lstStyle/>
                <a:p>
                  <a:pPr eaLnBrk="1" hangingPunct="1">
                    <a:defRPr/>
                  </a:pPr>
                  <a:endParaRPr lang="zh-CN" altLang="en-US" sz="1050"/>
                </a:p>
              </p:txBody>
            </p:sp>
            <p:sp>
              <p:nvSpPr>
                <p:cNvPr id="4365" name="Rectangle 1207"/>
                <p:cNvSpPr>
                  <a:spLocks noChangeArrowheads="1"/>
                </p:cNvSpPr>
                <p:nvPr/>
              </p:nvSpPr>
              <p:spPr bwMode="auto">
                <a:xfrm>
                  <a:off x="11613" y="2517"/>
                  <a:ext cx="8" cy="0"/>
                </a:xfrm>
                <a:prstGeom prst="rect">
                  <a:avLst/>
                </a:prstGeom>
                <a:solidFill>
                  <a:srgbClr val="01AAE5"/>
                </a:solidFill>
                <a:ln>
                  <a:noFill/>
                </a:ln>
                <a:extLst/>
              </p:spPr>
              <p:txBody>
                <a:bodyPr/>
                <a:lstStyle/>
                <a:p>
                  <a:pPr eaLnBrk="1" hangingPunct="1">
                    <a:defRPr/>
                  </a:pPr>
                  <a:endParaRPr lang="zh-CN" altLang="en-US" sz="1050"/>
                </a:p>
              </p:txBody>
            </p:sp>
            <p:sp>
              <p:nvSpPr>
                <p:cNvPr id="4366" name="Rectangle 1208"/>
                <p:cNvSpPr>
                  <a:spLocks noChangeArrowheads="1"/>
                </p:cNvSpPr>
                <p:nvPr/>
              </p:nvSpPr>
              <p:spPr bwMode="auto">
                <a:xfrm>
                  <a:off x="11613" y="2499"/>
                  <a:ext cx="8" cy="0"/>
                </a:xfrm>
                <a:prstGeom prst="rect">
                  <a:avLst/>
                </a:prstGeom>
                <a:solidFill>
                  <a:srgbClr val="01AAE5"/>
                </a:solidFill>
                <a:ln>
                  <a:noFill/>
                </a:ln>
                <a:extLst/>
              </p:spPr>
              <p:txBody>
                <a:bodyPr/>
                <a:lstStyle/>
                <a:p>
                  <a:pPr eaLnBrk="1" hangingPunct="1">
                    <a:defRPr/>
                  </a:pPr>
                  <a:endParaRPr lang="zh-CN" altLang="en-US" sz="1050"/>
                </a:p>
              </p:txBody>
            </p:sp>
            <p:sp>
              <p:nvSpPr>
                <p:cNvPr id="4367" name="Freeform 1209"/>
                <p:cNvSpPr>
                  <a:spLocks/>
                </p:cNvSpPr>
                <p:nvPr/>
              </p:nvSpPr>
              <p:spPr bwMode="auto">
                <a:xfrm>
                  <a:off x="11613" y="2464"/>
                  <a:ext cx="8" cy="9"/>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68" name="Freeform 1210"/>
                <p:cNvSpPr>
                  <a:spLocks/>
                </p:cNvSpPr>
                <p:nvPr/>
              </p:nvSpPr>
              <p:spPr bwMode="auto">
                <a:xfrm>
                  <a:off x="11613" y="2491"/>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369" name="Freeform 1211"/>
                <p:cNvSpPr>
                  <a:spLocks/>
                </p:cNvSpPr>
                <p:nvPr/>
              </p:nvSpPr>
              <p:spPr bwMode="auto">
                <a:xfrm>
                  <a:off x="11613" y="2464"/>
                  <a:ext cx="8" cy="0"/>
                </a:xfrm>
                <a:custGeom>
                  <a:avLst/>
                  <a:gdLst>
                    <a:gd name="T0" fmla="*/ 0 w 7"/>
                    <a:gd name="T1" fmla="*/ 3 h 3"/>
                    <a:gd name="T2" fmla="*/ 7 w 7"/>
                    <a:gd name="T3" fmla="*/ 0 h 3"/>
                    <a:gd name="T4" fmla="*/ 7 w 7"/>
                    <a:gd name="T5" fmla="*/ 0 h 3"/>
                    <a:gd name="T6" fmla="*/ 0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370" name="Freeform 1212"/>
                <p:cNvSpPr>
                  <a:spLocks/>
                </p:cNvSpPr>
                <p:nvPr/>
              </p:nvSpPr>
              <p:spPr bwMode="auto">
                <a:xfrm>
                  <a:off x="11613" y="2473"/>
                  <a:ext cx="8" cy="0"/>
                </a:xfrm>
                <a:custGeom>
                  <a:avLst/>
                  <a:gdLst>
                    <a:gd name="T0" fmla="*/ 2 w 7"/>
                    <a:gd name="T1" fmla="*/ 3 h 3"/>
                    <a:gd name="T2" fmla="*/ 7 w 7"/>
                    <a:gd name="T3" fmla="*/ 0 h 3"/>
                    <a:gd name="T4" fmla="*/ 7 w 7"/>
                    <a:gd name="T5" fmla="*/ 0 h 3"/>
                    <a:gd name="T6" fmla="*/ 0 w 7"/>
                    <a:gd name="T7" fmla="*/ 0 h 3"/>
                    <a:gd name="T8" fmla="*/ 2 w 7"/>
                    <a:gd name="T9" fmla="*/ 3 h 3"/>
                  </a:gdLst>
                  <a:ahLst/>
                  <a:cxnLst>
                    <a:cxn ang="0">
                      <a:pos x="T0" y="T1"/>
                    </a:cxn>
                    <a:cxn ang="0">
                      <a:pos x="T2" y="T3"/>
                    </a:cxn>
                    <a:cxn ang="0">
                      <a:pos x="T4" y="T5"/>
                    </a:cxn>
                    <a:cxn ang="0">
                      <a:pos x="T6" y="T7"/>
                    </a:cxn>
                    <a:cxn ang="0">
                      <a:pos x="T8" y="T9"/>
                    </a:cxn>
                  </a:cxnLst>
                  <a:rect l="0" t="0" r="r" b="b"/>
                  <a:pathLst>
                    <a:path w="7" h="3">
                      <a:moveTo>
                        <a:pt x="2" y="3"/>
                      </a:moveTo>
                      <a:lnTo>
                        <a:pt x="7" y="0"/>
                      </a:lnTo>
                      <a:lnTo>
                        <a:pt x="7" y="0"/>
                      </a:lnTo>
                      <a:lnTo>
                        <a:pt x="0" y="0"/>
                      </a:lnTo>
                      <a:lnTo>
                        <a:pt x="2" y="3"/>
                      </a:lnTo>
                      <a:close/>
                    </a:path>
                  </a:pathLst>
                </a:custGeom>
                <a:solidFill>
                  <a:srgbClr val="01AAE5"/>
                </a:solidFill>
                <a:ln>
                  <a:noFill/>
                </a:ln>
                <a:extLst/>
              </p:spPr>
              <p:txBody>
                <a:bodyPr/>
                <a:lstStyle/>
                <a:p>
                  <a:pPr eaLnBrk="1" hangingPunct="1">
                    <a:defRPr/>
                  </a:pPr>
                  <a:endParaRPr lang="zh-CN" altLang="en-US" sz="1050"/>
                </a:p>
              </p:txBody>
            </p:sp>
            <p:sp>
              <p:nvSpPr>
                <p:cNvPr id="4371" name="Rectangle 1213"/>
                <p:cNvSpPr>
                  <a:spLocks noChangeArrowheads="1"/>
                </p:cNvSpPr>
                <p:nvPr/>
              </p:nvSpPr>
              <p:spPr bwMode="auto">
                <a:xfrm>
                  <a:off x="11613" y="2491"/>
                  <a:ext cx="8" cy="0"/>
                </a:xfrm>
                <a:prstGeom prst="rect">
                  <a:avLst/>
                </a:prstGeom>
                <a:solidFill>
                  <a:srgbClr val="01AAE5"/>
                </a:solidFill>
                <a:ln>
                  <a:noFill/>
                </a:ln>
                <a:extLst/>
              </p:spPr>
              <p:txBody>
                <a:bodyPr/>
                <a:lstStyle/>
                <a:p>
                  <a:pPr eaLnBrk="1" hangingPunct="1">
                    <a:defRPr/>
                  </a:pPr>
                  <a:endParaRPr lang="zh-CN" altLang="en-US" sz="1050"/>
                </a:p>
              </p:txBody>
            </p:sp>
            <p:sp>
              <p:nvSpPr>
                <p:cNvPr id="4372" name="Freeform 1214"/>
                <p:cNvSpPr>
                  <a:spLocks/>
                </p:cNvSpPr>
                <p:nvPr/>
              </p:nvSpPr>
              <p:spPr bwMode="auto">
                <a:xfrm>
                  <a:off x="11613" y="2473"/>
                  <a:ext cx="8" cy="9"/>
                </a:xfrm>
                <a:custGeom>
                  <a:avLst/>
                  <a:gdLst>
                    <a:gd name="T0" fmla="*/ 0 w 5"/>
                    <a:gd name="T1" fmla="*/ 2 h 2"/>
                    <a:gd name="T2" fmla="*/ 5 w 5"/>
                    <a:gd name="T3" fmla="*/ 2 h 2"/>
                    <a:gd name="T4" fmla="*/ 5 w 5"/>
                    <a:gd name="T5" fmla="*/ 0 h 2"/>
                    <a:gd name="T6" fmla="*/ 0 w 5"/>
                    <a:gd name="T7" fmla="*/ 2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5" y="2"/>
                      </a:lnTo>
                      <a:lnTo>
                        <a:pt x="5"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73" name="Freeform 1215"/>
                <p:cNvSpPr>
                  <a:spLocks/>
                </p:cNvSpPr>
                <p:nvPr/>
              </p:nvSpPr>
              <p:spPr bwMode="auto">
                <a:xfrm>
                  <a:off x="11613" y="2482"/>
                  <a:ext cx="8" cy="0"/>
                </a:xfrm>
                <a:custGeom>
                  <a:avLst/>
                  <a:gdLst>
                    <a:gd name="T0" fmla="*/ 0 w 5"/>
                    <a:gd name="T1" fmla="*/ 3 h 3"/>
                    <a:gd name="T2" fmla="*/ 5 w 5"/>
                    <a:gd name="T3" fmla="*/ 0 h 3"/>
                    <a:gd name="T4" fmla="*/ 5 w 5"/>
                    <a:gd name="T5" fmla="*/ 0 h 3"/>
                    <a:gd name="T6" fmla="*/ 0 w 5"/>
                    <a:gd name="T7" fmla="*/ 0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0"/>
                      </a:lnTo>
                      <a:lnTo>
                        <a:pt x="5" y="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4374" name="Freeform 1216"/>
                <p:cNvSpPr>
                  <a:spLocks/>
                </p:cNvSpPr>
                <p:nvPr/>
              </p:nvSpPr>
              <p:spPr bwMode="auto">
                <a:xfrm>
                  <a:off x="11596" y="2369"/>
                  <a:ext cx="8" cy="0"/>
                </a:xfrm>
                <a:custGeom>
                  <a:avLst/>
                  <a:gdLst>
                    <a:gd name="T0" fmla="*/ 0 w 10"/>
                    <a:gd name="T1" fmla="*/ 5 h 5"/>
                    <a:gd name="T2" fmla="*/ 10 w 10"/>
                    <a:gd name="T3" fmla="*/ 0 h 5"/>
                    <a:gd name="T4" fmla="*/ 10 w 10"/>
                    <a:gd name="T5" fmla="*/ 0 h 5"/>
                    <a:gd name="T6" fmla="*/ 0 w 10"/>
                    <a:gd name="T7" fmla="*/ 3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0"/>
                      </a:lnTo>
                      <a:lnTo>
                        <a:pt x="10"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75" name="Freeform 1217"/>
                <p:cNvSpPr>
                  <a:spLocks/>
                </p:cNvSpPr>
                <p:nvPr/>
              </p:nvSpPr>
              <p:spPr bwMode="auto">
                <a:xfrm>
                  <a:off x="11571" y="2308"/>
                  <a:ext cx="25" cy="0"/>
                </a:xfrm>
                <a:custGeom>
                  <a:avLst/>
                  <a:gdLst>
                    <a:gd name="T0" fmla="*/ 0 w 24"/>
                    <a:gd name="T1" fmla="*/ 10 h 10"/>
                    <a:gd name="T2" fmla="*/ 24 w 24"/>
                    <a:gd name="T3" fmla="*/ 3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3"/>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376" name="Freeform 1218"/>
                <p:cNvSpPr>
                  <a:spLocks/>
                </p:cNvSpPr>
                <p:nvPr/>
              </p:nvSpPr>
              <p:spPr bwMode="auto">
                <a:xfrm>
                  <a:off x="11580" y="2316"/>
                  <a:ext cx="17" cy="9"/>
                </a:xfrm>
                <a:custGeom>
                  <a:avLst/>
                  <a:gdLst>
                    <a:gd name="T0" fmla="*/ 3 w 19"/>
                    <a:gd name="T1" fmla="*/ 7 h 7"/>
                    <a:gd name="T2" fmla="*/ 19 w 19"/>
                    <a:gd name="T3" fmla="*/ 2 h 7"/>
                    <a:gd name="T4" fmla="*/ 19 w 19"/>
                    <a:gd name="T5" fmla="*/ 0 h 7"/>
                    <a:gd name="T6" fmla="*/ 0 w 19"/>
                    <a:gd name="T7" fmla="*/ 7 h 7"/>
                    <a:gd name="T8" fmla="*/ 3 w 19"/>
                    <a:gd name="T9" fmla="*/ 7 h 7"/>
                  </a:gdLst>
                  <a:ahLst/>
                  <a:cxnLst>
                    <a:cxn ang="0">
                      <a:pos x="T0" y="T1"/>
                    </a:cxn>
                    <a:cxn ang="0">
                      <a:pos x="T2" y="T3"/>
                    </a:cxn>
                    <a:cxn ang="0">
                      <a:pos x="T4" y="T5"/>
                    </a:cxn>
                    <a:cxn ang="0">
                      <a:pos x="T6" y="T7"/>
                    </a:cxn>
                    <a:cxn ang="0">
                      <a:pos x="T8" y="T9"/>
                    </a:cxn>
                  </a:cxnLst>
                  <a:rect l="0" t="0" r="r" b="b"/>
                  <a:pathLst>
                    <a:path w="19" h="7">
                      <a:moveTo>
                        <a:pt x="3" y="7"/>
                      </a:moveTo>
                      <a:lnTo>
                        <a:pt x="19" y="2"/>
                      </a:lnTo>
                      <a:lnTo>
                        <a:pt x="19"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4377" name="Freeform 1219"/>
                <p:cNvSpPr>
                  <a:spLocks/>
                </p:cNvSpPr>
                <p:nvPr/>
              </p:nvSpPr>
              <p:spPr bwMode="auto">
                <a:xfrm>
                  <a:off x="11580" y="2308"/>
                  <a:ext cx="17" cy="9"/>
                </a:xfrm>
                <a:custGeom>
                  <a:avLst/>
                  <a:gdLst>
                    <a:gd name="T0" fmla="*/ 0 w 19"/>
                    <a:gd name="T1" fmla="*/ 7 h 7"/>
                    <a:gd name="T2" fmla="*/ 19 w 19"/>
                    <a:gd name="T3" fmla="*/ 0 h 7"/>
                    <a:gd name="T4" fmla="*/ 19 w 19"/>
                    <a:gd name="T5" fmla="*/ 0 h 7"/>
                    <a:gd name="T6" fmla="*/ 0 w 19"/>
                    <a:gd name="T7" fmla="*/ 4 h 7"/>
                    <a:gd name="T8" fmla="*/ 0 w 19"/>
                    <a:gd name="T9" fmla="*/ 7 h 7"/>
                  </a:gdLst>
                  <a:ahLst/>
                  <a:cxnLst>
                    <a:cxn ang="0">
                      <a:pos x="T0" y="T1"/>
                    </a:cxn>
                    <a:cxn ang="0">
                      <a:pos x="T2" y="T3"/>
                    </a:cxn>
                    <a:cxn ang="0">
                      <a:pos x="T4" y="T5"/>
                    </a:cxn>
                    <a:cxn ang="0">
                      <a:pos x="T6" y="T7"/>
                    </a:cxn>
                    <a:cxn ang="0">
                      <a:pos x="T8" y="T9"/>
                    </a:cxn>
                  </a:cxnLst>
                  <a:rect l="0" t="0" r="r" b="b"/>
                  <a:pathLst>
                    <a:path w="19" h="7">
                      <a:moveTo>
                        <a:pt x="0" y="7"/>
                      </a:moveTo>
                      <a:lnTo>
                        <a:pt x="19" y="0"/>
                      </a:lnTo>
                      <a:lnTo>
                        <a:pt x="19"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78" name="Freeform 1220"/>
                <p:cNvSpPr>
                  <a:spLocks/>
                </p:cNvSpPr>
                <p:nvPr/>
              </p:nvSpPr>
              <p:spPr bwMode="auto">
                <a:xfrm>
                  <a:off x="11571" y="2308"/>
                  <a:ext cx="25" cy="9"/>
                </a:xfrm>
                <a:custGeom>
                  <a:avLst/>
                  <a:gdLst>
                    <a:gd name="T0" fmla="*/ 0 w 21"/>
                    <a:gd name="T1" fmla="*/ 7 h 7"/>
                    <a:gd name="T2" fmla="*/ 21 w 21"/>
                    <a:gd name="T3" fmla="*/ 0 h 7"/>
                    <a:gd name="T4" fmla="*/ 21 w 21"/>
                    <a:gd name="T5" fmla="*/ 0 h 7"/>
                    <a:gd name="T6" fmla="*/ 0 w 21"/>
                    <a:gd name="T7" fmla="*/ 7 h 7"/>
                    <a:gd name="T8" fmla="*/ 0 w 21"/>
                    <a:gd name="T9" fmla="*/ 7 h 7"/>
                  </a:gdLst>
                  <a:ahLst/>
                  <a:cxnLst>
                    <a:cxn ang="0">
                      <a:pos x="T0" y="T1"/>
                    </a:cxn>
                    <a:cxn ang="0">
                      <a:pos x="T2" y="T3"/>
                    </a:cxn>
                    <a:cxn ang="0">
                      <a:pos x="T4" y="T5"/>
                    </a:cxn>
                    <a:cxn ang="0">
                      <a:pos x="T6" y="T7"/>
                    </a:cxn>
                    <a:cxn ang="0">
                      <a:pos x="T8" y="T9"/>
                    </a:cxn>
                  </a:cxnLst>
                  <a:rect l="0" t="0" r="r" b="b"/>
                  <a:pathLst>
                    <a:path w="21" h="7">
                      <a:moveTo>
                        <a:pt x="0" y="7"/>
                      </a:moveTo>
                      <a:lnTo>
                        <a:pt x="21" y="0"/>
                      </a:lnTo>
                      <a:lnTo>
                        <a:pt x="21"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79" name="Freeform 1221"/>
                <p:cNvSpPr>
                  <a:spLocks/>
                </p:cNvSpPr>
                <p:nvPr/>
              </p:nvSpPr>
              <p:spPr bwMode="auto">
                <a:xfrm>
                  <a:off x="11580" y="2316"/>
                  <a:ext cx="17" cy="9"/>
                </a:xfrm>
                <a:custGeom>
                  <a:avLst/>
                  <a:gdLst>
                    <a:gd name="T0" fmla="*/ 0 w 16"/>
                    <a:gd name="T1" fmla="*/ 4 h 4"/>
                    <a:gd name="T2" fmla="*/ 16 w 16"/>
                    <a:gd name="T3" fmla="*/ 0 h 4"/>
                    <a:gd name="T4" fmla="*/ 16 w 16"/>
                    <a:gd name="T5" fmla="*/ 0 h 4"/>
                    <a:gd name="T6" fmla="*/ 0 w 16"/>
                    <a:gd name="T7" fmla="*/ 4 h 4"/>
                    <a:gd name="T8" fmla="*/ 0 w 16"/>
                    <a:gd name="T9" fmla="*/ 4 h 4"/>
                  </a:gdLst>
                  <a:ahLst/>
                  <a:cxnLst>
                    <a:cxn ang="0">
                      <a:pos x="T0" y="T1"/>
                    </a:cxn>
                    <a:cxn ang="0">
                      <a:pos x="T2" y="T3"/>
                    </a:cxn>
                    <a:cxn ang="0">
                      <a:pos x="T4" y="T5"/>
                    </a:cxn>
                    <a:cxn ang="0">
                      <a:pos x="T6" y="T7"/>
                    </a:cxn>
                    <a:cxn ang="0">
                      <a:pos x="T8" y="T9"/>
                    </a:cxn>
                  </a:cxnLst>
                  <a:rect l="0" t="0" r="r" b="b"/>
                  <a:pathLst>
                    <a:path w="16" h="4">
                      <a:moveTo>
                        <a:pt x="0" y="4"/>
                      </a:moveTo>
                      <a:lnTo>
                        <a:pt x="16" y="0"/>
                      </a:lnTo>
                      <a:lnTo>
                        <a:pt x="16"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380" name="Freeform 1222"/>
                <p:cNvSpPr>
                  <a:spLocks/>
                </p:cNvSpPr>
                <p:nvPr/>
              </p:nvSpPr>
              <p:spPr bwMode="auto">
                <a:xfrm>
                  <a:off x="11580" y="2334"/>
                  <a:ext cx="17" cy="9"/>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81" name="Freeform 1223"/>
                <p:cNvSpPr>
                  <a:spLocks/>
                </p:cNvSpPr>
                <p:nvPr/>
              </p:nvSpPr>
              <p:spPr bwMode="auto">
                <a:xfrm>
                  <a:off x="11580" y="2325"/>
                  <a:ext cx="17" cy="9"/>
                </a:xfrm>
                <a:custGeom>
                  <a:avLst/>
                  <a:gdLst>
                    <a:gd name="T0" fmla="*/ 0 w 14"/>
                    <a:gd name="T1" fmla="*/ 7 h 7"/>
                    <a:gd name="T2" fmla="*/ 14 w 14"/>
                    <a:gd name="T3" fmla="*/ 2 h 7"/>
                    <a:gd name="T4" fmla="*/ 14 w 14"/>
                    <a:gd name="T5" fmla="*/ 0 h 7"/>
                    <a:gd name="T6" fmla="*/ 0 w 14"/>
                    <a:gd name="T7" fmla="*/ 5 h 7"/>
                    <a:gd name="T8" fmla="*/ 0 w 14"/>
                    <a:gd name="T9" fmla="*/ 7 h 7"/>
                  </a:gdLst>
                  <a:ahLst/>
                  <a:cxnLst>
                    <a:cxn ang="0">
                      <a:pos x="T0" y="T1"/>
                    </a:cxn>
                    <a:cxn ang="0">
                      <a:pos x="T2" y="T3"/>
                    </a:cxn>
                    <a:cxn ang="0">
                      <a:pos x="T4" y="T5"/>
                    </a:cxn>
                    <a:cxn ang="0">
                      <a:pos x="T6" y="T7"/>
                    </a:cxn>
                    <a:cxn ang="0">
                      <a:pos x="T8" y="T9"/>
                    </a:cxn>
                  </a:cxnLst>
                  <a:rect l="0" t="0" r="r" b="b"/>
                  <a:pathLst>
                    <a:path w="14" h="7">
                      <a:moveTo>
                        <a:pt x="0" y="7"/>
                      </a:moveTo>
                      <a:lnTo>
                        <a:pt x="14" y="2"/>
                      </a:lnTo>
                      <a:lnTo>
                        <a:pt x="14"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4382" name="Freeform 1224"/>
                <p:cNvSpPr>
                  <a:spLocks/>
                </p:cNvSpPr>
                <p:nvPr/>
              </p:nvSpPr>
              <p:spPr bwMode="auto">
                <a:xfrm>
                  <a:off x="11580" y="2325"/>
                  <a:ext cx="17" cy="9"/>
                </a:xfrm>
                <a:custGeom>
                  <a:avLst/>
                  <a:gdLst>
                    <a:gd name="T0" fmla="*/ 2 w 14"/>
                    <a:gd name="T1" fmla="*/ 4 h 4"/>
                    <a:gd name="T2" fmla="*/ 14 w 14"/>
                    <a:gd name="T3" fmla="*/ 0 h 4"/>
                    <a:gd name="T4" fmla="*/ 14 w 14"/>
                    <a:gd name="T5" fmla="*/ 0 h 4"/>
                    <a:gd name="T6" fmla="*/ 0 w 14"/>
                    <a:gd name="T7" fmla="*/ 4 h 4"/>
                    <a:gd name="T8" fmla="*/ 2 w 14"/>
                    <a:gd name="T9" fmla="*/ 4 h 4"/>
                  </a:gdLst>
                  <a:ahLst/>
                  <a:cxnLst>
                    <a:cxn ang="0">
                      <a:pos x="T0" y="T1"/>
                    </a:cxn>
                    <a:cxn ang="0">
                      <a:pos x="T2" y="T3"/>
                    </a:cxn>
                    <a:cxn ang="0">
                      <a:pos x="T4" y="T5"/>
                    </a:cxn>
                    <a:cxn ang="0">
                      <a:pos x="T6" y="T7"/>
                    </a:cxn>
                    <a:cxn ang="0">
                      <a:pos x="T8" y="T9"/>
                    </a:cxn>
                  </a:cxnLst>
                  <a:rect l="0" t="0" r="r" b="b"/>
                  <a:pathLst>
                    <a:path w="14" h="4">
                      <a:moveTo>
                        <a:pt x="2" y="4"/>
                      </a:moveTo>
                      <a:lnTo>
                        <a:pt x="14" y="0"/>
                      </a:lnTo>
                      <a:lnTo>
                        <a:pt x="14"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4383" name="Freeform 1225"/>
                <p:cNvSpPr>
                  <a:spLocks/>
                </p:cNvSpPr>
                <p:nvPr/>
              </p:nvSpPr>
              <p:spPr bwMode="auto">
                <a:xfrm>
                  <a:off x="11571" y="2308"/>
                  <a:ext cx="25" cy="0"/>
                </a:xfrm>
                <a:custGeom>
                  <a:avLst/>
                  <a:gdLst>
                    <a:gd name="T0" fmla="*/ 2 w 26"/>
                    <a:gd name="T1" fmla="*/ 9 h 9"/>
                    <a:gd name="T2" fmla="*/ 26 w 26"/>
                    <a:gd name="T3" fmla="*/ 0 h 9"/>
                    <a:gd name="T4" fmla="*/ 26 w 26"/>
                    <a:gd name="T5" fmla="*/ 0 h 9"/>
                    <a:gd name="T6" fmla="*/ 0 w 26"/>
                    <a:gd name="T7" fmla="*/ 7 h 9"/>
                    <a:gd name="T8" fmla="*/ 2 w 26"/>
                    <a:gd name="T9" fmla="*/ 9 h 9"/>
                  </a:gdLst>
                  <a:ahLst/>
                  <a:cxnLst>
                    <a:cxn ang="0">
                      <a:pos x="T0" y="T1"/>
                    </a:cxn>
                    <a:cxn ang="0">
                      <a:pos x="T2" y="T3"/>
                    </a:cxn>
                    <a:cxn ang="0">
                      <a:pos x="T4" y="T5"/>
                    </a:cxn>
                    <a:cxn ang="0">
                      <a:pos x="T6" y="T7"/>
                    </a:cxn>
                    <a:cxn ang="0">
                      <a:pos x="T8" y="T9"/>
                    </a:cxn>
                  </a:cxnLst>
                  <a:rect l="0" t="0" r="r" b="b"/>
                  <a:pathLst>
                    <a:path w="26" h="9">
                      <a:moveTo>
                        <a:pt x="2" y="9"/>
                      </a:moveTo>
                      <a:lnTo>
                        <a:pt x="26" y="0"/>
                      </a:lnTo>
                      <a:lnTo>
                        <a:pt x="26" y="0"/>
                      </a:lnTo>
                      <a:lnTo>
                        <a:pt x="0" y="7"/>
                      </a:lnTo>
                      <a:lnTo>
                        <a:pt x="2" y="9"/>
                      </a:lnTo>
                      <a:close/>
                    </a:path>
                  </a:pathLst>
                </a:custGeom>
                <a:solidFill>
                  <a:srgbClr val="01AAE5"/>
                </a:solidFill>
                <a:ln>
                  <a:noFill/>
                </a:ln>
                <a:extLst/>
              </p:spPr>
              <p:txBody>
                <a:bodyPr/>
                <a:lstStyle/>
                <a:p>
                  <a:pPr eaLnBrk="1" hangingPunct="1">
                    <a:defRPr/>
                  </a:pPr>
                  <a:endParaRPr lang="zh-CN" altLang="en-US" sz="1050"/>
                </a:p>
              </p:txBody>
            </p:sp>
            <p:sp>
              <p:nvSpPr>
                <p:cNvPr id="4384" name="Freeform 1226"/>
                <p:cNvSpPr>
                  <a:spLocks/>
                </p:cNvSpPr>
                <p:nvPr/>
              </p:nvSpPr>
              <p:spPr bwMode="auto">
                <a:xfrm>
                  <a:off x="11555" y="2273"/>
                  <a:ext cx="33" cy="17"/>
                </a:xfrm>
                <a:custGeom>
                  <a:avLst/>
                  <a:gdLst>
                    <a:gd name="T0" fmla="*/ 0 w 30"/>
                    <a:gd name="T1" fmla="*/ 14 h 14"/>
                    <a:gd name="T2" fmla="*/ 30 w 30"/>
                    <a:gd name="T3" fmla="*/ 3 h 14"/>
                    <a:gd name="T4" fmla="*/ 30 w 30"/>
                    <a:gd name="T5" fmla="*/ 0 h 14"/>
                    <a:gd name="T6" fmla="*/ 0 w 30"/>
                    <a:gd name="T7" fmla="*/ 12 h 14"/>
                    <a:gd name="T8" fmla="*/ 0 w 30"/>
                    <a:gd name="T9" fmla="*/ 14 h 14"/>
                  </a:gdLst>
                  <a:ahLst/>
                  <a:cxnLst>
                    <a:cxn ang="0">
                      <a:pos x="T0" y="T1"/>
                    </a:cxn>
                    <a:cxn ang="0">
                      <a:pos x="T2" y="T3"/>
                    </a:cxn>
                    <a:cxn ang="0">
                      <a:pos x="T4" y="T5"/>
                    </a:cxn>
                    <a:cxn ang="0">
                      <a:pos x="T6" y="T7"/>
                    </a:cxn>
                    <a:cxn ang="0">
                      <a:pos x="T8" y="T9"/>
                    </a:cxn>
                  </a:cxnLst>
                  <a:rect l="0" t="0" r="r" b="b"/>
                  <a:pathLst>
                    <a:path w="30" h="14">
                      <a:moveTo>
                        <a:pt x="0" y="14"/>
                      </a:moveTo>
                      <a:lnTo>
                        <a:pt x="30" y="3"/>
                      </a:lnTo>
                      <a:lnTo>
                        <a:pt x="3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4385" name="Freeform 1227"/>
                <p:cNvSpPr>
                  <a:spLocks/>
                </p:cNvSpPr>
                <p:nvPr/>
              </p:nvSpPr>
              <p:spPr bwMode="auto">
                <a:xfrm>
                  <a:off x="11563" y="2281"/>
                  <a:ext cx="25" cy="17"/>
                </a:xfrm>
                <a:custGeom>
                  <a:avLst/>
                  <a:gdLst>
                    <a:gd name="T0" fmla="*/ 0 w 31"/>
                    <a:gd name="T1" fmla="*/ 12 h 12"/>
                    <a:gd name="T2" fmla="*/ 31 w 31"/>
                    <a:gd name="T3" fmla="*/ 0 h 12"/>
                    <a:gd name="T4" fmla="*/ 28 w 31"/>
                    <a:gd name="T5" fmla="*/ 0 h 12"/>
                    <a:gd name="T6" fmla="*/ 0 w 31"/>
                    <a:gd name="T7" fmla="*/ 12 h 12"/>
                    <a:gd name="T8" fmla="*/ 0 w 31"/>
                    <a:gd name="T9" fmla="*/ 12 h 12"/>
                  </a:gdLst>
                  <a:ahLst/>
                  <a:cxnLst>
                    <a:cxn ang="0">
                      <a:pos x="T0" y="T1"/>
                    </a:cxn>
                    <a:cxn ang="0">
                      <a:pos x="T2" y="T3"/>
                    </a:cxn>
                    <a:cxn ang="0">
                      <a:pos x="T4" y="T5"/>
                    </a:cxn>
                    <a:cxn ang="0">
                      <a:pos x="T6" y="T7"/>
                    </a:cxn>
                    <a:cxn ang="0">
                      <a:pos x="T8" y="T9"/>
                    </a:cxn>
                  </a:cxnLst>
                  <a:rect l="0" t="0" r="r" b="b"/>
                  <a:pathLst>
                    <a:path w="31" h="12">
                      <a:moveTo>
                        <a:pt x="0" y="12"/>
                      </a:moveTo>
                      <a:lnTo>
                        <a:pt x="31"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386" name="Freeform 1228"/>
                <p:cNvSpPr>
                  <a:spLocks/>
                </p:cNvSpPr>
                <p:nvPr/>
              </p:nvSpPr>
              <p:spPr bwMode="auto">
                <a:xfrm>
                  <a:off x="11563" y="2281"/>
                  <a:ext cx="25" cy="17"/>
                </a:xfrm>
                <a:custGeom>
                  <a:avLst/>
                  <a:gdLst>
                    <a:gd name="T0" fmla="*/ 2 w 31"/>
                    <a:gd name="T1" fmla="*/ 12 h 12"/>
                    <a:gd name="T2" fmla="*/ 31 w 31"/>
                    <a:gd name="T3" fmla="*/ 3 h 12"/>
                    <a:gd name="T4" fmla="*/ 31 w 31"/>
                    <a:gd name="T5" fmla="*/ 0 h 12"/>
                    <a:gd name="T6" fmla="*/ 0 w 31"/>
                    <a:gd name="T7" fmla="*/ 12 h 12"/>
                    <a:gd name="T8" fmla="*/ 2 w 31"/>
                    <a:gd name="T9" fmla="*/ 12 h 12"/>
                  </a:gdLst>
                  <a:ahLst/>
                  <a:cxnLst>
                    <a:cxn ang="0">
                      <a:pos x="T0" y="T1"/>
                    </a:cxn>
                    <a:cxn ang="0">
                      <a:pos x="T2" y="T3"/>
                    </a:cxn>
                    <a:cxn ang="0">
                      <a:pos x="T4" y="T5"/>
                    </a:cxn>
                    <a:cxn ang="0">
                      <a:pos x="T6" y="T7"/>
                    </a:cxn>
                    <a:cxn ang="0">
                      <a:pos x="T8" y="T9"/>
                    </a:cxn>
                  </a:cxnLst>
                  <a:rect l="0" t="0" r="r" b="b"/>
                  <a:pathLst>
                    <a:path w="31" h="12">
                      <a:moveTo>
                        <a:pt x="2" y="12"/>
                      </a:moveTo>
                      <a:lnTo>
                        <a:pt x="31" y="3"/>
                      </a:lnTo>
                      <a:lnTo>
                        <a:pt x="31"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387" name="Freeform 1229"/>
                <p:cNvSpPr>
                  <a:spLocks/>
                </p:cNvSpPr>
                <p:nvPr/>
              </p:nvSpPr>
              <p:spPr bwMode="auto">
                <a:xfrm>
                  <a:off x="11555" y="2273"/>
                  <a:ext cx="33" cy="17"/>
                </a:xfrm>
                <a:custGeom>
                  <a:avLst/>
                  <a:gdLst>
                    <a:gd name="T0" fmla="*/ 0 w 30"/>
                    <a:gd name="T1" fmla="*/ 12 h 12"/>
                    <a:gd name="T2" fmla="*/ 30 w 30"/>
                    <a:gd name="T3" fmla="*/ 0 h 12"/>
                    <a:gd name="T4" fmla="*/ 28 w 30"/>
                    <a:gd name="T5" fmla="*/ 0 h 12"/>
                    <a:gd name="T6" fmla="*/ 0 w 30"/>
                    <a:gd name="T7" fmla="*/ 12 h 12"/>
                    <a:gd name="T8" fmla="*/ 0 w 30"/>
                    <a:gd name="T9" fmla="*/ 12 h 12"/>
                  </a:gdLst>
                  <a:ahLst/>
                  <a:cxnLst>
                    <a:cxn ang="0">
                      <a:pos x="T0" y="T1"/>
                    </a:cxn>
                    <a:cxn ang="0">
                      <a:pos x="T2" y="T3"/>
                    </a:cxn>
                    <a:cxn ang="0">
                      <a:pos x="T4" y="T5"/>
                    </a:cxn>
                    <a:cxn ang="0">
                      <a:pos x="T6" y="T7"/>
                    </a:cxn>
                    <a:cxn ang="0">
                      <a:pos x="T8" y="T9"/>
                    </a:cxn>
                  </a:cxnLst>
                  <a:rect l="0" t="0" r="r" b="b"/>
                  <a:pathLst>
                    <a:path w="30" h="12">
                      <a:moveTo>
                        <a:pt x="0" y="12"/>
                      </a:moveTo>
                      <a:lnTo>
                        <a:pt x="30" y="0"/>
                      </a:lnTo>
                      <a:lnTo>
                        <a:pt x="28"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388" name="Freeform 1230"/>
                <p:cNvSpPr>
                  <a:spLocks/>
                </p:cNvSpPr>
                <p:nvPr/>
              </p:nvSpPr>
              <p:spPr bwMode="auto">
                <a:xfrm>
                  <a:off x="11563" y="2290"/>
                  <a:ext cx="25" cy="9"/>
                </a:xfrm>
                <a:custGeom>
                  <a:avLst/>
                  <a:gdLst>
                    <a:gd name="T0" fmla="*/ 0 w 29"/>
                    <a:gd name="T1" fmla="*/ 12 h 12"/>
                    <a:gd name="T2" fmla="*/ 29 w 29"/>
                    <a:gd name="T3" fmla="*/ 0 h 12"/>
                    <a:gd name="T4" fmla="*/ 29 w 29"/>
                    <a:gd name="T5" fmla="*/ 0 h 12"/>
                    <a:gd name="T6" fmla="*/ 0 w 29"/>
                    <a:gd name="T7" fmla="*/ 9 h 12"/>
                    <a:gd name="T8" fmla="*/ 0 w 29"/>
                    <a:gd name="T9" fmla="*/ 12 h 12"/>
                  </a:gdLst>
                  <a:ahLst/>
                  <a:cxnLst>
                    <a:cxn ang="0">
                      <a:pos x="T0" y="T1"/>
                    </a:cxn>
                    <a:cxn ang="0">
                      <a:pos x="T2" y="T3"/>
                    </a:cxn>
                    <a:cxn ang="0">
                      <a:pos x="T4" y="T5"/>
                    </a:cxn>
                    <a:cxn ang="0">
                      <a:pos x="T6" y="T7"/>
                    </a:cxn>
                    <a:cxn ang="0">
                      <a:pos x="T8" y="T9"/>
                    </a:cxn>
                  </a:cxnLst>
                  <a:rect l="0" t="0" r="r" b="b"/>
                  <a:pathLst>
                    <a:path w="29" h="12">
                      <a:moveTo>
                        <a:pt x="0" y="12"/>
                      </a:moveTo>
                      <a:lnTo>
                        <a:pt x="29" y="0"/>
                      </a:lnTo>
                      <a:lnTo>
                        <a:pt x="29" y="0"/>
                      </a:lnTo>
                      <a:lnTo>
                        <a:pt x="0" y="9"/>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389" name="Freeform 1231"/>
                <p:cNvSpPr>
                  <a:spLocks/>
                </p:cNvSpPr>
                <p:nvPr/>
              </p:nvSpPr>
              <p:spPr bwMode="auto">
                <a:xfrm>
                  <a:off x="11571" y="2299"/>
                  <a:ext cx="17" cy="9"/>
                </a:xfrm>
                <a:custGeom>
                  <a:avLst/>
                  <a:gdLst>
                    <a:gd name="T0" fmla="*/ 0 w 24"/>
                    <a:gd name="T1" fmla="*/ 10 h 10"/>
                    <a:gd name="T2" fmla="*/ 24 w 24"/>
                    <a:gd name="T3" fmla="*/ 2 h 10"/>
                    <a:gd name="T4" fmla="*/ 24 w 24"/>
                    <a:gd name="T5" fmla="*/ 0 h 10"/>
                    <a:gd name="T6" fmla="*/ 0 w 24"/>
                    <a:gd name="T7" fmla="*/ 10 h 10"/>
                    <a:gd name="T8" fmla="*/ 0 w 24"/>
                    <a:gd name="T9" fmla="*/ 10 h 10"/>
                  </a:gdLst>
                  <a:ahLst/>
                  <a:cxnLst>
                    <a:cxn ang="0">
                      <a:pos x="T0" y="T1"/>
                    </a:cxn>
                    <a:cxn ang="0">
                      <a:pos x="T2" y="T3"/>
                    </a:cxn>
                    <a:cxn ang="0">
                      <a:pos x="T4" y="T5"/>
                    </a:cxn>
                    <a:cxn ang="0">
                      <a:pos x="T6" y="T7"/>
                    </a:cxn>
                    <a:cxn ang="0">
                      <a:pos x="T8" y="T9"/>
                    </a:cxn>
                  </a:cxnLst>
                  <a:rect l="0" t="0" r="r" b="b"/>
                  <a:pathLst>
                    <a:path w="24" h="10">
                      <a:moveTo>
                        <a:pt x="0" y="10"/>
                      </a:moveTo>
                      <a:lnTo>
                        <a:pt x="24" y="2"/>
                      </a:lnTo>
                      <a:lnTo>
                        <a:pt x="24"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390" name="Freeform 1232"/>
                <p:cNvSpPr>
                  <a:spLocks/>
                </p:cNvSpPr>
                <p:nvPr/>
              </p:nvSpPr>
              <p:spPr bwMode="auto">
                <a:xfrm>
                  <a:off x="11563" y="2299"/>
                  <a:ext cx="25" cy="9"/>
                </a:xfrm>
                <a:custGeom>
                  <a:avLst/>
                  <a:gdLst>
                    <a:gd name="T0" fmla="*/ 0 w 26"/>
                    <a:gd name="T1" fmla="*/ 9 h 9"/>
                    <a:gd name="T2" fmla="*/ 26 w 26"/>
                    <a:gd name="T3" fmla="*/ 0 h 9"/>
                    <a:gd name="T4" fmla="*/ 26 w 26"/>
                    <a:gd name="T5" fmla="*/ 0 h 9"/>
                    <a:gd name="T6" fmla="*/ 0 w 26"/>
                    <a:gd name="T7" fmla="*/ 9 h 9"/>
                    <a:gd name="T8" fmla="*/ 0 w 26"/>
                    <a:gd name="T9" fmla="*/ 9 h 9"/>
                  </a:gdLst>
                  <a:ahLst/>
                  <a:cxnLst>
                    <a:cxn ang="0">
                      <a:pos x="T0" y="T1"/>
                    </a:cxn>
                    <a:cxn ang="0">
                      <a:pos x="T2" y="T3"/>
                    </a:cxn>
                    <a:cxn ang="0">
                      <a:pos x="T4" y="T5"/>
                    </a:cxn>
                    <a:cxn ang="0">
                      <a:pos x="T6" y="T7"/>
                    </a:cxn>
                    <a:cxn ang="0">
                      <a:pos x="T8" y="T9"/>
                    </a:cxn>
                  </a:cxnLst>
                  <a:rect l="0" t="0" r="r" b="b"/>
                  <a:pathLst>
                    <a:path w="26" h="9">
                      <a:moveTo>
                        <a:pt x="0" y="9"/>
                      </a:moveTo>
                      <a:lnTo>
                        <a:pt x="26" y="0"/>
                      </a:lnTo>
                      <a:lnTo>
                        <a:pt x="26"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391" name="Freeform 1233"/>
                <p:cNvSpPr>
                  <a:spLocks/>
                </p:cNvSpPr>
                <p:nvPr/>
              </p:nvSpPr>
              <p:spPr bwMode="auto">
                <a:xfrm>
                  <a:off x="11580" y="2334"/>
                  <a:ext cx="17" cy="9"/>
                </a:xfrm>
                <a:custGeom>
                  <a:avLst/>
                  <a:gdLst>
                    <a:gd name="T0" fmla="*/ 0 w 9"/>
                    <a:gd name="T1" fmla="*/ 5 h 5"/>
                    <a:gd name="T2" fmla="*/ 9 w 9"/>
                    <a:gd name="T3" fmla="*/ 2 h 5"/>
                    <a:gd name="T4" fmla="*/ 9 w 9"/>
                    <a:gd name="T5" fmla="*/ 0 h 5"/>
                    <a:gd name="T6" fmla="*/ 0 w 9"/>
                    <a:gd name="T7" fmla="*/ 5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9"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92" name="Freeform 1234"/>
                <p:cNvSpPr>
                  <a:spLocks/>
                </p:cNvSpPr>
                <p:nvPr/>
              </p:nvSpPr>
              <p:spPr bwMode="auto">
                <a:xfrm>
                  <a:off x="11588" y="2342"/>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93" name="Freeform 1235"/>
                <p:cNvSpPr>
                  <a:spLocks/>
                </p:cNvSpPr>
                <p:nvPr/>
              </p:nvSpPr>
              <p:spPr bwMode="auto">
                <a:xfrm>
                  <a:off x="11596" y="2377"/>
                  <a:ext cx="8" cy="0"/>
                </a:xfrm>
                <a:custGeom>
                  <a:avLst/>
                  <a:gdLst>
                    <a:gd name="T0" fmla="*/ 0 w 12"/>
                    <a:gd name="T1" fmla="*/ 5 h 5"/>
                    <a:gd name="T2" fmla="*/ 12 w 12"/>
                    <a:gd name="T3" fmla="*/ 0 h 5"/>
                    <a:gd name="T4" fmla="*/ 12 w 12"/>
                    <a:gd name="T5" fmla="*/ 0 h 5"/>
                    <a:gd name="T6" fmla="*/ 0 w 12"/>
                    <a:gd name="T7" fmla="*/ 3 h 5"/>
                    <a:gd name="T8" fmla="*/ 0 w 12"/>
                    <a:gd name="T9" fmla="*/ 5 h 5"/>
                  </a:gdLst>
                  <a:ahLst/>
                  <a:cxnLst>
                    <a:cxn ang="0">
                      <a:pos x="T0" y="T1"/>
                    </a:cxn>
                    <a:cxn ang="0">
                      <a:pos x="T2" y="T3"/>
                    </a:cxn>
                    <a:cxn ang="0">
                      <a:pos x="T4" y="T5"/>
                    </a:cxn>
                    <a:cxn ang="0">
                      <a:pos x="T6" y="T7"/>
                    </a:cxn>
                    <a:cxn ang="0">
                      <a:pos x="T8" y="T9"/>
                    </a:cxn>
                  </a:cxnLst>
                  <a:rect l="0" t="0" r="r" b="b"/>
                  <a:pathLst>
                    <a:path w="12" h="5">
                      <a:moveTo>
                        <a:pt x="0" y="5"/>
                      </a:moveTo>
                      <a:lnTo>
                        <a:pt x="12" y="0"/>
                      </a:lnTo>
                      <a:lnTo>
                        <a:pt x="12" y="0"/>
                      </a:lnTo>
                      <a:lnTo>
                        <a:pt x="0" y="3"/>
                      </a:lnTo>
                      <a:lnTo>
                        <a:pt x="0" y="5"/>
                      </a:lnTo>
                      <a:close/>
                    </a:path>
                  </a:pathLst>
                </a:custGeom>
                <a:solidFill>
                  <a:srgbClr val="01AAE5"/>
                </a:solidFill>
                <a:ln>
                  <a:noFill/>
                </a:ln>
                <a:extLst/>
              </p:spPr>
              <p:txBody>
                <a:bodyPr/>
                <a:lstStyle/>
                <a:p>
                  <a:pPr eaLnBrk="1" hangingPunct="1">
                    <a:defRPr/>
                  </a:pPr>
                  <a:endParaRPr lang="zh-CN" altLang="en-US" sz="1050"/>
                </a:p>
              </p:txBody>
            </p:sp>
            <p:sp>
              <p:nvSpPr>
                <p:cNvPr id="4394" name="Freeform 1236"/>
                <p:cNvSpPr>
                  <a:spLocks/>
                </p:cNvSpPr>
                <p:nvPr/>
              </p:nvSpPr>
              <p:spPr bwMode="auto">
                <a:xfrm>
                  <a:off x="11596" y="2369"/>
                  <a:ext cx="8" cy="9"/>
                </a:xfrm>
                <a:custGeom>
                  <a:avLst/>
                  <a:gdLst>
                    <a:gd name="T0" fmla="*/ 0 w 12"/>
                    <a:gd name="T1" fmla="*/ 2 h 2"/>
                    <a:gd name="T2" fmla="*/ 12 w 12"/>
                    <a:gd name="T3" fmla="*/ 0 h 2"/>
                    <a:gd name="T4" fmla="*/ 12 w 12"/>
                    <a:gd name="T5" fmla="*/ 0 h 2"/>
                    <a:gd name="T6" fmla="*/ 0 w 12"/>
                    <a:gd name="T7" fmla="*/ 2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0"/>
                      </a:lnTo>
                      <a:lnTo>
                        <a:pt x="12"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95" name="Freeform 1237"/>
                <p:cNvSpPr>
                  <a:spLocks/>
                </p:cNvSpPr>
                <p:nvPr/>
              </p:nvSpPr>
              <p:spPr bwMode="auto">
                <a:xfrm>
                  <a:off x="11555" y="2273"/>
                  <a:ext cx="33" cy="9"/>
                </a:xfrm>
                <a:custGeom>
                  <a:avLst/>
                  <a:gdLst>
                    <a:gd name="T0" fmla="*/ 0 w 31"/>
                    <a:gd name="T1" fmla="*/ 14 h 14"/>
                    <a:gd name="T2" fmla="*/ 31 w 31"/>
                    <a:gd name="T3" fmla="*/ 2 h 14"/>
                    <a:gd name="T4" fmla="*/ 31 w 31"/>
                    <a:gd name="T5" fmla="*/ 0 h 14"/>
                    <a:gd name="T6" fmla="*/ 0 w 31"/>
                    <a:gd name="T7" fmla="*/ 14 h 14"/>
                    <a:gd name="T8" fmla="*/ 0 w 31"/>
                    <a:gd name="T9" fmla="*/ 14 h 14"/>
                  </a:gdLst>
                  <a:ahLst/>
                  <a:cxnLst>
                    <a:cxn ang="0">
                      <a:pos x="T0" y="T1"/>
                    </a:cxn>
                    <a:cxn ang="0">
                      <a:pos x="T2" y="T3"/>
                    </a:cxn>
                    <a:cxn ang="0">
                      <a:pos x="T4" y="T5"/>
                    </a:cxn>
                    <a:cxn ang="0">
                      <a:pos x="T6" y="T7"/>
                    </a:cxn>
                    <a:cxn ang="0">
                      <a:pos x="T8" y="T9"/>
                    </a:cxn>
                  </a:cxnLst>
                  <a:rect l="0" t="0" r="r" b="b"/>
                  <a:pathLst>
                    <a:path w="31" h="14">
                      <a:moveTo>
                        <a:pt x="0" y="14"/>
                      </a:moveTo>
                      <a:lnTo>
                        <a:pt x="31" y="2"/>
                      </a:lnTo>
                      <a:lnTo>
                        <a:pt x="31"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4396" name="Freeform 1238"/>
                <p:cNvSpPr>
                  <a:spLocks/>
                </p:cNvSpPr>
                <p:nvPr/>
              </p:nvSpPr>
              <p:spPr bwMode="auto">
                <a:xfrm>
                  <a:off x="11596" y="2377"/>
                  <a:ext cx="8" cy="9"/>
                </a:xfrm>
                <a:custGeom>
                  <a:avLst/>
                  <a:gdLst>
                    <a:gd name="T0" fmla="*/ 0 w 14"/>
                    <a:gd name="T1" fmla="*/ 4 h 4"/>
                    <a:gd name="T2" fmla="*/ 14 w 14"/>
                    <a:gd name="T3" fmla="*/ 2 h 4"/>
                    <a:gd name="T4" fmla="*/ 14 w 14"/>
                    <a:gd name="T5" fmla="*/ 0 h 4"/>
                    <a:gd name="T6" fmla="*/ 0 w 14"/>
                    <a:gd name="T7" fmla="*/ 4 h 4"/>
                    <a:gd name="T8" fmla="*/ 0 w 14"/>
                    <a:gd name="T9" fmla="*/ 4 h 4"/>
                  </a:gdLst>
                  <a:ahLst/>
                  <a:cxnLst>
                    <a:cxn ang="0">
                      <a:pos x="T0" y="T1"/>
                    </a:cxn>
                    <a:cxn ang="0">
                      <a:pos x="T2" y="T3"/>
                    </a:cxn>
                    <a:cxn ang="0">
                      <a:pos x="T4" y="T5"/>
                    </a:cxn>
                    <a:cxn ang="0">
                      <a:pos x="T6" y="T7"/>
                    </a:cxn>
                    <a:cxn ang="0">
                      <a:pos x="T8" y="T9"/>
                    </a:cxn>
                  </a:cxnLst>
                  <a:rect l="0" t="0" r="r" b="b"/>
                  <a:pathLst>
                    <a:path w="14" h="4">
                      <a:moveTo>
                        <a:pt x="0" y="4"/>
                      </a:moveTo>
                      <a:lnTo>
                        <a:pt x="14" y="2"/>
                      </a:lnTo>
                      <a:lnTo>
                        <a:pt x="1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397" name="Freeform 1239"/>
                <p:cNvSpPr>
                  <a:spLocks/>
                </p:cNvSpPr>
                <p:nvPr/>
              </p:nvSpPr>
              <p:spPr bwMode="auto">
                <a:xfrm>
                  <a:off x="11596" y="2369"/>
                  <a:ext cx="8" cy="0"/>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398" name="Freeform 1240"/>
                <p:cNvSpPr>
                  <a:spLocks/>
                </p:cNvSpPr>
                <p:nvPr/>
              </p:nvSpPr>
              <p:spPr bwMode="auto">
                <a:xfrm>
                  <a:off x="11596" y="2395"/>
                  <a:ext cx="8" cy="0"/>
                </a:xfrm>
                <a:custGeom>
                  <a:avLst/>
                  <a:gdLst>
                    <a:gd name="T0" fmla="*/ 0 w 15"/>
                    <a:gd name="T1" fmla="*/ 4 h 4"/>
                    <a:gd name="T2" fmla="*/ 15 w 15"/>
                    <a:gd name="T3" fmla="*/ 0 h 4"/>
                    <a:gd name="T4" fmla="*/ 15 w 15"/>
                    <a:gd name="T5" fmla="*/ 0 h 4"/>
                    <a:gd name="T6" fmla="*/ 0 w 15"/>
                    <a:gd name="T7" fmla="*/ 2 h 4"/>
                    <a:gd name="T8" fmla="*/ 0 w 15"/>
                    <a:gd name="T9" fmla="*/ 4 h 4"/>
                  </a:gdLst>
                  <a:ahLst/>
                  <a:cxnLst>
                    <a:cxn ang="0">
                      <a:pos x="T0" y="T1"/>
                    </a:cxn>
                    <a:cxn ang="0">
                      <a:pos x="T2" y="T3"/>
                    </a:cxn>
                    <a:cxn ang="0">
                      <a:pos x="T4" y="T5"/>
                    </a:cxn>
                    <a:cxn ang="0">
                      <a:pos x="T6" y="T7"/>
                    </a:cxn>
                    <a:cxn ang="0">
                      <a:pos x="T8" y="T9"/>
                    </a:cxn>
                  </a:cxnLst>
                  <a:rect l="0" t="0" r="r" b="b"/>
                  <a:pathLst>
                    <a:path w="15" h="4">
                      <a:moveTo>
                        <a:pt x="0" y="4"/>
                      </a:moveTo>
                      <a:lnTo>
                        <a:pt x="15" y="0"/>
                      </a:lnTo>
                      <a:lnTo>
                        <a:pt x="15" y="0"/>
                      </a:lnTo>
                      <a:lnTo>
                        <a:pt x="0" y="2"/>
                      </a:lnTo>
                      <a:lnTo>
                        <a:pt x="0" y="4"/>
                      </a:lnTo>
                      <a:close/>
                    </a:path>
                  </a:pathLst>
                </a:custGeom>
                <a:solidFill>
                  <a:srgbClr val="01AAE5"/>
                </a:solidFill>
                <a:ln>
                  <a:noFill/>
                </a:ln>
                <a:extLst/>
              </p:spPr>
              <p:txBody>
                <a:bodyPr/>
                <a:lstStyle/>
                <a:p>
                  <a:pPr eaLnBrk="1" hangingPunct="1">
                    <a:defRPr/>
                  </a:pPr>
                  <a:endParaRPr lang="zh-CN" altLang="en-US" sz="1050"/>
                </a:p>
              </p:txBody>
            </p:sp>
            <p:sp>
              <p:nvSpPr>
                <p:cNvPr id="4399" name="Freeform 1241"/>
                <p:cNvSpPr>
                  <a:spLocks/>
                </p:cNvSpPr>
                <p:nvPr/>
              </p:nvSpPr>
              <p:spPr bwMode="auto">
                <a:xfrm>
                  <a:off x="11596" y="2386"/>
                  <a:ext cx="8" cy="9"/>
                </a:xfrm>
                <a:custGeom>
                  <a:avLst/>
                  <a:gdLst>
                    <a:gd name="T0" fmla="*/ 0 w 15"/>
                    <a:gd name="T1" fmla="*/ 5 h 5"/>
                    <a:gd name="T2" fmla="*/ 15 w 15"/>
                    <a:gd name="T3" fmla="*/ 2 h 5"/>
                    <a:gd name="T4" fmla="*/ 15 w 15"/>
                    <a:gd name="T5" fmla="*/ 0 h 5"/>
                    <a:gd name="T6" fmla="*/ 0 w 15"/>
                    <a:gd name="T7" fmla="*/ 5 h 5"/>
                    <a:gd name="T8" fmla="*/ 0 w 15"/>
                    <a:gd name="T9" fmla="*/ 5 h 5"/>
                  </a:gdLst>
                  <a:ahLst/>
                  <a:cxnLst>
                    <a:cxn ang="0">
                      <a:pos x="T0" y="T1"/>
                    </a:cxn>
                    <a:cxn ang="0">
                      <a:pos x="T2" y="T3"/>
                    </a:cxn>
                    <a:cxn ang="0">
                      <a:pos x="T4" y="T5"/>
                    </a:cxn>
                    <a:cxn ang="0">
                      <a:pos x="T6" y="T7"/>
                    </a:cxn>
                    <a:cxn ang="0">
                      <a:pos x="T8" y="T9"/>
                    </a:cxn>
                  </a:cxnLst>
                  <a:rect l="0" t="0" r="r" b="b"/>
                  <a:pathLst>
                    <a:path w="15" h="5">
                      <a:moveTo>
                        <a:pt x="0" y="5"/>
                      </a:moveTo>
                      <a:lnTo>
                        <a:pt x="15" y="2"/>
                      </a:lnTo>
                      <a:lnTo>
                        <a:pt x="1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00" name="Freeform 1242"/>
                <p:cNvSpPr>
                  <a:spLocks/>
                </p:cNvSpPr>
                <p:nvPr/>
              </p:nvSpPr>
              <p:spPr bwMode="auto">
                <a:xfrm>
                  <a:off x="11596" y="2386"/>
                  <a:ext cx="8" cy="0"/>
                </a:xfrm>
                <a:custGeom>
                  <a:avLst/>
                  <a:gdLst>
                    <a:gd name="T0" fmla="*/ 2 w 14"/>
                    <a:gd name="T1" fmla="*/ 5 h 5"/>
                    <a:gd name="T2" fmla="*/ 14 w 14"/>
                    <a:gd name="T3" fmla="*/ 0 h 5"/>
                    <a:gd name="T4" fmla="*/ 14 w 14"/>
                    <a:gd name="T5" fmla="*/ 0 h 5"/>
                    <a:gd name="T6" fmla="*/ 0 w 14"/>
                    <a:gd name="T7" fmla="*/ 3 h 5"/>
                    <a:gd name="T8" fmla="*/ 2 w 14"/>
                    <a:gd name="T9" fmla="*/ 5 h 5"/>
                  </a:gdLst>
                  <a:ahLst/>
                  <a:cxnLst>
                    <a:cxn ang="0">
                      <a:pos x="T0" y="T1"/>
                    </a:cxn>
                    <a:cxn ang="0">
                      <a:pos x="T2" y="T3"/>
                    </a:cxn>
                    <a:cxn ang="0">
                      <a:pos x="T4" y="T5"/>
                    </a:cxn>
                    <a:cxn ang="0">
                      <a:pos x="T6" y="T7"/>
                    </a:cxn>
                    <a:cxn ang="0">
                      <a:pos x="T8" y="T9"/>
                    </a:cxn>
                  </a:cxnLst>
                  <a:rect l="0" t="0" r="r" b="b"/>
                  <a:pathLst>
                    <a:path w="14" h="5">
                      <a:moveTo>
                        <a:pt x="2" y="5"/>
                      </a:moveTo>
                      <a:lnTo>
                        <a:pt x="14" y="0"/>
                      </a:lnTo>
                      <a:lnTo>
                        <a:pt x="14"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4401" name="Freeform 1243"/>
                <p:cNvSpPr>
                  <a:spLocks/>
                </p:cNvSpPr>
                <p:nvPr/>
              </p:nvSpPr>
              <p:spPr bwMode="auto">
                <a:xfrm>
                  <a:off x="11596" y="2369"/>
                  <a:ext cx="8" cy="0"/>
                </a:xfrm>
                <a:custGeom>
                  <a:avLst/>
                  <a:gdLst>
                    <a:gd name="T0" fmla="*/ 0 w 7"/>
                    <a:gd name="T1" fmla="*/ 3 h 3"/>
                    <a:gd name="T2" fmla="*/ 7 w 7"/>
                    <a:gd name="T3" fmla="*/ 3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3"/>
                      </a:lnTo>
                      <a:lnTo>
                        <a:pt x="7" y="0"/>
                      </a:lnTo>
                      <a:lnTo>
                        <a:pt x="0" y="3"/>
                      </a:lnTo>
                      <a:lnTo>
                        <a:pt x="0" y="3"/>
                      </a:lnTo>
                      <a:close/>
                    </a:path>
                  </a:pathLst>
                </a:custGeom>
                <a:solidFill>
                  <a:srgbClr val="01AAE5"/>
                </a:solidFill>
                <a:ln>
                  <a:noFill/>
                </a:ln>
                <a:extLst/>
              </p:spPr>
              <p:txBody>
                <a:bodyPr/>
                <a:lstStyle/>
                <a:p>
                  <a:pPr eaLnBrk="1" hangingPunct="1">
                    <a:defRPr/>
                  </a:pPr>
                  <a:endParaRPr lang="zh-CN" altLang="en-US" sz="1050"/>
                </a:p>
              </p:txBody>
            </p:sp>
            <p:sp>
              <p:nvSpPr>
                <p:cNvPr id="4402" name="Freeform 1244"/>
                <p:cNvSpPr>
                  <a:spLocks/>
                </p:cNvSpPr>
                <p:nvPr/>
              </p:nvSpPr>
              <p:spPr bwMode="auto">
                <a:xfrm>
                  <a:off x="11596" y="2395"/>
                  <a:ext cx="17" cy="0"/>
                </a:xfrm>
                <a:custGeom>
                  <a:avLst/>
                  <a:gdLst>
                    <a:gd name="T0" fmla="*/ 0 w 17"/>
                    <a:gd name="T1" fmla="*/ 5 h 5"/>
                    <a:gd name="T2" fmla="*/ 17 w 17"/>
                    <a:gd name="T3" fmla="*/ 2 h 5"/>
                    <a:gd name="T4" fmla="*/ 17 w 17"/>
                    <a:gd name="T5" fmla="*/ 0 h 5"/>
                    <a:gd name="T6" fmla="*/ 0 w 17"/>
                    <a:gd name="T7" fmla="*/ 5 h 5"/>
                    <a:gd name="T8" fmla="*/ 0 w 17"/>
                    <a:gd name="T9" fmla="*/ 5 h 5"/>
                  </a:gdLst>
                  <a:ahLst/>
                  <a:cxnLst>
                    <a:cxn ang="0">
                      <a:pos x="T0" y="T1"/>
                    </a:cxn>
                    <a:cxn ang="0">
                      <a:pos x="T2" y="T3"/>
                    </a:cxn>
                    <a:cxn ang="0">
                      <a:pos x="T4" y="T5"/>
                    </a:cxn>
                    <a:cxn ang="0">
                      <a:pos x="T6" y="T7"/>
                    </a:cxn>
                    <a:cxn ang="0">
                      <a:pos x="T8" y="T9"/>
                    </a:cxn>
                  </a:cxnLst>
                  <a:rect l="0" t="0" r="r" b="b"/>
                  <a:pathLst>
                    <a:path w="17" h="5">
                      <a:moveTo>
                        <a:pt x="0" y="5"/>
                      </a:moveTo>
                      <a:lnTo>
                        <a:pt x="17" y="2"/>
                      </a:lnTo>
                      <a:lnTo>
                        <a:pt x="17"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03" name="Freeform 1245"/>
                <p:cNvSpPr>
                  <a:spLocks/>
                </p:cNvSpPr>
                <p:nvPr/>
              </p:nvSpPr>
              <p:spPr bwMode="auto">
                <a:xfrm>
                  <a:off x="11588" y="2351"/>
                  <a:ext cx="8" cy="0"/>
                </a:xfrm>
                <a:custGeom>
                  <a:avLst/>
                  <a:gdLst>
                    <a:gd name="T0" fmla="*/ 0 w 7"/>
                    <a:gd name="T1" fmla="*/ 5 h 5"/>
                    <a:gd name="T2" fmla="*/ 7 w 7"/>
                    <a:gd name="T3" fmla="*/ 2 h 5"/>
                    <a:gd name="T4" fmla="*/ 7 w 7"/>
                    <a:gd name="T5" fmla="*/ 0 h 5"/>
                    <a:gd name="T6" fmla="*/ 0 w 7"/>
                    <a:gd name="T7" fmla="*/ 2 h 5"/>
                    <a:gd name="T8" fmla="*/ 0 w 7"/>
                    <a:gd name="T9" fmla="*/ 5 h 5"/>
                  </a:gdLst>
                  <a:ahLst/>
                  <a:cxnLst>
                    <a:cxn ang="0">
                      <a:pos x="T0" y="T1"/>
                    </a:cxn>
                    <a:cxn ang="0">
                      <a:pos x="T2" y="T3"/>
                    </a:cxn>
                    <a:cxn ang="0">
                      <a:pos x="T4" y="T5"/>
                    </a:cxn>
                    <a:cxn ang="0">
                      <a:pos x="T6" y="T7"/>
                    </a:cxn>
                    <a:cxn ang="0">
                      <a:pos x="T8" y="T9"/>
                    </a:cxn>
                  </a:cxnLst>
                  <a:rect l="0" t="0" r="r" b="b"/>
                  <a:pathLst>
                    <a:path w="7" h="5">
                      <a:moveTo>
                        <a:pt x="0" y="5"/>
                      </a:moveTo>
                      <a:lnTo>
                        <a:pt x="7"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04" name="Freeform 1246"/>
                <p:cNvSpPr>
                  <a:spLocks/>
                </p:cNvSpPr>
                <p:nvPr/>
              </p:nvSpPr>
              <p:spPr bwMode="auto">
                <a:xfrm>
                  <a:off x="11588" y="2342"/>
                  <a:ext cx="8" cy="0"/>
                </a:xfrm>
                <a:custGeom>
                  <a:avLst/>
                  <a:gdLst>
                    <a:gd name="T0" fmla="*/ 0 w 9"/>
                    <a:gd name="T1" fmla="*/ 5 h 5"/>
                    <a:gd name="T2" fmla="*/ 9 w 9"/>
                    <a:gd name="T3" fmla="*/ 2 h 5"/>
                    <a:gd name="T4" fmla="*/ 7 w 9"/>
                    <a:gd name="T5" fmla="*/ 0 h 5"/>
                    <a:gd name="T6" fmla="*/ 0 w 9"/>
                    <a:gd name="T7" fmla="*/ 2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2"/>
                      </a:lnTo>
                      <a:lnTo>
                        <a:pt x="7" y="0"/>
                      </a:lnTo>
                      <a:lnTo>
                        <a:pt x="0" y="2"/>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05" name="Freeform 1247"/>
                <p:cNvSpPr>
                  <a:spLocks/>
                </p:cNvSpPr>
                <p:nvPr/>
              </p:nvSpPr>
              <p:spPr bwMode="auto">
                <a:xfrm>
                  <a:off x="11588" y="2334"/>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406" name="Freeform 1248"/>
                <p:cNvSpPr>
                  <a:spLocks/>
                </p:cNvSpPr>
                <p:nvPr/>
              </p:nvSpPr>
              <p:spPr bwMode="auto">
                <a:xfrm>
                  <a:off x="11588" y="2360"/>
                  <a:ext cx="8" cy="9"/>
                </a:xfrm>
                <a:custGeom>
                  <a:avLst/>
                  <a:gdLst>
                    <a:gd name="T0" fmla="*/ 0 w 7"/>
                    <a:gd name="T1" fmla="*/ 2 h 2"/>
                    <a:gd name="T2" fmla="*/ 7 w 7"/>
                    <a:gd name="T3" fmla="*/ 0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0"/>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407" name="Freeform 1249"/>
                <p:cNvSpPr>
                  <a:spLocks/>
                </p:cNvSpPr>
                <p:nvPr/>
              </p:nvSpPr>
              <p:spPr bwMode="auto">
                <a:xfrm>
                  <a:off x="11588" y="2351"/>
                  <a:ext cx="8" cy="9"/>
                </a:xfrm>
                <a:custGeom>
                  <a:avLst/>
                  <a:gdLst>
                    <a:gd name="T0" fmla="*/ 0 w 4"/>
                    <a:gd name="T1" fmla="*/ 2 h 2"/>
                    <a:gd name="T2" fmla="*/ 4 w 4"/>
                    <a:gd name="T3" fmla="*/ 0 h 2"/>
                    <a:gd name="T4" fmla="*/ 4 w 4"/>
                    <a:gd name="T5" fmla="*/ 0 h 2"/>
                    <a:gd name="T6" fmla="*/ 0 w 4"/>
                    <a:gd name="T7" fmla="*/ 2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0"/>
                      </a:lnTo>
                      <a:lnTo>
                        <a:pt x="4"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408" name="Freeform 1250"/>
                <p:cNvSpPr>
                  <a:spLocks/>
                </p:cNvSpPr>
                <p:nvPr/>
              </p:nvSpPr>
              <p:spPr bwMode="auto">
                <a:xfrm>
                  <a:off x="11588" y="2360"/>
                  <a:ext cx="8" cy="0"/>
                </a:xfrm>
                <a:custGeom>
                  <a:avLst/>
                  <a:gdLst>
                    <a:gd name="T0" fmla="*/ 0 w 7"/>
                    <a:gd name="T1" fmla="*/ 2 h 2"/>
                    <a:gd name="T2" fmla="*/ 7 w 7"/>
                    <a:gd name="T3" fmla="*/ 2 h 2"/>
                    <a:gd name="T4" fmla="*/ 7 w 7"/>
                    <a:gd name="T5" fmla="*/ 0 h 2"/>
                    <a:gd name="T6" fmla="*/ 0 w 7"/>
                    <a:gd name="T7" fmla="*/ 2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7" y="2"/>
                      </a:lnTo>
                      <a:lnTo>
                        <a:pt x="7" y="0"/>
                      </a:lnTo>
                      <a:lnTo>
                        <a:pt x="0" y="2"/>
                      </a:lnTo>
                      <a:lnTo>
                        <a:pt x="0" y="2"/>
                      </a:lnTo>
                      <a:close/>
                    </a:path>
                  </a:pathLst>
                </a:custGeom>
                <a:solidFill>
                  <a:srgbClr val="01AAE5"/>
                </a:solidFill>
                <a:ln>
                  <a:noFill/>
                </a:ln>
                <a:extLst/>
              </p:spPr>
              <p:txBody>
                <a:bodyPr/>
                <a:lstStyle/>
                <a:p>
                  <a:pPr eaLnBrk="1" hangingPunct="1">
                    <a:defRPr/>
                  </a:pPr>
                  <a:endParaRPr lang="zh-CN" altLang="en-US" sz="1050"/>
                </a:p>
              </p:txBody>
            </p:sp>
            <p:sp>
              <p:nvSpPr>
                <p:cNvPr id="4409" name="Freeform 1251"/>
                <p:cNvSpPr>
                  <a:spLocks/>
                </p:cNvSpPr>
                <p:nvPr/>
              </p:nvSpPr>
              <p:spPr bwMode="auto">
                <a:xfrm>
                  <a:off x="11114" y="1846"/>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10" name="Freeform 1252"/>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close/>
                    </a:path>
                  </a:pathLst>
                </a:custGeom>
                <a:solidFill>
                  <a:srgbClr val="01AAE5"/>
                </a:solidFill>
                <a:ln>
                  <a:noFill/>
                </a:ln>
                <a:extLst/>
              </p:spPr>
              <p:txBody>
                <a:bodyPr/>
                <a:lstStyle/>
                <a:p>
                  <a:pPr eaLnBrk="1" hangingPunct="1">
                    <a:defRPr/>
                  </a:pPr>
                  <a:endParaRPr lang="zh-CN" altLang="en-US" sz="1050"/>
                </a:p>
              </p:txBody>
            </p:sp>
            <p:sp>
              <p:nvSpPr>
                <p:cNvPr id="4411" name="Freeform 1253"/>
                <p:cNvSpPr>
                  <a:spLocks/>
                </p:cNvSpPr>
                <p:nvPr/>
              </p:nvSpPr>
              <p:spPr bwMode="auto">
                <a:xfrm>
                  <a:off x="11155" y="1872"/>
                  <a:ext cx="25" cy="9"/>
                </a:xfrm>
                <a:custGeom>
                  <a:avLst/>
                  <a:gdLst>
                    <a:gd name="T0" fmla="*/ 2 w 7"/>
                    <a:gd name="T1" fmla="*/ 15 h 15"/>
                    <a:gd name="T2" fmla="*/ 7 w 7"/>
                    <a:gd name="T3" fmla="*/ 0 h 15"/>
                    <a:gd name="T4" fmla="*/ 4 w 7"/>
                    <a:gd name="T5" fmla="*/ 0 h 15"/>
                    <a:gd name="T6" fmla="*/ 0 w 7"/>
                    <a:gd name="T7" fmla="*/ 1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7" y="0"/>
                      </a:lnTo>
                      <a:lnTo>
                        <a:pt x="4" y="0"/>
                      </a:lnTo>
                      <a:lnTo>
                        <a:pt x="0" y="12"/>
                      </a:lnTo>
                      <a:lnTo>
                        <a:pt x="2" y="15"/>
                      </a:lnTo>
                    </a:path>
                  </a:pathLst>
                </a:custGeom>
                <a:noFill/>
                <a:ln>
                  <a:noFill/>
                </a:ln>
                <a:extLst/>
              </p:spPr>
              <p:txBody>
                <a:bodyPr/>
                <a:lstStyle/>
                <a:p>
                  <a:pPr eaLnBrk="1" hangingPunct="1">
                    <a:defRPr/>
                  </a:pPr>
                  <a:endParaRPr lang="zh-CN" altLang="en-US" sz="1050"/>
                </a:p>
              </p:txBody>
            </p:sp>
            <p:sp>
              <p:nvSpPr>
                <p:cNvPr id="4412" name="Freeform 1254"/>
                <p:cNvSpPr>
                  <a:spLocks/>
                </p:cNvSpPr>
                <p:nvPr/>
              </p:nvSpPr>
              <p:spPr bwMode="auto">
                <a:xfrm>
                  <a:off x="11230" y="1898"/>
                  <a:ext cx="0" cy="9"/>
                </a:xfrm>
                <a:custGeom>
                  <a:avLst/>
                  <a:gdLst>
                    <a:gd name="T0" fmla="*/ 0 w 3"/>
                    <a:gd name="T1" fmla="*/ 5 h 5"/>
                    <a:gd name="T2" fmla="*/ 3 w 3"/>
                    <a:gd name="T3" fmla="*/ 0 h 5"/>
                    <a:gd name="T4" fmla="*/ 3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3"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13" name="Freeform 1255"/>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414" name="Freeform 1256"/>
                <p:cNvSpPr>
                  <a:spLocks/>
                </p:cNvSpPr>
                <p:nvPr/>
              </p:nvSpPr>
              <p:spPr bwMode="auto">
                <a:xfrm>
                  <a:off x="11155" y="1872"/>
                  <a:ext cx="8" cy="9"/>
                </a:xfrm>
                <a:custGeom>
                  <a:avLst/>
                  <a:gdLst>
                    <a:gd name="T0" fmla="*/ 0 w 5"/>
                    <a:gd name="T1" fmla="*/ 12 h 12"/>
                    <a:gd name="T2" fmla="*/ 5 w 5"/>
                    <a:gd name="T3" fmla="*/ 0 h 12"/>
                    <a:gd name="T4" fmla="*/ 5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5" y="0"/>
                      </a:lnTo>
                      <a:lnTo>
                        <a:pt x="0" y="12"/>
                      </a:lnTo>
                      <a:lnTo>
                        <a:pt x="0" y="12"/>
                      </a:lnTo>
                    </a:path>
                  </a:pathLst>
                </a:custGeom>
                <a:noFill/>
                <a:ln>
                  <a:noFill/>
                </a:ln>
                <a:extLst/>
              </p:spPr>
              <p:txBody>
                <a:bodyPr/>
                <a:lstStyle/>
                <a:p>
                  <a:pPr eaLnBrk="1" hangingPunct="1">
                    <a:defRPr/>
                  </a:pPr>
                  <a:endParaRPr lang="zh-CN" altLang="en-US" sz="1050"/>
                </a:p>
              </p:txBody>
            </p:sp>
            <p:sp>
              <p:nvSpPr>
                <p:cNvPr id="4415" name="Freeform 1257"/>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close/>
                    </a:path>
                  </a:pathLst>
                </a:custGeom>
                <a:solidFill>
                  <a:srgbClr val="01AAE5"/>
                </a:solidFill>
                <a:ln>
                  <a:noFill/>
                </a:ln>
                <a:extLst/>
              </p:spPr>
              <p:txBody>
                <a:bodyPr/>
                <a:lstStyle/>
                <a:p>
                  <a:pPr eaLnBrk="1" hangingPunct="1">
                    <a:defRPr/>
                  </a:pPr>
                  <a:endParaRPr lang="zh-CN" altLang="en-US" sz="1050"/>
                </a:p>
              </p:txBody>
            </p:sp>
            <p:sp>
              <p:nvSpPr>
                <p:cNvPr id="4416" name="Freeform 1258"/>
                <p:cNvSpPr>
                  <a:spLocks/>
                </p:cNvSpPr>
                <p:nvPr/>
              </p:nvSpPr>
              <p:spPr bwMode="auto">
                <a:xfrm>
                  <a:off x="11155" y="1872"/>
                  <a:ext cx="0" cy="9"/>
                </a:xfrm>
                <a:custGeom>
                  <a:avLst/>
                  <a:gdLst>
                    <a:gd name="T0" fmla="*/ 0 w 5"/>
                    <a:gd name="T1" fmla="*/ 14 h 14"/>
                    <a:gd name="T2" fmla="*/ 5 w 5"/>
                    <a:gd name="T3" fmla="*/ 0 h 14"/>
                    <a:gd name="T4" fmla="*/ 5 w 5"/>
                    <a:gd name="T5" fmla="*/ 0 h 14"/>
                    <a:gd name="T6" fmla="*/ 0 w 5"/>
                    <a:gd name="T7" fmla="*/ 14 h 14"/>
                    <a:gd name="T8" fmla="*/ 0 w 5"/>
                    <a:gd name="T9" fmla="*/ 14 h 14"/>
                  </a:gdLst>
                  <a:ahLst/>
                  <a:cxnLst>
                    <a:cxn ang="0">
                      <a:pos x="T0" y="T1"/>
                    </a:cxn>
                    <a:cxn ang="0">
                      <a:pos x="T2" y="T3"/>
                    </a:cxn>
                    <a:cxn ang="0">
                      <a:pos x="T4" y="T5"/>
                    </a:cxn>
                    <a:cxn ang="0">
                      <a:pos x="T6" y="T7"/>
                    </a:cxn>
                    <a:cxn ang="0">
                      <a:pos x="T8" y="T9"/>
                    </a:cxn>
                  </a:cxnLst>
                  <a:rect l="0" t="0" r="r" b="b"/>
                  <a:pathLst>
                    <a:path w="5" h="14">
                      <a:moveTo>
                        <a:pt x="0" y="14"/>
                      </a:moveTo>
                      <a:lnTo>
                        <a:pt x="5" y="0"/>
                      </a:lnTo>
                      <a:lnTo>
                        <a:pt x="5" y="0"/>
                      </a:lnTo>
                      <a:lnTo>
                        <a:pt x="0" y="14"/>
                      </a:lnTo>
                      <a:lnTo>
                        <a:pt x="0" y="14"/>
                      </a:lnTo>
                    </a:path>
                  </a:pathLst>
                </a:custGeom>
                <a:noFill/>
                <a:ln>
                  <a:noFill/>
                </a:ln>
                <a:extLst/>
              </p:spPr>
              <p:txBody>
                <a:bodyPr/>
                <a:lstStyle/>
                <a:p>
                  <a:pPr eaLnBrk="1" hangingPunct="1">
                    <a:defRPr/>
                  </a:pPr>
                  <a:endParaRPr lang="zh-CN" altLang="en-US" sz="1050"/>
                </a:p>
              </p:txBody>
            </p:sp>
            <p:sp>
              <p:nvSpPr>
                <p:cNvPr id="4417" name="Freeform 1259"/>
                <p:cNvSpPr>
                  <a:spLocks/>
                </p:cNvSpPr>
                <p:nvPr/>
              </p:nvSpPr>
              <p:spPr bwMode="auto">
                <a:xfrm>
                  <a:off x="11430" y="2055"/>
                  <a:ext cx="8" cy="9"/>
                </a:xfrm>
                <a:custGeom>
                  <a:avLst/>
                  <a:gdLst>
                    <a:gd name="T0" fmla="*/ 3 w 7"/>
                    <a:gd name="T1" fmla="*/ 5 h 5"/>
                    <a:gd name="T2" fmla="*/ 7 w 7"/>
                    <a:gd name="T3" fmla="*/ 0 h 5"/>
                    <a:gd name="T4" fmla="*/ 5 w 7"/>
                    <a:gd name="T5" fmla="*/ 0 h 5"/>
                    <a:gd name="T6" fmla="*/ 0 w 7"/>
                    <a:gd name="T7" fmla="*/ 2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0"/>
                      </a:lnTo>
                      <a:lnTo>
                        <a:pt x="5" y="0"/>
                      </a:lnTo>
                      <a:lnTo>
                        <a:pt x="0" y="2"/>
                      </a:lnTo>
                      <a:lnTo>
                        <a:pt x="3" y="5"/>
                      </a:lnTo>
                      <a:close/>
                    </a:path>
                  </a:pathLst>
                </a:custGeom>
                <a:solidFill>
                  <a:srgbClr val="01AAE5"/>
                </a:solidFill>
                <a:ln>
                  <a:noFill/>
                </a:ln>
                <a:extLst/>
              </p:spPr>
              <p:txBody>
                <a:bodyPr/>
                <a:lstStyle/>
                <a:p>
                  <a:pPr eaLnBrk="1" hangingPunct="1">
                    <a:defRPr/>
                  </a:pPr>
                  <a:endParaRPr lang="zh-CN" altLang="en-US" sz="1050"/>
                </a:p>
              </p:txBody>
            </p:sp>
            <p:sp>
              <p:nvSpPr>
                <p:cNvPr id="4418" name="Freeform 1260"/>
                <p:cNvSpPr>
                  <a:spLocks/>
                </p:cNvSpPr>
                <p:nvPr/>
              </p:nvSpPr>
              <p:spPr bwMode="auto">
                <a:xfrm>
                  <a:off x="11180" y="1872"/>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19" name="Freeform 1261"/>
                <p:cNvSpPr>
                  <a:spLocks/>
                </p:cNvSpPr>
                <p:nvPr/>
              </p:nvSpPr>
              <p:spPr bwMode="auto">
                <a:xfrm>
                  <a:off x="11180" y="1872"/>
                  <a:ext cx="0" cy="9"/>
                </a:xfrm>
                <a:custGeom>
                  <a:avLst/>
                  <a:gdLst>
                    <a:gd name="T0" fmla="*/ 2 w 4"/>
                    <a:gd name="T1" fmla="*/ 10 h 10"/>
                    <a:gd name="T2" fmla="*/ 4 w 4"/>
                    <a:gd name="T3" fmla="*/ 0 h 10"/>
                    <a:gd name="T4" fmla="*/ 4 w 4"/>
                    <a:gd name="T5" fmla="*/ 0 h 10"/>
                    <a:gd name="T6" fmla="*/ 0 w 4"/>
                    <a:gd name="T7" fmla="*/ 1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4" y="0"/>
                      </a:lnTo>
                      <a:lnTo>
                        <a:pt x="4" y="0"/>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4420" name="Freeform 1262"/>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421" name="Freeform 1263"/>
                <p:cNvSpPr>
                  <a:spLocks/>
                </p:cNvSpPr>
                <p:nvPr/>
              </p:nvSpPr>
              <p:spPr bwMode="auto">
                <a:xfrm>
                  <a:off x="11180" y="1872"/>
                  <a:ext cx="0" cy="9"/>
                </a:xfrm>
                <a:custGeom>
                  <a:avLst/>
                  <a:gdLst>
                    <a:gd name="T0" fmla="*/ 0 w 5"/>
                    <a:gd name="T1" fmla="*/ 12 h 12"/>
                    <a:gd name="T2" fmla="*/ 5 w 5"/>
                    <a:gd name="T3" fmla="*/ 0 h 12"/>
                    <a:gd name="T4" fmla="*/ 3 w 5"/>
                    <a:gd name="T5" fmla="*/ 0 h 12"/>
                    <a:gd name="T6" fmla="*/ 0 w 5"/>
                    <a:gd name="T7" fmla="*/ 10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3" y="0"/>
                      </a:lnTo>
                      <a:lnTo>
                        <a:pt x="0" y="10"/>
                      </a:lnTo>
                      <a:lnTo>
                        <a:pt x="0" y="12"/>
                      </a:lnTo>
                    </a:path>
                  </a:pathLst>
                </a:custGeom>
                <a:noFill/>
                <a:ln>
                  <a:noFill/>
                </a:ln>
                <a:extLst/>
              </p:spPr>
              <p:txBody>
                <a:bodyPr/>
                <a:lstStyle/>
                <a:p>
                  <a:pPr eaLnBrk="1" hangingPunct="1">
                    <a:defRPr/>
                  </a:pPr>
                  <a:endParaRPr lang="zh-CN" altLang="en-US" sz="1050"/>
                </a:p>
              </p:txBody>
            </p:sp>
            <p:sp>
              <p:nvSpPr>
                <p:cNvPr id="4422" name="Freeform 1264"/>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4423" name="Freeform 1265"/>
                <p:cNvSpPr>
                  <a:spLocks/>
                </p:cNvSpPr>
                <p:nvPr/>
              </p:nvSpPr>
              <p:spPr bwMode="auto">
                <a:xfrm>
                  <a:off x="11155" y="1846"/>
                  <a:ext cx="0" cy="26"/>
                </a:xfrm>
                <a:custGeom>
                  <a:avLst/>
                  <a:gdLst>
                    <a:gd name="T0" fmla="*/ 0 w 8"/>
                    <a:gd name="T1" fmla="*/ 21 h 21"/>
                    <a:gd name="T2" fmla="*/ 8 w 8"/>
                    <a:gd name="T3" fmla="*/ 0 h 21"/>
                    <a:gd name="T4" fmla="*/ 5 w 8"/>
                    <a:gd name="T5" fmla="*/ 0 h 21"/>
                    <a:gd name="T6" fmla="*/ 0 w 8"/>
                    <a:gd name="T7" fmla="*/ 21 h 21"/>
                    <a:gd name="T8" fmla="*/ 0 w 8"/>
                    <a:gd name="T9" fmla="*/ 21 h 21"/>
                  </a:gdLst>
                  <a:ahLst/>
                  <a:cxnLst>
                    <a:cxn ang="0">
                      <a:pos x="T0" y="T1"/>
                    </a:cxn>
                    <a:cxn ang="0">
                      <a:pos x="T2" y="T3"/>
                    </a:cxn>
                    <a:cxn ang="0">
                      <a:pos x="T4" y="T5"/>
                    </a:cxn>
                    <a:cxn ang="0">
                      <a:pos x="T6" y="T7"/>
                    </a:cxn>
                    <a:cxn ang="0">
                      <a:pos x="T8" y="T9"/>
                    </a:cxn>
                  </a:cxnLst>
                  <a:rect l="0" t="0" r="r" b="b"/>
                  <a:pathLst>
                    <a:path w="8" h="21">
                      <a:moveTo>
                        <a:pt x="0" y="21"/>
                      </a:moveTo>
                      <a:lnTo>
                        <a:pt x="8" y="0"/>
                      </a:lnTo>
                      <a:lnTo>
                        <a:pt x="5" y="0"/>
                      </a:lnTo>
                      <a:lnTo>
                        <a:pt x="0" y="21"/>
                      </a:lnTo>
                      <a:lnTo>
                        <a:pt x="0" y="21"/>
                      </a:lnTo>
                    </a:path>
                  </a:pathLst>
                </a:custGeom>
                <a:noFill/>
                <a:ln>
                  <a:noFill/>
                </a:ln>
                <a:extLst/>
              </p:spPr>
              <p:txBody>
                <a:bodyPr/>
                <a:lstStyle/>
                <a:p>
                  <a:pPr eaLnBrk="1" hangingPunct="1">
                    <a:defRPr/>
                  </a:pPr>
                  <a:endParaRPr lang="zh-CN" altLang="en-US" sz="1050"/>
                </a:p>
              </p:txBody>
            </p:sp>
            <p:sp>
              <p:nvSpPr>
                <p:cNvPr id="4424" name="Freeform 1266"/>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4425" name="Freeform 1267"/>
                <p:cNvSpPr>
                  <a:spLocks/>
                </p:cNvSpPr>
                <p:nvPr/>
              </p:nvSpPr>
              <p:spPr bwMode="auto">
                <a:xfrm>
                  <a:off x="11155" y="1846"/>
                  <a:ext cx="0" cy="26"/>
                </a:xfrm>
                <a:custGeom>
                  <a:avLst/>
                  <a:gdLst>
                    <a:gd name="T0" fmla="*/ 0 w 7"/>
                    <a:gd name="T1" fmla="*/ 23 h 23"/>
                    <a:gd name="T2" fmla="*/ 7 w 7"/>
                    <a:gd name="T3" fmla="*/ 2 h 23"/>
                    <a:gd name="T4" fmla="*/ 7 w 7"/>
                    <a:gd name="T5" fmla="*/ 0 h 23"/>
                    <a:gd name="T6" fmla="*/ 0 w 7"/>
                    <a:gd name="T7" fmla="*/ 23 h 23"/>
                    <a:gd name="T8" fmla="*/ 0 w 7"/>
                    <a:gd name="T9" fmla="*/ 23 h 23"/>
                  </a:gdLst>
                  <a:ahLst/>
                  <a:cxnLst>
                    <a:cxn ang="0">
                      <a:pos x="T0" y="T1"/>
                    </a:cxn>
                    <a:cxn ang="0">
                      <a:pos x="T2" y="T3"/>
                    </a:cxn>
                    <a:cxn ang="0">
                      <a:pos x="T4" y="T5"/>
                    </a:cxn>
                    <a:cxn ang="0">
                      <a:pos x="T6" y="T7"/>
                    </a:cxn>
                    <a:cxn ang="0">
                      <a:pos x="T8" y="T9"/>
                    </a:cxn>
                  </a:cxnLst>
                  <a:rect l="0" t="0" r="r" b="b"/>
                  <a:pathLst>
                    <a:path w="7" h="23">
                      <a:moveTo>
                        <a:pt x="0" y="23"/>
                      </a:moveTo>
                      <a:lnTo>
                        <a:pt x="7" y="2"/>
                      </a:lnTo>
                      <a:lnTo>
                        <a:pt x="7" y="0"/>
                      </a:lnTo>
                      <a:lnTo>
                        <a:pt x="0" y="23"/>
                      </a:lnTo>
                      <a:lnTo>
                        <a:pt x="0" y="23"/>
                      </a:lnTo>
                    </a:path>
                  </a:pathLst>
                </a:custGeom>
                <a:noFill/>
                <a:ln>
                  <a:noFill/>
                </a:ln>
                <a:extLst/>
              </p:spPr>
              <p:txBody>
                <a:bodyPr/>
                <a:lstStyle/>
                <a:p>
                  <a:pPr eaLnBrk="1" hangingPunct="1">
                    <a:defRPr/>
                  </a:pPr>
                  <a:endParaRPr lang="zh-CN" altLang="en-US" sz="1050"/>
                </a:p>
              </p:txBody>
            </p:sp>
            <p:sp>
              <p:nvSpPr>
                <p:cNvPr id="4426" name="Freeform 1268"/>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4427" name="Freeform 1269"/>
                <p:cNvSpPr>
                  <a:spLocks/>
                </p:cNvSpPr>
                <p:nvPr/>
              </p:nvSpPr>
              <p:spPr bwMode="auto">
                <a:xfrm>
                  <a:off x="11155" y="1855"/>
                  <a:ext cx="17"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4428" name="Freeform 1270"/>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close/>
                    </a:path>
                  </a:pathLst>
                </a:custGeom>
                <a:solidFill>
                  <a:srgbClr val="01AAE5"/>
                </a:solidFill>
                <a:ln>
                  <a:noFill/>
                </a:ln>
                <a:extLst/>
              </p:spPr>
              <p:txBody>
                <a:bodyPr/>
                <a:lstStyle/>
                <a:p>
                  <a:pPr eaLnBrk="1" hangingPunct="1">
                    <a:defRPr/>
                  </a:pPr>
                  <a:endParaRPr lang="zh-CN" altLang="en-US" sz="1050"/>
                </a:p>
              </p:txBody>
            </p:sp>
            <p:sp>
              <p:nvSpPr>
                <p:cNvPr id="4429" name="Freeform 1271"/>
                <p:cNvSpPr>
                  <a:spLocks/>
                </p:cNvSpPr>
                <p:nvPr/>
              </p:nvSpPr>
              <p:spPr bwMode="auto">
                <a:xfrm>
                  <a:off x="11155" y="1855"/>
                  <a:ext cx="0" cy="17"/>
                </a:xfrm>
                <a:custGeom>
                  <a:avLst/>
                  <a:gdLst>
                    <a:gd name="T0" fmla="*/ 0 w 7"/>
                    <a:gd name="T1" fmla="*/ 18 h 18"/>
                    <a:gd name="T2" fmla="*/ 7 w 7"/>
                    <a:gd name="T3" fmla="*/ 0 h 18"/>
                    <a:gd name="T4" fmla="*/ 7 w 7"/>
                    <a:gd name="T5" fmla="*/ 0 h 18"/>
                    <a:gd name="T6" fmla="*/ 0 w 7"/>
                    <a:gd name="T7" fmla="*/ 18 h 18"/>
                    <a:gd name="T8" fmla="*/ 0 w 7"/>
                    <a:gd name="T9" fmla="*/ 18 h 18"/>
                  </a:gdLst>
                  <a:ahLst/>
                  <a:cxnLst>
                    <a:cxn ang="0">
                      <a:pos x="T0" y="T1"/>
                    </a:cxn>
                    <a:cxn ang="0">
                      <a:pos x="T2" y="T3"/>
                    </a:cxn>
                    <a:cxn ang="0">
                      <a:pos x="T4" y="T5"/>
                    </a:cxn>
                    <a:cxn ang="0">
                      <a:pos x="T6" y="T7"/>
                    </a:cxn>
                    <a:cxn ang="0">
                      <a:pos x="T8" y="T9"/>
                    </a:cxn>
                  </a:cxnLst>
                  <a:rect l="0" t="0" r="r" b="b"/>
                  <a:pathLst>
                    <a:path w="7" h="18">
                      <a:moveTo>
                        <a:pt x="0" y="18"/>
                      </a:moveTo>
                      <a:lnTo>
                        <a:pt x="7" y="0"/>
                      </a:lnTo>
                      <a:lnTo>
                        <a:pt x="7" y="0"/>
                      </a:lnTo>
                      <a:lnTo>
                        <a:pt x="0" y="18"/>
                      </a:lnTo>
                      <a:lnTo>
                        <a:pt x="0" y="18"/>
                      </a:lnTo>
                    </a:path>
                  </a:pathLst>
                </a:custGeom>
                <a:noFill/>
                <a:ln>
                  <a:noFill/>
                </a:ln>
                <a:extLst/>
              </p:spPr>
              <p:txBody>
                <a:bodyPr/>
                <a:lstStyle/>
                <a:p>
                  <a:pPr eaLnBrk="1" hangingPunct="1">
                    <a:defRPr/>
                  </a:pPr>
                  <a:endParaRPr lang="zh-CN" altLang="en-US" sz="1050"/>
                </a:p>
              </p:txBody>
            </p:sp>
            <p:sp>
              <p:nvSpPr>
                <p:cNvPr id="4430" name="Freeform 1272"/>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4431" name="Freeform 1273"/>
                <p:cNvSpPr>
                  <a:spLocks/>
                </p:cNvSpPr>
                <p:nvPr/>
              </p:nvSpPr>
              <p:spPr bwMode="auto">
                <a:xfrm>
                  <a:off x="11155" y="1863"/>
                  <a:ext cx="0" cy="9"/>
                </a:xfrm>
                <a:custGeom>
                  <a:avLst/>
                  <a:gdLst>
                    <a:gd name="T0" fmla="*/ 0 w 7"/>
                    <a:gd name="T1" fmla="*/ 19 h 19"/>
                    <a:gd name="T2" fmla="*/ 7 w 7"/>
                    <a:gd name="T3" fmla="*/ 3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3"/>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4432" name="Freeform 1274"/>
                <p:cNvSpPr>
                  <a:spLocks/>
                </p:cNvSpPr>
                <p:nvPr/>
              </p:nvSpPr>
              <p:spPr bwMode="auto">
                <a:xfrm>
                  <a:off x="11180" y="1881"/>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433" name="Freeform 1275"/>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close/>
                    </a:path>
                  </a:pathLst>
                </a:custGeom>
                <a:solidFill>
                  <a:srgbClr val="01AAE5"/>
                </a:solidFill>
                <a:ln>
                  <a:noFill/>
                </a:ln>
                <a:extLst/>
              </p:spPr>
              <p:txBody>
                <a:bodyPr/>
                <a:lstStyle/>
                <a:p>
                  <a:pPr eaLnBrk="1" hangingPunct="1">
                    <a:defRPr/>
                  </a:pPr>
                  <a:endParaRPr lang="zh-CN" altLang="en-US" sz="1050"/>
                </a:p>
              </p:txBody>
            </p:sp>
            <p:sp>
              <p:nvSpPr>
                <p:cNvPr id="4434" name="Freeform 1276"/>
                <p:cNvSpPr>
                  <a:spLocks/>
                </p:cNvSpPr>
                <p:nvPr/>
              </p:nvSpPr>
              <p:spPr bwMode="auto">
                <a:xfrm>
                  <a:off x="11155" y="1863"/>
                  <a:ext cx="0" cy="9"/>
                </a:xfrm>
                <a:custGeom>
                  <a:avLst/>
                  <a:gdLst>
                    <a:gd name="T0" fmla="*/ 3 w 7"/>
                    <a:gd name="T1" fmla="*/ 17 h 17"/>
                    <a:gd name="T2" fmla="*/ 7 w 7"/>
                    <a:gd name="T3" fmla="*/ 0 h 17"/>
                    <a:gd name="T4" fmla="*/ 7 w 7"/>
                    <a:gd name="T5" fmla="*/ 0 h 17"/>
                    <a:gd name="T6" fmla="*/ 0 w 7"/>
                    <a:gd name="T7" fmla="*/ 17 h 17"/>
                    <a:gd name="T8" fmla="*/ 3 w 7"/>
                    <a:gd name="T9" fmla="*/ 17 h 17"/>
                  </a:gdLst>
                  <a:ahLst/>
                  <a:cxnLst>
                    <a:cxn ang="0">
                      <a:pos x="T0" y="T1"/>
                    </a:cxn>
                    <a:cxn ang="0">
                      <a:pos x="T2" y="T3"/>
                    </a:cxn>
                    <a:cxn ang="0">
                      <a:pos x="T4" y="T5"/>
                    </a:cxn>
                    <a:cxn ang="0">
                      <a:pos x="T6" y="T7"/>
                    </a:cxn>
                    <a:cxn ang="0">
                      <a:pos x="T8" y="T9"/>
                    </a:cxn>
                  </a:cxnLst>
                  <a:rect l="0" t="0" r="r" b="b"/>
                  <a:pathLst>
                    <a:path w="7" h="17">
                      <a:moveTo>
                        <a:pt x="3" y="17"/>
                      </a:moveTo>
                      <a:lnTo>
                        <a:pt x="7" y="0"/>
                      </a:lnTo>
                      <a:lnTo>
                        <a:pt x="7" y="0"/>
                      </a:lnTo>
                      <a:lnTo>
                        <a:pt x="0" y="17"/>
                      </a:lnTo>
                      <a:lnTo>
                        <a:pt x="3" y="17"/>
                      </a:lnTo>
                    </a:path>
                  </a:pathLst>
                </a:custGeom>
                <a:noFill/>
                <a:ln>
                  <a:noFill/>
                </a:ln>
                <a:extLst/>
              </p:spPr>
              <p:txBody>
                <a:bodyPr/>
                <a:lstStyle/>
                <a:p>
                  <a:pPr eaLnBrk="1" hangingPunct="1">
                    <a:defRPr/>
                  </a:pPr>
                  <a:endParaRPr lang="zh-CN" altLang="en-US" sz="1050"/>
                </a:p>
              </p:txBody>
            </p:sp>
            <p:sp>
              <p:nvSpPr>
                <p:cNvPr id="4435" name="Freeform 1277"/>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4436" name="Freeform 1278"/>
                <p:cNvSpPr>
                  <a:spLocks/>
                </p:cNvSpPr>
                <p:nvPr/>
              </p:nvSpPr>
              <p:spPr bwMode="auto">
                <a:xfrm>
                  <a:off x="11155" y="1855"/>
                  <a:ext cx="0" cy="17"/>
                </a:xfrm>
                <a:custGeom>
                  <a:avLst/>
                  <a:gdLst>
                    <a:gd name="T0" fmla="*/ 0 w 7"/>
                    <a:gd name="T1" fmla="*/ 19 h 19"/>
                    <a:gd name="T2" fmla="*/ 7 w 7"/>
                    <a:gd name="T3" fmla="*/ 0 h 19"/>
                    <a:gd name="T4" fmla="*/ 7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7" y="0"/>
                      </a:lnTo>
                      <a:lnTo>
                        <a:pt x="0" y="19"/>
                      </a:lnTo>
                      <a:lnTo>
                        <a:pt x="0" y="19"/>
                      </a:lnTo>
                    </a:path>
                  </a:pathLst>
                </a:custGeom>
                <a:noFill/>
                <a:ln>
                  <a:noFill/>
                </a:ln>
                <a:extLst/>
              </p:spPr>
              <p:txBody>
                <a:bodyPr/>
                <a:lstStyle/>
                <a:p>
                  <a:pPr eaLnBrk="1" hangingPunct="1">
                    <a:defRPr/>
                  </a:pPr>
                  <a:endParaRPr lang="zh-CN" altLang="en-US" sz="1050"/>
                </a:p>
              </p:txBody>
            </p:sp>
            <p:sp>
              <p:nvSpPr>
                <p:cNvPr id="4437" name="Freeform 1279"/>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close/>
                    </a:path>
                  </a:pathLst>
                </a:custGeom>
                <a:solidFill>
                  <a:srgbClr val="01AAE5"/>
                </a:solidFill>
                <a:ln>
                  <a:noFill/>
                </a:ln>
                <a:extLst/>
              </p:spPr>
              <p:txBody>
                <a:bodyPr/>
                <a:lstStyle/>
                <a:p>
                  <a:pPr eaLnBrk="1" hangingPunct="1">
                    <a:defRPr/>
                  </a:pPr>
                  <a:endParaRPr lang="zh-CN" altLang="en-US" sz="1050"/>
                </a:p>
              </p:txBody>
            </p:sp>
            <p:sp>
              <p:nvSpPr>
                <p:cNvPr id="4438" name="Freeform 1280"/>
                <p:cNvSpPr>
                  <a:spLocks/>
                </p:cNvSpPr>
                <p:nvPr/>
              </p:nvSpPr>
              <p:spPr bwMode="auto">
                <a:xfrm>
                  <a:off x="11155" y="1855"/>
                  <a:ext cx="25" cy="17"/>
                </a:xfrm>
                <a:custGeom>
                  <a:avLst/>
                  <a:gdLst>
                    <a:gd name="T0" fmla="*/ 3 w 10"/>
                    <a:gd name="T1" fmla="*/ 21 h 21"/>
                    <a:gd name="T2" fmla="*/ 10 w 10"/>
                    <a:gd name="T3" fmla="*/ 0 h 21"/>
                    <a:gd name="T4" fmla="*/ 7 w 10"/>
                    <a:gd name="T5" fmla="*/ 0 h 21"/>
                    <a:gd name="T6" fmla="*/ 0 w 10"/>
                    <a:gd name="T7" fmla="*/ 21 h 21"/>
                    <a:gd name="T8" fmla="*/ 3 w 10"/>
                    <a:gd name="T9" fmla="*/ 21 h 21"/>
                  </a:gdLst>
                  <a:ahLst/>
                  <a:cxnLst>
                    <a:cxn ang="0">
                      <a:pos x="T0" y="T1"/>
                    </a:cxn>
                    <a:cxn ang="0">
                      <a:pos x="T2" y="T3"/>
                    </a:cxn>
                    <a:cxn ang="0">
                      <a:pos x="T4" y="T5"/>
                    </a:cxn>
                    <a:cxn ang="0">
                      <a:pos x="T6" y="T7"/>
                    </a:cxn>
                    <a:cxn ang="0">
                      <a:pos x="T8" y="T9"/>
                    </a:cxn>
                  </a:cxnLst>
                  <a:rect l="0" t="0" r="r" b="b"/>
                  <a:pathLst>
                    <a:path w="10" h="21">
                      <a:moveTo>
                        <a:pt x="3" y="21"/>
                      </a:moveTo>
                      <a:lnTo>
                        <a:pt x="10" y="0"/>
                      </a:lnTo>
                      <a:lnTo>
                        <a:pt x="7" y="0"/>
                      </a:lnTo>
                      <a:lnTo>
                        <a:pt x="0" y="21"/>
                      </a:lnTo>
                      <a:lnTo>
                        <a:pt x="3" y="21"/>
                      </a:lnTo>
                    </a:path>
                  </a:pathLst>
                </a:custGeom>
                <a:noFill/>
                <a:ln>
                  <a:noFill/>
                </a:ln>
                <a:extLst/>
              </p:spPr>
              <p:txBody>
                <a:bodyPr/>
                <a:lstStyle/>
                <a:p>
                  <a:pPr eaLnBrk="1" hangingPunct="1">
                    <a:defRPr/>
                  </a:pPr>
                  <a:endParaRPr lang="zh-CN" altLang="en-US" sz="1050"/>
                </a:p>
              </p:txBody>
            </p:sp>
            <p:sp>
              <p:nvSpPr>
                <p:cNvPr id="4439" name="Freeform 1281"/>
                <p:cNvSpPr>
                  <a:spLocks/>
                </p:cNvSpPr>
                <p:nvPr/>
              </p:nvSpPr>
              <p:spPr bwMode="auto">
                <a:xfrm>
                  <a:off x="11197" y="1889"/>
                  <a:ext cx="0" cy="0"/>
                </a:xfrm>
                <a:custGeom>
                  <a:avLst/>
                  <a:gdLst>
                    <a:gd name="T0" fmla="*/ 3 w 5"/>
                    <a:gd name="T1" fmla="*/ 5 h 5"/>
                    <a:gd name="T2" fmla="*/ 5 w 5"/>
                    <a:gd name="T3" fmla="*/ 0 h 5"/>
                    <a:gd name="T4" fmla="*/ 3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3"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440" name="Freeform 1282"/>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41" name="Freeform 1283"/>
                <p:cNvSpPr>
                  <a:spLocks/>
                </p:cNvSpPr>
                <p:nvPr/>
              </p:nvSpPr>
              <p:spPr bwMode="auto">
                <a:xfrm>
                  <a:off x="11214" y="1898"/>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442" name="Freeform 1284"/>
                <p:cNvSpPr>
                  <a:spLocks/>
                </p:cNvSpPr>
                <p:nvPr/>
              </p:nvSpPr>
              <p:spPr bwMode="auto">
                <a:xfrm>
                  <a:off x="11214" y="1898"/>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443" name="Freeform 1285"/>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44" name="Freeform 1286"/>
                <p:cNvSpPr>
                  <a:spLocks/>
                </p:cNvSpPr>
                <p:nvPr/>
              </p:nvSpPr>
              <p:spPr bwMode="auto">
                <a:xfrm>
                  <a:off x="11180"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445" name="Freeform 1287"/>
                <p:cNvSpPr>
                  <a:spLocks/>
                </p:cNvSpPr>
                <p:nvPr/>
              </p:nvSpPr>
              <p:spPr bwMode="auto">
                <a:xfrm>
                  <a:off x="11205" y="1898"/>
                  <a:ext cx="8" cy="0"/>
                </a:xfrm>
                <a:custGeom>
                  <a:avLst/>
                  <a:gdLst>
                    <a:gd name="T0" fmla="*/ 2 w 5"/>
                    <a:gd name="T1" fmla="*/ 5 h 5"/>
                    <a:gd name="T2" fmla="*/ 5 w 5"/>
                    <a:gd name="T3" fmla="*/ 0 h 5"/>
                    <a:gd name="T4" fmla="*/ 2 w 5"/>
                    <a:gd name="T5" fmla="*/ 0 h 5"/>
                    <a:gd name="T6" fmla="*/ 0 w 5"/>
                    <a:gd name="T7" fmla="*/ 5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lnTo>
                        <a:pt x="5"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446" name="Freeform 1288"/>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47" name="Freeform 1289"/>
                <p:cNvSpPr>
                  <a:spLocks/>
                </p:cNvSpPr>
                <p:nvPr/>
              </p:nvSpPr>
              <p:spPr bwMode="auto">
                <a:xfrm>
                  <a:off x="11205" y="1889"/>
                  <a:ext cx="0"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path>
                  </a:pathLst>
                </a:custGeom>
                <a:noFill/>
                <a:ln>
                  <a:noFill/>
                </a:ln>
                <a:extLst/>
              </p:spPr>
              <p:txBody>
                <a:bodyPr/>
                <a:lstStyle/>
                <a:p>
                  <a:pPr eaLnBrk="1" hangingPunct="1">
                    <a:defRPr/>
                  </a:pPr>
                  <a:endParaRPr lang="zh-CN" altLang="en-US" sz="1050"/>
                </a:p>
              </p:txBody>
            </p:sp>
            <p:sp>
              <p:nvSpPr>
                <p:cNvPr id="4448" name="Freeform 1290"/>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49" name="Freeform 1291"/>
                <p:cNvSpPr>
                  <a:spLocks/>
                </p:cNvSpPr>
                <p:nvPr/>
              </p:nvSpPr>
              <p:spPr bwMode="auto">
                <a:xfrm>
                  <a:off x="11222" y="1898"/>
                  <a:ext cx="0" cy="0"/>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4450" name="Freeform 1292"/>
                <p:cNvSpPr>
                  <a:spLocks/>
                </p:cNvSpPr>
                <p:nvPr/>
              </p:nvSpPr>
              <p:spPr bwMode="auto">
                <a:xfrm>
                  <a:off x="11230" y="1898"/>
                  <a:ext cx="0" cy="9"/>
                </a:xfrm>
                <a:custGeom>
                  <a:avLst/>
                  <a:gdLst>
                    <a:gd name="T0" fmla="*/ 2 w 4"/>
                    <a:gd name="T1" fmla="*/ 5 h 5"/>
                    <a:gd name="T2" fmla="*/ 4 w 4"/>
                    <a:gd name="T3" fmla="*/ 0 h 5"/>
                    <a:gd name="T4" fmla="*/ 4 w 4"/>
                    <a:gd name="T5" fmla="*/ 0 h 5"/>
                    <a:gd name="T6" fmla="*/ 0 w 4"/>
                    <a:gd name="T7" fmla="*/ 5 h 5"/>
                    <a:gd name="T8" fmla="*/ 2 w 4"/>
                    <a:gd name="T9" fmla="*/ 5 h 5"/>
                  </a:gdLst>
                  <a:ahLst/>
                  <a:cxnLst>
                    <a:cxn ang="0">
                      <a:pos x="T0" y="T1"/>
                    </a:cxn>
                    <a:cxn ang="0">
                      <a:pos x="T2" y="T3"/>
                    </a:cxn>
                    <a:cxn ang="0">
                      <a:pos x="T4" y="T5"/>
                    </a:cxn>
                    <a:cxn ang="0">
                      <a:pos x="T6" y="T7"/>
                    </a:cxn>
                    <a:cxn ang="0">
                      <a:pos x="T8" y="T9"/>
                    </a:cxn>
                  </a:cxnLst>
                  <a:rect l="0" t="0" r="r" b="b"/>
                  <a:pathLst>
                    <a:path w="4" h="5">
                      <a:moveTo>
                        <a:pt x="2" y="5"/>
                      </a:moveTo>
                      <a:lnTo>
                        <a:pt x="4" y="0"/>
                      </a:lnTo>
                      <a:lnTo>
                        <a:pt x="4"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451" name="Freeform 1293"/>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4452" name="Freeform 1294"/>
                <p:cNvSpPr>
                  <a:spLocks/>
                </p:cNvSpPr>
                <p:nvPr/>
              </p:nvSpPr>
              <p:spPr bwMode="auto">
                <a:xfrm>
                  <a:off x="11222" y="1898"/>
                  <a:ext cx="8" cy="9"/>
                </a:xfrm>
                <a:custGeom>
                  <a:avLst/>
                  <a:gdLst>
                    <a:gd name="T0" fmla="*/ 0 w 5"/>
                    <a:gd name="T1" fmla="*/ 8 h 8"/>
                    <a:gd name="T2" fmla="*/ 5 w 5"/>
                    <a:gd name="T3" fmla="*/ 0 h 8"/>
                    <a:gd name="T4" fmla="*/ 3 w 5"/>
                    <a:gd name="T5" fmla="*/ 0 h 8"/>
                    <a:gd name="T6" fmla="*/ 0 w 5"/>
                    <a:gd name="T7" fmla="*/ 8 h 8"/>
                    <a:gd name="T8" fmla="*/ 0 w 5"/>
                    <a:gd name="T9" fmla="*/ 8 h 8"/>
                  </a:gdLst>
                  <a:ahLst/>
                  <a:cxnLst>
                    <a:cxn ang="0">
                      <a:pos x="T0" y="T1"/>
                    </a:cxn>
                    <a:cxn ang="0">
                      <a:pos x="T2" y="T3"/>
                    </a:cxn>
                    <a:cxn ang="0">
                      <a:pos x="T4" y="T5"/>
                    </a:cxn>
                    <a:cxn ang="0">
                      <a:pos x="T6" y="T7"/>
                    </a:cxn>
                    <a:cxn ang="0">
                      <a:pos x="T8" y="T9"/>
                    </a:cxn>
                  </a:cxnLst>
                  <a:rect l="0" t="0" r="r" b="b"/>
                  <a:pathLst>
                    <a:path w="5" h="8">
                      <a:moveTo>
                        <a:pt x="0" y="8"/>
                      </a:moveTo>
                      <a:lnTo>
                        <a:pt x="5" y="0"/>
                      </a:lnTo>
                      <a:lnTo>
                        <a:pt x="3" y="0"/>
                      </a:lnTo>
                      <a:lnTo>
                        <a:pt x="0" y="8"/>
                      </a:lnTo>
                      <a:lnTo>
                        <a:pt x="0" y="8"/>
                      </a:lnTo>
                    </a:path>
                  </a:pathLst>
                </a:custGeom>
                <a:noFill/>
                <a:ln>
                  <a:noFill/>
                </a:ln>
                <a:extLst/>
              </p:spPr>
              <p:txBody>
                <a:bodyPr/>
                <a:lstStyle/>
                <a:p>
                  <a:pPr eaLnBrk="1" hangingPunct="1">
                    <a:defRPr/>
                  </a:pPr>
                  <a:endParaRPr lang="zh-CN" altLang="en-US" sz="1050"/>
                </a:p>
              </p:txBody>
            </p:sp>
            <p:sp>
              <p:nvSpPr>
                <p:cNvPr id="4453" name="Freeform 1295"/>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454" name="Freeform 1296"/>
                <p:cNvSpPr>
                  <a:spLocks/>
                </p:cNvSpPr>
                <p:nvPr/>
              </p:nvSpPr>
              <p:spPr bwMode="auto">
                <a:xfrm>
                  <a:off x="11214" y="1898"/>
                  <a:ext cx="8" cy="9"/>
                </a:xfrm>
                <a:custGeom>
                  <a:avLst/>
                  <a:gdLst>
                    <a:gd name="T0" fmla="*/ 3 w 5"/>
                    <a:gd name="T1" fmla="*/ 5 h 5"/>
                    <a:gd name="T2" fmla="*/ 5 w 5"/>
                    <a:gd name="T3" fmla="*/ 0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0"/>
                      </a:lnTo>
                      <a:lnTo>
                        <a:pt x="5" y="0"/>
                      </a:lnTo>
                      <a:lnTo>
                        <a:pt x="0" y="5"/>
                      </a:lnTo>
                      <a:lnTo>
                        <a:pt x="3" y="5"/>
                      </a:lnTo>
                    </a:path>
                  </a:pathLst>
                </a:custGeom>
                <a:noFill/>
                <a:ln>
                  <a:noFill/>
                </a:ln>
                <a:extLst/>
              </p:spPr>
              <p:txBody>
                <a:bodyPr/>
                <a:lstStyle/>
                <a:p>
                  <a:pPr eaLnBrk="1" hangingPunct="1">
                    <a:defRPr/>
                  </a:pPr>
                  <a:endParaRPr lang="zh-CN" altLang="en-US" sz="1050"/>
                </a:p>
              </p:txBody>
            </p:sp>
            <p:sp>
              <p:nvSpPr>
                <p:cNvPr id="4455" name="Freeform 1297"/>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56" name="Freeform 1298"/>
                <p:cNvSpPr>
                  <a:spLocks/>
                </p:cNvSpPr>
                <p:nvPr/>
              </p:nvSpPr>
              <p:spPr bwMode="auto">
                <a:xfrm>
                  <a:off x="11205" y="1889"/>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4457" name="Freeform 1299"/>
                <p:cNvSpPr>
                  <a:spLocks/>
                </p:cNvSpPr>
                <p:nvPr/>
              </p:nvSpPr>
              <p:spPr bwMode="auto">
                <a:xfrm>
                  <a:off x="11197" y="1881"/>
                  <a:ext cx="0"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458" name="Freeform 1300"/>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59" name="Freeform 1301"/>
                <p:cNvSpPr>
                  <a:spLocks/>
                </p:cNvSpPr>
                <p:nvPr/>
              </p:nvSpPr>
              <p:spPr bwMode="auto">
                <a:xfrm>
                  <a:off x="11180" y="1881"/>
                  <a:ext cx="8"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460" name="Freeform 1302"/>
                <p:cNvSpPr>
                  <a:spLocks/>
                </p:cNvSpPr>
                <p:nvPr/>
              </p:nvSpPr>
              <p:spPr bwMode="auto">
                <a:xfrm>
                  <a:off x="11197"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61" name="Freeform 1303"/>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62" name="Freeform 1304"/>
                <p:cNvSpPr>
                  <a:spLocks/>
                </p:cNvSpPr>
                <p:nvPr/>
              </p:nvSpPr>
              <p:spPr bwMode="auto">
                <a:xfrm>
                  <a:off x="11197" y="1889"/>
                  <a:ext cx="0" cy="9"/>
                </a:xfrm>
                <a:custGeom>
                  <a:avLst/>
                  <a:gdLst>
                    <a:gd name="T0" fmla="*/ 0 w 5"/>
                    <a:gd name="T1" fmla="*/ 7 h 7"/>
                    <a:gd name="T2" fmla="*/ 5 w 5"/>
                    <a:gd name="T3" fmla="*/ 0 h 7"/>
                    <a:gd name="T4" fmla="*/ 3 w 5"/>
                    <a:gd name="T5" fmla="*/ 0 h 7"/>
                    <a:gd name="T6" fmla="*/ 0 w 5"/>
                    <a:gd name="T7" fmla="*/ 4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3" y="0"/>
                      </a:lnTo>
                      <a:lnTo>
                        <a:pt x="0" y="4"/>
                      </a:lnTo>
                      <a:lnTo>
                        <a:pt x="0" y="7"/>
                      </a:lnTo>
                    </a:path>
                  </a:pathLst>
                </a:custGeom>
                <a:noFill/>
                <a:ln>
                  <a:noFill/>
                </a:ln>
                <a:extLst/>
              </p:spPr>
              <p:txBody>
                <a:bodyPr/>
                <a:lstStyle/>
                <a:p>
                  <a:pPr eaLnBrk="1" hangingPunct="1">
                    <a:defRPr/>
                  </a:pPr>
                  <a:endParaRPr lang="zh-CN" altLang="en-US" sz="1050"/>
                </a:p>
              </p:txBody>
            </p:sp>
            <p:sp>
              <p:nvSpPr>
                <p:cNvPr id="4463" name="Freeform 1305"/>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4464" name="Freeform 1306"/>
                <p:cNvSpPr>
                  <a:spLocks/>
                </p:cNvSpPr>
                <p:nvPr/>
              </p:nvSpPr>
              <p:spPr bwMode="auto">
                <a:xfrm>
                  <a:off x="11155" y="1846"/>
                  <a:ext cx="0" cy="26"/>
                </a:xfrm>
                <a:custGeom>
                  <a:avLst/>
                  <a:gdLst>
                    <a:gd name="T0" fmla="*/ 0 w 7"/>
                    <a:gd name="T1" fmla="*/ 21 h 21"/>
                    <a:gd name="T2" fmla="*/ 7 w 7"/>
                    <a:gd name="T3" fmla="*/ 0 h 21"/>
                    <a:gd name="T4" fmla="*/ 7 w 7"/>
                    <a:gd name="T5" fmla="*/ 0 h 21"/>
                    <a:gd name="T6" fmla="*/ 0 w 7"/>
                    <a:gd name="T7" fmla="*/ 21 h 21"/>
                    <a:gd name="T8" fmla="*/ 0 w 7"/>
                    <a:gd name="T9" fmla="*/ 21 h 21"/>
                  </a:gdLst>
                  <a:ahLst/>
                  <a:cxnLst>
                    <a:cxn ang="0">
                      <a:pos x="T0" y="T1"/>
                    </a:cxn>
                    <a:cxn ang="0">
                      <a:pos x="T2" y="T3"/>
                    </a:cxn>
                    <a:cxn ang="0">
                      <a:pos x="T4" y="T5"/>
                    </a:cxn>
                    <a:cxn ang="0">
                      <a:pos x="T6" y="T7"/>
                    </a:cxn>
                    <a:cxn ang="0">
                      <a:pos x="T8" y="T9"/>
                    </a:cxn>
                  </a:cxnLst>
                  <a:rect l="0" t="0" r="r" b="b"/>
                  <a:pathLst>
                    <a:path w="7" h="21">
                      <a:moveTo>
                        <a:pt x="0" y="21"/>
                      </a:moveTo>
                      <a:lnTo>
                        <a:pt x="7" y="0"/>
                      </a:lnTo>
                      <a:lnTo>
                        <a:pt x="7" y="0"/>
                      </a:lnTo>
                      <a:lnTo>
                        <a:pt x="0" y="21"/>
                      </a:lnTo>
                      <a:lnTo>
                        <a:pt x="0" y="21"/>
                      </a:lnTo>
                    </a:path>
                  </a:pathLst>
                </a:custGeom>
                <a:noFill/>
                <a:ln>
                  <a:noFill/>
                </a:ln>
                <a:extLst/>
              </p:spPr>
              <p:txBody>
                <a:bodyPr/>
                <a:lstStyle/>
                <a:p>
                  <a:pPr eaLnBrk="1" hangingPunct="1">
                    <a:defRPr/>
                  </a:pPr>
                  <a:endParaRPr lang="zh-CN" altLang="en-US" sz="1050"/>
                </a:p>
              </p:txBody>
            </p:sp>
            <p:sp>
              <p:nvSpPr>
                <p:cNvPr id="4465" name="Freeform 1307"/>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466" name="Freeform 1308"/>
                <p:cNvSpPr>
                  <a:spLocks/>
                </p:cNvSpPr>
                <p:nvPr/>
              </p:nvSpPr>
              <p:spPr bwMode="auto">
                <a:xfrm>
                  <a:off x="11197" y="1889"/>
                  <a:ext cx="0" cy="9"/>
                </a:xfrm>
                <a:custGeom>
                  <a:avLst/>
                  <a:gdLst>
                    <a:gd name="T0" fmla="*/ 0 w 2"/>
                    <a:gd name="T1" fmla="*/ 7 h 7"/>
                    <a:gd name="T2" fmla="*/ 2 w 2"/>
                    <a:gd name="T3" fmla="*/ 3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3"/>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467" name="Freeform 1309"/>
                <p:cNvSpPr>
                  <a:spLocks/>
                </p:cNvSpPr>
                <p:nvPr/>
              </p:nvSpPr>
              <p:spPr bwMode="auto">
                <a:xfrm>
                  <a:off x="11155" y="1863"/>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close/>
                    </a:path>
                  </a:pathLst>
                </a:custGeom>
                <a:solidFill>
                  <a:srgbClr val="01AAE5"/>
                </a:solidFill>
                <a:ln>
                  <a:noFill/>
                </a:ln>
                <a:extLst/>
              </p:spPr>
              <p:txBody>
                <a:bodyPr/>
                <a:lstStyle/>
                <a:p>
                  <a:pPr eaLnBrk="1" hangingPunct="1">
                    <a:defRPr/>
                  </a:pPr>
                  <a:endParaRPr lang="zh-CN" altLang="en-US" sz="1050"/>
                </a:p>
              </p:txBody>
            </p:sp>
          </p:grpSp>
          <p:grpSp>
            <p:nvGrpSpPr>
              <p:cNvPr id="42" name="Group 1511"/>
              <p:cNvGrpSpPr>
                <a:grpSpLocks/>
              </p:cNvGrpSpPr>
              <p:nvPr/>
            </p:nvGrpSpPr>
            <p:grpSpPr bwMode="auto">
              <a:xfrm>
                <a:off x="16538576" y="2911475"/>
                <a:ext cx="1609725" cy="363538"/>
                <a:chOff x="10418" y="1834"/>
                <a:chExt cx="1014" cy="229"/>
              </a:xfrm>
            </p:grpSpPr>
            <p:sp>
              <p:nvSpPr>
                <p:cNvPr id="4068" name="Freeform 1311"/>
                <p:cNvSpPr>
                  <a:spLocks/>
                </p:cNvSpPr>
                <p:nvPr/>
              </p:nvSpPr>
              <p:spPr bwMode="auto">
                <a:xfrm>
                  <a:off x="11189" y="1881"/>
                  <a:ext cx="0" cy="9"/>
                </a:xfrm>
                <a:custGeom>
                  <a:avLst/>
                  <a:gdLst>
                    <a:gd name="T0" fmla="*/ 3 w 8"/>
                    <a:gd name="T1" fmla="*/ 16 h 16"/>
                    <a:gd name="T2" fmla="*/ 8 w 8"/>
                    <a:gd name="T3" fmla="*/ 0 h 16"/>
                    <a:gd name="T4" fmla="*/ 8 w 8"/>
                    <a:gd name="T5" fmla="*/ 0 h 16"/>
                    <a:gd name="T6" fmla="*/ 0 w 8"/>
                    <a:gd name="T7" fmla="*/ 16 h 16"/>
                    <a:gd name="T8" fmla="*/ 3 w 8"/>
                    <a:gd name="T9" fmla="*/ 16 h 16"/>
                  </a:gdLst>
                  <a:ahLst/>
                  <a:cxnLst>
                    <a:cxn ang="0">
                      <a:pos x="T0" y="T1"/>
                    </a:cxn>
                    <a:cxn ang="0">
                      <a:pos x="T2" y="T3"/>
                    </a:cxn>
                    <a:cxn ang="0">
                      <a:pos x="T4" y="T5"/>
                    </a:cxn>
                    <a:cxn ang="0">
                      <a:pos x="T6" y="T7"/>
                    </a:cxn>
                    <a:cxn ang="0">
                      <a:pos x="T8" y="T9"/>
                    </a:cxn>
                  </a:cxnLst>
                  <a:rect l="0" t="0" r="r" b="b"/>
                  <a:pathLst>
                    <a:path w="8" h="16">
                      <a:moveTo>
                        <a:pt x="3" y="16"/>
                      </a:moveTo>
                      <a:lnTo>
                        <a:pt x="8" y="0"/>
                      </a:lnTo>
                      <a:lnTo>
                        <a:pt x="8" y="0"/>
                      </a:lnTo>
                      <a:lnTo>
                        <a:pt x="0" y="16"/>
                      </a:lnTo>
                      <a:lnTo>
                        <a:pt x="3" y="16"/>
                      </a:lnTo>
                    </a:path>
                  </a:pathLst>
                </a:custGeom>
                <a:noFill/>
                <a:ln>
                  <a:noFill/>
                </a:ln>
                <a:extLst/>
              </p:spPr>
              <p:txBody>
                <a:bodyPr/>
                <a:lstStyle/>
                <a:p>
                  <a:pPr eaLnBrk="1" hangingPunct="1">
                    <a:defRPr/>
                  </a:pPr>
                  <a:endParaRPr lang="zh-CN" altLang="en-US" sz="1050"/>
                </a:p>
              </p:txBody>
            </p:sp>
            <p:sp>
              <p:nvSpPr>
                <p:cNvPr id="4069" name="Freeform 1312"/>
                <p:cNvSpPr>
                  <a:spLocks/>
                </p:cNvSpPr>
                <p:nvPr/>
              </p:nvSpPr>
              <p:spPr bwMode="auto">
                <a:xfrm>
                  <a:off x="11072" y="1881"/>
                  <a:ext cx="0" cy="9"/>
                </a:xfrm>
                <a:custGeom>
                  <a:avLst/>
                  <a:gdLst>
                    <a:gd name="T0" fmla="*/ 0 w 3"/>
                    <a:gd name="T1" fmla="*/ 5 h 5"/>
                    <a:gd name="T2" fmla="*/ 3 w 3"/>
                    <a:gd name="T3" fmla="*/ 0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070" name="Freeform 1313"/>
                <p:cNvSpPr>
                  <a:spLocks/>
                </p:cNvSpPr>
                <p:nvPr/>
              </p:nvSpPr>
              <p:spPr bwMode="auto">
                <a:xfrm>
                  <a:off x="11072"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071" name="Freeform 1314"/>
                <p:cNvSpPr>
                  <a:spLocks/>
                </p:cNvSpPr>
                <p:nvPr/>
              </p:nvSpPr>
              <p:spPr bwMode="auto">
                <a:xfrm>
                  <a:off x="11064" y="1881"/>
                  <a:ext cx="0" cy="0"/>
                </a:xfrm>
                <a:custGeom>
                  <a:avLst/>
                  <a:gdLst>
                    <a:gd name="T0" fmla="*/ 2 w 2"/>
                    <a:gd name="T1" fmla="*/ 4 h 4"/>
                    <a:gd name="T2" fmla="*/ 2 w 2"/>
                    <a:gd name="T3" fmla="*/ 0 h 4"/>
                    <a:gd name="T4" fmla="*/ 2 w 2"/>
                    <a:gd name="T5" fmla="*/ 0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2" y="0"/>
                      </a:lnTo>
                      <a:lnTo>
                        <a:pt x="0" y="4"/>
                      </a:lnTo>
                      <a:lnTo>
                        <a:pt x="2" y="4"/>
                      </a:lnTo>
                      <a:close/>
                    </a:path>
                  </a:pathLst>
                </a:custGeom>
                <a:solidFill>
                  <a:srgbClr val="01AAE5"/>
                </a:solidFill>
                <a:ln>
                  <a:noFill/>
                </a:ln>
                <a:extLst/>
              </p:spPr>
              <p:txBody>
                <a:bodyPr/>
                <a:lstStyle/>
                <a:p>
                  <a:pPr eaLnBrk="1" hangingPunct="1">
                    <a:defRPr/>
                  </a:pPr>
                  <a:endParaRPr lang="zh-CN" altLang="en-US" sz="1050"/>
                </a:p>
              </p:txBody>
            </p:sp>
            <p:sp>
              <p:nvSpPr>
                <p:cNvPr id="4072" name="Freeform 1315"/>
                <p:cNvSpPr>
                  <a:spLocks/>
                </p:cNvSpPr>
                <p:nvPr/>
              </p:nvSpPr>
              <p:spPr bwMode="auto">
                <a:xfrm>
                  <a:off x="11064"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073" name="Freeform 1316"/>
                <p:cNvSpPr>
                  <a:spLocks/>
                </p:cNvSpPr>
                <p:nvPr/>
              </p:nvSpPr>
              <p:spPr bwMode="auto">
                <a:xfrm>
                  <a:off x="11072" y="1881"/>
                  <a:ext cx="0" cy="9"/>
                </a:xfrm>
                <a:custGeom>
                  <a:avLst/>
                  <a:gdLst>
                    <a:gd name="T0" fmla="*/ 2 w 2"/>
                    <a:gd name="T1" fmla="*/ 5 h 5"/>
                    <a:gd name="T2" fmla="*/ 2 w 2"/>
                    <a:gd name="T3" fmla="*/ 0 h 5"/>
                    <a:gd name="T4" fmla="*/ 2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0"/>
                      </a:lnTo>
                      <a:lnTo>
                        <a:pt x="2" y="0"/>
                      </a:lnTo>
                      <a:lnTo>
                        <a:pt x="0" y="5"/>
                      </a:lnTo>
                      <a:lnTo>
                        <a:pt x="2" y="5"/>
                      </a:lnTo>
                      <a:close/>
                    </a:path>
                  </a:pathLst>
                </a:custGeom>
                <a:solidFill>
                  <a:srgbClr val="01AAE5"/>
                </a:solidFill>
                <a:ln>
                  <a:noFill/>
                </a:ln>
                <a:extLst/>
              </p:spPr>
              <p:txBody>
                <a:bodyPr/>
                <a:lstStyle/>
                <a:p>
                  <a:pPr eaLnBrk="1" hangingPunct="1">
                    <a:defRPr/>
                  </a:pPr>
                  <a:endParaRPr lang="zh-CN" altLang="en-US" sz="1050"/>
                </a:p>
              </p:txBody>
            </p:sp>
            <p:sp>
              <p:nvSpPr>
                <p:cNvPr id="4074" name="Freeform 1317"/>
                <p:cNvSpPr>
                  <a:spLocks/>
                </p:cNvSpPr>
                <p:nvPr/>
              </p:nvSpPr>
              <p:spPr bwMode="auto">
                <a:xfrm>
                  <a:off x="11089"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075" name="Freeform 1318"/>
                <p:cNvSpPr>
                  <a:spLocks/>
                </p:cNvSpPr>
                <p:nvPr/>
              </p:nvSpPr>
              <p:spPr bwMode="auto">
                <a:xfrm>
                  <a:off x="11081"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076" name="Freeform 1319"/>
                <p:cNvSpPr>
                  <a:spLocks/>
                </p:cNvSpPr>
                <p:nvPr/>
              </p:nvSpPr>
              <p:spPr bwMode="auto">
                <a:xfrm>
                  <a:off x="11072" y="1881"/>
                  <a:ext cx="8" cy="9"/>
                </a:xfrm>
                <a:custGeom>
                  <a:avLst/>
                  <a:gdLst>
                    <a:gd name="T0" fmla="*/ 0 w 3"/>
                    <a:gd name="T1" fmla="*/ 7 h 7"/>
                    <a:gd name="T2" fmla="*/ 3 w 3"/>
                    <a:gd name="T3" fmla="*/ 0 h 7"/>
                    <a:gd name="T4" fmla="*/ 0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077" name="Freeform 1320"/>
                <p:cNvSpPr>
                  <a:spLocks/>
                </p:cNvSpPr>
                <p:nvPr/>
              </p:nvSpPr>
              <p:spPr bwMode="auto">
                <a:xfrm>
                  <a:off x="11089"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078" name="Rectangle 1321"/>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4079" name="Rectangle 1322"/>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4080" name="Rectangle 1323"/>
                <p:cNvSpPr>
                  <a:spLocks noChangeArrowheads="1"/>
                </p:cNvSpPr>
                <p:nvPr/>
              </p:nvSpPr>
              <p:spPr bwMode="auto">
                <a:xfrm>
                  <a:off x="11039" y="1872"/>
                  <a:ext cx="0" cy="9"/>
                </a:xfrm>
                <a:prstGeom prst="rect">
                  <a:avLst/>
                </a:prstGeom>
                <a:solidFill>
                  <a:srgbClr val="01AAE5"/>
                </a:solidFill>
                <a:ln>
                  <a:noFill/>
                </a:ln>
                <a:extLst/>
              </p:spPr>
              <p:txBody>
                <a:bodyPr/>
                <a:lstStyle/>
                <a:p>
                  <a:pPr eaLnBrk="1" hangingPunct="1">
                    <a:defRPr/>
                  </a:pPr>
                  <a:endParaRPr lang="zh-CN" altLang="en-US" sz="1050"/>
                </a:p>
              </p:txBody>
            </p:sp>
            <p:sp>
              <p:nvSpPr>
                <p:cNvPr id="4081" name="Rectangle 1324"/>
                <p:cNvSpPr>
                  <a:spLocks noChangeArrowheads="1"/>
                </p:cNvSpPr>
                <p:nvPr/>
              </p:nvSpPr>
              <p:spPr bwMode="auto">
                <a:xfrm>
                  <a:off x="11039" y="1872"/>
                  <a:ext cx="0" cy="9"/>
                </a:xfrm>
                <a:prstGeom prst="rect">
                  <a:avLst/>
                </a:prstGeom>
                <a:noFill/>
                <a:ln>
                  <a:noFill/>
                </a:ln>
                <a:extLst/>
              </p:spPr>
              <p:txBody>
                <a:bodyPr/>
                <a:lstStyle/>
                <a:p>
                  <a:pPr eaLnBrk="1" hangingPunct="1">
                    <a:defRPr/>
                  </a:pPr>
                  <a:endParaRPr lang="zh-CN" altLang="en-US" sz="1050"/>
                </a:p>
              </p:txBody>
            </p:sp>
            <p:sp>
              <p:nvSpPr>
                <p:cNvPr id="4082" name="Freeform 1325"/>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4083" name="Freeform 1326"/>
                <p:cNvSpPr>
                  <a:spLocks/>
                </p:cNvSpPr>
                <p:nvPr/>
              </p:nvSpPr>
              <p:spPr bwMode="auto">
                <a:xfrm>
                  <a:off x="11039" y="1872"/>
                  <a:ext cx="8" cy="9"/>
                </a:xfrm>
                <a:custGeom>
                  <a:avLst/>
                  <a:gdLst>
                    <a:gd name="T0" fmla="*/ 3 w 3"/>
                    <a:gd name="T1" fmla="*/ 7 h 7"/>
                    <a:gd name="T2" fmla="*/ 3 w 3"/>
                    <a:gd name="T3" fmla="*/ 2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4084" name="Rectangle 1327"/>
                <p:cNvSpPr>
                  <a:spLocks noChangeArrowheads="1"/>
                </p:cNvSpPr>
                <p:nvPr/>
              </p:nvSpPr>
              <p:spPr bwMode="auto">
                <a:xfrm>
                  <a:off x="11031" y="1872"/>
                  <a:ext cx="8" cy="9"/>
                </a:xfrm>
                <a:prstGeom prst="rect">
                  <a:avLst/>
                </a:prstGeom>
                <a:solidFill>
                  <a:srgbClr val="01AAE5"/>
                </a:solidFill>
                <a:ln>
                  <a:noFill/>
                </a:ln>
                <a:extLst/>
              </p:spPr>
              <p:txBody>
                <a:bodyPr/>
                <a:lstStyle/>
                <a:p>
                  <a:pPr eaLnBrk="1" hangingPunct="1">
                    <a:defRPr/>
                  </a:pPr>
                  <a:endParaRPr lang="zh-CN" altLang="en-US" sz="1050"/>
                </a:p>
              </p:txBody>
            </p:sp>
            <p:sp>
              <p:nvSpPr>
                <p:cNvPr id="4085" name="Rectangle 1328"/>
                <p:cNvSpPr>
                  <a:spLocks noChangeArrowheads="1"/>
                </p:cNvSpPr>
                <p:nvPr/>
              </p:nvSpPr>
              <p:spPr bwMode="auto">
                <a:xfrm>
                  <a:off x="11047" y="1872"/>
                  <a:ext cx="0" cy="9"/>
                </a:xfrm>
                <a:prstGeom prst="rect">
                  <a:avLst/>
                </a:prstGeom>
                <a:solidFill>
                  <a:srgbClr val="01AAE5"/>
                </a:solidFill>
                <a:ln>
                  <a:noFill/>
                </a:ln>
                <a:extLst/>
              </p:spPr>
              <p:txBody>
                <a:bodyPr/>
                <a:lstStyle/>
                <a:p>
                  <a:pPr eaLnBrk="1" hangingPunct="1">
                    <a:defRPr/>
                  </a:pPr>
                  <a:endParaRPr lang="zh-CN" altLang="en-US" sz="1050"/>
                </a:p>
              </p:txBody>
            </p:sp>
            <p:sp>
              <p:nvSpPr>
                <p:cNvPr id="4086" name="Rectangle 1329"/>
                <p:cNvSpPr>
                  <a:spLocks noChangeArrowheads="1"/>
                </p:cNvSpPr>
                <p:nvPr/>
              </p:nvSpPr>
              <p:spPr bwMode="auto">
                <a:xfrm>
                  <a:off x="11047" y="1872"/>
                  <a:ext cx="0" cy="9"/>
                </a:xfrm>
                <a:prstGeom prst="rect">
                  <a:avLst/>
                </a:prstGeom>
                <a:noFill/>
                <a:ln>
                  <a:noFill/>
                </a:ln>
                <a:extLst/>
              </p:spPr>
              <p:txBody>
                <a:bodyPr/>
                <a:lstStyle/>
                <a:p>
                  <a:pPr eaLnBrk="1" hangingPunct="1">
                    <a:defRPr/>
                  </a:pPr>
                  <a:endParaRPr lang="zh-CN" altLang="en-US" sz="1050"/>
                </a:p>
              </p:txBody>
            </p:sp>
            <p:sp>
              <p:nvSpPr>
                <p:cNvPr id="4087" name="Freeform 1330"/>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close/>
                    </a:path>
                  </a:pathLst>
                </a:custGeom>
                <a:solidFill>
                  <a:srgbClr val="01AAE5"/>
                </a:solidFill>
                <a:ln>
                  <a:noFill/>
                </a:ln>
                <a:extLst/>
              </p:spPr>
              <p:txBody>
                <a:bodyPr/>
                <a:lstStyle/>
                <a:p>
                  <a:pPr eaLnBrk="1" hangingPunct="1">
                    <a:defRPr/>
                  </a:pPr>
                  <a:endParaRPr lang="zh-CN" altLang="en-US" sz="1050"/>
                </a:p>
              </p:txBody>
            </p:sp>
            <p:sp>
              <p:nvSpPr>
                <p:cNvPr id="4088" name="Freeform 1331"/>
                <p:cNvSpPr>
                  <a:spLocks/>
                </p:cNvSpPr>
                <p:nvPr/>
              </p:nvSpPr>
              <p:spPr bwMode="auto">
                <a:xfrm>
                  <a:off x="11047" y="1872"/>
                  <a:ext cx="0" cy="9"/>
                </a:xfrm>
                <a:custGeom>
                  <a:avLst/>
                  <a:gdLst>
                    <a:gd name="T0" fmla="*/ 3 w 3"/>
                    <a:gd name="T1" fmla="*/ 7 h 7"/>
                    <a:gd name="T2" fmla="*/ 3 w 3"/>
                    <a:gd name="T3" fmla="*/ 0 h 7"/>
                    <a:gd name="T4" fmla="*/ 3 w 3"/>
                    <a:gd name="T5" fmla="*/ 0 h 7"/>
                    <a:gd name="T6" fmla="*/ 0 w 3"/>
                    <a:gd name="T7" fmla="*/ 5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5"/>
                      </a:lnTo>
                      <a:lnTo>
                        <a:pt x="3" y="7"/>
                      </a:lnTo>
                    </a:path>
                  </a:pathLst>
                </a:custGeom>
                <a:noFill/>
                <a:ln>
                  <a:noFill/>
                </a:ln>
                <a:extLst/>
              </p:spPr>
              <p:txBody>
                <a:bodyPr/>
                <a:lstStyle/>
                <a:p>
                  <a:pPr eaLnBrk="1" hangingPunct="1">
                    <a:defRPr/>
                  </a:pPr>
                  <a:endParaRPr lang="zh-CN" altLang="en-US" sz="1050"/>
                </a:p>
              </p:txBody>
            </p:sp>
            <p:sp>
              <p:nvSpPr>
                <p:cNvPr id="4089" name="Freeform 1332"/>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4090" name="Freeform 1333"/>
                <p:cNvSpPr>
                  <a:spLocks/>
                </p:cNvSpPr>
                <p:nvPr/>
              </p:nvSpPr>
              <p:spPr bwMode="auto">
                <a:xfrm>
                  <a:off x="11047" y="1872"/>
                  <a:ext cx="8" cy="9"/>
                </a:xfrm>
                <a:custGeom>
                  <a:avLst/>
                  <a:gdLst>
                    <a:gd name="T0" fmla="*/ 3 w 3"/>
                    <a:gd name="T1" fmla="*/ 7 h 7"/>
                    <a:gd name="T2" fmla="*/ 3 w 3"/>
                    <a:gd name="T3" fmla="*/ 0 h 7"/>
                    <a:gd name="T4" fmla="*/ 3 w 3"/>
                    <a:gd name="T5" fmla="*/ 0 h 7"/>
                    <a:gd name="T6" fmla="*/ 0 w 3"/>
                    <a:gd name="T7" fmla="*/ 7 h 7"/>
                    <a:gd name="T8" fmla="*/ 3 w 3"/>
                    <a:gd name="T9" fmla="*/ 7 h 7"/>
                  </a:gdLst>
                  <a:ahLst/>
                  <a:cxnLst>
                    <a:cxn ang="0">
                      <a:pos x="T0" y="T1"/>
                    </a:cxn>
                    <a:cxn ang="0">
                      <a:pos x="T2" y="T3"/>
                    </a:cxn>
                    <a:cxn ang="0">
                      <a:pos x="T4" y="T5"/>
                    </a:cxn>
                    <a:cxn ang="0">
                      <a:pos x="T6" y="T7"/>
                    </a:cxn>
                    <a:cxn ang="0">
                      <a:pos x="T8" y="T9"/>
                    </a:cxn>
                  </a:cxnLst>
                  <a:rect l="0" t="0" r="r" b="b"/>
                  <a:pathLst>
                    <a:path w="3" h="7">
                      <a:moveTo>
                        <a:pt x="3" y="7"/>
                      </a:moveTo>
                      <a:lnTo>
                        <a:pt x="3" y="0"/>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4091" name="Freeform 1334"/>
                <p:cNvSpPr>
                  <a:spLocks/>
                </p:cNvSpPr>
                <p:nvPr/>
              </p:nvSpPr>
              <p:spPr bwMode="auto">
                <a:xfrm>
                  <a:off x="11056" y="1881"/>
                  <a:ext cx="8" cy="0"/>
                </a:xfrm>
                <a:custGeom>
                  <a:avLst/>
                  <a:gdLst>
                    <a:gd name="T0" fmla="*/ 0 w 3"/>
                    <a:gd name="T1" fmla="*/ 4 h 4"/>
                    <a:gd name="T2" fmla="*/ 3 w 3"/>
                    <a:gd name="T3" fmla="*/ 0 h 4"/>
                    <a:gd name="T4" fmla="*/ 0 w 3"/>
                    <a:gd name="T5" fmla="*/ 0 h 4"/>
                    <a:gd name="T6" fmla="*/ 0 w 3"/>
                    <a:gd name="T7" fmla="*/ 4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3" y="0"/>
                      </a:lnTo>
                      <a:lnTo>
                        <a:pt x="0"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092" name="Freeform 1335"/>
                <p:cNvSpPr>
                  <a:spLocks/>
                </p:cNvSpPr>
                <p:nvPr/>
              </p:nvSpPr>
              <p:spPr bwMode="auto">
                <a:xfrm>
                  <a:off x="11105" y="1881"/>
                  <a:ext cx="8" cy="9"/>
                </a:xfrm>
                <a:custGeom>
                  <a:avLst/>
                  <a:gdLst>
                    <a:gd name="T0" fmla="*/ 0 w 3"/>
                    <a:gd name="T1" fmla="*/ 7 h 7"/>
                    <a:gd name="T2" fmla="*/ 3 w 3"/>
                    <a:gd name="T3" fmla="*/ 0 h 7"/>
                    <a:gd name="T4" fmla="*/ 3 w 3"/>
                    <a:gd name="T5" fmla="*/ 0 h 7"/>
                    <a:gd name="T6" fmla="*/ 0 w 3"/>
                    <a:gd name="T7" fmla="*/ 7 h 7"/>
                    <a:gd name="T8" fmla="*/ 0 w 3"/>
                    <a:gd name="T9" fmla="*/ 7 h 7"/>
                  </a:gdLst>
                  <a:ahLst/>
                  <a:cxnLst>
                    <a:cxn ang="0">
                      <a:pos x="T0" y="T1"/>
                    </a:cxn>
                    <a:cxn ang="0">
                      <a:pos x="T2" y="T3"/>
                    </a:cxn>
                    <a:cxn ang="0">
                      <a:pos x="T4" y="T5"/>
                    </a:cxn>
                    <a:cxn ang="0">
                      <a:pos x="T6" y="T7"/>
                    </a:cxn>
                    <a:cxn ang="0">
                      <a:pos x="T8" y="T9"/>
                    </a:cxn>
                  </a:cxnLst>
                  <a:rect l="0" t="0" r="r" b="b"/>
                  <a:pathLst>
                    <a:path w="3" h="7">
                      <a:moveTo>
                        <a:pt x="0" y="7"/>
                      </a:moveTo>
                      <a:lnTo>
                        <a:pt x="3" y="0"/>
                      </a:lnTo>
                      <a:lnTo>
                        <a:pt x="3"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093" name="Freeform 1336"/>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close/>
                    </a:path>
                  </a:pathLst>
                </a:custGeom>
                <a:solidFill>
                  <a:srgbClr val="01AAE5"/>
                </a:solidFill>
                <a:ln>
                  <a:noFill/>
                </a:ln>
                <a:extLst/>
              </p:spPr>
              <p:txBody>
                <a:bodyPr/>
                <a:lstStyle/>
                <a:p>
                  <a:pPr eaLnBrk="1" hangingPunct="1">
                    <a:defRPr/>
                  </a:pPr>
                  <a:endParaRPr lang="zh-CN" altLang="en-US" sz="1050"/>
                </a:p>
              </p:txBody>
            </p:sp>
            <p:sp>
              <p:nvSpPr>
                <p:cNvPr id="4094" name="Freeform 1337"/>
                <p:cNvSpPr>
                  <a:spLocks/>
                </p:cNvSpPr>
                <p:nvPr/>
              </p:nvSpPr>
              <p:spPr bwMode="auto">
                <a:xfrm>
                  <a:off x="11130" y="1881"/>
                  <a:ext cx="0" cy="9"/>
                </a:xfrm>
                <a:custGeom>
                  <a:avLst/>
                  <a:gdLst>
                    <a:gd name="T0" fmla="*/ 0 w 3"/>
                    <a:gd name="T1" fmla="*/ 9 h 9"/>
                    <a:gd name="T2" fmla="*/ 3 w 3"/>
                    <a:gd name="T3" fmla="*/ 0 h 9"/>
                    <a:gd name="T4" fmla="*/ 3 w 3"/>
                    <a:gd name="T5" fmla="*/ 0 h 9"/>
                    <a:gd name="T6" fmla="*/ 0 w 3"/>
                    <a:gd name="T7" fmla="*/ 7 h 9"/>
                    <a:gd name="T8" fmla="*/ 0 w 3"/>
                    <a:gd name="T9" fmla="*/ 9 h 9"/>
                  </a:gdLst>
                  <a:ahLst/>
                  <a:cxnLst>
                    <a:cxn ang="0">
                      <a:pos x="T0" y="T1"/>
                    </a:cxn>
                    <a:cxn ang="0">
                      <a:pos x="T2" y="T3"/>
                    </a:cxn>
                    <a:cxn ang="0">
                      <a:pos x="T4" y="T5"/>
                    </a:cxn>
                    <a:cxn ang="0">
                      <a:pos x="T6" y="T7"/>
                    </a:cxn>
                    <a:cxn ang="0">
                      <a:pos x="T8" y="T9"/>
                    </a:cxn>
                  </a:cxnLst>
                  <a:rect l="0" t="0" r="r" b="b"/>
                  <a:pathLst>
                    <a:path w="3" h="9">
                      <a:moveTo>
                        <a:pt x="0" y="9"/>
                      </a:moveTo>
                      <a:lnTo>
                        <a:pt x="3" y="0"/>
                      </a:lnTo>
                      <a:lnTo>
                        <a:pt x="3" y="0"/>
                      </a:lnTo>
                      <a:lnTo>
                        <a:pt x="0" y="7"/>
                      </a:lnTo>
                      <a:lnTo>
                        <a:pt x="0" y="9"/>
                      </a:lnTo>
                    </a:path>
                  </a:pathLst>
                </a:custGeom>
                <a:noFill/>
                <a:ln>
                  <a:noFill/>
                </a:ln>
                <a:extLst/>
              </p:spPr>
              <p:txBody>
                <a:bodyPr/>
                <a:lstStyle/>
                <a:p>
                  <a:pPr eaLnBrk="1" hangingPunct="1">
                    <a:defRPr/>
                  </a:pPr>
                  <a:endParaRPr lang="zh-CN" altLang="en-US" sz="1050"/>
                </a:p>
              </p:txBody>
            </p:sp>
            <p:sp>
              <p:nvSpPr>
                <p:cNvPr id="4095" name="Freeform 1338"/>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096" name="Freeform 1339"/>
                <p:cNvSpPr>
                  <a:spLocks/>
                </p:cNvSpPr>
                <p:nvPr/>
              </p:nvSpPr>
              <p:spPr bwMode="auto">
                <a:xfrm>
                  <a:off x="11130" y="1881"/>
                  <a:ext cx="8" cy="9"/>
                </a:xfrm>
                <a:custGeom>
                  <a:avLst/>
                  <a:gdLst>
                    <a:gd name="T0" fmla="*/ 0 w 5"/>
                    <a:gd name="T1" fmla="*/ 12 h 12"/>
                    <a:gd name="T2" fmla="*/ 5 w 5"/>
                    <a:gd name="T3" fmla="*/ 0 h 12"/>
                    <a:gd name="T4" fmla="*/ 2 w 5"/>
                    <a:gd name="T5" fmla="*/ 0 h 12"/>
                    <a:gd name="T6" fmla="*/ 0 w 5"/>
                    <a:gd name="T7" fmla="*/ 12 h 12"/>
                    <a:gd name="T8" fmla="*/ 0 w 5"/>
                    <a:gd name="T9" fmla="*/ 12 h 12"/>
                  </a:gdLst>
                  <a:ahLst/>
                  <a:cxnLst>
                    <a:cxn ang="0">
                      <a:pos x="T0" y="T1"/>
                    </a:cxn>
                    <a:cxn ang="0">
                      <a:pos x="T2" y="T3"/>
                    </a:cxn>
                    <a:cxn ang="0">
                      <a:pos x="T4" y="T5"/>
                    </a:cxn>
                    <a:cxn ang="0">
                      <a:pos x="T6" y="T7"/>
                    </a:cxn>
                    <a:cxn ang="0">
                      <a:pos x="T8" y="T9"/>
                    </a:cxn>
                  </a:cxnLst>
                  <a:rect l="0" t="0" r="r" b="b"/>
                  <a:pathLst>
                    <a:path w="5" h="12">
                      <a:moveTo>
                        <a:pt x="0" y="12"/>
                      </a:moveTo>
                      <a:lnTo>
                        <a:pt x="5" y="0"/>
                      </a:lnTo>
                      <a:lnTo>
                        <a:pt x="2" y="0"/>
                      </a:lnTo>
                      <a:lnTo>
                        <a:pt x="0" y="12"/>
                      </a:lnTo>
                      <a:lnTo>
                        <a:pt x="0" y="12"/>
                      </a:lnTo>
                    </a:path>
                  </a:pathLst>
                </a:custGeom>
                <a:noFill/>
                <a:ln>
                  <a:noFill/>
                </a:ln>
                <a:extLst/>
              </p:spPr>
              <p:txBody>
                <a:bodyPr/>
                <a:lstStyle/>
                <a:p>
                  <a:pPr eaLnBrk="1" hangingPunct="1">
                    <a:defRPr/>
                  </a:pPr>
                  <a:endParaRPr lang="zh-CN" altLang="en-US" sz="1050"/>
                </a:p>
              </p:txBody>
            </p:sp>
            <p:sp>
              <p:nvSpPr>
                <p:cNvPr id="4097" name="Freeform 1340"/>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close/>
                    </a:path>
                  </a:pathLst>
                </a:custGeom>
                <a:solidFill>
                  <a:srgbClr val="01AAE5"/>
                </a:solidFill>
                <a:ln>
                  <a:noFill/>
                </a:ln>
                <a:extLst/>
              </p:spPr>
              <p:txBody>
                <a:bodyPr/>
                <a:lstStyle/>
                <a:p>
                  <a:pPr eaLnBrk="1" hangingPunct="1">
                    <a:defRPr/>
                  </a:pPr>
                  <a:endParaRPr lang="zh-CN" altLang="en-US" sz="1050"/>
                </a:p>
              </p:txBody>
            </p:sp>
            <p:sp>
              <p:nvSpPr>
                <p:cNvPr id="4098" name="Freeform 1341"/>
                <p:cNvSpPr>
                  <a:spLocks/>
                </p:cNvSpPr>
                <p:nvPr/>
              </p:nvSpPr>
              <p:spPr bwMode="auto">
                <a:xfrm>
                  <a:off x="11130" y="1881"/>
                  <a:ext cx="8" cy="9"/>
                </a:xfrm>
                <a:custGeom>
                  <a:avLst/>
                  <a:gdLst>
                    <a:gd name="T0" fmla="*/ 3 w 5"/>
                    <a:gd name="T1" fmla="*/ 15 h 15"/>
                    <a:gd name="T2" fmla="*/ 5 w 5"/>
                    <a:gd name="T3" fmla="*/ 0 h 15"/>
                    <a:gd name="T4" fmla="*/ 5 w 5"/>
                    <a:gd name="T5" fmla="*/ 0 h 15"/>
                    <a:gd name="T6" fmla="*/ 0 w 5"/>
                    <a:gd name="T7" fmla="*/ 15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5" y="0"/>
                      </a:lnTo>
                      <a:lnTo>
                        <a:pt x="5" y="0"/>
                      </a:lnTo>
                      <a:lnTo>
                        <a:pt x="0" y="15"/>
                      </a:lnTo>
                      <a:lnTo>
                        <a:pt x="3" y="15"/>
                      </a:lnTo>
                    </a:path>
                  </a:pathLst>
                </a:custGeom>
                <a:noFill/>
                <a:ln>
                  <a:noFill/>
                </a:ln>
                <a:extLst/>
              </p:spPr>
              <p:txBody>
                <a:bodyPr/>
                <a:lstStyle/>
                <a:p>
                  <a:pPr eaLnBrk="1" hangingPunct="1">
                    <a:defRPr/>
                  </a:pPr>
                  <a:endParaRPr lang="zh-CN" altLang="en-US" sz="1050"/>
                </a:p>
              </p:txBody>
            </p:sp>
            <p:sp>
              <p:nvSpPr>
                <p:cNvPr id="4099" name="Freeform 1342"/>
                <p:cNvSpPr>
                  <a:spLocks/>
                </p:cNvSpPr>
                <p:nvPr/>
              </p:nvSpPr>
              <p:spPr bwMode="auto">
                <a:xfrm>
                  <a:off x="11130" y="1881"/>
                  <a:ext cx="0" cy="9"/>
                </a:xfrm>
                <a:custGeom>
                  <a:avLst/>
                  <a:gdLst>
                    <a:gd name="T0" fmla="*/ 2 w 4"/>
                    <a:gd name="T1" fmla="*/ 7 h 7"/>
                    <a:gd name="T2" fmla="*/ 4 w 4"/>
                    <a:gd name="T3" fmla="*/ 0 h 7"/>
                    <a:gd name="T4" fmla="*/ 2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100" name="Freeform 1343"/>
                <p:cNvSpPr>
                  <a:spLocks/>
                </p:cNvSpPr>
                <p:nvPr/>
              </p:nvSpPr>
              <p:spPr bwMode="auto">
                <a:xfrm>
                  <a:off x="11122" y="1881"/>
                  <a:ext cx="8" cy="9"/>
                </a:xfrm>
                <a:custGeom>
                  <a:avLst/>
                  <a:gdLst>
                    <a:gd name="T0" fmla="*/ 0 w 3"/>
                    <a:gd name="T1" fmla="*/ 8 h 8"/>
                    <a:gd name="T2" fmla="*/ 3 w 3"/>
                    <a:gd name="T3" fmla="*/ 0 h 8"/>
                    <a:gd name="T4" fmla="*/ 3 w 3"/>
                    <a:gd name="T5" fmla="*/ 0 h 8"/>
                    <a:gd name="T6" fmla="*/ 0 w 3"/>
                    <a:gd name="T7" fmla="*/ 8 h 8"/>
                    <a:gd name="T8" fmla="*/ 0 w 3"/>
                    <a:gd name="T9" fmla="*/ 8 h 8"/>
                  </a:gdLst>
                  <a:ahLst/>
                  <a:cxnLst>
                    <a:cxn ang="0">
                      <a:pos x="T0" y="T1"/>
                    </a:cxn>
                    <a:cxn ang="0">
                      <a:pos x="T2" y="T3"/>
                    </a:cxn>
                    <a:cxn ang="0">
                      <a:pos x="T4" y="T5"/>
                    </a:cxn>
                    <a:cxn ang="0">
                      <a:pos x="T6" y="T7"/>
                    </a:cxn>
                    <a:cxn ang="0">
                      <a:pos x="T8" y="T9"/>
                    </a:cxn>
                  </a:cxnLst>
                  <a:rect l="0" t="0" r="r" b="b"/>
                  <a:pathLst>
                    <a:path w="3" h="8">
                      <a:moveTo>
                        <a:pt x="0" y="8"/>
                      </a:moveTo>
                      <a:lnTo>
                        <a:pt x="3" y="0"/>
                      </a:lnTo>
                      <a:lnTo>
                        <a:pt x="3" y="0"/>
                      </a:lnTo>
                      <a:lnTo>
                        <a:pt x="0" y="8"/>
                      </a:lnTo>
                      <a:lnTo>
                        <a:pt x="0" y="8"/>
                      </a:lnTo>
                      <a:close/>
                    </a:path>
                  </a:pathLst>
                </a:custGeom>
                <a:solidFill>
                  <a:srgbClr val="01AAE5"/>
                </a:solidFill>
                <a:ln>
                  <a:noFill/>
                </a:ln>
                <a:extLst/>
              </p:spPr>
              <p:txBody>
                <a:bodyPr/>
                <a:lstStyle/>
                <a:p>
                  <a:pPr eaLnBrk="1" hangingPunct="1">
                    <a:defRPr/>
                  </a:pPr>
                  <a:endParaRPr lang="zh-CN" altLang="en-US" sz="1050"/>
                </a:p>
              </p:txBody>
            </p:sp>
            <p:sp>
              <p:nvSpPr>
                <p:cNvPr id="4101" name="Freeform 1344"/>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close/>
                    </a:path>
                  </a:pathLst>
                </a:custGeom>
                <a:solidFill>
                  <a:srgbClr val="01AAE5"/>
                </a:solidFill>
                <a:ln>
                  <a:noFill/>
                </a:ln>
                <a:extLst/>
              </p:spPr>
              <p:txBody>
                <a:bodyPr/>
                <a:lstStyle/>
                <a:p>
                  <a:pPr eaLnBrk="1" hangingPunct="1">
                    <a:defRPr/>
                  </a:pPr>
                  <a:endParaRPr lang="zh-CN" altLang="en-US" sz="1050"/>
                </a:p>
              </p:txBody>
            </p:sp>
            <p:sp>
              <p:nvSpPr>
                <p:cNvPr id="4102" name="Freeform 1345"/>
                <p:cNvSpPr>
                  <a:spLocks/>
                </p:cNvSpPr>
                <p:nvPr/>
              </p:nvSpPr>
              <p:spPr bwMode="auto">
                <a:xfrm>
                  <a:off x="11155" y="1881"/>
                  <a:ext cx="0" cy="9"/>
                </a:xfrm>
                <a:custGeom>
                  <a:avLst/>
                  <a:gdLst>
                    <a:gd name="T0" fmla="*/ 2 w 7"/>
                    <a:gd name="T1" fmla="*/ 19 h 19"/>
                    <a:gd name="T2" fmla="*/ 7 w 7"/>
                    <a:gd name="T3" fmla="*/ 0 h 19"/>
                    <a:gd name="T4" fmla="*/ 7 w 7"/>
                    <a:gd name="T5" fmla="*/ 0 h 19"/>
                    <a:gd name="T6" fmla="*/ 0 w 7"/>
                    <a:gd name="T7" fmla="*/ 19 h 19"/>
                    <a:gd name="T8" fmla="*/ 2 w 7"/>
                    <a:gd name="T9" fmla="*/ 19 h 19"/>
                  </a:gdLst>
                  <a:ahLst/>
                  <a:cxnLst>
                    <a:cxn ang="0">
                      <a:pos x="T0" y="T1"/>
                    </a:cxn>
                    <a:cxn ang="0">
                      <a:pos x="T2" y="T3"/>
                    </a:cxn>
                    <a:cxn ang="0">
                      <a:pos x="T4" y="T5"/>
                    </a:cxn>
                    <a:cxn ang="0">
                      <a:pos x="T6" y="T7"/>
                    </a:cxn>
                    <a:cxn ang="0">
                      <a:pos x="T8" y="T9"/>
                    </a:cxn>
                  </a:cxnLst>
                  <a:rect l="0" t="0" r="r" b="b"/>
                  <a:pathLst>
                    <a:path w="7" h="19">
                      <a:moveTo>
                        <a:pt x="2" y="19"/>
                      </a:moveTo>
                      <a:lnTo>
                        <a:pt x="7" y="0"/>
                      </a:lnTo>
                      <a:lnTo>
                        <a:pt x="7" y="0"/>
                      </a:lnTo>
                      <a:lnTo>
                        <a:pt x="0" y="19"/>
                      </a:lnTo>
                      <a:lnTo>
                        <a:pt x="2" y="19"/>
                      </a:lnTo>
                    </a:path>
                  </a:pathLst>
                </a:custGeom>
                <a:noFill/>
                <a:ln>
                  <a:noFill/>
                </a:ln>
                <a:extLst/>
              </p:spPr>
              <p:txBody>
                <a:bodyPr/>
                <a:lstStyle/>
                <a:p>
                  <a:pPr eaLnBrk="1" hangingPunct="1">
                    <a:defRPr/>
                  </a:pPr>
                  <a:endParaRPr lang="zh-CN" altLang="en-US" sz="1050"/>
                </a:p>
              </p:txBody>
            </p:sp>
            <p:sp>
              <p:nvSpPr>
                <p:cNvPr id="4103" name="Freeform 1346"/>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4104" name="Freeform 1347"/>
                <p:cNvSpPr>
                  <a:spLocks/>
                </p:cNvSpPr>
                <p:nvPr/>
              </p:nvSpPr>
              <p:spPr bwMode="auto">
                <a:xfrm>
                  <a:off x="11139" y="1881"/>
                  <a:ext cx="8" cy="9"/>
                </a:xfrm>
                <a:custGeom>
                  <a:avLst/>
                  <a:gdLst>
                    <a:gd name="T0" fmla="*/ 0 w 5"/>
                    <a:gd name="T1" fmla="*/ 17 h 17"/>
                    <a:gd name="T2" fmla="*/ 5 w 5"/>
                    <a:gd name="T3" fmla="*/ 0 h 17"/>
                    <a:gd name="T4" fmla="*/ 5 w 5"/>
                    <a:gd name="T5" fmla="*/ 0 h 17"/>
                    <a:gd name="T6" fmla="*/ 0 w 5"/>
                    <a:gd name="T7" fmla="*/ 17 h 17"/>
                    <a:gd name="T8" fmla="*/ 0 w 5"/>
                    <a:gd name="T9" fmla="*/ 17 h 17"/>
                  </a:gdLst>
                  <a:ahLst/>
                  <a:cxnLst>
                    <a:cxn ang="0">
                      <a:pos x="T0" y="T1"/>
                    </a:cxn>
                    <a:cxn ang="0">
                      <a:pos x="T2" y="T3"/>
                    </a:cxn>
                    <a:cxn ang="0">
                      <a:pos x="T4" y="T5"/>
                    </a:cxn>
                    <a:cxn ang="0">
                      <a:pos x="T6" y="T7"/>
                    </a:cxn>
                    <a:cxn ang="0">
                      <a:pos x="T8" y="T9"/>
                    </a:cxn>
                  </a:cxnLst>
                  <a:rect l="0" t="0" r="r" b="b"/>
                  <a:pathLst>
                    <a:path w="5" h="17">
                      <a:moveTo>
                        <a:pt x="0" y="17"/>
                      </a:moveTo>
                      <a:lnTo>
                        <a:pt x="5" y="0"/>
                      </a:lnTo>
                      <a:lnTo>
                        <a:pt x="5" y="0"/>
                      </a:lnTo>
                      <a:lnTo>
                        <a:pt x="0" y="17"/>
                      </a:lnTo>
                      <a:lnTo>
                        <a:pt x="0" y="17"/>
                      </a:lnTo>
                    </a:path>
                  </a:pathLst>
                </a:custGeom>
                <a:noFill/>
                <a:ln>
                  <a:noFill/>
                </a:ln>
                <a:extLst/>
              </p:spPr>
              <p:txBody>
                <a:bodyPr/>
                <a:lstStyle/>
                <a:p>
                  <a:pPr eaLnBrk="1" hangingPunct="1">
                    <a:defRPr/>
                  </a:pPr>
                  <a:endParaRPr lang="zh-CN" altLang="en-US" sz="1050"/>
                </a:p>
              </p:txBody>
            </p:sp>
            <p:sp>
              <p:nvSpPr>
                <p:cNvPr id="4105" name="Freeform 1348"/>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4106" name="Freeform 1349"/>
                <p:cNvSpPr>
                  <a:spLocks/>
                </p:cNvSpPr>
                <p:nvPr/>
              </p:nvSpPr>
              <p:spPr bwMode="auto">
                <a:xfrm>
                  <a:off x="11139" y="1881"/>
                  <a:ext cx="17" cy="9"/>
                </a:xfrm>
                <a:custGeom>
                  <a:avLst/>
                  <a:gdLst>
                    <a:gd name="T0" fmla="*/ 0 w 7"/>
                    <a:gd name="T1" fmla="*/ 19 h 19"/>
                    <a:gd name="T2" fmla="*/ 7 w 7"/>
                    <a:gd name="T3" fmla="*/ 0 h 19"/>
                    <a:gd name="T4" fmla="*/ 5 w 7"/>
                    <a:gd name="T5" fmla="*/ 0 h 19"/>
                    <a:gd name="T6" fmla="*/ 0 w 7"/>
                    <a:gd name="T7" fmla="*/ 19 h 19"/>
                    <a:gd name="T8" fmla="*/ 0 w 7"/>
                    <a:gd name="T9" fmla="*/ 19 h 19"/>
                  </a:gdLst>
                  <a:ahLst/>
                  <a:cxnLst>
                    <a:cxn ang="0">
                      <a:pos x="T0" y="T1"/>
                    </a:cxn>
                    <a:cxn ang="0">
                      <a:pos x="T2" y="T3"/>
                    </a:cxn>
                    <a:cxn ang="0">
                      <a:pos x="T4" y="T5"/>
                    </a:cxn>
                    <a:cxn ang="0">
                      <a:pos x="T6" y="T7"/>
                    </a:cxn>
                    <a:cxn ang="0">
                      <a:pos x="T8" y="T9"/>
                    </a:cxn>
                  </a:cxnLst>
                  <a:rect l="0" t="0" r="r" b="b"/>
                  <a:pathLst>
                    <a:path w="7" h="19">
                      <a:moveTo>
                        <a:pt x="0" y="19"/>
                      </a:moveTo>
                      <a:lnTo>
                        <a:pt x="7" y="0"/>
                      </a:lnTo>
                      <a:lnTo>
                        <a:pt x="5" y="0"/>
                      </a:lnTo>
                      <a:lnTo>
                        <a:pt x="0" y="19"/>
                      </a:lnTo>
                      <a:lnTo>
                        <a:pt x="0" y="19"/>
                      </a:lnTo>
                    </a:path>
                  </a:pathLst>
                </a:custGeom>
                <a:noFill/>
                <a:ln>
                  <a:noFill/>
                </a:ln>
                <a:extLst/>
              </p:spPr>
              <p:txBody>
                <a:bodyPr/>
                <a:lstStyle/>
                <a:p>
                  <a:pPr eaLnBrk="1" hangingPunct="1">
                    <a:defRPr/>
                  </a:pPr>
                  <a:endParaRPr lang="zh-CN" altLang="en-US" sz="1050"/>
                </a:p>
              </p:txBody>
            </p:sp>
            <p:sp>
              <p:nvSpPr>
                <p:cNvPr id="4107" name="Freeform 1350"/>
                <p:cNvSpPr>
                  <a:spLocks/>
                </p:cNvSpPr>
                <p:nvPr/>
              </p:nvSpPr>
              <p:spPr bwMode="auto">
                <a:xfrm>
                  <a:off x="11114" y="1881"/>
                  <a:ext cx="0" cy="9"/>
                </a:xfrm>
                <a:custGeom>
                  <a:avLst/>
                  <a:gdLst>
                    <a:gd name="T0" fmla="*/ 2 w 2"/>
                    <a:gd name="T1" fmla="*/ 7 h 7"/>
                    <a:gd name="T2" fmla="*/ 2 w 2"/>
                    <a:gd name="T3" fmla="*/ 0 h 7"/>
                    <a:gd name="T4" fmla="*/ 2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108" name="Freeform 1351"/>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09" name="Freeform 1352"/>
                <p:cNvSpPr>
                  <a:spLocks/>
                </p:cNvSpPr>
                <p:nvPr/>
              </p:nvSpPr>
              <p:spPr bwMode="auto">
                <a:xfrm>
                  <a:off x="11105"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4110" name="Freeform 1353"/>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11" name="Freeform 1354"/>
                <p:cNvSpPr>
                  <a:spLocks/>
                </p:cNvSpPr>
                <p:nvPr/>
              </p:nvSpPr>
              <p:spPr bwMode="auto">
                <a:xfrm>
                  <a:off x="11105" y="1881"/>
                  <a:ext cx="0" cy="9"/>
                </a:xfrm>
                <a:custGeom>
                  <a:avLst/>
                  <a:gdLst>
                    <a:gd name="T0" fmla="*/ 0 w 2"/>
                    <a:gd name="T1" fmla="*/ 7 h 7"/>
                    <a:gd name="T2" fmla="*/ 2 w 2"/>
                    <a:gd name="T3" fmla="*/ 0 h 7"/>
                    <a:gd name="T4" fmla="*/ 2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112" name="Freeform 1355"/>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113" name="Freeform 1356"/>
                <p:cNvSpPr>
                  <a:spLocks/>
                </p:cNvSpPr>
                <p:nvPr/>
              </p:nvSpPr>
              <p:spPr bwMode="auto">
                <a:xfrm>
                  <a:off x="11097" y="1881"/>
                  <a:ext cx="0" cy="0"/>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4114" name="Freeform 1357"/>
                <p:cNvSpPr>
                  <a:spLocks/>
                </p:cNvSpPr>
                <p:nvPr/>
              </p:nvSpPr>
              <p:spPr bwMode="auto">
                <a:xfrm>
                  <a:off x="11122" y="1881"/>
                  <a:ext cx="0" cy="9"/>
                </a:xfrm>
                <a:custGeom>
                  <a:avLst/>
                  <a:gdLst>
                    <a:gd name="T0" fmla="*/ 0 w 2"/>
                    <a:gd name="T1" fmla="*/ 8 h 8"/>
                    <a:gd name="T2" fmla="*/ 2 w 2"/>
                    <a:gd name="T3" fmla="*/ 8 h 8"/>
                    <a:gd name="T4" fmla="*/ 2 w 2"/>
                    <a:gd name="T5" fmla="*/ 0 h 8"/>
                    <a:gd name="T6" fmla="*/ 2 w 2"/>
                    <a:gd name="T7" fmla="*/ 0 h 8"/>
                    <a:gd name="T8" fmla="*/ 0 w 2"/>
                    <a:gd name="T9" fmla="*/ 8 h 8"/>
                  </a:gdLst>
                  <a:ahLst/>
                  <a:cxnLst>
                    <a:cxn ang="0">
                      <a:pos x="T0" y="T1"/>
                    </a:cxn>
                    <a:cxn ang="0">
                      <a:pos x="T2" y="T3"/>
                    </a:cxn>
                    <a:cxn ang="0">
                      <a:pos x="T4" y="T5"/>
                    </a:cxn>
                    <a:cxn ang="0">
                      <a:pos x="T6" y="T7"/>
                    </a:cxn>
                    <a:cxn ang="0">
                      <a:pos x="T8" y="T9"/>
                    </a:cxn>
                  </a:cxnLst>
                  <a:rect l="0" t="0" r="r" b="b"/>
                  <a:pathLst>
                    <a:path w="2" h="8">
                      <a:moveTo>
                        <a:pt x="0" y="8"/>
                      </a:moveTo>
                      <a:lnTo>
                        <a:pt x="2" y="8"/>
                      </a:lnTo>
                      <a:lnTo>
                        <a:pt x="2" y="0"/>
                      </a:lnTo>
                      <a:lnTo>
                        <a:pt x="2" y="0"/>
                      </a:lnTo>
                      <a:lnTo>
                        <a:pt x="0" y="8"/>
                      </a:lnTo>
                      <a:close/>
                    </a:path>
                  </a:pathLst>
                </a:custGeom>
                <a:solidFill>
                  <a:srgbClr val="01AAE5"/>
                </a:solidFill>
                <a:ln>
                  <a:noFill/>
                </a:ln>
                <a:extLst/>
              </p:spPr>
              <p:txBody>
                <a:bodyPr/>
                <a:lstStyle/>
                <a:p>
                  <a:pPr eaLnBrk="1" hangingPunct="1">
                    <a:defRPr/>
                  </a:pPr>
                  <a:endParaRPr lang="zh-CN" altLang="en-US" sz="1050"/>
                </a:p>
              </p:txBody>
            </p:sp>
            <p:sp>
              <p:nvSpPr>
                <p:cNvPr id="4115" name="Freeform 1358"/>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16" name="Freeform 1359"/>
                <p:cNvSpPr>
                  <a:spLocks/>
                </p:cNvSpPr>
                <p:nvPr/>
              </p:nvSpPr>
              <p:spPr bwMode="auto">
                <a:xfrm>
                  <a:off x="11097" y="1881"/>
                  <a:ext cx="0" cy="9"/>
                </a:xfrm>
                <a:custGeom>
                  <a:avLst/>
                  <a:gdLst>
                    <a:gd name="T0" fmla="*/ 0 w 2"/>
                    <a:gd name="T1" fmla="*/ 7 h 7"/>
                    <a:gd name="T2" fmla="*/ 2 w 2"/>
                    <a:gd name="T3" fmla="*/ 0 h 7"/>
                    <a:gd name="T4" fmla="*/ 0 w 2"/>
                    <a:gd name="T5" fmla="*/ 0 h 7"/>
                    <a:gd name="T6" fmla="*/ 0 w 2"/>
                    <a:gd name="T7" fmla="*/ 7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0" y="0"/>
                      </a:lnTo>
                      <a:lnTo>
                        <a:pt x="0" y="7"/>
                      </a:lnTo>
                      <a:lnTo>
                        <a:pt x="0" y="7"/>
                      </a:lnTo>
                    </a:path>
                  </a:pathLst>
                </a:custGeom>
                <a:noFill/>
                <a:ln>
                  <a:noFill/>
                </a:ln>
                <a:extLst/>
              </p:spPr>
              <p:txBody>
                <a:bodyPr/>
                <a:lstStyle/>
                <a:p>
                  <a:pPr eaLnBrk="1" hangingPunct="1">
                    <a:defRPr/>
                  </a:pPr>
                  <a:endParaRPr lang="zh-CN" altLang="en-US" sz="1050"/>
                </a:p>
              </p:txBody>
            </p:sp>
            <p:sp>
              <p:nvSpPr>
                <p:cNvPr id="4117" name="Freeform 1360"/>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4118" name="Freeform 1361"/>
                <p:cNvSpPr>
                  <a:spLocks/>
                </p:cNvSpPr>
                <p:nvPr/>
              </p:nvSpPr>
              <p:spPr bwMode="auto">
                <a:xfrm>
                  <a:off x="11155" y="1881"/>
                  <a:ext cx="0" cy="9"/>
                </a:xfrm>
                <a:custGeom>
                  <a:avLst/>
                  <a:gdLst>
                    <a:gd name="T0" fmla="*/ 0 w 7"/>
                    <a:gd name="T1" fmla="*/ 22 h 22"/>
                    <a:gd name="T2" fmla="*/ 7 w 7"/>
                    <a:gd name="T3" fmla="*/ 0 h 22"/>
                    <a:gd name="T4" fmla="*/ 5 w 7"/>
                    <a:gd name="T5" fmla="*/ 0 h 22"/>
                    <a:gd name="T6" fmla="*/ 0 w 7"/>
                    <a:gd name="T7" fmla="*/ 22 h 22"/>
                    <a:gd name="T8" fmla="*/ 0 w 7"/>
                    <a:gd name="T9" fmla="*/ 22 h 22"/>
                  </a:gdLst>
                  <a:ahLst/>
                  <a:cxnLst>
                    <a:cxn ang="0">
                      <a:pos x="T0" y="T1"/>
                    </a:cxn>
                    <a:cxn ang="0">
                      <a:pos x="T2" y="T3"/>
                    </a:cxn>
                    <a:cxn ang="0">
                      <a:pos x="T4" y="T5"/>
                    </a:cxn>
                    <a:cxn ang="0">
                      <a:pos x="T6" y="T7"/>
                    </a:cxn>
                    <a:cxn ang="0">
                      <a:pos x="T8" y="T9"/>
                    </a:cxn>
                  </a:cxnLst>
                  <a:rect l="0" t="0" r="r" b="b"/>
                  <a:pathLst>
                    <a:path w="7" h="22">
                      <a:moveTo>
                        <a:pt x="0" y="22"/>
                      </a:moveTo>
                      <a:lnTo>
                        <a:pt x="7" y="0"/>
                      </a:lnTo>
                      <a:lnTo>
                        <a:pt x="5" y="0"/>
                      </a:lnTo>
                      <a:lnTo>
                        <a:pt x="0" y="22"/>
                      </a:lnTo>
                      <a:lnTo>
                        <a:pt x="0" y="22"/>
                      </a:lnTo>
                    </a:path>
                  </a:pathLst>
                </a:custGeom>
                <a:noFill/>
                <a:ln>
                  <a:noFill/>
                </a:ln>
                <a:extLst/>
              </p:spPr>
              <p:txBody>
                <a:bodyPr/>
                <a:lstStyle/>
                <a:p>
                  <a:pPr eaLnBrk="1" hangingPunct="1">
                    <a:defRPr/>
                  </a:pPr>
                  <a:endParaRPr lang="zh-CN" altLang="en-US" sz="1050"/>
                </a:p>
              </p:txBody>
            </p:sp>
            <p:sp>
              <p:nvSpPr>
                <p:cNvPr id="4119" name="Freeform 1362"/>
                <p:cNvSpPr>
                  <a:spLocks/>
                </p:cNvSpPr>
                <p:nvPr/>
              </p:nvSpPr>
              <p:spPr bwMode="auto">
                <a:xfrm>
                  <a:off x="11105" y="1881"/>
                  <a:ext cx="0" cy="9"/>
                </a:xfrm>
                <a:custGeom>
                  <a:avLst/>
                  <a:gdLst>
                    <a:gd name="T0" fmla="*/ 0 w 2"/>
                    <a:gd name="T1" fmla="*/ 5 h 5"/>
                    <a:gd name="T2" fmla="*/ 2 w 2"/>
                    <a:gd name="T3" fmla="*/ 0 h 5"/>
                    <a:gd name="T4" fmla="*/ 0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0"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20" name="Freeform 1363"/>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121" name="Freeform 1364"/>
                <p:cNvSpPr>
                  <a:spLocks/>
                </p:cNvSpPr>
                <p:nvPr/>
              </p:nvSpPr>
              <p:spPr bwMode="auto">
                <a:xfrm>
                  <a:off x="11197" y="1881"/>
                  <a:ext cx="8" cy="9"/>
                </a:xfrm>
                <a:custGeom>
                  <a:avLst/>
                  <a:gdLst>
                    <a:gd name="T0" fmla="*/ 2 w 4"/>
                    <a:gd name="T1" fmla="*/ 12 h 12"/>
                    <a:gd name="T2" fmla="*/ 4 w 4"/>
                    <a:gd name="T3" fmla="*/ 2 h 12"/>
                    <a:gd name="T4" fmla="*/ 4 w 4"/>
                    <a:gd name="T5" fmla="*/ 0 h 12"/>
                    <a:gd name="T6" fmla="*/ 0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4" y="2"/>
                      </a:lnTo>
                      <a:lnTo>
                        <a:pt x="4" y="0"/>
                      </a:lnTo>
                      <a:lnTo>
                        <a:pt x="0" y="12"/>
                      </a:lnTo>
                      <a:lnTo>
                        <a:pt x="2" y="12"/>
                      </a:lnTo>
                    </a:path>
                  </a:pathLst>
                </a:custGeom>
                <a:noFill/>
                <a:ln>
                  <a:noFill/>
                </a:ln>
                <a:extLst/>
              </p:spPr>
              <p:txBody>
                <a:bodyPr/>
                <a:lstStyle/>
                <a:p>
                  <a:pPr eaLnBrk="1" hangingPunct="1">
                    <a:defRPr/>
                  </a:pPr>
                  <a:endParaRPr lang="zh-CN" altLang="en-US" sz="1050"/>
                </a:p>
              </p:txBody>
            </p:sp>
            <p:sp>
              <p:nvSpPr>
                <p:cNvPr id="4122" name="Freeform 1365"/>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close/>
                    </a:path>
                  </a:pathLst>
                </a:custGeom>
                <a:solidFill>
                  <a:srgbClr val="01AAE5"/>
                </a:solidFill>
                <a:ln>
                  <a:noFill/>
                </a:ln>
                <a:extLst/>
              </p:spPr>
              <p:txBody>
                <a:bodyPr/>
                <a:lstStyle/>
                <a:p>
                  <a:pPr eaLnBrk="1" hangingPunct="1">
                    <a:defRPr/>
                  </a:pPr>
                  <a:endParaRPr lang="zh-CN" altLang="en-US" sz="1050"/>
                </a:p>
              </p:txBody>
            </p:sp>
            <p:sp>
              <p:nvSpPr>
                <p:cNvPr id="4123" name="Freeform 1366"/>
                <p:cNvSpPr>
                  <a:spLocks/>
                </p:cNvSpPr>
                <p:nvPr/>
              </p:nvSpPr>
              <p:spPr bwMode="auto">
                <a:xfrm>
                  <a:off x="11397" y="1959"/>
                  <a:ext cx="33" cy="35"/>
                </a:xfrm>
                <a:custGeom>
                  <a:avLst/>
                  <a:gdLst>
                    <a:gd name="T0" fmla="*/ 0 w 31"/>
                    <a:gd name="T1" fmla="*/ 41 h 41"/>
                    <a:gd name="T2" fmla="*/ 31 w 31"/>
                    <a:gd name="T3" fmla="*/ 3 h 41"/>
                    <a:gd name="T4" fmla="*/ 31 w 31"/>
                    <a:gd name="T5" fmla="*/ 0 h 41"/>
                    <a:gd name="T6" fmla="*/ 0 w 31"/>
                    <a:gd name="T7" fmla="*/ 41 h 41"/>
                    <a:gd name="T8" fmla="*/ 0 w 31"/>
                    <a:gd name="T9" fmla="*/ 41 h 41"/>
                  </a:gdLst>
                  <a:ahLst/>
                  <a:cxnLst>
                    <a:cxn ang="0">
                      <a:pos x="T0" y="T1"/>
                    </a:cxn>
                    <a:cxn ang="0">
                      <a:pos x="T2" y="T3"/>
                    </a:cxn>
                    <a:cxn ang="0">
                      <a:pos x="T4" y="T5"/>
                    </a:cxn>
                    <a:cxn ang="0">
                      <a:pos x="T6" y="T7"/>
                    </a:cxn>
                    <a:cxn ang="0">
                      <a:pos x="T8" y="T9"/>
                    </a:cxn>
                  </a:cxnLst>
                  <a:rect l="0" t="0" r="r" b="b"/>
                  <a:pathLst>
                    <a:path w="31" h="41">
                      <a:moveTo>
                        <a:pt x="0" y="41"/>
                      </a:moveTo>
                      <a:lnTo>
                        <a:pt x="31" y="3"/>
                      </a:lnTo>
                      <a:lnTo>
                        <a:pt x="31" y="0"/>
                      </a:lnTo>
                      <a:lnTo>
                        <a:pt x="0" y="41"/>
                      </a:lnTo>
                      <a:lnTo>
                        <a:pt x="0" y="41"/>
                      </a:lnTo>
                    </a:path>
                  </a:pathLst>
                </a:custGeom>
                <a:noFill/>
                <a:ln>
                  <a:noFill/>
                </a:ln>
                <a:extLst/>
              </p:spPr>
              <p:txBody>
                <a:bodyPr/>
                <a:lstStyle/>
                <a:p>
                  <a:pPr eaLnBrk="1" hangingPunct="1">
                    <a:defRPr/>
                  </a:pPr>
                  <a:endParaRPr lang="zh-CN" altLang="en-US" sz="1050"/>
                </a:p>
              </p:txBody>
            </p:sp>
            <p:sp>
              <p:nvSpPr>
                <p:cNvPr id="4124" name="Freeform 1367"/>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4125" name="Freeform 1368"/>
                <p:cNvSpPr>
                  <a:spLocks/>
                </p:cNvSpPr>
                <p:nvPr/>
              </p:nvSpPr>
              <p:spPr bwMode="auto">
                <a:xfrm>
                  <a:off x="11447" y="2011"/>
                  <a:ext cx="17" cy="9"/>
                </a:xfrm>
                <a:custGeom>
                  <a:avLst/>
                  <a:gdLst>
                    <a:gd name="T0" fmla="*/ 3 w 10"/>
                    <a:gd name="T1" fmla="*/ 9 h 9"/>
                    <a:gd name="T2" fmla="*/ 10 w 10"/>
                    <a:gd name="T3" fmla="*/ 0 h 9"/>
                    <a:gd name="T4" fmla="*/ 10 w 10"/>
                    <a:gd name="T5" fmla="*/ 0 h 9"/>
                    <a:gd name="T6" fmla="*/ 0 w 10"/>
                    <a:gd name="T7" fmla="*/ 9 h 9"/>
                    <a:gd name="T8" fmla="*/ 3 w 10"/>
                    <a:gd name="T9" fmla="*/ 9 h 9"/>
                  </a:gdLst>
                  <a:ahLst/>
                  <a:cxnLst>
                    <a:cxn ang="0">
                      <a:pos x="T0" y="T1"/>
                    </a:cxn>
                    <a:cxn ang="0">
                      <a:pos x="T2" y="T3"/>
                    </a:cxn>
                    <a:cxn ang="0">
                      <a:pos x="T4" y="T5"/>
                    </a:cxn>
                    <a:cxn ang="0">
                      <a:pos x="T6" y="T7"/>
                    </a:cxn>
                    <a:cxn ang="0">
                      <a:pos x="T8" y="T9"/>
                    </a:cxn>
                  </a:cxnLst>
                  <a:rect l="0" t="0" r="r" b="b"/>
                  <a:pathLst>
                    <a:path w="10" h="9">
                      <a:moveTo>
                        <a:pt x="3" y="9"/>
                      </a:moveTo>
                      <a:lnTo>
                        <a:pt x="10" y="0"/>
                      </a:lnTo>
                      <a:lnTo>
                        <a:pt x="10" y="0"/>
                      </a:lnTo>
                      <a:lnTo>
                        <a:pt x="0" y="9"/>
                      </a:lnTo>
                      <a:lnTo>
                        <a:pt x="3" y="9"/>
                      </a:lnTo>
                    </a:path>
                  </a:pathLst>
                </a:custGeom>
                <a:noFill/>
                <a:ln>
                  <a:noFill/>
                </a:ln>
                <a:extLst/>
              </p:spPr>
              <p:txBody>
                <a:bodyPr/>
                <a:lstStyle/>
                <a:p>
                  <a:pPr eaLnBrk="1" hangingPunct="1">
                    <a:defRPr/>
                  </a:pPr>
                  <a:endParaRPr lang="zh-CN" altLang="en-US" sz="1050"/>
                </a:p>
              </p:txBody>
            </p:sp>
            <p:sp>
              <p:nvSpPr>
                <p:cNvPr id="4126" name="Freeform 1369"/>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4127" name="Freeform 1370"/>
                <p:cNvSpPr>
                  <a:spLocks/>
                </p:cNvSpPr>
                <p:nvPr/>
              </p:nvSpPr>
              <p:spPr bwMode="auto">
                <a:xfrm>
                  <a:off x="11413" y="1994"/>
                  <a:ext cx="17" cy="17"/>
                </a:xfrm>
                <a:custGeom>
                  <a:avLst/>
                  <a:gdLst>
                    <a:gd name="T0" fmla="*/ 0 w 18"/>
                    <a:gd name="T1" fmla="*/ 22 h 22"/>
                    <a:gd name="T2" fmla="*/ 18 w 18"/>
                    <a:gd name="T3" fmla="*/ 0 h 22"/>
                    <a:gd name="T4" fmla="*/ 18 w 18"/>
                    <a:gd name="T5" fmla="*/ 0 h 22"/>
                    <a:gd name="T6" fmla="*/ 0 w 18"/>
                    <a:gd name="T7" fmla="*/ 22 h 22"/>
                    <a:gd name="T8" fmla="*/ 0 w 18"/>
                    <a:gd name="T9" fmla="*/ 22 h 22"/>
                  </a:gdLst>
                  <a:ahLst/>
                  <a:cxnLst>
                    <a:cxn ang="0">
                      <a:pos x="T0" y="T1"/>
                    </a:cxn>
                    <a:cxn ang="0">
                      <a:pos x="T2" y="T3"/>
                    </a:cxn>
                    <a:cxn ang="0">
                      <a:pos x="T4" y="T5"/>
                    </a:cxn>
                    <a:cxn ang="0">
                      <a:pos x="T6" y="T7"/>
                    </a:cxn>
                    <a:cxn ang="0">
                      <a:pos x="T8" y="T9"/>
                    </a:cxn>
                  </a:cxnLst>
                  <a:rect l="0" t="0" r="r" b="b"/>
                  <a:pathLst>
                    <a:path w="18" h="22">
                      <a:moveTo>
                        <a:pt x="0" y="22"/>
                      </a:moveTo>
                      <a:lnTo>
                        <a:pt x="18" y="0"/>
                      </a:lnTo>
                      <a:lnTo>
                        <a:pt x="18" y="0"/>
                      </a:lnTo>
                      <a:lnTo>
                        <a:pt x="0" y="22"/>
                      </a:lnTo>
                      <a:lnTo>
                        <a:pt x="0" y="22"/>
                      </a:lnTo>
                    </a:path>
                  </a:pathLst>
                </a:custGeom>
                <a:noFill/>
                <a:ln>
                  <a:noFill/>
                </a:ln>
                <a:extLst/>
              </p:spPr>
              <p:txBody>
                <a:bodyPr/>
                <a:lstStyle/>
                <a:p>
                  <a:pPr eaLnBrk="1" hangingPunct="1">
                    <a:defRPr/>
                  </a:pPr>
                  <a:endParaRPr lang="zh-CN" altLang="en-US" sz="1050"/>
                </a:p>
              </p:txBody>
            </p:sp>
            <p:sp>
              <p:nvSpPr>
                <p:cNvPr id="4128" name="Freeform 1371"/>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close/>
                    </a:path>
                  </a:pathLst>
                </a:custGeom>
                <a:solidFill>
                  <a:srgbClr val="01AAE5"/>
                </a:solidFill>
                <a:ln>
                  <a:noFill/>
                </a:ln>
                <a:extLst/>
              </p:spPr>
              <p:txBody>
                <a:bodyPr/>
                <a:lstStyle/>
                <a:p>
                  <a:pPr eaLnBrk="1" hangingPunct="1">
                    <a:defRPr/>
                  </a:pPr>
                  <a:endParaRPr lang="zh-CN" altLang="en-US" sz="1050"/>
                </a:p>
              </p:txBody>
            </p:sp>
            <p:sp>
              <p:nvSpPr>
                <p:cNvPr id="4129" name="Freeform 1372"/>
                <p:cNvSpPr>
                  <a:spLocks/>
                </p:cNvSpPr>
                <p:nvPr/>
              </p:nvSpPr>
              <p:spPr bwMode="auto">
                <a:xfrm>
                  <a:off x="11413" y="1985"/>
                  <a:ext cx="17" cy="26"/>
                </a:xfrm>
                <a:custGeom>
                  <a:avLst/>
                  <a:gdLst>
                    <a:gd name="T0" fmla="*/ 0 w 19"/>
                    <a:gd name="T1" fmla="*/ 23 h 23"/>
                    <a:gd name="T2" fmla="*/ 19 w 19"/>
                    <a:gd name="T3" fmla="*/ 2 h 23"/>
                    <a:gd name="T4" fmla="*/ 19 w 19"/>
                    <a:gd name="T5" fmla="*/ 0 h 23"/>
                    <a:gd name="T6" fmla="*/ 0 w 19"/>
                    <a:gd name="T7" fmla="*/ 23 h 23"/>
                    <a:gd name="T8" fmla="*/ 0 w 19"/>
                    <a:gd name="T9" fmla="*/ 23 h 23"/>
                  </a:gdLst>
                  <a:ahLst/>
                  <a:cxnLst>
                    <a:cxn ang="0">
                      <a:pos x="T0" y="T1"/>
                    </a:cxn>
                    <a:cxn ang="0">
                      <a:pos x="T2" y="T3"/>
                    </a:cxn>
                    <a:cxn ang="0">
                      <a:pos x="T4" y="T5"/>
                    </a:cxn>
                    <a:cxn ang="0">
                      <a:pos x="T6" y="T7"/>
                    </a:cxn>
                    <a:cxn ang="0">
                      <a:pos x="T8" y="T9"/>
                    </a:cxn>
                  </a:cxnLst>
                  <a:rect l="0" t="0" r="r" b="b"/>
                  <a:pathLst>
                    <a:path w="19" h="23">
                      <a:moveTo>
                        <a:pt x="0" y="23"/>
                      </a:moveTo>
                      <a:lnTo>
                        <a:pt x="19" y="2"/>
                      </a:lnTo>
                      <a:lnTo>
                        <a:pt x="19" y="0"/>
                      </a:lnTo>
                      <a:lnTo>
                        <a:pt x="0" y="23"/>
                      </a:lnTo>
                      <a:lnTo>
                        <a:pt x="0" y="23"/>
                      </a:lnTo>
                    </a:path>
                  </a:pathLst>
                </a:custGeom>
                <a:noFill/>
                <a:ln>
                  <a:noFill/>
                </a:ln>
                <a:extLst/>
              </p:spPr>
              <p:txBody>
                <a:bodyPr/>
                <a:lstStyle/>
                <a:p>
                  <a:pPr eaLnBrk="1" hangingPunct="1">
                    <a:defRPr/>
                  </a:pPr>
                  <a:endParaRPr lang="zh-CN" altLang="en-US" sz="1050"/>
                </a:p>
              </p:txBody>
            </p:sp>
            <p:sp>
              <p:nvSpPr>
                <p:cNvPr id="4130" name="Freeform 1373"/>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close/>
                    </a:path>
                  </a:pathLst>
                </a:custGeom>
                <a:solidFill>
                  <a:srgbClr val="01AAE5"/>
                </a:solidFill>
                <a:ln>
                  <a:noFill/>
                </a:ln>
                <a:extLst/>
              </p:spPr>
              <p:txBody>
                <a:bodyPr/>
                <a:lstStyle/>
                <a:p>
                  <a:pPr eaLnBrk="1" hangingPunct="1">
                    <a:defRPr/>
                  </a:pPr>
                  <a:endParaRPr lang="zh-CN" altLang="en-US" sz="1050"/>
                </a:p>
              </p:txBody>
            </p:sp>
            <p:sp>
              <p:nvSpPr>
                <p:cNvPr id="4131" name="Freeform 1374"/>
                <p:cNvSpPr>
                  <a:spLocks/>
                </p:cNvSpPr>
                <p:nvPr/>
              </p:nvSpPr>
              <p:spPr bwMode="auto">
                <a:xfrm>
                  <a:off x="11447" y="2011"/>
                  <a:ext cx="0" cy="9"/>
                </a:xfrm>
                <a:custGeom>
                  <a:avLst/>
                  <a:gdLst>
                    <a:gd name="T0" fmla="*/ 0 w 12"/>
                    <a:gd name="T1" fmla="*/ 15 h 15"/>
                    <a:gd name="T2" fmla="*/ 12 w 12"/>
                    <a:gd name="T3" fmla="*/ 0 h 15"/>
                    <a:gd name="T4" fmla="*/ 12 w 12"/>
                    <a:gd name="T5" fmla="*/ 0 h 15"/>
                    <a:gd name="T6" fmla="*/ 0 w 12"/>
                    <a:gd name="T7" fmla="*/ 15 h 15"/>
                    <a:gd name="T8" fmla="*/ 0 w 12"/>
                    <a:gd name="T9" fmla="*/ 15 h 15"/>
                  </a:gdLst>
                  <a:ahLst/>
                  <a:cxnLst>
                    <a:cxn ang="0">
                      <a:pos x="T0" y="T1"/>
                    </a:cxn>
                    <a:cxn ang="0">
                      <a:pos x="T2" y="T3"/>
                    </a:cxn>
                    <a:cxn ang="0">
                      <a:pos x="T4" y="T5"/>
                    </a:cxn>
                    <a:cxn ang="0">
                      <a:pos x="T6" y="T7"/>
                    </a:cxn>
                    <a:cxn ang="0">
                      <a:pos x="T8" y="T9"/>
                    </a:cxn>
                  </a:cxnLst>
                  <a:rect l="0" t="0" r="r" b="b"/>
                  <a:pathLst>
                    <a:path w="12" h="15">
                      <a:moveTo>
                        <a:pt x="0" y="15"/>
                      </a:moveTo>
                      <a:lnTo>
                        <a:pt x="12" y="0"/>
                      </a:lnTo>
                      <a:lnTo>
                        <a:pt x="12" y="0"/>
                      </a:lnTo>
                      <a:lnTo>
                        <a:pt x="0" y="15"/>
                      </a:lnTo>
                      <a:lnTo>
                        <a:pt x="0" y="15"/>
                      </a:lnTo>
                    </a:path>
                  </a:pathLst>
                </a:custGeom>
                <a:noFill/>
                <a:ln>
                  <a:noFill/>
                </a:ln>
                <a:extLst/>
              </p:spPr>
              <p:txBody>
                <a:bodyPr/>
                <a:lstStyle/>
                <a:p>
                  <a:pPr eaLnBrk="1" hangingPunct="1">
                    <a:defRPr/>
                  </a:pPr>
                  <a:endParaRPr lang="zh-CN" altLang="en-US" sz="1050"/>
                </a:p>
              </p:txBody>
            </p:sp>
            <p:sp>
              <p:nvSpPr>
                <p:cNvPr id="4132" name="Freeform 1375"/>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4133" name="Freeform 1376"/>
                <p:cNvSpPr>
                  <a:spLocks/>
                </p:cNvSpPr>
                <p:nvPr/>
              </p:nvSpPr>
              <p:spPr bwMode="auto">
                <a:xfrm>
                  <a:off x="11447" y="2003"/>
                  <a:ext cx="17" cy="17"/>
                </a:xfrm>
                <a:custGeom>
                  <a:avLst/>
                  <a:gdLst>
                    <a:gd name="T0" fmla="*/ 2 w 14"/>
                    <a:gd name="T1" fmla="*/ 16 h 16"/>
                    <a:gd name="T2" fmla="*/ 14 w 14"/>
                    <a:gd name="T3" fmla="*/ 2 h 16"/>
                    <a:gd name="T4" fmla="*/ 14 w 14"/>
                    <a:gd name="T5" fmla="*/ 0 h 16"/>
                    <a:gd name="T6" fmla="*/ 0 w 14"/>
                    <a:gd name="T7" fmla="*/ 16 h 16"/>
                    <a:gd name="T8" fmla="*/ 2 w 14"/>
                    <a:gd name="T9" fmla="*/ 16 h 16"/>
                  </a:gdLst>
                  <a:ahLst/>
                  <a:cxnLst>
                    <a:cxn ang="0">
                      <a:pos x="T0" y="T1"/>
                    </a:cxn>
                    <a:cxn ang="0">
                      <a:pos x="T2" y="T3"/>
                    </a:cxn>
                    <a:cxn ang="0">
                      <a:pos x="T4" y="T5"/>
                    </a:cxn>
                    <a:cxn ang="0">
                      <a:pos x="T6" y="T7"/>
                    </a:cxn>
                    <a:cxn ang="0">
                      <a:pos x="T8" y="T9"/>
                    </a:cxn>
                  </a:cxnLst>
                  <a:rect l="0" t="0" r="r" b="b"/>
                  <a:pathLst>
                    <a:path w="14" h="16">
                      <a:moveTo>
                        <a:pt x="2" y="16"/>
                      </a:moveTo>
                      <a:lnTo>
                        <a:pt x="14" y="2"/>
                      </a:lnTo>
                      <a:lnTo>
                        <a:pt x="14" y="0"/>
                      </a:lnTo>
                      <a:lnTo>
                        <a:pt x="0" y="16"/>
                      </a:lnTo>
                      <a:lnTo>
                        <a:pt x="2" y="16"/>
                      </a:lnTo>
                    </a:path>
                  </a:pathLst>
                </a:custGeom>
                <a:noFill/>
                <a:ln>
                  <a:noFill/>
                </a:ln>
                <a:extLst/>
              </p:spPr>
              <p:txBody>
                <a:bodyPr/>
                <a:lstStyle/>
                <a:p>
                  <a:pPr eaLnBrk="1" hangingPunct="1">
                    <a:defRPr/>
                  </a:pPr>
                  <a:endParaRPr lang="zh-CN" altLang="en-US" sz="1050"/>
                </a:p>
              </p:txBody>
            </p:sp>
            <p:sp>
              <p:nvSpPr>
                <p:cNvPr id="4134" name="Freeform 1377"/>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close/>
                    </a:path>
                  </a:pathLst>
                </a:custGeom>
                <a:solidFill>
                  <a:srgbClr val="01AAE5"/>
                </a:solidFill>
                <a:ln>
                  <a:noFill/>
                </a:ln>
                <a:extLst/>
              </p:spPr>
              <p:txBody>
                <a:bodyPr/>
                <a:lstStyle/>
                <a:p>
                  <a:pPr eaLnBrk="1" hangingPunct="1">
                    <a:defRPr/>
                  </a:pPr>
                  <a:endParaRPr lang="zh-CN" altLang="en-US" sz="1050"/>
                </a:p>
              </p:txBody>
            </p:sp>
            <p:sp>
              <p:nvSpPr>
                <p:cNvPr id="4135" name="Freeform 1378"/>
                <p:cNvSpPr>
                  <a:spLocks/>
                </p:cNvSpPr>
                <p:nvPr/>
              </p:nvSpPr>
              <p:spPr bwMode="auto">
                <a:xfrm>
                  <a:off x="11447" y="2011"/>
                  <a:ext cx="17" cy="9"/>
                </a:xfrm>
                <a:custGeom>
                  <a:avLst/>
                  <a:gdLst>
                    <a:gd name="T0" fmla="*/ 0 w 12"/>
                    <a:gd name="T1" fmla="*/ 14 h 14"/>
                    <a:gd name="T2" fmla="*/ 12 w 12"/>
                    <a:gd name="T3" fmla="*/ 2 h 14"/>
                    <a:gd name="T4" fmla="*/ 10 w 12"/>
                    <a:gd name="T5" fmla="*/ 0 h 14"/>
                    <a:gd name="T6" fmla="*/ 0 w 12"/>
                    <a:gd name="T7" fmla="*/ 12 h 14"/>
                    <a:gd name="T8" fmla="*/ 0 w 12"/>
                    <a:gd name="T9" fmla="*/ 14 h 14"/>
                  </a:gdLst>
                  <a:ahLst/>
                  <a:cxnLst>
                    <a:cxn ang="0">
                      <a:pos x="T0" y="T1"/>
                    </a:cxn>
                    <a:cxn ang="0">
                      <a:pos x="T2" y="T3"/>
                    </a:cxn>
                    <a:cxn ang="0">
                      <a:pos x="T4" y="T5"/>
                    </a:cxn>
                    <a:cxn ang="0">
                      <a:pos x="T6" y="T7"/>
                    </a:cxn>
                    <a:cxn ang="0">
                      <a:pos x="T8" y="T9"/>
                    </a:cxn>
                  </a:cxnLst>
                  <a:rect l="0" t="0" r="r" b="b"/>
                  <a:pathLst>
                    <a:path w="12" h="14">
                      <a:moveTo>
                        <a:pt x="0" y="14"/>
                      </a:moveTo>
                      <a:lnTo>
                        <a:pt x="12" y="2"/>
                      </a:lnTo>
                      <a:lnTo>
                        <a:pt x="10" y="0"/>
                      </a:lnTo>
                      <a:lnTo>
                        <a:pt x="0" y="12"/>
                      </a:lnTo>
                      <a:lnTo>
                        <a:pt x="0" y="14"/>
                      </a:lnTo>
                    </a:path>
                  </a:pathLst>
                </a:custGeom>
                <a:noFill/>
                <a:ln>
                  <a:noFill/>
                </a:ln>
                <a:extLst/>
              </p:spPr>
              <p:txBody>
                <a:bodyPr/>
                <a:lstStyle/>
                <a:p>
                  <a:pPr eaLnBrk="1" hangingPunct="1">
                    <a:defRPr/>
                  </a:pPr>
                  <a:endParaRPr lang="zh-CN" altLang="en-US" sz="1050"/>
                </a:p>
              </p:txBody>
            </p:sp>
            <p:sp>
              <p:nvSpPr>
                <p:cNvPr id="4136" name="Freeform 1379"/>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close/>
                    </a:path>
                  </a:pathLst>
                </a:custGeom>
                <a:solidFill>
                  <a:srgbClr val="01AAE5"/>
                </a:solidFill>
                <a:ln>
                  <a:noFill/>
                </a:ln>
                <a:extLst/>
              </p:spPr>
              <p:txBody>
                <a:bodyPr/>
                <a:lstStyle/>
                <a:p>
                  <a:pPr eaLnBrk="1" hangingPunct="1">
                    <a:defRPr/>
                  </a:pPr>
                  <a:endParaRPr lang="zh-CN" altLang="en-US" sz="1050"/>
                </a:p>
              </p:txBody>
            </p:sp>
            <p:sp>
              <p:nvSpPr>
                <p:cNvPr id="4137" name="Freeform 1380"/>
                <p:cNvSpPr>
                  <a:spLocks/>
                </p:cNvSpPr>
                <p:nvPr/>
              </p:nvSpPr>
              <p:spPr bwMode="auto">
                <a:xfrm>
                  <a:off x="11397" y="1985"/>
                  <a:ext cx="33" cy="26"/>
                </a:xfrm>
                <a:custGeom>
                  <a:avLst/>
                  <a:gdLst>
                    <a:gd name="T0" fmla="*/ 3 w 22"/>
                    <a:gd name="T1" fmla="*/ 26 h 26"/>
                    <a:gd name="T2" fmla="*/ 22 w 22"/>
                    <a:gd name="T3" fmla="*/ 0 h 26"/>
                    <a:gd name="T4" fmla="*/ 22 w 22"/>
                    <a:gd name="T5" fmla="*/ 0 h 26"/>
                    <a:gd name="T6" fmla="*/ 0 w 22"/>
                    <a:gd name="T7" fmla="*/ 24 h 26"/>
                    <a:gd name="T8" fmla="*/ 3 w 22"/>
                    <a:gd name="T9" fmla="*/ 26 h 26"/>
                  </a:gdLst>
                  <a:ahLst/>
                  <a:cxnLst>
                    <a:cxn ang="0">
                      <a:pos x="T0" y="T1"/>
                    </a:cxn>
                    <a:cxn ang="0">
                      <a:pos x="T2" y="T3"/>
                    </a:cxn>
                    <a:cxn ang="0">
                      <a:pos x="T4" y="T5"/>
                    </a:cxn>
                    <a:cxn ang="0">
                      <a:pos x="T6" y="T7"/>
                    </a:cxn>
                    <a:cxn ang="0">
                      <a:pos x="T8" y="T9"/>
                    </a:cxn>
                  </a:cxnLst>
                  <a:rect l="0" t="0" r="r" b="b"/>
                  <a:pathLst>
                    <a:path w="22" h="26">
                      <a:moveTo>
                        <a:pt x="3" y="26"/>
                      </a:moveTo>
                      <a:lnTo>
                        <a:pt x="22" y="0"/>
                      </a:lnTo>
                      <a:lnTo>
                        <a:pt x="22" y="0"/>
                      </a:lnTo>
                      <a:lnTo>
                        <a:pt x="0" y="24"/>
                      </a:lnTo>
                      <a:lnTo>
                        <a:pt x="3" y="26"/>
                      </a:lnTo>
                    </a:path>
                  </a:pathLst>
                </a:custGeom>
                <a:noFill/>
                <a:ln>
                  <a:noFill/>
                </a:ln>
                <a:extLst/>
              </p:spPr>
              <p:txBody>
                <a:bodyPr/>
                <a:lstStyle/>
                <a:p>
                  <a:pPr eaLnBrk="1" hangingPunct="1">
                    <a:defRPr/>
                  </a:pPr>
                  <a:endParaRPr lang="zh-CN" altLang="en-US" sz="1050"/>
                </a:p>
              </p:txBody>
            </p:sp>
            <p:sp>
              <p:nvSpPr>
                <p:cNvPr id="4138" name="Freeform 1381"/>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close/>
                    </a:path>
                  </a:pathLst>
                </a:custGeom>
                <a:solidFill>
                  <a:srgbClr val="01AAE5"/>
                </a:solidFill>
                <a:ln>
                  <a:noFill/>
                </a:ln>
                <a:extLst/>
              </p:spPr>
              <p:txBody>
                <a:bodyPr/>
                <a:lstStyle/>
                <a:p>
                  <a:pPr eaLnBrk="1" hangingPunct="1">
                    <a:defRPr/>
                  </a:pPr>
                  <a:endParaRPr lang="zh-CN" altLang="en-US" sz="1050"/>
                </a:p>
              </p:txBody>
            </p:sp>
            <p:sp>
              <p:nvSpPr>
                <p:cNvPr id="4139" name="Freeform 1382"/>
                <p:cNvSpPr>
                  <a:spLocks/>
                </p:cNvSpPr>
                <p:nvPr/>
              </p:nvSpPr>
              <p:spPr bwMode="auto">
                <a:xfrm>
                  <a:off x="11413" y="1994"/>
                  <a:ext cx="17" cy="17"/>
                </a:xfrm>
                <a:custGeom>
                  <a:avLst/>
                  <a:gdLst>
                    <a:gd name="T0" fmla="*/ 2 w 19"/>
                    <a:gd name="T1" fmla="*/ 21 h 21"/>
                    <a:gd name="T2" fmla="*/ 19 w 19"/>
                    <a:gd name="T3" fmla="*/ 2 h 21"/>
                    <a:gd name="T4" fmla="*/ 16 w 19"/>
                    <a:gd name="T5" fmla="*/ 0 h 21"/>
                    <a:gd name="T6" fmla="*/ 0 w 19"/>
                    <a:gd name="T7" fmla="*/ 19 h 21"/>
                    <a:gd name="T8" fmla="*/ 2 w 19"/>
                    <a:gd name="T9" fmla="*/ 21 h 21"/>
                  </a:gdLst>
                  <a:ahLst/>
                  <a:cxnLst>
                    <a:cxn ang="0">
                      <a:pos x="T0" y="T1"/>
                    </a:cxn>
                    <a:cxn ang="0">
                      <a:pos x="T2" y="T3"/>
                    </a:cxn>
                    <a:cxn ang="0">
                      <a:pos x="T4" y="T5"/>
                    </a:cxn>
                    <a:cxn ang="0">
                      <a:pos x="T6" y="T7"/>
                    </a:cxn>
                    <a:cxn ang="0">
                      <a:pos x="T8" y="T9"/>
                    </a:cxn>
                  </a:cxnLst>
                  <a:rect l="0" t="0" r="r" b="b"/>
                  <a:pathLst>
                    <a:path w="19" h="21">
                      <a:moveTo>
                        <a:pt x="2" y="21"/>
                      </a:moveTo>
                      <a:lnTo>
                        <a:pt x="19" y="2"/>
                      </a:lnTo>
                      <a:lnTo>
                        <a:pt x="16" y="0"/>
                      </a:lnTo>
                      <a:lnTo>
                        <a:pt x="0" y="19"/>
                      </a:lnTo>
                      <a:lnTo>
                        <a:pt x="2" y="21"/>
                      </a:lnTo>
                    </a:path>
                  </a:pathLst>
                </a:custGeom>
                <a:noFill/>
                <a:ln>
                  <a:noFill/>
                </a:ln>
                <a:extLst/>
              </p:spPr>
              <p:txBody>
                <a:bodyPr/>
                <a:lstStyle/>
                <a:p>
                  <a:pPr eaLnBrk="1" hangingPunct="1">
                    <a:defRPr/>
                  </a:pPr>
                  <a:endParaRPr lang="zh-CN" altLang="en-US" sz="1050"/>
                </a:p>
              </p:txBody>
            </p:sp>
            <p:sp>
              <p:nvSpPr>
                <p:cNvPr id="4140" name="Freeform 1383"/>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close/>
                    </a:path>
                  </a:pathLst>
                </a:custGeom>
                <a:solidFill>
                  <a:srgbClr val="01AAE5"/>
                </a:solidFill>
                <a:ln>
                  <a:noFill/>
                </a:ln>
                <a:extLst/>
              </p:spPr>
              <p:txBody>
                <a:bodyPr/>
                <a:lstStyle/>
                <a:p>
                  <a:pPr eaLnBrk="1" hangingPunct="1">
                    <a:defRPr/>
                  </a:pPr>
                  <a:endParaRPr lang="zh-CN" altLang="en-US" sz="1050"/>
                </a:p>
              </p:txBody>
            </p:sp>
            <p:sp>
              <p:nvSpPr>
                <p:cNvPr id="4141" name="Freeform 1384"/>
                <p:cNvSpPr>
                  <a:spLocks/>
                </p:cNvSpPr>
                <p:nvPr/>
              </p:nvSpPr>
              <p:spPr bwMode="auto">
                <a:xfrm>
                  <a:off x="11397" y="1968"/>
                  <a:ext cx="33" cy="35"/>
                </a:xfrm>
                <a:custGeom>
                  <a:avLst/>
                  <a:gdLst>
                    <a:gd name="T0" fmla="*/ 2 w 28"/>
                    <a:gd name="T1" fmla="*/ 33 h 33"/>
                    <a:gd name="T2" fmla="*/ 28 w 28"/>
                    <a:gd name="T3" fmla="*/ 0 h 33"/>
                    <a:gd name="T4" fmla="*/ 28 w 28"/>
                    <a:gd name="T5" fmla="*/ 0 h 33"/>
                    <a:gd name="T6" fmla="*/ 0 w 28"/>
                    <a:gd name="T7" fmla="*/ 33 h 33"/>
                    <a:gd name="T8" fmla="*/ 2 w 28"/>
                    <a:gd name="T9" fmla="*/ 33 h 33"/>
                  </a:gdLst>
                  <a:ahLst/>
                  <a:cxnLst>
                    <a:cxn ang="0">
                      <a:pos x="T0" y="T1"/>
                    </a:cxn>
                    <a:cxn ang="0">
                      <a:pos x="T2" y="T3"/>
                    </a:cxn>
                    <a:cxn ang="0">
                      <a:pos x="T4" y="T5"/>
                    </a:cxn>
                    <a:cxn ang="0">
                      <a:pos x="T6" y="T7"/>
                    </a:cxn>
                    <a:cxn ang="0">
                      <a:pos x="T8" y="T9"/>
                    </a:cxn>
                  </a:cxnLst>
                  <a:rect l="0" t="0" r="r" b="b"/>
                  <a:pathLst>
                    <a:path w="28" h="33">
                      <a:moveTo>
                        <a:pt x="2" y="33"/>
                      </a:moveTo>
                      <a:lnTo>
                        <a:pt x="28" y="0"/>
                      </a:lnTo>
                      <a:lnTo>
                        <a:pt x="28" y="0"/>
                      </a:lnTo>
                      <a:lnTo>
                        <a:pt x="0" y="33"/>
                      </a:lnTo>
                      <a:lnTo>
                        <a:pt x="2" y="33"/>
                      </a:lnTo>
                    </a:path>
                  </a:pathLst>
                </a:custGeom>
                <a:noFill/>
                <a:ln>
                  <a:noFill/>
                </a:ln>
                <a:extLst/>
              </p:spPr>
              <p:txBody>
                <a:bodyPr/>
                <a:lstStyle/>
                <a:p>
                  <a:pPr eaLnBrk="1" hangingPunct="1">
                    <a:defRPr/>
                  </a:pPr>
                  <a:endParaRPr lang="zh-CN" altLang="en-US" sz="1050"/>
                </a:p>
              </p:txBody>
            </p:sp>
            <p:sp>
              <p:nvSpPr>
                <p:cNvPr id="4142" name="Freeform 1385"/>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close/>
                    </a:path>
                  </a:pathLst>
                </a:custGeom>
                <a:solidFill>
                  <a:srgbClr val="01AAE5"/>
                </a:solidFill>
                <a:ln>
                  <a:noFill/>
                </a:ln>
                <a:extLst/>
              </p:spPr>
              <p:txBody>
                <a:bodyPr/>
                <a:lstStyle/>
                <a:p>
                  <a:pPr eaLnBrk="1" hangingPunct="1">
                    <a:defRPr/>
                  </a:pPr>
                  <a:endParaRPr lang="zh-CN" altLang="en-US" sz="1050"/>
                </a:p>
              </p:txBody>
            </p:sp>
            <p:sp>
              <p:nvSpPr>
                <p:cNvPr id="4143" name="Freeform 1386"/>
                <p:cNvSpPr>
                  <a:spLocks/>
                </p:cNvSpPr>
                <p:nvPr/>
              </p:nvSpPr>
              <p:spPr bwMode="auto">
                <a:xfrm>
                  <a:off x="11397" y="1985"/>
                  <a:ext cx="33" cy="26"/>
                </a:xfrm>
                <a:custGeom>
                  <a:avLst/>
                  <a:gdLst>
                    <a:gd name="T0" fmla="*/ 0 w 24"/>
                    <a:gd name="T1" fmla="*/ 29 h 29"/>
                    <a:gd name="T2" fmla="*/ 24 w 24"/>
                    <a:gd name="T3" fmla="*/ 3 h 29"/>
                    <a:gd name="T4" fmla="*/ 21 w 24"/>
                    <a:gd name="T5" fmla="*/ 0 h 29"/>
                    <a:gd name="T6" fmla="*/ 0 w 24"/>
                    <a:gd name="T7" fmla="*/ 29 h 29"/>
                    <a:gd name="T8" fmla="*/ 0 w 24"/>
                    <a:gd name="T9" fmla="*/ 29 h 29"/>
                  </a:gdLst>
                  <a:ahLst/>
                  <a:cxnLst>
                    <a:cxn ang="0">
                      <a:pos x="T0" y="T1"/>
                    </a:cxn>
                    <a:cxn ang="0">
                      <a:pos x="T2" y="T3"/>
                    </a:cxn>
                    <a:cxn ang="0">
                      <a:pos x="T4" y="T5"/>
                    </a:cxn>
                    <a:cxn ang="0">
                      <a:pos x="T6" y="T7"/>
                    </a:cxn>
                    <a:cxn ang="0">
                      <a:pos x="T8" y="T9"/>
                    </a:cxn>
                  </a:cxnLst>
                  <a:rect l="0" t="0" r="r" b="b"/>
                  <a:pathLst>
                    <a:path w="24" h="29">
                      <a:moveTo>
                        <a:pt x="0" y="29"/>
                      </a:moveTo>
                      <a:lnTo>
                        <a:pt x="24" y="3"/>
                      </a:lnTo>
                      <a:lnTo>
                        <a:pt x="21" y="0"/>
                      </a:lnTo>
                      <a:lnTo>
                        <a:pt x="0" y="29"/>
                      </a:lnTo>
                      <a:lnTo>
                        <a:pt x="0" y="29"/>
                      </a:lnTo>
                    </a:path>
                  </a:pathLst>
                </a:custGeom>
                <a:noFill/>
                <a:ln>
                  <a:noFill/>
                </a:ln>
                <a:extLst/>
              </p:spPr>
              <p:txBody>
                <a:bodyPr/>
                <a:lstStyle/>
                <a:p>
                  <a:pPr eaLnBrk="1" hangingPunct="1">
                    <a:defRPr/>
                  </a:pPr>
                  <a:endParaRPr lang="zh-CN" altLang="en-US" sz="1050"/>
                </a:p>
              </p:txBody>
            </p:sp>
            <p:sp>
              <p:nvSpPr>
                <p:cNvPr id="4144" name="Freeform 1387"/>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close/>
                    </a:path>
                  </a:pathLst>
                </a:custGeom>
                <a:solidFill>
                  <a:srgbClr val="01AAE5"/>
                </a:solidFill>
                <a:ln>
                  <a:noFill/>
                </a:ln>
                <a:extLst/>
              </p:spPr>
              <p:txBody>
                <a:bodyPr/>
                <a:lstStyle/>
                <a:p>
                  <a:pPr eaLnBrk="1" hangingPunct="1">
                    <a:defRPr/>
                  </a:pPr>
                  <a:endParaRPr lang="zh-CN" altLang="en-US" sz="1050"/>
                </a:p>
              </p:txBody>
            </p:sp>
            <p:sp>
              <p:nvSpPr>
                <p:cNvPr id="4145" name="Freeform 1388"/>
                <p:cNvSpPr>
                  <a:spLocks/>
                </p:cNvSpPr>
                <p:nvPr/>
              </p:nvSpPr>
              <p:spPr bwMode="auto">
                <a:xfrm>
                  <a:off x="11397" y="1968"/>
                  <a:ext cx="33" cy="35"/>
                </a:xfrm>
                <a:custGeom>
                  <a:avLst/>
                  <a:gdLst>
                    <a:gd name="T0" fmla="*/ 0 w 28"/>
                    <a:gd name="T1" fmla="*/ 38 h 38"/>
                    <a:gd name="T2" fmla="*/ 28 w 28"/>
                    <a:gd name="T3" fmla="*/ 2 h 38"/>
                    <a:gd name="T4" fmla="*/ 28 w 28"/>
                    <a:gd name="T5" fmla="*/ 0 h 38"/>
                    <a:gd name="T6" fmla="*/ 0 w 28"/>
                    <a:gd name="T7" fmla="*/ 35 h 38"/>
                    <a:gd name="T8" fmla="*/ 0 w 28"/>
                    <a:gd name="T9" fmla="*/ 38 h 38"/>
                  </a:gdLst>
                  <a:ahLst/>
                  <a:cxnLst>
                    <a:cxn ang="0">
                      <a:pos x="T0" y="T1"/>
                    </a:cxn>
                    <a:cxn ang="0">
                      <a:pos x="T2" y="T3"/>
                    </a:cxn>
                    <a:cxn ang="0">
                      <a:pos x="T4" y="T5"/>
                    </a:cxn>
                    <a:cxn ang="0">
                      <a:pos x="T6" y="T7"/>
                    </a:cxn>
                    <a:cxn ang="0">
                      <a:pos x="T8" y="T9"/>
                    </a:cxn>
                  </a:cxnLst>
                  <a:rect l="0" t="0" r="r" b="b"/>
                  <a:pathLst>
                    <a:path w="28" h="38">
                      <a:moveTo>
                        <a:pt x="0" y="38"/>
                      </a:moveTo>
                      <a:lnTo>
                        <a:pt x="28" y="2"/>
                      </a:lnTo>
                      <a:lnTo>
                        <a:pt x="28" y="0"/>
                      </a:lnTo>
                      <a:lnTo>
                        <a:pt x="0" y="35"/>
                      </a:lnTo>
                      <a:lnTo>
                        <a:pt x="0" y="38"/>
                      </a:lnTo>
                    </a:path>
                  </a:pathLst>
                </a:custGeom>
                <a:noFill/>
                <a:ln>
                  <a:noFill/>
                </a:ln>
                <a:extLst/>
              </p:spPr>
              <p:txBody>
                <a:bodyPr/>
                <a:lstStyle/>
                <a:p>
                  <a:pPr eaLnBrk="1" hangingPunct="1">
                    <a:defRPr/>
                  </a:pPr>
                  <a:endParaRPr lang="zh-CN" altLang="en-US" sz="1050"/>
                </a:p>
              </p:txBody>
            </p:sp>
            <p:sp>
              <p:nvSpPr>
                <p:cNvPr id="4146" name="Freeform 1389"/>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4147" name="Freeform 1390"/>
                <p:cNvSpPr>
                  <a:spLocks/>
                </p:cNvSpPr>
                <p:nvPr/>
              </p:nvSpPr>
              <p:spPr bwMode="auto">
                <a:xfrm>
                  <a:off x="11397" y="1959"/>
                  <a:ext cx="33" cy="35"/>
                </a:xfrm>
                <a:custGeom>
                  <a:avLst/>
                  <a:gdLst>
                    <a:gd name="T0" fmla="*/ 3 w 31"/>
                    <a:gd name="T1" fmla="*/ 38 h 38"/>
                    <a:gd name="T2" fmla="*/ 31 w 31"/>
                    <a:gd name="T3" fmla="*/ 0 h 38"/>
                    <a:gd name="T4" fmla="*/ 31 w 31"/>
                    <a:gd name="T5" fmla="*/ 0 h 38"/>
                    <a:gd name="T6" fmla="*/ 0 w 31"/>
                    <a:gd name="T7" fmla="*/ 38 h 38"/>
                    <a:gd name="T8" fmla="*/ 3 w 31"/>
                    <a:gd name="T9" fmla="*/ 38 h 38"/>
                  </a:gdLst>
                  <a:ahLst/>
                  <a:cxnLst>
                    <a:cxn ang="0">
                      <a:pos x="T0" y="T1"/>
                    </a:cxn>
                    <a:cxn ang="0">
                      <a:pos x="T2" y="T3"/>
                    </a:cxn>
                    <a:cxn ang="0">
                      <a:pos x="T4" y="T5"/>
                    </a:cxn>
                    <a:cxn ang="0">
                      <a:pos x="T6" y="T7"/>
                    </a:cxn>
                    <a:cxn ang="0">
                      <a:pos x="T8" y="T9"/>
                    </a:cxn>
                  </a:cxnLst>
                  <a:rect l="0" t="0" r="r" b="b"/>
                  <a:pathLst>
                    <a:path w="31" h="38">
                      <a:moveTo>
                        <a:pt x="3" y="38"/>
                      </a:moveTo>
                      <a:lnTo>
                        <a:pt x="31" y="0"/>
                      </a:lnTo>
                      <a:lnTo>
                        <a:pt x="31" y="0"/>
                      </a:lnTo>
                      <a:lnTo>
                        <a:pt x="0" y="38"/>
                      </a:lnTo>
                      <a:lnTo>
                        <a:pt x="3" y="38"/>
                      </a:lnTo>
                    </a:path>
                  </a:pathLst>
                </a:custGeom>
                <a:noFill/>
                <a:ln>
                  <a:noFill/>
                </a:ln>
                <a:extLst/>
              </p:spPr>
              <p:txBody>
                <a:bodyPr/>
                <a:lstStyle/>
                <a:p>
                  <a:pPr eaLnBrk="1" hangingPunct="1">
                    <a:defRPr/>
                  </a:pPr>
                  <a:endParaRPr lang="zh-CN" altLang="en-US" sz="1050"/>
                </a:p>
              </p:txBody>
            </p:sp>
            <p:sp>
              <p:nvSpPr>
                <p:cNvPr id="4148" name="Freeform 1391"/>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close/>
                    </a:path>
                  </a:pathLst>
                </a:custGeom>
                <a:solidFill>
                  <a:srgbClr val="01AAE5"/>
                </a:solidFill>
                <a:ln>
                  <a:noFill/>
                </a:ln>
                <a:extLst/>
              </p:spPr>
              <p:txBody>
                <a:bodyPr/>
                <a:lstStyle/>
                <a:p>
                  <a:pPr eaLnBrk="1" hangingPunct="1">
                    <a:defRPr/>
                  </a:pPr>
                  <a:endParaRPr lang="zh-CN" altLang="en-US" sz="1050"/>
                </a:p>
              </p:txBody>
            </p:sp>
            <p:sp>
              <p:nvSpPr>
                <p:cNvPr id="4149" name="Freeform 1392"/>
                <p:cNvSpPr>
                  <a:spLocks/>
                </p:cNvSpPr>
                <p:nvPr/>
              </p:nvSpPr>
              <p:spPr bwMode="auto">
                <a:xfrm>
                  <a:off x="11397" y="1959"/>
                  <a:ext cx="33" cy="44"/>
                </a:xfrm>
                <a:custGeom>
                  <a:avLst/>
                  <a:gdLst>
                    <a:gd name="T0" fmla="*/ 0 w 29"/>
                    <a:gd name="T1" fmla="*/ 37 h 37"/>
                    <a:gd name="T2" fmla="*/ 29 w 29"/>
                    <a:gd name="T3" fmla="*/ 0 h 37"/>
                    <a:gd name="T4" fmla="*/ 29 w 29"/>
                    <a:gd name="T5" fmla="*/ 0 h 37"/>
                    <a:gd name="T6" fmla="*/ 0 w 29"/>
                    <a:gd name="T7" fmla="*/ 37 h 37"/>
                    <a:gd name="T8" fmla="*/ 0 w 29"/>
                    <a:gd name="T9" fmla="*/ 37 h 37"/>
                  </a:gdLst>
                  <a:ahLst/>
                  <a:cxnLst>
                    <a:cxn ang="0">
                      <a:pos x="T0" y="T1"/>
                    </a:cxn>
                    <a:cxn ang="0">
                      <a:pos x="T2" y="T3"/>
                    </a:cxn>
                    <a:cxn ang="0">
                      <a:pos x="T4" y="T5"/>
                    </a:cxn>
                    <a:cxn ang="0">
                      <a:pos x="T6" y="T7"/>
                    </a:cxn>
                    <a:cxn ang="0">
                      <a:pos x="T8" y="T9"/>
                    </a:cxn>
                  </a:cxnLst>
                  <a:rect l="0" t="0" r="r" b="b"/>
                  <a:pathLst>
                    <a:path w="29" h="37">
                      <a:moveTo>
                        <a:pt x="0" y="37"/>
                      </a:moveTo>
                      <a:lnTo>
                        <a:pt x="29" y="0"/>
                      </a:lnTo>
                      <a:lnTo>
                        <a:pt x="29" y="0"/>
                      </a:lnTo>
                      <a:lnTo>
                        <a:pt x="0" y="37"/>
                      </a:lnTo>
                      <a:lnTo>
                        <a:pt x="0" y="37"/>
                      </a:lnTo>
                    </a:path>
                  </a:pathLst>
                </a:custGeom>
                <a:noFill/>
                <a:ln>
                  <a:noFill/>
                </a:ln>
                <a:extLst/>
              </p:spPr>
              <p:txBody>
                <a:bodyPr/>
                <a:lstStyle/>
                <a:p>
                  <a:pPr eaLnBrk="1" hangingPunct="1">
                    <a:defRPr/>
                  </a:pPr>
                  <a:endParaRPr lang="zh-CN" altLang="en-US" sz="1050"/>
                </a:p>
              </p:txBody>
            </p:sp>
            <p:sp>
              <p:nvSpPr>
                <p:cNvPr id="4150" name="Freeform 1393"/>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4151" name="Freeform 1394"/>
                <p:cNvSpPr>
                  <a:spLocks/>
                </p:cNvSpPr>
                <p:nvPr/>
              </p:nvSpPr>
              <p:spPr bwMode="auto">
                <a:xfrm>
                  <a:off x="11397" y="1977"/>
                  <a:ext cx="33" cy="26"/>
                </a:xfrm>
                <a:custGeom>
                  <a:avLst/>
                  <a:gdLst>
                    <a:gd name="T0" fmla="*/ 0 w 26"/>
                    <a:gd name="T1" fmla="*/ 33 h 33"/>
                    <a:gd name="T2" fmla="*/ 26 w 26"/>
                    <a:gd name="T3" fmla="*/ 0 h 33"/>
                    <a:gd name="T4" fmla="*/ 26 w 26"/>
                    <a:gd name="T5" fmla="*/ 0 h 33"/>
                    <a:gd name="T6" fmla="*/ 0 w 26"/>
                    <a:gd name="T7" fmla="*/ 33 h 33"/>
                    <a:gd name="T8" fmla="*/ 0 w 26"/>
                    <a:gd name="T9" fmla="*/ 33 h 33"/>
                  </a:gdLst>
                  <a:ahLst/>
                  <a:cxnLst>
                    <a:cxn ang="0">
                      <a:pos x="T0" y="T1"/>
                    </a:cxn>
                    <a:cxn ang="0">
                      <a:pos x="T2" y="T3"/>
                    </a:cxn>
                    <a:cxn ang="0">
                      <a:pos x="T4" y="T5"/>
                    </a:cxn>
                    <a:cxn ang="0">
                      <a:pos x="T6" y="T7"/>
                    </a:cxn>
                    <a:cxn ang="0">
                      <a:pos x="T8" y="T9"/>
                    </a:cxn>
                  </a:cxnLst>
                  <a:rect l="0" t="0" r="r" b="b"/>
                  <a:pathLst>
                    <a:path w="26" h="33">
                      <a:moveTo>
                        <a:pt x="0" y="33"/>
                      </a:moveTo>
                      <a:lnTo>
                        <a:pt x="26" y="0"/>
                      </a:lnTo>
                      <a:lnTo>
                        <a:pt x="26" y="0"/>
                      </a:lnTo>
                      <a:lnTo>
                        <a:pt x="0" y="33"/>
                      </a:lnTo>
                      <a:lnTo>
                        <a:pt x="0" y="33"/>
                      </a:lnTo>
                    </a:path>
                  </a:pathLst>
                </a:custGeom>
                <a:noFill/>
                <a:ln>
                  <a:noFill/>
                </a:ln>
                <a:extLst/>
              </p:spPr>
              <p:txBody>
                <a:bodyPr/>
                <a:lstStyle/>
                <a:p>
                  <a:pPr eaLnBrk="1" hangingPunct="1">
                    <a:defRPr/>
                  </a:pPr>
                  <a:endParaRPr lang="zh-CN" altLang="en-US" sz="1050"/>
                </a:p>
              </p:txBody>
            </p:sp>
            <p:sp>
              <p:nvSpPr>
                <p:cNvPr id="4152" name="Freeform 1395"/>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close/>
                    </a:path>
                  </a:pathLst>
                </a:custGeom>
                <a:solidFill>
                  <a:srgbClr val="01AAE5"/>
                </a:solidFill>
                <a:ln>
                  <a:noFill/>
                </a:ln>
                <a:extLst/>
              </p:spPr>
              <p:txBody>
                <a:bodyPr/>
                <a:lstStyle/>
                <a:p>
                  <a:pPr eaLnBrk="1" hangingPunct="1">
                    <a:defRPr/>
                  </a:pPr>
                  <a:endParaRPr lang="zh-CN" altLang="en-US" sz="1050"/>
                </a:p>
              </p:txBody>
            </p:sp>
            <p:sp>
              <p:nvSpPr>
                <p:cNvPr id="4153" name="Freeform 1396"/>
                <p:cNvSpPr>
                  <a:spLocks/>
                </p:cNvSpPr>
                <p:nvPr/>
              </p:nvSpPr>
              <p:spPr bwMode="auto">
                <a:xfrm>
                  <a:off x="11397" y="1985"/>
                  <a:ext cx="17" cy="26"/>
                </a:xfrm>
                <a:custGeom>
                  <a:avLst/>
                  <a:gdLst>
                    <a:gd name="T0" fmla="*/ 0 w 23"/>
                    <a:gd name="T1" fmla="*/ 28 h 28"/>
                    <a:gd name="T2" fmla="*/ 23 w 23"/>
                    <a:gd name="T3" fmla="*/ 0 h 28"/>
                    <a:gd name="T4" fmla="*/ 21 w 23"/>
                    <a:gd name="T5" fmla="*/ 0 h 28"/>
                    <a:gd name="T6" fmla="*/ 0 w 23"/>
                    <a:gd name="T7" fmla="*/ 28 h 28"/>
                    <a:gd name="T8" fmla="*/ 0 w 23"/>
                    <a:gd name="T9" fmla="*/ 28 h 28"/>
                  </a:gdLst>
                  <a:ahLst/>
                  <a:cxnLst>
                    <a:cxn ang="0">
                      <a:pos x="T0" y="T1"/>
                    </a:cxn>
                    <a:cxn ang="0">
                      <a:pos x="T2" y="T3"/>
                    </a:cxn>
                    <a:cxn ang="0">
                      <a:pos x="T4" y="T5"/>
                    </a:cxn>
                    <a:cxn ang="0">
                      <a:pos x="T6" y="T7"/>
                    </a:cxn>
                    <a:cxn ang="0">
                      <a:pos x="T8" y="T9"/>
                    </a:cxn>
                  </a:cxnLst>
                  <a:rect l="0" t="0" r="r" b="b"/>
                  <a:pathLst>
                    <a:path w="23" h="28">
                      <a:moveTo>
                        <a:pt x="0" y="28"/>
                      </a:moveTo>
                      <a:lnTo>
                        <a:pt x="23" y="0"/>
                      </a:lnTo>
                      <a:lnTo>
                        <a:pt x="21" y="0"/>
                      </a:lnTo>
                      <a:lnTo>
                        <a:pt x="0" y="28"/>
                      </a:lnTo>
                      <a:lnTo>
                        <a:pt x="0" y="28"/>
                      </a:lnTo>
                    </a:path>
                  </a:pathLst>
                </a:custGeom>
                <a:noFill/>
                <a:ln>
                  <a:noFill/>
                </a:ln>
                <a:extLst/>
              </p:spPr>
              <p:txBody>
                <a:bodyPr/>
                <a:lstStyle/>
                <a:p>
                  <a:pPr eaLnBrk="1" hangingPunct="1">
                    <a:defRPr/>
                  </a:pPr>
                  <a:endParaRPr lang="zh-CN" altLang="en-US" sz="1050"/>
                </a:p>
              </p:txBody>
            </p:sp>
            <p:sp>
              <p:nvSpPr>
                <p:cNvPr id="4154" name="Freeform 1397"/>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close/>
                    </a:path>
                  </a:pathLst>
                </a:custGeom>
                <a:solidFill>
                  <a:srgbClr val="01AAE5"/>
                </a:solidFill>
                <a:ln>
                  <a:noFill/>
                </a:ln>
                <a:extLst/>
              </p:spPr>
              <p:txBody>
                <a:bodyPr/>
                <a:lstStyle/>
                <a:p>
                  <a:pPr eaLnBrk="1" hangingPunct="1">
                    <a:defRPr/>
                  </a:pPr>
                  <a:endParaRPr lang="zh-CN" altLang="en-US" sz="1050"/>
                </a:p>
              </p:txBody>
            </p:sp>
            <p:sp>
              <p:nvSpPr>
                <p:cNvPr id="4155" name="Freeform 1398"/>
                <p:cNvSpPr>
                  <a:spLocks/>
                </p:cNvSpPr>
                <p:nvPr/>
              </p:nvSpPr>
              <p:spPr bwMode="auto">
                <a:xfrm>
                  <a:off x="11397" y="1977"/>
                  <a:ext cx="33" cy="35"/>
                </a:xfrm>
                <a:custGeom>
                  <a:avLst/>
                  <a:gdLst>
                    <a:gd name="T0" fmla="*/ 2 w 26"/>
                    <a:gd name="T1" fmla="*/ 33 h 33"/>
                    <a:gd name="T2" fmla="*/ 26 w 26"/>
                    <a:gd name="T3" fmla="*/ 3 h 33"/>
                    <a:gd name="T4" fmla="*/ 26 w 26"/>
                    <a:gd name="T5" fmla="*/ 0 h 33"/>
                    <a:gd name="T6" fmla="*/ 0 w 26"/>
                    <a:gd name="T7" fmla="*/ 31 h 33"/>
                    <a:gd name="T8" fmla="*/ 2 w 26"/>
                    <a:gd name="T9" fmla="*/ 33 h 33"/>
                  </a:gdLst>
                  <a:ahLst/>
                  <a:cxnLst>
                    <a:cxn ang="0">
                      <a:pos x="T0" y="T1"/>
                    </a:cxn>
                    <a:cxn ang="0">
                      <a:pos x="T2" y="T3"/>
                    </a:cxn>
                    <a:cxn ang="0">
                      <a:pos x="T4" y="T5"/>
                    </a:cxn>
                    <a:cxn ang="0">
                      <a:pos x="T6" y="T7"/>
                    </a:cxn>
                    <a:cxn ang="0">
                      <a:pos x="T8" y="T9"/>
                    </a:cxn>
                  </a:cxnLst>
                  <a:rect l="0" t="0" r="r" b="b"/>
                  <a:pathLst>
                    <a:path w="26" h="33">
                      <a:moveTo>
                        <a:pt x="2" y="33"/>
                      </a:moveTo>
                      <a:lnTo>
                        <a:pt x="26" y="3"/>
                      </a:lnTo>
                      <a:lnTo>
                        <a:pt x="26" y="0"/>
                      </a:lnTo>
                      <a:lnTo>
                        <a:pt x="0" y="31"/>
                      </a:lnTo>
                      <a:lnTo>
                        <a:pt x="2" y="33"/>
                      </a:lnTo>
                    </a:path>
                  </a:pathLst>
                </a:custGeom>
                <a:noFill/>
                <a:ln>
                  <a:noFill/>
                </a:ln>
                <a:extLst/>
              </p:spPr>
              <p:txBody>
                <a:bodyPr/>
                <a:lstStyle/>
                <a:p>
                  <a:pPr eaLnBrk="1" hangingPunct="1">
                    <a:defRPr/>
                  </a:pPr>
                  <a:endParaRPr lang="zh-CN" altLang="en-US" sz="1050"/>
                </a:p>
              </p:txBody>
            </p:sp>
            <p:sp>
              <p:nvSpPr>
                <p:cNvPr id="4156" name="Freeform 1399"/>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4157" name="Freeform 1400"/>
                <p:cNvSpPr>
                  <a:spLocks/>
                </p:cNvSpPr>
                <p:nvPr/>
              </p:nvSpPr>
              <p:spPr bwMode="auto">
                <a:xfrm>
                  <a:off x="11413" y="2003"/>
                  <a:ext cx="17" cy="9"/>
                </a:xfrm>
                <a:custGeom>
                  <a:avLst/>
                  <a:gdLst>
                    <a:gd name="T0" fmla="*/ 0 w 14"/>
                    <a:gd name="T1" fmla="*/ 17 h 17"/>
                    <a:gd name="T2" fmla="*/ 14 w 14"/>
                    <a:gd name="T3" fmla="*/ 0 h 17"/>
                    <a:gd name="T4" fmla="*/ 14 w 14"/>
                    <a:gd name="T5" fmla="*/ 0 h 17"/>
                    <a:gd name="T6" fmla="*/ 0 w 14"/>
                    <a:gd name="T7" fmla="*/ 17 h 17"/>
                    <a:gd name="T8" fmla="*/ 0 w 14"/>
                    <a:gd name="T9" fmla="*/ 17 h 17"/>
                  </a:gdLst>
                  <a:ahLst/>
                  <a:cxnLst>
                    <a:cxn ang="0">
                      <a:pos x="T0" y="T1"/>
                    </a:cxn>
                    <a:cxn ang="0">
                      <a:pos x="T2" y="T3"/>
                    </a:cxn>
                    <a:cxn ang="0">
                      <a:pos x="T4" y="T5"/>
                    </a:cxn>
                    <a:cxn ang="0">
                      <a:pos x="T6" y="T7"/>
                    </a:cxn>
                    <a:cxn ang="0">
                      <a:pos x="T8" y="T9"/>
                    </a:cxn>
                  </a:cxnLst>
                  <a:rect l="0" t="0" r="r" b="b"/>
                  <a:pathLst>
                    <a:path w="14" h="17">
                      <a:moveTo>
                        <a:pt x="0" y="17"/>
                      </a:moveTo>
                      <a:lnTo>
                        <a:pt x="14" y="0"/>
                      </a:lnTo>
                      <a:lnTo>
                        <a:pt x="14" y="0"/>
                      </a:lnTo>
                      <a:lnTo>
                        <a:pt x="0" y="17"/>
                      </a:lnTo>
                      <a:lnTo>
                        <a:pt x="0" y="17"/>
                      </a:lnTo>
                    </a:path>
                  </a:pathLst>
                </a:custGeom>
                <a:noFill/>
                <a:ln>
                  <a:noFill/>
                </a:ln>
                <a:extLst/>
              </p:spPr>
              <p:txBody>
                <a:bodyPr/>
                <a:lstStyle/>
                <a:p>
                  <a:pPr eaLnBrk="1" hangingPunct="1">
                    <a:defRPr/>
                  </a:pPr>
                  <a:endParaRPr lang="zh-CN" altLang="en-US" sz="1050"/>
                </a:p>
              </p:txBody>
            </p:sp>
            <p:sp>
              <p:nvSpPr>
                <p:cNvPr id="4158" name="Freeform 1401"/>
                <p:cNvSpPr>
                  <a:spLocks/>
                </p:cNvSpPr>
                <p:nvPr/>
              </p:nvSpPr>
              <p:spPr bwMode="auto">
                <a:xfrm>
                  <a:off x="11488" y="2046"/>
                  <a:ext cx="0" cy="0"/>
                </a:xfrm>
                <a:custGeom>
                  <a:avLst/>
                  <a:gdLst>
                    <a:gd name="T0" fmla="*/ 0 w 4"/>
                    <a:gd name="T1" fmla="*/ 4 h 4"/>
                    <a:gd name="T2" fmla="*/ 4 w 4"/>
                    <a:gd name="T3" fmla="*/ 0 h 4"/>
                    <a:gd name="T4" fmla="*/ 4 w 4"/>
                    <a:gd name="T5" fmla="*/ 0 h 4"/>
                    <a:gd name="T6" fmla="*/ 0 w 4"/>
                    <a:gd name="T7" fmla="*/ 4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4" y="0"/>
                      </a:lnTo>
                      <a:lnTo>
                        <a:pt x="4"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159" name="Freeform 1402"/>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60" name="Freeform 1403"/>
                <p:cNvSpPr>
                  <a:spLocks/>
                </p:cNvSpPr>
                <p:nvPr/>
              </p:nvSpPr>
              <p:spPr bwMode="auto">
                <a:xfrm>
                  <a:off x="11488" y="2046"/>
                  <a:ext cx="0" cy="9"/>
                </a:xfrm>
                <a:custGeom>
                  <a:avLst/>
                  <a:gdLst>
                    <a:gd name="T0" fmla="*/ 0 w 5"/>
                    <a:gd name="T1" fmla="*/ 5 h 5"/>
                    <a:gd name="T2" fmla="*/ 5 w 5"/>
                    <a:gd name="T3" fmla="*/ 2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2"/>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61" name="Freeform 1404"/>
                <p:cNvSpPr>
                  <a:spLocks/>
                </p:cNvSpPr>
                <p:nvPr/>
              </p:nvSpPr>
              <p:spPr bwMode="auto">
                <a:xfrm>
                  <a:off x="11480" y="2046"/>
                  <a:ext cx="0" cy="0"/>
                </a:xfrm>
                <a:custGeom>
                  <a:avLst/>
                  <a:gdLst>
                    <a:gd name="T0" fmla="*/ 0 w 5"/>
                    <a:gd name="T1" fmla="*/ 4 h 4"/>
                    <a:gd name="T2" fmla="*/ 5 w 5"/>
                    <a:gd name="T3" fmla="*/ 0 h 4"/>
                    <a:gd name="T4" fmla="*/ 5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5"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162" name="Freeform 1405"/>
                <p:cNvSpPr>
                  <a:spLocks/>
                </p:cNvSpPr>
                <p:nvPr/>
              </p:nvSpPr>
              <p:spPr bwMode="auto">
                <a:xfrm>
                  <a:off x="11488" y="2046"/>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63" name="Freeform 1406"/>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close/>
                    </a:path>
                  </a:pathLst>
                </a:custGeom>
                <a:solidFill>
                  <a:srgbClr val="01AAE5"/>
                </a:solidFill>
                <a:ln>
                  <a:noFill/>
                </a:ln>
                <a:extLst/>
              </p:spPr>
              <p:txBody>
                <a:bodyPr/>
                <a:lstStyle/>
                <a:p>
                  <a:pPr eaLnBrk="1" hangingPunct="1">
                    <a:defRPr/>
                  </a:pPr>
                  <a:endParaRPr lang="zh-CN" altLang="en-US" sz="1050"/>
                </a:p>
              </p:txBody>
            </p:sp>
            <p:sp>
              <p:nvSpPr>
                <p:cNvPr id="4164" name="Freeform 1407"/>
                <p:cNvSpPr>
                  <a:spLocks/>
                </p:cNvSpPr>
                <p:nvPr/>
              </p:nvSpPr>
              <p:spPr bwMode="auto">
                <a:xfrm>
                  <a:off x="11447" y="2011"/>
                  <a:ext cx="0" cy="17"/>
                </a:xfrm>
                <a:custGeom>
                  <a:avLst/>
                  <a:gdLst>
                    <a:gd name="T0" fmla="*/ 0 w 7"/>
                    <a:gd name="T1" fmla="*/ 9 h 9"/>
                    <a:gd name="T2" fmla="*/ 7 w 7"/>
                    <a:gd name="T3" fmla="*/ 2 h 9"/>
                    <a:gd name="T4" fmla="*/ 7 w 7"/>
                    <a:gd name="T5" fmla="*/ 0 h 9"/>
                    <a:gd name="T6" fmla="*/ 0 w 7"/>
                    <a:gd name="T7" fmla="*/ 9 h 9"/>
                    <a:gd name="T8" fmla="*/ 0 w 7"/>
                    <a:gd name="T9" fmla="*/ 9 h 9"/>
                  </a:gdLst>
                  <a:ahLst/>
                  <a:cxnLst>
                    <a:cxn ang="0">
                      <a:pos x="T0" y="T1"/>
                    </a:cxn>
                    <a:cxn ang="0">
                      <a:pos x="T2" y="T3"/>
                    </a:cxn>
                    <a:cxn ang="0">
                      <a:pos x="T4" y="T5"/>
                    </a:cxn>
                    <a:cxn ang="0">
                      <a:pos x="T6" y="T7"/>
                    </a:cxn>
                    <a:cxn ang="0">
                      <a:pos x="T8" y="T9"/>
                    </a:cxn>
                  </a:cxnLst>
                  <a:rect l="0" t="0" r="r" b="b"/>
                  <a:pathLst>
                    <a:path w="7" h="9">
                      <a:moveTo>
                        <a:pt x="0" y="9"/>
                      </a:moveTo>
                      <a:lnTo>
                        <a:pt x="7" y="2"/>
                      </a:lnTo>
                      <a:lnTo>
                        <a:pt x="7" y="0"/>
                      </a:lnTo>
                      <a:lnTo>
                        <a:pt x="0" y="9"/>
                      </a:lnTo>
                      <a:lnTo>
                        <a:pt x="0" y="9"/>
                      </a:lnTo>
                    </a:path>
                  </a:pathLst>
                </a:custGeom>
                <a:noFill/>
                <a:ln>
                  <a:noFill/>
                </a:ln>
                <a:extLst/>
              </p:spPr>
              <p:txBody>
                <a:bodyPr/>
                <a:lstStyle/>
                <a:p>
                  <a:pPr eaLnBrk="1" hangingPunct="1">
                    <a:defRPr/>
                  </a:pPr>
                  <a:endParaRPr lang="zh-CN" altLang="en-US" sz="1050"/>
                </a:p>
              </p:txBody>
            </p:sp>
            <p:sp>
              <p:nvSpPr>
                <p:cNvPr id="4165" name="Freeform 1408"/>
                <p:cNvSpPr>
                  <a:spLocks/>
                </p:cNvSpPr>
                <p:nvPr/>
              </p:nvSpPr>
              <p:spPr bwMode="auto">
                <a:xfrm>
                  <a:off x="11488" y="2046"/>
                  <a:ext cx="0" cy="9"/>
                </a:xfrm>
                <a:custGeom>
                  <a:avLst/>
                  <a:gdLst>
                    <a:gd name="T0" fmla="*/ 3 w 5"/>
                    <a:gd name="T1" fmla="*/ 5 h 5"/>
                    <a:gd name="T2" fmla="*/ 5 w 5"/>
                    <a:gd name="T3" fmla="*/ 3 h 5"/>
                    <a:gd name="T4" fmla="*/ 5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5" y="0"/>
                      </a:lnTo>
                      <a:lnTo>
                        <a:pt x="0" y="5"/>
                      </a:lnTo>
                      <a:lnTo>
                        <a:pt x="3" y="5"/>
                      </a:lnTo>
                      <a:close/>
                    </a:path>
                  </a:pathLst>
                </a:custGeom>
                <a:solidFill>
                  <a:srgbClr val="01AAE5"/>
                </a:solidFill>
                <a:ln>
                  <a:noFill/>
                </a:ln>
                <a:extLst/>
              </p:spPr>
              <p:txBody>
                <a:bodyPr/>
                <a:lstStyle/>
                <a:p>
                  <a:pPr eaLnBrk="1" hangingPunct="1">
                    <a:defRPr/>
                  </a:pPr>
                  <a:endParaRPr lang="zh-CN" altLang="en-US" sz="1050"/>
                </a:p>
              </p:txBody>
            </p:sp>
            <p:sp>
              <p:nvSpPr>
                <p:cNvPr id="4166" name="Freeform 1409"/>
                <p:cNvSpPr>
                  <a:spLocks/>
                </p:cNvSpPr>
                <p:nvPr/>
              </p:nvSpPr>
              <p:spPr bwMode="auto">
                <a:xfrm>
                  <a:off x="11488" y="2055"/>
                  <a:ext cx="0" cy="9"/>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01AAE5"/>
                </a:solidFill>
                <a:ln>
                  <a:noFill/>
                </a:ln>
                <a:extLst/>
              </p:spPr>
              <p:txBody>
                <a:bodyPr/>
                <a:lstStyle/>
                <a:p>
                  <a:pPr eaLnBrk="1" hangingPunct="1">
                    <a:defRPr/>
                  </a:pPr>
                  <a:endParaRPr lang="zh-CN" altLang="en-US" sz="1050"/>
                </a:p>
              </p:txBody>
            </p:sp>
            <p:sp>
              <p:nvSpPr>
                <p:cNvPr id="4167" name="Freeform 1410"/>
                <p:cNvSpPr>
                  <a:spLocks/>
                </p:cNvSpPr>
                <p:nvPr/>
              </p:nvSpPr>
              <p:spPr bwMode="auto">
                <a:xfrm>
                  <a:off x="11488" y="2055"/>
                  <a:ext cx="0" cy="9"/>
                </a:xfrm>
                <a:custGeom>
                  <a:avLst/>
                  <a:gdLst>
                    <a:gd name="T0" fmla="*/ 2 w 7"/>
                    <a:gd name="T1" fmla="*/ 5 h 5"/>
                    <a:gd name="T2" fmla="*/ 7 w 7"/>
                    <a:gd name="T3" fmla="*/ 0 h 5"/>
                    <a:gd name="T4" fmla="*/ 5 w 7"/>
                    <a:gd name="T5" fmla="*/ 0 h 5"/>
                    <a:gd name="T6" fmla="*/ 0 w 7"/>
                    <a:gd name="T7" fmla="*/ 3 h 5"/>
                    <a:gd name="T8" fmla="*/ 2 w 7"/>
                    <a:gd name="T9" fmla="*/ 5 h 5"/>
                  </a:gdLst>
                  <a:ahLst/>
                  <a:cxnLst>
                    <a:cxn ang="0">
                      <a:pos x="T0" y="T1"/>
                    </a:cxn>
                    <a:cxn ang="0">
                      <a:pos x="T2" y="T3"/>
                    </a:cxn>
                    <a:cxn ang="0">
                      <a:pos x="T4" y="T5"/>
                    </a:cxn>
                    <a:cxn ang="0">
                      <a:pos x="T6" y="T7"/>
                    </a:cxn>
                    <a:cxn ang="0">
                      <a:pos x="T8" y="T9"/>
                    </a:cxn>
                  </a:cxnLst>
                  <a:rect l="0" t="0" r="r" b="b"/>
                  <a:pathLst>
                    <a:path w="7" h="5">
                      <a:moveTo>
                        <a:pt x="2" y="5"/>
                      </a:moveTo>
                      <a:lnTo>
                        <a:pt x="7" y="0"/>
                      </a:lnTo>
                      <a:lnTo>
                        <a:pt x="5" y="0"/>
                      </a:lnTo>
                      <a:lnTo>
                        <a:pt x="0" y="3"/>
                      </a:lnTo>
                      <a:lnTo>
                        <a:pt x="2" y="5"/>
                      </a:lnTo>
                      <a:close/>
                    </a:path>
                  </a:pathLst>
                </a:custGeom>
                <a:solidFill>
                  <a:srgbClr val="01AAE5"/>
                </a:solidFill>
                <a:ln>
                  <a:noFill/>
                </a:ln>
                <a:extLst/>
              </p:spPr>
              <p:txBody>
                <a:bodyPr/>
                <a:lstStyle/>
                <a:p>
                  <a:pPr eaLnBrk="1" hangingPunct="1">
                    <a:defRPr/>
                  </a:pPr>
                  <a:endParaRPr lang="zh-CN" altLang="en-US" sz="1050"/>
                </a:p>
              </p:txBody>
            </p:sp>
            <p:sp>
              <p:nvSpPr>
                <p:cNvPr id="4168" name="Freeform 1411"/>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69" name="Freeform 1412"/>
                <p:cNvSpPr>
                  <a:spLocks/>
                </p:cNvSpPr>
                <p:nvPr/>
              </p:nvSpPr>
              <p:spPr bwMode="auto">
                <a:xfrm>
                  <a:off x="11447" y="2020"/>
                  <a:ext cx="0"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4170" name="Freeform 1413"/>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4171" name="Freeform 1414"/>
                <p:cNvSpPr>
                  <a:spLocks/>
                </p:cNvSpPr>
                <p:nvPr/>
              </p:nvSpPr>
              <p:spPr bwMode="auto">
                <a:xfrm>
                  <a:off x="11447" y="2029"/>
                  <a:ext cx="0" cy="9"/>
                </a:xfrm>
                <a:custGeom>
                  <a:avLst/>
                  <a:gdLst>
                    <a:gd name="T0" fmla="*/ 3 w 7"/>
                    <a:gd name="T1" fmla="*/ 7 h 7"/>
                    <a:gd name="T2" fmla="*/ 7 w 7"/>
                    <a:gd name="T3" fmla="*/ 0 h 7"/>
                    <a:gd name="T4" fmla="*/ 7 w 7"/>
                    <a:gd name="T5" fmla="*/ 0 h 7"/>
                    <a:gd name="T6" fmla="*/ 0 w 7"/>
                    <a:gd name="T7" fmla="*/ 7 h 7"/>
                    <a:gd name="T8" fmla="*/ 3 w 7"/>
                    <a:gd name="T9" fmla="*/ 7 h 7"/>
                  </a:gdLst>
                  <a:ahLst/>
                  <a:cxnLst>
                    <a:cxn ang="0">
                      <a:pos x="T0" y="T1"/>
                    </a:cxn>
                    <a:cxn ang="0">
                      <a:pos x="T2" y="T3"/>
                    </a:cxn>
                    <a:cxn ang="0">
                      <a:pos x="T4" y="T5"/>
                    </a:cxn>
                    <a:cxn ang="0">
                      <a:pos x="T6" y="T7"/>
                    </a:cxn>
                    <a:cxn ang="0">
                      <a:pos x="T8" y="T9"/>
                    </a:cxn>
                  </a:cxnLst>
                  <a:rect l="0" t="0" r="r" b="b"/>
                  <a:pathLst>
                    <a:path w="7" h="7">
                      <a:moveTo>
                        <a:pt x="3" y="7"/>
                      </a:moveTo>
                      <a:lnTo>
                        <a:pt x="7" y="0"/>
                      </a:lnTo>
                      <a:lnTo>
                        <a:pt x="7" y="0"/>
                      </a:lnTo>
                      <a:lnTo>
                        <a:pt x="0" y="7"/>
                      </a:lnTo>
                      <a:lnTo>
                        <a:pt x="3" y="7"/>
                      </a:lnTo>
                    </a:path>
                  </a:pathLst>
                </a:custGeom>
                <a:noFill/>
                <a:ln>
                  <a:noFill/>
                </a:ln>
                <a:extLst/>
              </p:spPr>
              <p:txBody>
                <a:bodyPr/>
                <a:lstStyle/>
                <a:p>
                  <a:pPr eaLnBrk="1" hangingPunct="1">
                    <a:defRPr/>
                  </a:pPr>
                  <a:endParaRPr lang="zh-CN" altLang="en-US" sz="1050"/>
                </a:p>
              </p:txBody>
            </p:sp>
            <p:sp>
              <p:nvSpPr>
                <p:cNvPr id="4172" name="Freeform 1415"/>
                <p:cNvSpPr>
                  <a:spLocks/>
                </p:cNvSpPr>
                <p:nvPr/>
              </p:nvSpPr>
              <p:spPr bwMode="auto">
                <a:xfrm>
                  <a:off x="11480" y="2038"/>
                  <a:ext cx="0" cy="9"/>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73" name="Freeform 1416"/>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74" name="Freeform 1417"/>
                <p:cNvSpPr>
                  <a:spLocks/>
                </p:cNvSpPr>
                <p:nvPr/>
              </p:nvSpPr>
              <p:spPr bwMode="auto">
                <a:xfrm>
                  <a:off x="11447" y="2020"/>
                  <a:ext cx="17" cy="9"/>
                </a:xfrm>
                <a:custGeom>
                  <a:avLst/>
                  <a:gdLst>
                    <a:gd name="T0" fmla="*/ 0 w 7"/>
                    <a:gd name="T1" fmla="*/ 7 h 7"/>
                    <a:gd name="T2" fmla="*/ 7 w 7"/>
                    <a:gd name="T3" fmla="*/ 0 h 7"/>
                    <a:gd name="T4" fmla="*/ 7 w 7"/>
                    <a:gd name="T5" fmla="*/ 0 h 7"/>
                    <a:gd name="T6" fmla="*/ 0 w 7"/>
                    <a:gd name="T7" fmla="*/ 7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lnTo>
                        <a:pt x="7" y="0"/>
                      </a:lnTo>
                      <a:lnTo>
                        <a:pt x="7" y="0"/>
                      </a:lnTo>
                      <a:lnTo>
                        <a:pt x="0" y="7"/>
                      </a:lnTo>
                      <a:lnTo>
                        <a:pt x="0" y="7"/>
                      </a:lnTo>
                    </a:path>
                  </a:pathLst>
                </a:custGeom>
                <a:noFill/>
                <a:ln>
                  <a:noFill/>
                </a:ln>
                <a:extLst/>
              </p:spPr>
              <p:txBody>
                <a:bodyPr/>
                <a:lstStyle/>
                <a:p>
                  <a:pPr eaLnBrk="1" hangingPunct="1">
                    <a:defRPr/>
                  </a:pPr>
                  <a:endParaRPr lang="zh-CN" altLang="en-US" sz="1050"/>
                </a:p>
              </p:txBody>
            </p:sp>
            <p:sp>
              <p:nvSpPr>
                <p:cNvPr id="4175" name="Freeform 1418"/>
                <p:cNvSpPr>
                  <a:spLocks/>
                </p:cNvSpPr>
                <p:nvPr/>
              </p:nvSpPr>
              <p:spPr bwMode="auto">
                <a:xfrm>
                  <a:off x="11447" y="2029"/>
                  <a:ext cx="0" cy="9"/>
                </a:xfrm>
                <a:custGeom>
                  <a:avLst/>
                  <a:gdLst>
                    <a:gd name="T0" fmla="*/ 0 w 5"/>
                    <a:gd name="T1" fmla="*/ 7 h 7"/>
                    <a:gd name="T2" fmla="*/ 5 w 5"/>
                    <a:gd name="T3" fmla="*/ 2 h 7"/>
                    <a:gd name="T4" fmla="*/ 5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2"/>
                      </a:lnTo>
                      <a:lnTo>
                        <a:pt x="5"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76" name="Freeform 1419"/>
                <p:cNvSpPr>
                  <a:spLocks/>
                </p:cNvSpPr>
                <p:nvPr/>
              </p:nvSpPr>
              <p:spPr bwMode="auto">
                <a:xfrm>
                  <a:off x="11480" y="2038"/>
                  <a:ext cx="0" cy="9"/>
                </a:xfrm>
                <a:custGeom>
                  <a:avLst/>
                  <a:gdLst>
                    <a:gd name="T0" fmla="*/ 0 w 4"/>
                    <a:gd name="T1" fmla="*/ 5 h 5"/>
                    <a:gd name="T2" fmla="*/ 0 w 4"/>
                    <a:gd name="T3" fmla="*/ 5 h 5"/>
                    <a:gd name="T4" fmla="*/ 4 w 4"/>
                    <a:gd name="T5" fmla="*/ 0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5"/>
                      </a:lnTo>
                      <a:lnTo>
                        <a:pt x="4" y="0"/>
                      </a:lnTo>
                      <a:lnTo>
                        <a:pt x="4" y="0"/>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77" name="Freeform 1420"/>
                <p:cNvSpPr>
                  <a:spLocks/>
                </p:cNvSpPr>
                <p:nvPr/>
              </p:nvSpPr>
              <p:spPr bwMode="auto">
                <a:xfrm>
                  <a:off x="11447" y="2038"/>
                  <a:ext cx="0" cy="0"/>
                </a:xfrm>
                <a:custGeom>
                  <a:avLst/>
                  <a:gdLst>
                    <a:gd name="T0" fmla="*/ 0 w 5"/>
                    <a:gd name="T1" fmla="*/ 5 h 5"/>
                    <a:gd name="T2" fmla="*/ 5 w 5"/>
                    <a:gd name="T3" fmla="*/ 0 h 5"/>
                    <a:gd name="T4" fmla="*/ 5 w 5"/>
                    <a:gd name="T5" fmla="*/ 0 h 5"/>
                    <a:gd name="T6" fmla="*/ 0 w 5"/>
                    <a:gd name="T7" fmla="*/ 5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178" name="Freeform 1421"/>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close/>
                    </a:path>
                  </a:pathLst>
                </a:custGeom>
                <a:solidFill>
                  <a:srgbClr val="01AAE5"/>
                </a:solidFill>
                <a:ln>
                  <a:noFill/>
                </a:ln>
                <a:extLst/>
              </p:spPr>
              <p:txBody>
                <a:bodyPr/>
                <a:lstStyle/>
                <a:p>
                  <a:pPr eaLnBrk="1" hangingPunct="1">
                    <a:defRPr/>
                  </a:pPr>
                  <a:endParaRPr lang="zh-CN" altLang="en-US" sz="1050"/>
                </a:p>
              </p:txBody>
            </p:sp>
            <p:sp>
              <p:nvSpPr>
                <p:cNvPr id="4179" name="Freeform 1422"/>
                <p:cNvSpPr>
                  <a:spLocks/>
                </p:cNvSpPr>
                <p:nvPr/>
              </p:nvSpPr>
              <p:spPr bwMode="auto">
                <a:xfrm>
                  <a:off x="11322" y="1924"/>
                  <a:ext cx="0" cy="17"/>
                </a:xfrm>
                <a:custGeom>
                  <a:avLst/>
                  <a:gdLst>
                    <a:gd name="T0" fmla="*/ 0 w 9"/>
                    <a:gd name="T1" fmla="*/ 16 h 16"/>
                    <a:gd name="T2" fmla="*/ 9 w 9"/>
                    <a:gd name="T3" fmla="*/ 0 h 16"/>
                    <a:gd name="T4" fmla="*/ 7 w 9"/>
                    <a:gd name="T5" fmla="*/ 0 h 16"/>
                    <a:gd name="T6" fmla="*/ 0 w 9"/>
                    <a:gd name="T7" fmla="*/ 16 h 16"/>
                    <a:gd name="T8" fmla="*/ 0 w 9"/>
                    <a:gd name="T9" fmla="*/ 16 h 16"/>
                  </a:gdLst>
                  <a:ahLst/>
                  <a:cxnLst>
                    <a:cxn ang="0">
                      <a:pos x="T0" y="T1"/>
                    </a:cxn>
                    <a:cxn ang="0">
                      <a:pos x="T2" y="T3"/>
                    </a:cxn>
                    <a:cxn ang="0">
                      <a:pos x="T4" y="T5"/>
                    </a:cxn>
                    <a:cxn ang="0">
                      <a:pos x="T6" y="T7"/>
                    </a:cxn>
                    <a:cxn ang="0">
                      <a:pos x="T8" y="T9"/>
                    </a:cxn>
                  </a:cxnLst>
                  <a:rect l="0" t="0" r="r" b="b"/>
                  <a:pathLst>
                    <a:path w="9" h="16">
                      <a:moveTo>
                        <a:pt x="0" y="16"/>
                      </a:moveTo>
                      <a:lnTo>
                        <a:pt x="9" y="0"/>
                      </a:lnTo>
                      <a:lnTo>
                        <a:pt x="7" y="0"/>
                      </a:lnTo>
                      <a:lnTo>
                        <a:pt x="0" y="16"/>
                      </a:lnTo>
                      <a:lnTo>
                        <a:pt x="0" y="16"/>
                      </a:lnTo>
                    </a:path>
                  </a:pathLst>
                </a:custGeom>
                <a:noFill/>
                <a:ln>
                  <a:noFill/>
                </a:ln>
                <a:extLst/>
              </p:spPr>
              <p:txBody>
                <a:bodyPr/>
                <a:lstStyle/>
                <a:p>
                  <a:pPr eaLnBrk="1" hangingPunct="1">
                    <a:defRPr/>
                  </a:pPr>
                  <a:endParaRPr lang="zh-CN" altLang="en-US" sz="1050"/>
                </a:p>
              </p:txBody>
            </p:sp>
            <p:sp>
              <p:nvSpPr>
                <p:cNvPr id="4180" name="Freeform 1423"/>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close/>
                    </a:path>
                  </a:pathLst>
                </a:custGeom>
                <a:solidFill>
                  <a:srgbClr val="01AAE5"/>
                </a:solidFill>
                <a:ln>
                  <a:noFill/>
                </a:ln>
                <a:extLst/>
              </p:spPr>
              <p:txBody>
                <a:bodyPr/>
                <a:lstStyle/>
                <a:p>
                  <a:pPr eaLnBrk="1" hangingPunct="1">
                    <a:defRPr/>
                  </a:pPr>
                  <a:endParaRPr lang="zh-CN" altLang="en-US" sz="1050"/>
                </a:p>
              </p:txBody>
            </p:sp>
            <p:sp>
              <p:nvSpPr>
                <p:cNvPr id="4181" name="Freeform 1424"/>
                <p:cNvSpPr>
                  <a:spLocks/>
                </p:cNvSpPr>
                <p:nvPr/>
              </p:nvSpPr>
              <p:spPr bwMode="auto">
                <a:xfrm>
                  <a:off x="11305" y="1924"/>
                  <a:ext cx="8" cy="17"/>
                </a:xfrm>
                <a:custGeom>
                  <a:avLst/>
                  <a:gdLst>
                    <a:gd name="T0" fmla="*/ 3 w 10"/>
                    <a:gd name="T1" fmla="*/ 14 h 14"/>
                    <a:gd name="T2" fmla="*/ 10 w 10"/>
                    <a:gd name="T3" fmla="*/ 0 h 14"/>
                    <a:gd name="T4" fmla="*/ 10 w 10"/>
                    <a:gd name="T5" fmla="*/ 0 h 14"/>
                    <a:gd name="T6" fmla="*/ 0 w 10"/>
                    <a:gd name="T7" fmla="*/ 14 h 14"/>
                    <a:gd name="T8" fmla="*/ 3 w 10"/>
                    <a:gd name="T9" fmla="*/ 14 h 14"/>
                  </a:gdLst>
                  <a:ahLst/>
                  <a:cxnLst>
                    <a:cxn ang="0">
                      <a:pos x="T0" y="T1"/>
                    </a:cxn>
                    <a:cxn ang="0">
                      <a:pos x="T2" y="T3"/>
                    </a:cxn>
                    <a:cxn ang="0">
                      <a:pos x="T4" y="T5"/>
                    </a:cxn>
                    <a:cxn ang="0">
                      <a:pos x="T6" y="T7"/>
                    </a:cxn>
                    <a:cxn ang="0">
                      <a:pos x="T8" y="T9"/>
                    </a:cxn>
                  </a:cxnLst>
                  <a:rect l="0" t="0" r="r" b="b"/>
                  <a:pathLst>
                    <a:path w="10" h="14">
                      <a:moveTo>
                        <a:pt x="3" y="14"/>
                      </a:moveTo>
                      <a:lnTo>
                        <a:pt x="10" y="0"/>
                      </a:lnTo>
                      <a:lnTo>
                        <a:pt x="10" y="0"/>
                      </a:lnTo>
                      <a:lnTo>
                        <a:pt x="0" y="14"/>
                      </a:lnTo>
                      <a:lnTo>
                        <a:pt x="3" y="14"/>
                      </a:lnTo>
                    </a:path>
                  </a:pathLst>
                </a:custGeom>
                <a:noFill/>
                <a:ln>
                  <a:noFill/>
                </a:ln>
                <a:extLst/>
              </p:spPr>
              <p:txBody>
                <a:bodyPr/>
                <a:lstStyle/>
                <a:p>
                  <a:pPr eaLnBrk="1" hangingPunct="1">
                    <a:defRPr/>
                  </a:pPr>
                  <a:endParaRPr lang="zh-CN" altLang="en-US" sz="1050"/>
                </a:p>
              </p:txBody>
            </p:sp>
            <p:sp>
              <p:nvSpPr>
                <p:cNvPr id="4182" name="Freeform 1425"/>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183" name="Freeform 1426"/>
                <p:cNvSpPr>
                  <a:spLocks/>
                </p:cNvSpPr>
                <p:nvPr/>
              </p:nvSpPr>
              <p:spPr bwMode="auto">
                <a:xfrm>
                  <a:off x="11272" y="1916"/>
                  <a:ext cx="0" cy="9"/>
                </a:xfrm>
                <a:custGeom>
                  <a:avLst/>
                  <a:gdLst>
                    <a:gd name="T0" fmla="*/ 2 w 5"/>
                    <a:gd name="T1" fmla="*/ 7 h 7"/>
                    <a:gd name="T2" fmla="*/ 5 w 5"/>
                    <a:gd name="T3" fmla="*/ 0 h 7"/>
                    <a:gd name="T4" fmla="*/ 2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2" y="0"/>
                      </a:lnTo>
                      <a:lnTo>
                        <a:pt x="0" y="7"/>
                      </a:lnTo>
                      <a:lnTo>
                        <a:pt x="2" y="7"/>
                      </a:lnTo>
                    </a:path>
                  </a:pathLst>
                </a:custGeom>
                <a:noFill/>
                <a:ln>
                  <a:noFill/>
                </a:ln>
                <a:extLst/>
              </p:spPr>
              <p:txBody>
                <a:bodyPr/>
                <a:lstStyle/>
                <a:p>
                  <a:pPr eaLnBrk="1" hangingPunct="1">
                    <a:defRPr/>
                  </a:pPr>
                  <a:endParaRPr lang="zh-CN" altLang="en-US" sz="1050"/>
                </a:p>
              </p:txBody>
            </p:sp>
            <p:sp>
              <p:nvSpPr>
                <p:cNvPr id="4184" name="Freeform 1427"/>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close/>
                    </a:path>
                  </a:pathLst>
                </a:custGeom>
                <a:solidFill>
                  <a:srgbClr val="01AAE5"/>
                </a:solidFill>
                <a:ln>
                  <a:noFill/>
                </a:ln>
                <a:extLst/>
              </p:spPr>
              <p:txBody>
                <a:bodyPr/>
                <a:lstStyle/>
                <a:p>
                  <a:pPr eaLnBrk="1" hangingPunct="1">
                    <a:defRPr/>
                  </a:pPr>
                  <a:endParaRPr lang="zh-CN" altLang="en-US" sz="1050"/>
                </a:p>
              </p:txBody>
            </p:sp>
            <p:sp>
              <p:nvSpPr>
                <p:cNvPr id="4185" name="Freeform 1428"/>
                <p:cNvSpPr>
                  <a:spLocks/>
                </p:cNvSpPr>
                <p:nvPr/>
              </p:nvSpPr>
              <p:spPr bwMode="auto">
                <a:xfrm>
                  <a:off x="11305" y="1924"/>
                  <a:ext cx="8" cy="17"/>
                </a:xfrm>
                <a:custGeom>
                  <a:avLst/>
                  <a:gdLst>
                    <a:gd name="T0" fmla="*/ 2 w 7"/>
                    <a:gd name="T1" fmla="*/ 12 h 12"/>
                    <a:gd name="T2" fmla="*/ 7 w 7"/>
                    <a:gd name="T3" fmla="*/ 0 h 12"/>
                    <a:gd name="T4" fmla="*/ 7 w 7"/>
                    <a:gd name="T5" fmla="*/ 0 h 12"/>
                    <a:gd name="T6" fmla="*/ 0 w 7"/>
                    <a:gd name="T7" fmla="*/ 12 h 12"/>
                    <a:gd name="T8" fmla="*/ 2 w 7"/>
                    <a:gd name="T9" fmla="*/ 12 h 12"/>
                  </a:gdLst>
                  <a:ahLst/>
                  <a:cxnLst>
                    <a:cxn ang="0">
                      <a:pos x="T0" y="T1"/>
                    </a:cxn>
                    <a:cxn ang="0">
                      <a:pos x="T2" y="T3"/>
                    </a:cxn>
                    <a:cxn ang="0">
                      <a:pos x="T4" y="T5"/>
                    </a:cxn>
                    <a:cxn ang="0">
                      <a:pos x="T6" y="T7"/>
                    </a:cxn>
                    <a:cxn ang="0">
                      <a:pos x="T8" y="T9"/>
                    </a:cxn>
                  </a:cxnLst>
                  <a:rect l="0" t="0" r="r" b="b"/>
                  <a:pathLst>
                    <a:path w="7" h="12">
                      <a:moveTo>
                        <a:pt x="2" y="12"/>
                      </a:moveTo>
                      <a:lnTo>
                        <a:pt x="7" y="0"/>
                      </a:lnTo>
                      <a:lnTo>
                        <a:pt x="7" y="0"/>
                      </a:lnTo>
                      <a:lnTo>
                        <a:pt x="0" y="12"/>
                      </a:lnTo>
                      <a:lnTo>
                        <a:pt x="2" y="12"/>
                      </a:lnTo>
                    </a:path>
                  </a:pathLst>
                </a:custGeom>
                <a:noFill/>
                <a:ln>
                  <a:noFill/>
                </a:ln>
                <a:extLst/>
              </p:spPr>
              <p:txBody>
                <a:bodyPr/>
                <a:lstStyle/>
                <a:p>
                  <a:pPr eaLnBrk="1" hangingPunct="1">
                    <a:defRPr/>
                  </a:pPr>
                  <a:endParaRPr lang="zh-CN" altLang="en-US" sz="1050"/>
                </a:p>
              </p:txBody>
            </p:sp>
            <p:sp>
              <p:nvSpPr>
                <p:cNvPr id="4186" name="Freeform 1429"/>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close/>
                    </a:path>
                  </a:pathLst>
                </a:custGeom>
                <a:solidFill>
                  <a:srgbClr val="01AAE5"/>
                </a:solidFill>
                <a:ln>
                  <a:noFill/>
                </a:ln>
                <a:extLst/>
              </p:spPr>
              <p:txBody>
                <a:bodyPr/>
                <a:lstStyle/>
                <a:p>
                  <a:pPr eaLnBrk="1" hangingPunct="1">
                    <a:defRPr/>
                  </a:pPr>
                  <a:endParaRPr lang="zh-CN" altLang="en-US" sz="1050"/>
                </a:p>
              </p:txBody>
            </p:sp>
            <p:sp>
              <p:nvSpPr>
                <p:cNvPr id="4187" name="Freeform 1430"/>
                <p:cNvSpPr>
                  <a:spLocks/>
                </p:cNvSpPr>
                <p:nvPr/>
              </p:nvSpPr>
              <p:spPr bwMode="auto">
                <a:xfrm>
                  <a:off x="11305" y="1924"/>
                  <a:ext cx="0" cy="9"/>
                </a:xfrm>
                <a:custGeom>
                  <a:avLst/>
                  <a:gdLst>
                    <a:gd name="T0" fmla="*/ 0 w 7"/>
                    <a:gd name="T1" fmla="*/ 12 h 12"/>
                    <a:gd name="T2" fmla="*/ 7 w 7"/>
                    <a:gd name="T3" fmla="*/ 0 h 12"/>
                    <a:gd name="T4" fmla="*/ 7 w 7"/>
                    <a:gd name="T5" fmla="*/ 0 h 12"/>
                    <a:gd name="T6" fmla="*/ 0 w 7"/>
                    <a:gd name="T7" fmla="*/ 12 h 12"/>
                    <a:gd name="T8" fmla="*/ 0 w 7"/>
                    <a:gd name="T9" fmla="*/ 12 h 12"/>
                  </a:gdLst>
                  <a:ahLst/>
                  <a:cxnLst>
                    <a:cxn ang="0">
                      <a:pos x="T0" y="T1"/>
                    </a:cxn>
                    <a:cxn ang="0">
                      <a:pos x="T2" y="T3"/>
                    </a:cxn>
                    <a:cxn ang="0">
                      <a:pos x="T4" y="T5"/>
                    </a:cxn>
                    <a:cxn ang="0">
                      <a:pos x="T6" y="T7"/>
                    </a:cxn>
                    <a:cxn ang="0">
                      <a:pos x="T8" y="T9"/>
                    </a:cxn>
                  </a:cxnLst>
                  <a:rect l="0" t="0" r="r" b="b"/>
                  <a:pathLst>
                    <a:path w="7" h="12">
                      <a:moveTo>
                        <a:pt x="0" y="12"/>
                      </a:moveTo>
                      <a:lnTo>
                        <a:pt x="7" y="0"/>
                      </a:lnTo>
                      <a:lnTo>
                        <a:pt x="7" y="0"/>
                      </a:lnTo>
                      <a:lnTo>
                        <a:pt x="0" y="12"/>
                      </a:lnTo>
                      <a:lnTo>
                        <a:pt x="0" y="12"/>
                      </a:lnTo>
                    </a:path>
                  </a:pathLst>
                </a:custGeom>
                <a:noFill/>
                <a:ln>
                  <a:noFill/>
                </a:ln>
                <a:extLst/>
              </p:spPr>
              <p:txBody>
                <a:bodyPr/>
                <a:lstStyle/>
                <a:p>
                  <a:pPr eaLnBrk="1" hangingPunct="1">
                    <a:defRPr/>
                  </a:pPr>
                  <a:endParaRPr lang="zh-CN" altLang="en-US" sz="1050"/>
                </a:p>
              </p:txBody>
            </p:sp>
            <p:sp>
              <p:nvSpPr>
                <p:cNvPr id="4188" name="Freeform 1431"/>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close/>
                    </a:path>
                  </a:pathLst>
                </a:custGeom>
                <a:solidFill>
                  <a:srgbClr val="01AAE5"/>
                </a:solidFill>
                <a:ln>
                  <a:noFill/>
                </a:ln>
                <a:extLst/>
              </p:spPr>
              <p:txBody>
                <a:bodyPr/>
                <a:lstStyle/>
                <a:p>
                  <a:pPr eaLnBrk="1" hangingPunct="1">
                    <a:defRPr/>
                  </a:pPr>
                  <a:endParaRPr lang="zh-CN" altLang="en-US" sz="1050"/>
                </a:p>
              </p:txBody>
            </p:sp>
            <p:sp>
              <p:nvSpPr>
                <p:cNvPr id="4189" name="Freeform 1432"/>
                <p:cNvSpPr>
                  <a:spLocks/>
                </p:cNvSpPr>
                <p:nvPr/>
              </p:nvSpPr>
              <p:spPr bwMode="auto">
                <a:xfrm>
                  <a:off x="11322" y="1924"/>
                  <a:ext cx="8" cy="26"/>
                </a:xfrm>
                <a:custGeom>
                  <a:avLst/>
                  <a:gdLst>
                    <a:gd name="T0" fmla="*/ 0 w 14"/>
                    <a:gd name="T1" fmla="*/ 21 h 21"/>
                    <a:gd name="T2" fmla="*/ 14 w 14"/>
                    <a:gd name="T3" fmla="*/ 0 h 21"/>
                    <a:gd name="T4" fmla="*/ 12 w 14"/>
                    <a:gd name="T5" fmla="*/ 0 h 21"/>
                    <a:gd name="T6" fmla="*/ 0 w 14"/>
                    <a:gd name="T7" fmla="*/ 21 h 21"/>
                    <a:gd name="T8" fmla="*/ 0 w 14"/>
                    <a:gd name="T9" fmla="*/ 21 h 21"/>
                  </a:gdLst>
                  <a:ahLst/>
                  <a:cxnLst>
                    <a:cxn ang="0">
                      <a:pos x="T0" y="T1"/>
                    </a:cxn>
                    <a:cxn ang="0">
                      <a:pos x="T2" y="T3"/>
                    </a:cxn>
                    <a:cxn ang="0">
                      <a:pos x="T4" y="T5"/>
                    </a:cxn>
                    <a:cxn ang="0">
                      <a:pos x="T6" y="T7"/>
                    </a:cxn>
                    <a:cxn ang="0">
                      <a:pos x="T8" y="T9"/>
                    </a:cxn>
                  </a:cxnLst>
                  <a:rect l="0" t="0" r="r" b="b"/>
                  <a:pathLst>
                    <a:path w="14" h="21">
                      <a:moveTo>
                        <a:pt x="0" y="21"/>
                      </a:moveTo>
                      <a:lnTo>
                        <a:pt x="14" y="0"/>
                      </a:lnTo>
                      <a:lnTo>
                        <a:pt x="12" y="0"/>
                      </a:lnTo>
                      <a:lnTo>
                        <a:pt x="0" y="21"/>
                      </a:lnTo>
                      <a:lnTo>
                        <a:pt x="0" y="21"/>
                      </a:lnTo>
                    </a:path>
                  </a:pathLst>
                </a:custGeom>
                <a:noFill/>
                <a:ln>
                  <a:noFill/>
                </a:ln>
                <a:extLst/>
              </p:spPr>
              <p:txBody>
                <a:bodyPr/>
                <a:lstStyle/>
                <a:p>
                  <a:pPr eaLnBrk="1" hangingPunct="1">
                    <a:defRPr/>
                  </a:pPr>
                  <a:endParaRPr lang="zh-CN" altLang="en-US" sz="1050"/>
                </a:p>
              </p:txBody>
            </p:sp>
            <p:sp>
              <p:nvSpPr>
                <p:cNvPr id="4190" name="Freeform 1433"/>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close/>
                    </a:path>
                  </a:pathLst>
                </a:custGeom>
                <a:solidFill>
                  <a:srgbClr val="01AAE5"/>
                </a:solidFill>
                <a:ln>
                  <a:noFill/>
                </a:ln>
                <a:extLst/>
              </p:spPr>
              <p:txBody>
                <a:bodyPr/>
                <a:lstStyle/>
                <a:p>
                  <a:pPr eaLnBrk="1" hangingPunct="1">
                    <a:defRPr/>
                  </a:pPr>
                  <a:endParaRPr lang="zh-CN" altLang="en-US" sz="1050"/>
                </a:p>
              </p:txBody>
            </p:sp>
            <p:sp>
              <p:nvSpPr>
                <p:cNvPr id="4191" name="Freeform 1434"/>
                <p:cNvSpPr>
                  <a:spLocks/>
                </p:cNvSpPr>
                <p:nvPr/>
              </p:nvSpPr>
              <p:spPr bwMode="auto">
                <a:xfrm>
                  <a:off x="11305" y="1924"/>
                  <a:ext cx="0" cy="9"/>
                </a:xfrm>
                <a:custGeom>
                  <a:avLst/>
                  <a:gdLst>
                    <a:gd name="T0" fmla="*/ 0 w 5"/>
                    <a:gd name="T1" fmla="*/ 10 h 10"/>
                    <a:gd name="T2" fmla="*/ 5 w 5"/>
                    <a:gd name="T3" fmla="*/ 0 h 10"/>
                    <a:gd name="T4" fmla="*/ 5 w 5"/>
                    <a:gd name="T5" fmla="*/ 0 h 10"/>
                    <a:gd name="T6" fmla="*/ 0 w 5"/>
                    <a:gd name="T7" fmla="*/ 10 h 10"/>
                    <a:gd name="T8" fmla="*/ 0 w 5"/>
                    <a:gd name="T9" fmla="*/ 10 h 10"/>
                  </a:gdLst>
                  <a:ahLst/>
                  <a:cxnLst>
                    <a:cxn ang="0">
                      <a:pos x="T0" y="T1"/>
                    </a:cxn>
                    <a:cxn ang="0">
                      <a:pos x="T2" y="T3"/>
                    </a:cxn>
                    <a:cxn ang="0">
                      <a:pos x="T4" y="T5"/>
                    </a:cxn>
                    <a:cxn ang="0">
                      <a:pos x="T6" y="T7"/>
                    </a:cxn>
                    <a:cxn ang="0">
                      <a:pos x="T8" y="T9"/>
                    </a:cxn>
                  </a:cxnLst>
                  <a:rect l="0" t="0" r="r" b="b"/>
                  <a:pathLst>
                    <a:path w="5" h="10">
                      <a:moveTo>
                        <a:pt x="0" y="10"/>
                      </a:moveTo>
                      <a:lnTo>
                        <a:pt x="5" y="0"/>
                      </a:lnTo>
                      <a:lnTo>
                        <a:pt x="5" y="0"/>
                      </a:lnTo>
                      <a:lnTo>
                        <a:pt x="0" y="10"/>
                      </a:lnTo>
                      <a:lnTo>
                        <a:pt x="0" y="10"/>
                      </a:lnTo>
                    </a:path>
                  </a:pathLst>
                </a:custGeom>
                <a:noFill/>
                <a:ln>
                  <a:noFill/>
                </a:ln>
                <a:extLst/>
              </p:spPr>
              <p:txBody>
                <a:bodyPr/>
                <a:lstStyle/>
                <a:p>
                  <a:pPr eaLnBrk="1" hangingPunct="1">
                    <a:defRPr/>
                  </a:pPr>
                  <a:endParaRPr lang="zh-CN" altLang="en-US" sz="1050"/>
                </a:p>
              </p:txBody>
            </p:sp>
            <p:sp>
              <p:nvSpPr>
                <p:cNvPr id="4192" name="Freeform 1435"/>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close/>
                    </a:path>
                  </a:pathLst>
                </a:custGeom>
                <a:solidFill>
                  <a:srgbClr val="01AAE5"/>
                </a:solidFill>
                <a:ln>
                  <a:noFill/>
                </a:ln>
                <a:extLst/>
              </p:spPr>
              <p:txBody>
                <a:bodyPr/>
                <a:lstStyle/>
                <a:p>
                  <a:pPr eaLnBrk="1" hangingPunct="1">
                    <a:defRPr/>
                  </a:pPr>
                  <a:endParaRPr lang="zh-CN" altLang="en-US" sz="1050"/>
                </a:p>
              </p:txBody>
            </p:sp>
            <p:sp>
              <p:nvSpPr>
                <p:cNvPr id="4193" name="Freeform 1436"/>
                <p:cNvSpPr>
                  <a:spLocks/>
                </p:cNvSpPr>
                <p:nvPr/>
              </p:nvSpPr>
              <p:spPr bwMode="auto">
                <a:xfrm>
                  <a:off x="11322" y="1924"/>
                  <a:ext cx="0" cy="26"/>
                </a:xfrm>
                <a:custGeom>
                  <a:avLst/>
                  <a:gdLst>
                    <a:gd name="T0" fmla="*/ 0 w 10"/>
                    <a:gd name="T1" fmla="*/ 17 h 17"/>
                    <a:gd name="T2" fmla="*/ 10 w 10"/>
                    <a:gd name="T3" fmla="*/ 0 h 17"/>
                    <a:gd name="T4" fmla="*/ 10 w 10"/>
                    <a:gd name="T5" fmla="*/ 0 h 17"/>
                    <a:gd name="T6" fmla="*/ 0 w 10"/>
                    <a:gd name="T7" fmla="*/ 17 h 17"/>
                    <a:gd name="T8" fmla="*/ 0 w 10"/>
                    <a:gd name="T9" fmla="*/ 17 h 17"/>
                  </a:gdLst>
                  <a:ahLst/>
                  <a:cxnLst>
                    <a:cxn ang="0">
                      <a:pos x="T0" y="T1"/>
                    </a:cxn>
                    <a:cxn ang="0">
                      <a:pos x="T2" y="T3"/>
                    </a:cxn>
                    <a:cxn ang="0">
                      <a:pos x="T4" y="T5"/>
                    </a:cxn>
                    <a:cxn ang="0">
                      <a:pos x="T6" y="T7"/>
                    </a:cxn>
                    <a:cxn ang="0">
                      <a:pos x="T8" y="T9"/>
                    </a:cxn>
                  </a:cxnLst>
                  <a:rect l="0" t="0" r="r" b="b"/>
                  <a:pathLst>
                    <a:path w="10" h="17">
                      <a:moveTo>
                        <a:pt x="0" y="17"/>
                      </a:moveTo>
                      <a:lnTo>
                        <a:pt x="10" y="0"/>
                      </a:lnTo>
                      <a:lnTo>
                        <a:pt x="10" y="0"/>
                      </a:lnTo>
                      <a:lnTo>
                        <a:pt x="0" y="17"/>
                      </a:lnTo>
                      <a:lnTo>
                        <a:pt x="0" y="17"/>
                      </a:lnTo>
                    </a:path>
                  </a:pathLst>
                </a:custGeom>
                <a:noFill/>
                <a:ln>
                  <a:noFill/>
                </a:ln>
                <a:extLst/>
              </p:spPr>
              <p:txBody>
                <a:bodyPr/>
                <a:lstStyle/>
                <a:p>
                  <a:pPr eaLnBrk="1" hangingPunct="1">
                    <a:defRPr/>
                  </a:pPr>
                  <a:endParaRPr lang="zh-CN" altLang="en-US" sz="1050"/>
                </a:p>
              </p:txBody>
            </p:sp>
            <p:sp>
              <p:nvSpPr>
                <p:cNvPr id="4194" name="Freeform 1437"/>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close/>
                    </a:path>
                  </a:pathLst>
                </a:custGeom>
                <a:solidFill>
                  <a:srgbClr val="01AAE5"/>
                </a:solidFill>
                <a:ln>
                  <a:noFill/>
                </a:ln>
                <a:extLst/>
              </p:spPr>
              <p:txBody>
                <a:bodyPr/>
                <a:lstStyle/>
                <a:p>
                  <a:pPr eaLnBrk="1" hangingPunct="1">
                    <a:defRPr/>
                  </a:pPr>
                  <a:endParaRPr lang="zh-CN" altLang="en-US" sz="1050"/>
                </a:p>
              </p:txBody>
            </p:sp>
            <p:sp>
              <p:nvSpPr>
                <p:cNvPr id="4195" name="Freeform 1438"/>
                <p:cNvSpPr>
                  <a:spLocks/>
                </p:cNvSpPr>
                <p:nvPr/>
              </p:nvSpPr>
              <p:spPr bwMode="auto">
                <a:xfrm>
                  <a:off x="11322" y="1924"/>
                  <a:ext cx="8" cy="26"/>
                </a:xfrm>
                <a:custGeom>
                  <a:avLst/>
                  <a:gdLst>
                    <a:gd name="T0" fmla="*/ 0 w 12"/>
                    <a:gd name="T1" fmla="*/ 19 h 19"/>
                    <a:gd name="T2" fmla="*/ 12 w 12"/>
                    <a:gd name="T3" fmla="*/ 0 h 19"/>
                    <a:gd name="T4" fmla="*/ 12 w 12"/>
                    <a:gd name="T5" fmla="*/ 0 h 19"/>
                    <a:gd name="T6" fmla="*/ 0 w 12"/>
                    <a:gd name="T7" fmla="*/ 19 h 19"/>
                    <a:gd name="T8" fmla="*/ 0 w 12"/>
                    <a:gd name="T9" fmla="*/ 19 h 19"/>
                  </a:gdLst>
                  <a:ahLst/>
                  <a:cxnLst>
                    <a:cxn ang="0">
                      <a:pos x="T0" y="T1"/>
                    </a:cxn>
                    <a:cxn ang="0">
                      <a:pos x="T2" y="T3"/>
                    </a:cxn>
                    <a:cxn ang="0">
                      <a:pos x="T4" y="T5"/>
                    </a:cxn>
                    <a:cxn ang="0">
                      <a:pos x="T6" y="T7"/>
                    </a:cxn>
                    <a:cxn ang="0">
                      <a:pos x="T8" y="T9"/>
                    </a:cxn>
                  </a:cxnLst>
                  <a:rect l="0" t="0" r="r" b="b"/>
                  <a:pathLst>
                    <a:path w="12" h="19">
                      <a:moveTo>
                        <a:pt x="0" y="19"/>
                      </a:moveTo>
                      <a:lnTo>
                        <a:pt x="12" y="0"/>
                      </a:lnTo>
                      <a:lnTo>
                        <a:pt x="12" y="0"/>
                      </a:lnTo>
                      <a:lnTo>
                        <a:pt x="0" y="19"/>
                      </a:lnTo>
                      <a:lnTo>
                        <a:pt x="0" y="19"/>
                      </a:lnTo>
                    </a:path>
                  </a:pathLst>
                </a:custGeom>
                <a:noFill/>
                <a:ln>
                  <a:noFill/>
                </a:ln>
                <a:extLst/>
              </p:spPr>
              <p:txBody>
                <a:bodyPr/>
                <a:lstStyle/>
                <a:p>
                  <a:pPr eaLnBrk="1" hangingPunct="1">
                    <a:defRPr/>
                  </a:pPr>
                  <a:endParaRPr lang="zh-CN" altLang="en-US" sz="1050"/>
                </a:p>
              </p:txBody>
            </p:sp>
            <p:sp>
              <p:nvSpPr>
                <p:cNvPr id="4196" name="Freeform 1439"/>
                <p:cNvSpPr>
                  <a:spLocks/>
                </p:cNvSpPr>
                <p:nvPr/>
              </p:nvSpPr>
              <p:spPr bwMode="auto">
                <a:xfrm>
                  <a:off x="11289" y="1924"/>
                  <a:ext cx="0" cy="9"/>
                </a:xfrm>
                <a:custGeom>
                  <a:avLst/>
                  <a:gdLst>
                    <a:gd name="T0" fmla="*/ 0 w 2"/>
                    <a:gd name="T1" fmla="*/ 7 h 7"/>
                    <a:gd name="T2" fmla="*/ 2 w 2"/>
                    <a:gd name="T3" fmla="*/ 0 h 7"/>
                    <a:gd name="T4" fmla="*/ 2 w 2"/>
                    <a:gd name="T5" fmla="*/ 0 h 7"/>
                    <a:gd name="T6" fmla="*/ 0 w 2"/>
                    <a:gd name="T7" fmla="*/ 5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0"/>
                      </a:lnTo>
                      <a:lnTo>
                        <a:pt x="2" y="0"/>
                      </a:lnTo>
                      <a:lnTo>
                        <a:pt x="0" y="5"/>
                      </a:lnTo>
                      <a:lnTo>
                        <a:pt x="0" y="7"/>
                      </a:lnTo>
                      <a:close/>
                    </a:path>
                  </a:pathLst>
                </a:custGeom>
                <a:solidFill>
                  <a:srgbClr val="01AAE5"/>
                </a:solidFill>
                <a:ln>
                  <a:noFill/>
                </a:ln>
                <a:extLst/>
              </p:spPr>
              <p:txBody>
                <a:bodyPr/>
                <a:lstStyle/>
                <a:p>
                  <a:pPr eaLnBrk="1" hangingPunct="1">
                    <a:defRPr/>
                  </a:pPr>
                  <a:endParaRPr lang="zh-CN" altLang="en-US" sz="1050"/>
                </a:p>
              </p:txBody>
            </p:sp>
            <p:sp>
              <p:nvSpPr>
                <p:cNvPr id="4197" name="Freeform 1440"/>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close/>
                    </a:path>
                  </a:pathLst>
                </a:custGeom>
                <a:solidFill>
                  <a:srgbClr val="01AAE5"/>
                </a:solidFill>
                <a:ln>
                  <a:noFill/>
                </a:ln>
                <a:extLst/>
              </p:spPr>
              <p:txBody>
                <a:bodyPr/>
                <a:lstStyle/>
                <a:p>
                  <a:pPr eaLnBrk="1" hangingPunct="1">
                    <a:defRPr/>
                  </a:pPr>
                  <a:endParaRPr lang="zh-CN" altLang="en-US" sz="1050"/>
                </a:p>
              </p:txBody>
            </p:sp>
            <p:sp>
              <p:nvSpPr>
                <p:cNvPr id="4198" name="Freeform 1441"/>
                <p:cNvSpPr>
                  <a:spLocks/>
                </p:cNvSpPr>
                <p:nvPr/>
              </p:nvSpPr>
              <p:spPr bwMode="auto">
                <a:xfrm>
                  <a:off x="11322" y="1933"/>
                  <a:ext cx="8" cy="26"/>
                </a:xfrm>
                <a:custGeom>
                  <a:avLst/>
                  <a:gdLst>
                    <a:gd name="T0" fmla="*/ 0 w 15"/>
                    <a:gd name="T1" fmla="*/ 22 h 22"/>
                    <a:gd name="T2" fmla="*/ 15 w 15"/>
                    <a:gd name="T3" fmla="*/ 0 h 22"/>
                    <a:gd name="T4" fmla="*/ 15 w 15"/>
                    <a:gd name="T5" fmla="*/ 0 h 22"/>
                    <a:gd name="T6" fmla="*/ 0 w 15"/>
                    <a:gd name="T7" fmla="*/ 22 h 22"/>
                    <a:gd name="T8" fmla="*/ 0 w 15"/>
                    <a:gd name="T9" fmla="*/ 22 h 22"/>
                  </a:gdLst>
                  <a:ahLst/>
                  <a:cxnLst>
                    <a:cxn ang="0">
                      <a:pos x="T0" y="T1"/>
                    </a:cxn>
                    <a:cxn ang="0">
                      <a:pos x="T2" y="T3"/>
                    </a:cxn>
                    <a:cxn ang="0">
                      <a:pos x="T4" y="T5"/>
                    </a:cxn>
                    <a:cxn ang="0">
                      <a:pos x="T6" y="T7"/>
                    </a:cxn>
                    <a:cxn ang="0">
                      <a:pos x="T8" y="T9"/>
                    </a:cxn>
                  </a:cxnLst>
                  <a:rect l="0" t="0" r="r" b="b"/>
                  <a:pathLst>
                    <a:path w="15" h="22">
                      <a:moveTo>
                        <a:pt x="0" y="22"/>
                      </a:moveTo>
                      <a:lnTo>
                        <a:pt x="15" y="0"/>
                      </a:lnTo>
                      <a:lnTo>
                        <a:pt x="15" y="0"/>
                      </a:lnTo>
                      <a:lnTo>
                        <a:pt x="0" y="22"/>
                      </a:lnTo>
                      <a:lnTo>
                        <a:pt x="0" y="22"/>
                      </a:lnTo>
                    </a:path>
                  </a:pathLst>
                </a:custGeom>
                <a:noFill/>
                <a:ln>
                  <a:noFill/>
                </a:ln>
                <a:extLst/>
              </p:spPr>
              <p:txBody>
                <a:bodyPr/>
                <a:lstStyle/>
                <a:p>
                  <a:pPr eaLnBrk="1" hangingPunct="1">
                    <a:defRPr/>
                  </a:pPr>
                  <a:endParaRPr lang="zh-CN" altLang="en-US" sz="1050"/>
                </a:p>
              </p:txBody>
            </p:sp>
            <p:sp>
              <p:nvSpPr>
                <p:cNvPr id="4199" name="Freeform 1442"/>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close/>
                    </a:path>
                  </a:pathLst>
                </a:custGeom>
                <a:solidFill>
                  <a:srgbClr val="01AAE5"/>
                </a:solidFill>
                <a:ln>
                  <a:noFill/>
                </a:ln>
                <a:extLst/>
              </p:spPr>
              <p:txBody>
                <a:bodyPr/>
                <a:lstStyle/>
                <a:p>
                  <a:pPr eaLnBrk="1" hangingPunct="1">
                    <a:defRPr/>
                  </a:pPr>
                  <a:endParaRPr lang="zh-CN" altLang="en-US" sz="1050"/>
                </a:p>
              </p:txBody>
            </p:sp>
            <p:sp>
              <p:nvSpPr>
                <p:cNvPr id="4200" name="Freeform 1443"/>
                <p:cNvSpPr>
                  <a:spLocks/>
                </p:cNvSpPr>
                <p:nvPr/>
              </p:nvSpPr>
              <p:spPr bwMode="auto">
                <a:xfrm>
                  <a:off x="11272" y="1916"/>
                  <a:ext cx="8" cy="9"/>
                </a:xfrm>
                <a:custGeom>
                  <a:avLst/>
                  <a:gdLst>
                    <a:gd name="T0" fmla="*/ 0 w 2"/>
                    <a:gd name="T1" fmla="*/ 5 h 5"/>
                    <a:gd name="T2" fmla="*/ 2 w 2"/>
                    <a:gd name="T3" fmla="*/ 0 h 5"/>
                    <a:gd name="T4" fmla="*/ 2 w 2"/>
                    <a:gd name="T5" fmla="*/ 0 h 5"/>
                    <a:gd name="T6" fmla="*/ 0 w 2"/>
                    <a:gd name="T7" fmla="*/ 5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0"/>
                      </a:lnTo>
                      <a:lnTo>
                        <a:pt x="2" y="0"/>
                      </a:lnTo>
                      <a:lnTo>
                        <a:pt x="0" y="5"/>
                      </a:lnTo>
                      <a:lnTo>
                        <a:pt x="0" y="5"/>
                      </a:lnTo>
                    </a:path>
                  </a:pathLst>
                </a:custGeom>
                <a:noFill/>
                <a:ln>
                  <a:noFill/>
                </a:ln>
                <a:extLst/>
              </p:spPr>
              <p:txBody>
                <a:bodyPr/>
                <a:lstStyle/>
                <a:p>
                  <a:pPr eaLnBrk="1" hangingPunct="1">
                    <a:defRPr/>
                  </a:pPr>
                  <a:endParaRPr lang="zh-CN" altLang="en-US" sz="1050"/>
                </a:p>
              </p:txBody>
            </p:sp>
            <p:sp>
              <p:nvSpPr>
                <p:cNvPr id="4201" name="Freeform 1444"/>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close/>
                    </a:path>
                  </a:pathLst>
                </a:custGeom>
                <a:solidFill>
                  <a:srgbClr val="01AAE5"/>
                </a:solidFill>
                <a:ln>
                  <a:noFill/>
                </a:ln>
                <a:extLst/>
              </p:spPr>
              <p:txBody>
                <a:bodyPr/>
                <a:lstStyle/>
                <a:p>
                  <a:pPr eaLnBrk="1" hangingPunct="1">
                    <a:defRPr/>
                  </a:pPr>
                  <a:endParaRPr lang="zh-CN" altLang="en-US" sz="1050"/>
                </a:p>
              </p:txBody>
            </p:sp>
            <p:sp>
              <p:nvSpPr>
                <p:cNvPr id="4202" name="Freeform 1445"/>
                <p:cNvSpPr>
                  <a:spLocks/>
                </p:cNvSpPr>
                <p:nvPr/>
              </p:nvSpPr>
              <p:spPr bwMode="auto">
                <a:xfrm>
                  <a:off x="11363" y="1959"/>
                  <a:ext cx="33" cy="35"/>
                </a:xfrm>
                <a:custGeom>
                  <a:avLst/>
                  <a:gdLst>
                    <a:gd name="T0" fmla="*/ 0 w 30"/>
                    <a:gd name="T1" fmla="*/ 43 h 43"/>
                    <a:gd name="T2" fmla="*/ 30 w 30"/>
                    <a:gd name="T3" fmla="*/ 2 h 43"/>
                    <a:gd name="T4" fmla="*/ 30 w 30"/>
                    <a:gd name="T5" fmla="*/ 0 h 43"/>
                    <a:gd name="T6" fmla="*/ 0 w 30"/>
                    <a:gd name="T7" fmla="*/ 40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2"/>
                      </a:lnTo>
                      <a:lnTo>
                        <a:pt x="30" y="0"/>
                      </a:lnTo>
                      <a:lnTo>
                        <a:pt x="0" y="40"/>
                      </a:lnTo>
                      <a:lnTo>
                        <a:pt x="0" y="43"/>
                      </a:lnTo>
                    </a:path>
                  </a:pathLst>
                </a:custGeom>
                <a:noFill/>
                <a:ln>
                  <a:noFill/>
                </a:ln>
                <a:extLst/>
              </p:spPr>
              <p:txBody>
                <a:bodyPr/>
                <a:lstStyle/>
                <a:p>
                  <a:pPr eaLnBrk="1" hangingPunct="1">
                    <a:defRPr/>
                  </a:pPr>
                  <a:endParaRPr lang="zh-CN" altLang="en-US" sz="1050"/>
                </a:p>
              </p:txBody>
            </p:sp>
            <p:sp>
              <p:nvSpPr>
                <p:cNvPr id="4203" name="Freeform 1446"/>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04" name="Freeform 1447"/>
                <p:cNvSpPr>
                  <a:spLocks/>
                </p:cNvSpPr>
                <p:nvPr/>
              </p:nvSpPr>
              <p:spPr bwMode="auto">
                <a:xfrm>
                  <a:off x="11272" y="1916"/>
                  <a:ext cx="0" cy="9"/>
                </a:xfrm>
                <a:custGeom>
                  <a:avLst/>
                  <a:gdLst>
                    <a:gd name="T0" fmla="*/ 0 w 2"/>
                    <a:gd name="T1" fmla="*/ 4 h 4"/>
                    <a:gd name="T2" fmla="*/ 2 w 2"/>
                    <a:gd name="T3" fmla="*/ 0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0"/>
                      </a:lnTo>
                      <a:lnTo>
                        <a:pt x="2" y="0"/>
                      </a:lnTo>
                      <a:lnTo>
                        <a:pt x="0" y="4"/>
                      </a:lnTo>
                      <a:lnTo>
                        <a:pt x="0" y="4"/>
                      </a:lnTo>
                    </a:path>
                  </a:pathLst>
                </a:custGeom>
                <a:noFill/>
                <a:ln>
                  <a:noFill/>
                </a:ln>
                <a:extLst/>
              </p:spPr>
              <p:txBody>
                <a:bodyPr/>
                <a:lstStyle/>
                <a:p>
                  <a:pPr eaLnBrk="1" hangingPunct="1">
                    <a:defRPr/>
                  </a:pPr>
                  <a:endParaRPr lang="zh-CN" altLang="en-US" sz="1050"/>
                </a:p>
              </p:txBody>
            </p:sp>
            <p:sp>
              <p:nvSpPr>
                <p:cNvPr id="4205" name="Freeform 1448"/>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206" name="Freeform 1449"/>
                <p:cNvSpPr>
                  <a:spLocks/>
                </p:cNvSpPr>
                <p:nvPr/>
              </p:nvSpPr>
              <p:spPr bwMode="auto">
                <a:xfrm>
                  <a:off x="11289" y="1924"/>
                  <a:ext cx="8" cy="9"/>
                </a:xfrm>
                <a:custGeom>
                  <a:avLst/>
                  <a:gdLst>
                    <a:gd name="T0" fmla="*/ 0 w 4"/>
                    <a:gd name="T1" fmla="*/ 7 h 7"/>
                    <a:gd name="T2" fmla="*/ 4 w 4"/>
                    <a:gd name="T3" fmla="*/ 2 h 7"/>
                    <a:gd name="T4" fmla="*/ 4 w 4"/>
                    <a:gd name="T5" fmla="*/ 0 h 7"/>
                    <a:gd name="T6" fmla="*/ 0 w 4"/>
                    <a:gd name="T7" fmla="*/ 7 h 7"/>
                    <a:gd name="T8" fmla="*/ 0 w 4"/>
                    <a:gd name="T9" fmla="*/ 7 h 7"/>
                  </a:gdLst>
                  <a:ahLst/>
                  <a:cxnLst>
                    <a:cxn ang="0">
                      <a:pos x="T0" y="T1"/>
                    </a:cxn>
                    <a:cxn ang="0">
                      <a:pos x="T2" y="T3"/>
                    </a:cxn>
                    <a:cxn ang="0">
                      <a:pos x="T4" y="T5"/>
                    </a:cxn>
                    <a:cxn ang="0">
                      <a:pos x="T6" y="T7"/>
                    </a:cxn>
                    <a:cxn ang="0">
                      <a:pos x="T8" y="T9"/>
                    </a:cxn>
                  </a:cxnLst>
                  <a:rect l="0" t="0" r="r" b="b"/>
                  <a:pathLst>
                    <a:path w="4" h="7">
                      <a:moveTo>
                        <a:pt x="0" y="7"/>
                      </a:moveTo>
                      <a:lnTo>
                        <a:pt x="4" y="2"/>
                      </a:lnTo>
                      <a:lnTo>
                        <a:pt x="4" y="0"/>
                      </a:lnTo>
                      <a:lnTo>
                        <a:pt x="0" y="7"/>
                      </a:lnTo>
                      <a:lnTo>
                        <a:pt x="0" y="7"/>
                      </a:lnTo>
                    </a:path>
                  </a:pathLst>
                </a:custGeom>
                <a:noFill/>
                <a:ln>
                  <a:noFill/>
                </a:ln>
                <a:extLst/>
              </p:spPr>
              <p:txBody>
                <a:bodyPr/>
                <a:lstStyle/>
                <a:p>
                  <a:pPr eaLnBrk="1" hangingPunct="1">
                    <a:defRPr/>
                  </a:pPr>
                  <a:endParaRPr lang="zh-CN" altLang="en-US" sz="1050"/>
                </a:p>
              </p:txBody>
            </p:sp>
            <p:sp>
              <p:nvSpPr>
                <p:cNvPr id="4207" name="Freeform 1450"/>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4208" name="Freeform 1451"/>
                <p:cNvSpPr>
                  <a:spLocks/>
                </p:cNvSpPr>
                <p:nvPr/>
              </p:nvSpPr>
              <p:spPr bwMode="auto">
                <a:xfrm>
                  <a:off x="11305" y="1924"/>
                  <a:ext cx="0" cy="9"/>
                </a:xfrm>
                <a:custGeom>
                  <a:avLst/>
                  <a:gdLst>
                    <a:gd name="T0" fmla="*/ 2 w 5"/>
                    <a:gd name="T1" fmla="*/ 7 h 7"/>
                    <a:gd name="T2" fmla="*/ 5 w 5"/>
                    <a:gd name="T3" fmla="*/ 0 h 7"/>
                    <a:gd name="T4" fmla="*/ 5 w 5"/>
                    <a:gd name="T5" fmla="*/ 0 h 7"/>
                    <a:gd name="T6" fmla="*/ 0 w 5"/>
                    <a:gd name="T7" fmla="*/ 7 h 7"/>
                    <a:gd name="T8" fmla="*/ 2 w 5"/>
                    <a:gd name="T9" fmla="*/ 7 h 7"/>
                  </a:gdLst>
                  <a:ahLst/>
                  <a:cxnLst>
                    <a:cxn ang="0">
                      <a:pos x="T0" y="T1"/>
                    </a:cxn>
                    <a:cxn ang="0">
                      <a:pos x="T2" y="T3"/>
                    </a:cxn>
                    <a:cxn ang="0">
                      <a:pos x="T4" y="T5"/>
                    </a:cxn>
                    <a:cxn ang="0">
                      <a:pos x="T6" y="T7"/>
                    </a:cxn>
                    <a:cxn ang="0">
                      <a:pos x="T8" y="T9"/>
                    </a:cxn>
                  </a:cxnLst>
                  <a:rect l="0" t="0" r="r" b="b"/>
                  <a:pathLst>
                    <a:path w="5" h="7">
                      <a:moveTo>
                        <a:pt x="2" y="7"/>
                      </a:moveTo>
                      <a:lnTo>
                        <a:pt x="5" y="0"/>
                      </a:lnTo>
                      <a:lnTo>
                        <a:pt x="5" y="0"/>
                      </a:lnTo>
                      <a:lnTo>
                        <a:pt x="0" y="7"/>
                      </a:lnTo>
                      <a:lnTo>
                        <a:pt x="2" y="7"/>
                      </a:lnTo>
                    </a:path>
                  </a:pathLst>
                </a:custGeom>
                <a:noFill/>
                <a:ln>
                  <a:noFill/>
                </a:ln>
                <a:extLst/>
              </p:spPr>
              <p:txBody>
                <a:bodyPr/>
                <a:lstStyle/>
                <a:p>
                  <a:pPr eaLnBrk="1" hangingPunct="1">
                    <a:defRPr/>
                  </a:pPr>
                  <a:endParaRPr lang="zh-CN" altLang="en-US" sz="1050"/>
                </a:p>
              </p:txBody>
            </p:sp>
            <p:sp>
              <p:nvSpPr>
                <p:cNvPr id="4209" name="Freeform 1452"/>
                <p:cNvSpPr>
                  <a:spLocks/>
                </p:cNvSpPr>
                <p:nvPr/>
              </p:nvSpPr>
              <p:spPr bwMode="auto">
                <a:xfrm>
                  <a:off x="11289" y="1924"/>
                  <a:ext cx="8" cy="9"/>
                </a:xfrm>
                <a:custGeom>
                  <a:avLst/>
                  <a:gdLst>
                    <a:gd name="T0" fmla="*/ 0 w 5"/>
                    <a:gd name="T1" fmla="*/ 4 h 4"/>
                    <a:gd name="T2" fmla="*/ 5 w 5"/>
                    <a:gd name="T3" fmla="*/ 0 h 4"/>
                    <a:gd name="T4" fmla="*/ 3 w 5"/>
                    <a:gd name="T5" fmla="*/ 0 h 4"/>
                    <a:gd name="T6" fmla="*/ 0 w 5"/>
                    <a:gd name="T7" fmla="*/ 4 h 4"/>
                    <a:gd name="T8" fmla="*/ 0 w 5"/>
                    <a:gd name="T9" fmla="*/ 4 h 4"/>
                  </a:gdLst>
                  <a:ahLst/>
                  <a:cxnLst>
                    <a:cxn ang="0">
                      <a:pos x="T0" y="T1"/>
                    </a:cxn>
                    <a:cxn ang="0">
                      <a:pos x="T2" y="T3"/>
                    </a:cxn>
                    <a:cxn ang="0">
                      <a:pos x="T4" y="T5"/>
                    </a:cxn>
                    <a:cxn ang="0">
                      <a:pos x="T6" y="T7"/>
                    </a:cxn>
                    <a:cxn ang="0">
                      <a:pos x="T8" y="T9"/>
                    </a:cxn>
                  </a:cxnLst>
                  <a:rect l="0" t="0" r="r" b="b"/>
                  <a:pathLst>
                    <a:path w="5" h="4">
                      <a:moveTo>
                        <a:pt x="0" y="4"/>
                      </a:moveTo>
                      <a:lnTo>
                        <a:pt x="5" y="0"/>
                      </a:lnTo>
                      <a:lnTo>
                        <a:pt x="3" y="0"/>
                      </a:lnTo>
                      <a:lnTo>
                        <a:pt x="0" y="4"/>
                      </a:lnTo>
                      <a:lnTo>
                        <a:pt x="0" y="4"/>
                      </a:lnTo>
                      <a:close/>
                    </a:path>
                  </a:pathLst>
                </a:custGeom>
                <a:solidFill>
                  <a:srgbClr val="01AAE5"/>
                </a:solidFill>
                <a:ln>
                  <a:noFill/>
                </a:ln>
                <a:extLst/>
              </p:spPr>
              <p:txBody>
                <a:bodyPr/>
                <a:lstStyle/>
                <a:p>
                  <a:pPr eaLnBrk="1" hangingPunct="1">
                    <a:defRPr/>
                  </a:pPr>
                  <a:endParaRPr lang="zh-CN" altLang="en-US" sz="1050"/>
                </a:p>
              </p:txBody>
            </p:sp>
            <p:sp>
              <p:nvSpPr>
                <p:cNvPr id="4210" name="Freeform 1453"/>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close/>
                    </a:path>
                  </a:pathLst>
                </a:custGeom>
                <a:solidFill>
                  <a:srgbClr val="01AAE5"/>
                </a:solidFill>
                <a:ln>
                  <a:noFill/>
                </a:ln>
                <a:extLst/>
              </p:spPr>
              <p:txBody>
                <a:bodyPr/>
                <a:lstStyle/>
                <a:p>
                  <a:pPr eaLnBrk="1" hangingPunct="1">
                    <a:defRPr/>
                  </a:pPr>
                  <a:endParaRPr lang="zh-CN" altLang="en-US" sz="1050"/>
                </a:p>
              </p:txBody>
            </p:sp>
            <p:sp>
              <p:nvSpPr>
                <p:cNvPr id="4211" name="Freeform 1454"/>
                <p:cNvSpPr>
                  <a:spLocks/>
                </p:cNvSpPr>
                <p:nvPr/>
              </p:nvSpPr>
              <p:spPr bwMode="auto">
                <a:xfrm>
                  <a:off x="11305" y="1924"/>
                  <a:ext cx="0" cy="9"/>
                </a:xfrm>
                <a:custGeom>
                  <a:avLst/>
                  <a:gdLst>
                    <a:gd name="T0" fmla="*/ 0 w 5"/>
                    <a:gd name="T1" fmla="*/ 7 h 7"/>
                    <a:gd name="T2" fmla="*/ 5 w 5"/>
                    <a:gd name="T3" fmla="*/ 0 h 7"/>
                    <a:gd name="T4" fmla="*/ 2 w 5"/>
                    <a:gd name="T5" fmla="*/ 0 h 7"/>
                    <a:gd name="T6" fmla="*/ 0 w 5"/>
                    <a:gd name="T7" fmla="*/ 7 h 7"/>
                    <a:gd name="T8" fmla="*/ 0 w 5"/>
                    <a:gd name="T9" fmla="*/ 7 h 7"/>
                  </a:gdLst>
                  <a:ahLst/>
                  <a:cxnLst>
                    <a:cxn ang="0">
                      <a:pos x="T0" y="T1"/>
                    </a:cxn>
                    <a:cxn ang="0">
                      <a:pos x="T2" y="T3"/>
                    </a:cxn>
                    <a:cxn ang="0">
                      <a:pos x="T4" y="T5"/>
                    </a:cxn>
                    <a:cxn ang="0">
                      <a:pos x="T6" y="T7"/>
                    </a:cxn>
                    <a:cxn ang="0">
                      <a:pos x="T8" y="T9"/>
                    </a:cxn>
                  </a:cxnLst>
                  <a:rect l="0" t="0" r="r" b="b"/>
                  <a:pathLst>
                    <a:path w="5" h="7">
                      <a:moveTo>
                        <a:pt x="0" y="7"/>
                      </a:moveTo>
                      <a:lnTo>
                        <a:pt x="5" y="0"/>
                      </a:lnTo>
                      <a:lnTo>
                        <a:pt x="2" y="0"/>
                      </a:lnTo>
                      <a:lnTo>
                        <a:pt x="0" y="7"/>
                      </a:lnTo>
                      <a:lnTo>
                        <a:pt x="0" y="7"/>
                      </a:lnTo>
                    </a:path>
                  </a:pathLst>
                </a:custGeom>
                <a:noFill/>
                <a:ln>
                  <a:noFill/>
                </a:ln>
                <a:extLst/>
              </p:spPr>
              <p:txBody>
                <a:bodyPr/>
                <a:lstStyle/>
                <a:p>
                  <a:pPr eaLnBrk="1" hangingPunct="1">
                    <a:defRPr/>
                  </a:pPr>
                  <a:endParaRPr lang="zh-CN" altLang="en-US" sz="1050"/>
                </a:p>
              </p:txBody>
            </p:sp>
            <p:sp>
              <p:nvSpPr>
                <p:cNvPr id="4212" name="Freeform 1455"/>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close/>
                    </a:path>
                  </a:pathLst>
                </a:custGeom>
                <a:solidFill>
                  <a:srgbClr val="01AAE5"/>
                </a:solidFill>
                <a:ln>
                  <a:noFill/>
                </a:ln>
                <a:extLst/>
              </p:spPr>
              <p:txBody>
                <a:bodyPr/>
                <a:lstStyle/>
                <a:p>
                  <a:pPr eaLnBrk="1" hangingPunct="1">
                    <a:defRPr/>
                  </a:pPr>
                  <a:endParaRPr lang="zh-CN" altLang="en-US" sz="1050"/>
                </a:p>
              </p:txBody>
            </p:sp>
            <p:sp>
              <p:nvSpPr>
                <p:cNvPr id="4213" name="Freeform 1456"/>
                <p:cNvSpPr>
                  <a:spLocks/>
                </p:cNvSpPr>
                <p:nvPr/>
              </p:nvSpPr>
              <p:spPr bwMode="auto">
                <a:xfrm>
                  <a:off x="11289" y="1916"/>
                  <a:ext cx="0" cy="9"/>
                </a:xfrm>
                <a:custGeom>
                  <a:avLst/>
                  <a:gdLst>
                    <a:gd name="T0" fmla="*/ 3 w 5"/>
                    <a:gd name="T1" fmla="*/ 7 h 7"/>
                    <a:gd name="T2" fmla="*/ 5 w 5"/>
                    <a:gd name="T3" fmla="*/ 2 h 7"/>
                    <a:gd name="T4" fmla="*/ 3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2"/>
                      </a:lnTo>
                      <a:lnTo>
                        <a:pt x="3" y="0"/>
                      </a:lnTo>
                      <a:lnTo>
                        <a:pt x="0" y="7"/>
                      </a:lnTo>
                      <a:lnTo>
                        <a:pt x="3" y="7"/>
                      </a:lnTo>
                    </a:path>
                  </a:pathLst>
                </a:custGeom>
                <a:noFill/>
                <a:ln>
                  <a:noFill/>
                </a:ln>
                <a:extLst/>
              </p:spPr>
              <p:txBody>
                <a:bodyPr/>
                <a:lstStyle/>
                <a:p>
                  <a:pPr eaLnBrk="1" hangingPunct="1">
                    <a:defRPr/>
                  </a:pPr>
                  <a:endParaRPr lang="zh-CN" altLang="en-US" sz="1050"/>
                </a:p>
              </p:txBody>
            </p:sp>
            <p:sp>
              <p:nvSpPr>
                <p:cNvPr id="4214" name="Freeform 1457"/>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4215" name="Freeform 1458"/>
                <p:cNvSpPr>
                  <a:spLocks/>
                </p:cNvSpPr>
                <p:nvPr/>
              </p:nvSpPr>
              <p:spPr bwMode="auto">
                <a:xfrm>
                  <a:off x="11355" y="1942"/>
                  <a:ext cx="33" cy="44"/>
                </a:xfrm>
                <a:custGeom>
                  <a:avLst/>
                  <a:gdLst>
                    <a:gd name="T0" fmla="*/ 0 w 28"/>
                    <a:gd name="T1" fmla="*/ 40 h 40"/>
                    <a:gd name="T2" fmla="*/ 28 w 28"/>
                    <a:gd name="T3" fmla="*/ 0 h 40"/>
                    <a:gd name="T4" fmla="*/ 28 w 28"/>
                    <a:gd name="T5" fmla="*/ 0 h 40"/>
                    <a:gd name="T6" fmla="*/ 0 w 28"/>
                    <a:gd name="T7" fmla="*/ 40 h 40"/>
                    <a:gd name="T8" fmla="*/ 0 w 28"/>
                    <a:gd name="T9" fmla="*/ 40 h 40"/>
                  </a:gdLst>
                  <a:ahLst/>
                  <a:cxnLst>
                    <a:cxn ang="0">
                      <a:pos x="T0" y="T1"/>
                    </a:cxn>
                    <a:cxn ang="0">
                      <a:pos x="T2" y="T3"/>
                    </a:cxn>
                    <a:cxn ang="0">
                      <a:pos x="T4" y="T5"/>
                    </a:cxn>
                    <a:cxn ang="0">
                      <a:pos x="T6" y="T7"/>
                    </a:cxn>
                    <a:cxn ang="0">
                      <a:pos x="T8" y="T9"/>
                    </a:cxn>
                  </a:cxnLst>
                  <a:rect l="0" t="0" r="r" b="b"/>
                  <a:pathLst>
                    <a:path w="28" h="40">
                      <a:moveTo>
                        <a:pt x="0" y="40"/>
                      </a:moveTo>
                      <a:lnTo>
                        <a:pt x="28" y="0"/>
                      </a:lnTo>
                      <a:lnTo>
                        <a:pt x="28" y="0"/>
                      </a:lnTo>
                      <a:lnTo>
                        <a:pt x="0" y="40"/>
                      </a:lnTo>
                      <a:lnTo>
                        <a:pt x="0" y="40"/>
                      </a:lnTo>
                    </a:path>
                  </a:pathLst>
                </a:custGeom>
                <a:noFill/>
                <a:ln>
                  <a:noFill/>
                </a:ln>
                <a:extLst/>
              </p:spPr>
              <p:txBody>
                <a:bodyPr/>
                <a:lstStyle/>
                <a:p>
                  <a:pPr eaLnBrk="1" hangingPunct="1">
                    <a:defRPr/>
                  </a:pPr>
                  <a:endParaRPr lang="zh-CN" altLang="en-US" sz="1050"/>
                </a:p>
              </p:txBody>
            </p:sp>
            <p:sp>
              <p:nvSpPr>
                <p:cNvPr id="4216" name="Freeform 1459"/>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4217" name="Freeform 1460"/>
                <p:cNvSpPr>
                  <a:spLocks/>
                </p:cNvSpPr>
                <p:nvPr/>
              </p:nvSpPr>
              <p:spPr bwMode="auto">
                <a:xfrm>
                  <a:off x="11355" y="1942"/>
                  <a:ext cx="33" cy="44"/>
                </a:xfrm>
                <a:custGeom>
                  <a:avLst/>
                  <a:gdLst>
                    <a:gd name="T0" fmla="*/ 0 w 29"/>
                    <a:gd name="T1" fmla="*/ 40 h 40"/>
                    <a:gd name="T2" fmla="*/ 29 w 29"/>
                    <a:gd name="T3" fmla="*/ 0 h 40"/>
                    <a:gd name="T4" fmla="*/ 29 w 29"/>
                    <a:gd name="T5" fmla="*/ 0 h 40"/>
                    <a:gd name="T6" fmla="*/ 0 w 29"/>
                    <a:gd name="T7" fmla="*/ 40 h 40"/>
                    <a:gd name="T8" fmla="*/ 0 w 29"/>
                    <a:gd name="T9" fmla="*/ 40 h 40"/>
                  </a:gdLst>
                  <a:ahLst/>
                  <a:cxnLst>
                    <a:cxn ang="0">
                      <a:pos x="T0" y="T1"/>
                    </a:cxn>
                    <a:cxn ang="0">
                      <a:pos x="T2" y="T3"/>
                    </a:cxn>
                    <a:cxn ang="0">
                      <a:pos x="T4" y="T5"/>
                    </a:cxn>
                    <a:cxn ang="0">
                      <a:pos x="T6" y="T7"/>
                    </a:cxn>
                    <a:cxn ang="0">
                      <a:pos x="T8" y="T9"/>
                    </a:cxn>
                  </a:cxnLst>
                  <a:rect l="0" t="0" r="r" b="b"/>
                  <a:pathLst>
                    <a:path w="29" h="40">
                      <a:moveTo>
                        <a:pt x="0" y="40"/>
                      </a:moveTo>
                      <a:lnTo>
                        <a:pt x="29" y="0"/>
                      </a:lnTo>
                      <a:lnTo>
                        <a:pt x="29" y="0"/>
                      </a:lnTo>
                      <a:lnTo>
                        <a:pt x="0" y="40"/>
                      </a:lnTo>
                      <a:lnTo>
                        <a:pt x="0" y="40"/>
                      </a:lnTo>
                    </a:path>
                  </a:pathLst>
                </a:custGeom>
                <a:noFill/>
                <a:ln>
                  <a:noFill/>
                </a:ln>
                <a:extLst/>
              </p:spPr>
              <p:txBody>
                <a:bodyPr/>
                <a:lstStyle/>
                <a:p>
                  <a:pPr eaLnBrk="1" hangingPunct="1">
                    <a:defRPr/>
                  </a:pPr>
                  <a:endParaRPr lang="zh-CN" altLang="en-US" sz="1050"/>
                </a:p>
              </p:txBody>
            </p:sp>
            <p:sp>
              <p:nvSpPr>
                <p:cNvPr id="4218" name="Freeform 1461"/>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close/>
                    </a:path>
                  </a:pathLst>
                </a:custGeom>
                <a:solidFill>
                  <a:srgbClr val="01AAE5"/>
                </a:solidFill>
                <a:ln>
                  <a:noFill/>
                </a:ln>
                <a:extLst/>
              </p:spPr>
              <p:txBody>
                <a:bodyPr/>
                <a:lstStyle/>
                <a:p>
                  <a:pPr eaLnBrk="1" hangingPunct="1">
                    <a:defRPr/>
                  </a:pPr>
                  <a:endParaRPr lang="zh-CN" altLang="en-US" sz="1050"/>
                </a:p>
              </p:txBody>
            </p:sp>
            <p:sp>
              <p:nvSpPr>
                <p:cNvPr id="4219" name="Freeform 1462"/>
                <p:cNvSpPr>
                  <a:spLocks/>
                </p:cNvSpPr>
                <p:nvPr/>
              </p:nvSpPr>
              <p:spPr bwMode="auto">
                <a:xfrm>
                  <a:off x="11355" y="1942"/>
                  <a:ext cx="33" cy="35"/>
                </a:xfrm>
                <a:custGeom>
                  <a:avLst/>
                  <a:gdLst>
                    <a:gd name="T0" fmla="*/ 0 w 26"/>
                    <a:gd name="T1" fmla="*/ 40 h 40"/>
                    <a:gd name="T2" fmla="*/ 26 w 26"/>
                    <a:gd name="T3" fmla="*/ 2 h 40"/>
                    <a:gd name="T4" fmla="*/ 26 w 26"/>
                    <a:gd name="T5" fmla="*/ 0 h 40"/>
                    <a:gd name="T6" fmla="*/ 0 w 26"/>
                    <a:gd name="T7" fmla="*/ 40 h 40"/>
                    <a:gd name="T8" fmla="*/ 0 w 26"/>
                    <a:gd name="T9" fmla="*/ 40 h 40"/>
                  </a:gdLst>
                  <a:ahLst/>
                  <a:cxnLst>
                    <a:cxn ang="0">
                      <a:pos x="T0" y="T1"/>
                    </a:cxn>
                    <a:cxn ang="0">
                      <a:pos x="T2" y="T3"/>
                    </a:cxn>
                    <a:cxn ang="0">
                      <a:pos x="T4" y="T5"/>
                    </a:cxn>
                    <a:cxn ang="0">
                      <a:pos x="T6" y="T7"/>
                    </a:cxn>
                    <a:cxn ang="0">
                      <a:pos x="T8" y="T9"/>
                    </a:cxn>
                  </a:cxnLst>
                  <a:rect l="0" t="0" r="r" b="b"/>
                  <a:pathLst>
                    <a:path w="26" h="40">
                      <a:moveTo>
                        <a:pt x="0" y="40"/>
                      </a:moveTo>
                      <a:lnTo>
                        <a:pt x="26" y="2"/>
                      </a:lnTo>
                      <a:lnTo>
                        <a:pt x="26" y="0"/>
                      </a:lnTo>
                      <a:lnTo>
                        <a:pt x="0" y="40"/>
                      </a:lnTo>
                      <a:lnTo>
                        <a:pt x="0" y="40"/>
                      </a:lnTo>
                    </a:path>
                  </a:pathLst>
                </a:custGeom>
                <a:noFill/>
                <a:ln>
                  <a:noFill/>
                </a:ln>
                <a:extLst/>
              </p:spPr>
              <p:txBody>
                <a:bodyPr/>
                <a:lstStyle/>
                <a:p>
                  <a:pPr eaLnBrk="1" hangingPunct="1">
                    <a:defRPr/>
                  </a:pPr>
                  <a:endParaRPr lang="zh-CN" altLang="en-US" sz="1050"/>
                </a:p>
              </p:txBody>
            </p:sp>
            <p:sp>
              <p:nvSpPr>
                <p:cNvPr id="4220" name="Freeform 1463"/>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close/>
                    </a:path>
                  </a:pathLst>
                </a:custGeom>
                <a:solidFill>
                  <a:srgbClr val="01AAE5"/>
                </a:solidFill>
                <a:ln>
                  <a:noFill/>
                </a:ln>
                <a:extLst/>
              </p:spPr>
              <p:txBody>
                <a:bodyPr/>
                <a:lstStyle/>
                <a:p>
                  <a:pPr eaLnBrk="1" hangingPunct="1">
                    <a:defRPr/>
                  </a:pPr>
                  <a:endParaRPr lang="zh-CN" altLang="en-US" sz="1050"/>
                </a:p>
              </p:txBody>
            </p:sp>
            <p:sp>
              <p:nvSpPr>
                <p:cNvPr id="4221" name="Freeform 1464"/>
                <p:cNvSpPr>
                  <a:spLocks/>
                </p:cNvSpPr>
                <p:nvPr/>
              </p:nvSpPr>
              <p:spPr bwMode="auto">
                <a:xfrm>
                  <a:off x="11355" y="1942"/>
                  <a:ext cx="33" cy="44"/>
                </a:xfrm>
                <a:custGeom>
                  <a:avLst/>
                  <a:gdLst>
                    <a:gd name="T0" fmla="*/ 0 w 30"/>
                    <a:gd name="T1" fmla="*/ 43 h 43"/>
                    <a:gd name="T2" fmla="*/ 30 w 30"/>
                    <a:gd name="T3" fmla="*/ 3 h 43"/>
                    <a:gd name="T4" fmla="*/ 28 w 30"/>
                    <a:gd name="T5" fmla="*/ 0 h 43"/>
                    <a:gd name="T6" fmla="*/ 0 w 30"/>
                    <a:gd name="T7" fmla="*/ 43 h 43"/>
                    <a:gd name="T8" fmla="*/ 0 w 30"/>
                    <a:gd name="T9" fmla="*/ 43 h 43"/>
                  </a:gdLst>
                  <a:ahLst/>
                  <a:cxnLst>
                    <a:cxn ang="0">
                      <a:pos x="T0" y="T1"/>
                    </a:cxn>
                    <a:cxn ang="0">
                      <a:pos x="T2" y="T3"/>
                    </a:cxn>
                    <a:cxn ang="0">
                      <a:pos x="T4" y="T5"/>
                    </a:cxn>
                    <a:cxn ang="0">
                      <a:pos x="T6" y="T7"/>
                    </a:cxn>
                    <a:cxn ang="0">
                      <a:pos x="T8" y="T9"/>
                    </a:cxn>
                  </a:cxnLst>
                  <a:rect l="0" t="0" r="r" b="b"/>
                  <a:pathLst>
                    <a:path w="30" h="43">
                      <a:moveTo>
                        <a:pt x="0" y="43"/>
                      </a:moveTo>
                      <a:lnTo>
                        <a:pt x="30" y="3"/>
                      </a:lnTo>
                      <a:lnTo>
                        <a:pt x="28" y="0"/>
                      </a:lnTo>
                      <a:lnTo>
                        <a:pt x="0" y="43"/>
                      </a:lnTo>
                      <a:lnTo>
                        <a:pt x="0" y="43"/>
                      </a:lnTo>
                    </a:path>
                  </a:pathLst>
                </a:custGeom>
                <a:noFill/>
                <a:ln>
                  <a:noFill/>
                </a:ln>
                <a:extLst/>
              </p:spPr>
              <p:txBody>
                <a:bodyPr/>
                <a:lstStyle/>
                <a:p>
                  <a:pPr eaLnBrk="1" hangingPunct="1">
                    <a:defRPr/>
                  </a:pPr>
                  <a:endParaRPr lang="zh-CN" altLang="en-US" sz="1050"/>
                </a:p>
              </p:txBody>
            </p:sp>
            <p:sp>
              <p:nvSpPr>
                <p:cNvPr id="4222" name="Freeform 1465"/>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4223" name="Freeform 1466"/>
                <p:cNvSpPr>
                  <a:spLocks/>
                </p:cNvSpPr>
                <p:nvPr/>
              </p:nvSpPr>
              <p:spPr bwMode="auto">
                <a:xfrm>
                  <a:off x="11363" y="1959"/>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4224" name="Freeform 1467"/>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close/>
                    </a:path>
                  </a:pathLst>
                </a:custGeom>
                <a:solidFill>
                  <a:srgbClr val="01AAE5"/>
                </a:solidFill>
                <a:ln>
                  <a:noFill/>
                </a:ln>
                <a:extLst/>
              </p:spPr>
              <p:txBody>
                <a:bodyPr/>
                <a:lstStyle/>
                <a:p>
                  <a:pPr eaLnBrk="1" hangingPunct="1">
                    <a:defRPr/>
                  </a:pPr>
                  <a:endParaRPr lang="zh-CN" altLang="en-US" sz="1050"/>
                </a:p>
              </p:txBody>
            </p:sp>
            <p:sp>
              <p:nvSpPr>
                <p:cNvPr id="4225" name="Freeform 1468"/>
                <p:cNvSpPr>
                  <a:spLocks/>
                </p:cNvSpPr>
                <p:nvPr/>
              </p:nvSpPr>
              <p:spPr bwMode="auto">
                <a:xfrm>
                  <a:off x="11355" y="1942"/>
                  <a:ext cx="33" cy="35"/>
                </a:xfrm>
                <a:custGeom>
                  <a:avLst/>
                  <a:gdLst>
                    <a:gd name="T0" fmla="*/ 2 w 28"/>
                    <a:gd name="T1" fmla="*/ 37 h 37"/>
                    <a:gd name="T2" fmla="*/ 28 w 28"/>
                    <a:gd name="T3" fmla="*/ 0 h 37"/>
                    <a:gd name="T4" fmla="*/ 28 w 28"/>
                    <a:gd name="T5" fmla="*/ 0 h 37"/>
                    <a:gd name="T6" fmla="*/ 0 w 28"/>
                    <a:gd name="T7" fmla="*/ 37 h 37"/>
                    <a:gd name="T8" fmla="*/ 2 w 28"/>
                    <a:gd name="T9" fmla="*/ 37 h 37"/>
                  </a:gdLst>
                  <a:ahLst/>
                  <a:cxnLst>
                    <a:cxn ang="0">
                      <a:pos x="T0" y="T1"/>
                    </a:cxn>
                    <a:cxn ang="0">
                      <a:pos x="T2" y="T3"/>
                    </a:cxn>
                    <a:cxn ang="0">
                      <a:pos x="T4" y="T5"/>
                    </a:cxn>
                    <a:cxn ang="0">
                      <a:pos x="T6" y="T7"/>
                    </a:cxn>
                    <a:cxn ang="0">
                      <a:pos x="T8" y="T9"/>
                    </a:cxn>
                  </a:cxnLst>
                  <a:rect l="0" t="0" r="r" b="b"/>
                  <a:pathLst>
                    <a:path w="28" h="37">
                      <a:moveTo>
                        <a:pt x="2" y="37"/>
                      </a:moveTo>
                      <a:lnTo>
                        <a:pt x="28" y="0"/>
                      </a:lnTo>
                      <a:lnTo>
                        <a:pt x="28" y="0"/>
                      </a:lnTo>
                      <a:lnTo>
                        <a:pt x="0" y="37"/>
                      </a:lnTo>
                      <a:lnTo>
                        <a:pt x="2" y="37"/>
                      </a:lnTo>
                    </a:path>
                  </a:pathLst>
                </a:custGeom>
                <a:noFill/>
                <a:ln>
                  <a:noFill/>
                </a:ln>
                <a:extLst/>
              </p:spPr>
              <p:txBody>
                <a:bodyPr/>
                <a:lstStyle/>
                <a:p>
                  <a:pPr eaLnBrk="1" hangingPunct="1">
                    <a:defRPr/>
                  </a:pPr>
                  <a:endParaRPr lang="zh-CN" altLang="en-US" sz="1050"/>
                </a:p>
              </p:txBody>
            </p:sp>
            <p:sp>
              <p:nvSpPr>
                <p:cNvPr id="4226" name="Freeform 1469"/>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close/>
                    </a:path>
                  </a:pathLst>
                </a:custGeom>
                <a:solidFill>
                  <a:srgbClr val="01AAE5"/>
                </a:solidFill>
                <a:ln>
                  <a:noFill/>
                </a:ln>
                <a:extLst/>
              </p:spPr>
              <p:txBody>
                <a:bodyPr/>
                <a:lstStyle/>
                <a:p>
                  <a:pPr eaLnBrk="1" hangingPunct="1">
                    <a:defRPr/>
                  </a:pPr>
                  <a:endParaRPr lang="zh-CN" altLang="en-US" sz="1050"/>
                </a:p>
              </p:txBody>
            </p:sp>
            <p:sp>
              <p:nvSpPr>
                <p:cNvPr id="4227" name="Freeform 1470"/>
                <p:cNvSpPr>
                  <a:spLocks/>
                </p:cNvSpPr>
                <p:nvPr/>
              </p:nvSpPr>
              <p:spPr bwMode="auto">
                <a:xfrm>
                  <a:off x="11363" y="1950"/>
                  <a:ext cx="50" cy="35"/>
                </a:xfrm>
                <a:custGeom>
                  <a:avLst/>
                  <a:gdLst>
                    <a:gd name="T0" fmla="*/ 2 w 33"/>
                    <a:gd name="T1" fmla="*/ 43 h 43"/>
                    <a:gd name="T2" fmla="*/ 33 w 33"/>
                    <a:gd name="T3" fmla="*/ 0 h 43"/>
                    <a:gd name="T4" fmla="*/ 30 w 33"/>
                    <a:gd name="T5" fmla="*/ 0 h 43"/>
                    <a:gd name="T6" fmla="*/ 0 w 33"/>
                    <a:gd name="T7" fmla="*/ 43 h 43"/>
                    <a:gd name="T8" fmla="*/ 2 w 33"/>
                    <a:gd name="T9" fmla="*/ 43 h 43"/>
                  </a:gdLst>
                  <a:ahLst/>
                  <a:cxnLst>
                    <a:cxn ang="0">
                      <a:pos x="T0" y="T1"/>
                    </a:cxn>
                    <a:cxn ang="0">
                      <a:pos x="T2" y="T3"/>
                    </a:cxn>
                    <a:cxn ang="0">
                      <a:pos x="T4" y="T5"/>
                    </a:cxn>
                    <a:cxn ang="0">
                      <a:pos x="T6" y="T7"/>
                    </a:cxn>
                    <a:cxn ang="0">
                      <a:pos x="T8" y="T9"/>
                    </a:cxn>
                  </a:cxnLst>
                  <a:rect l="0" t="0" r="r" b="b"/>
                  <a:pathLst>
                    <a:path w="33" h="43">
                      <a:moveTo>
                        <a:pt x="2" y="43"/>
                      </a:moveTo>
                      <a:lnTo>
                        <a:pt x="33" y="0"/>
                      </a:lnTo>
                      <a:lnTo>
                        <a:pt x="30" y="0"/>
                      </a:lnTo>
                      <a:lnTo>
                        <a:pt x="0" y="43"/>
                      </a:lnTo>
                      <a:lnTo>
                        <a:pt x="2" y="43"/>
                      </a:lnTo>
                    </a:path>
                  </a:pathLst>
                </a:custGeom>
                <a:noFill/>
                <a:ln>
                  <a:noFill/>
                </a:ln>
                <a:extLst/>
              </p:spPr>
              <p:txBody>
                <a:bodyPr/>
                <a:lstStyle/>
                <a:p>
                  <a:pPr eaLnBrk="1" hangingPunct="1">
                    <a:defRPr/>
                  </a:pPr>
                  <a:endParaRPr lang="zh-CN" altLang="en-US" sz="1050"/>
                </a:p>
              </p:txBody>
            </p:sp>
            <p:sp>
              <p:nvSpPr>
                <p:cNvPr id="4228" name="Freeform 1471"/>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close/>
                    </a:path>
                  </a:pathLst>
                </a:custGeom>
                <a:solidFill>
                  <a:srgbClr val="01AAE5"/>
                </a:solidFill>
                <a:ln>
                  <a:noFill/>
                </a:ln>
                <a:extLst/>
              </p:spPr>
              <p:txBody>
                <a:bodyPr/>
                <a:lstStyle/>
                <a:p>
                  <a:pPr eaLnBrk="1" hangingPunct="1">
                    <a:defRPr/>
                  </a:pPr>
                  <a:endParaRPr lang="zh-CN" altLang="en-US" sz="1050"/>
                </a:p>
              </p:txBody>
            </p:sp>
            <p:sp>
              <p:nvSpPr>
                <p:cNvPr id="4229" name="Freeform 1472"/>
                <p:cNvSpPr>
                  <a:spLocks/>
                </p:cNvSpPr>
                <p:nvPr/>
              </p:nvSpPr>
              <p:spPr bwMode="auto">
                <a:xfrm>
                  <a:off x="11322" y="1933"/>
                  <a:ext cx="17" cy="26"/>
                </a:xfrm>
                <a:custGeom>
                  <a:avLst/>
                  <a:gdLst>
                    <a:gd name="T0" fmla="*/ 0 w 16"/>
                    <a:gd name="T1" fmla="*/ 24 h 24"/>
                    <a:gd name="T2" fmla="*/ 16 w 16"/>
                    <a:gd name="T3" fmla="*/ 0 h 24"/>
                    <a:gd name="T4" fmla="*/ 16 w 16"/>
                    <a:gd name="T5" fmla="*/ 0 h 24"/>
                    <a:gd name="T6" fmla="*/ 0 w 16"/>
                    <a:gd name="T7" fmla="*/ 24 h 24"/>
                    <a:gd name="T8" fmla="*/ 0 w 16"/>
                    <a:gd name="T9" fmla="*/ 24 h 24"/>
                  </a:gdLst>
                  <a:ahLst/>
                  <a:cxnLst>
                    <a:cxn ang="0">
                      <a:pos x="T0" y="T1"/>
                    </a:cxn>
                    <a:cxn ang="0">
                      <a:pos x="T2" y="T3"/>
                    </a:cxn>
                    <a:cxn ang="0">
                      <a:pos x="T4" y="T5"/>
                    </a:cxn>
                    <a:cxn ang="0">
                      <a:pos x="T6" y="T7"/>
                    </a:cxn>
                    <a:cxn ang="0">
                      <a:pos x="T8" y="T9"/>
                    </a:cxn>
                  </a:cxnLst>
                  <a:rect l="0" t="0" r="r" b="b"/>
                  <a:pathLst>
                    <a:path w="16" h="24">
                      <a:moveTo>
                        <a:pt x="0" y="24"/>
                      </a:moveTo>
                      <a:lnTo>
                        <a:pt x="16" y="0"/>
                      </a:lnTo>
                      <a:lnTo>
                        <a:pt x="16" y="0"/>
                      </a:lnTo>
                      <a:lnTo>
                        <a:pt x="0" y="24"/>
                      </a:lnTo>
                      <a:lnTo>
                        <a:pt x="0" y="24"/>
                      </a:lnTo>
                    </a:path>
                  </a:pathLst>
                </a:custGeom>
                <a:noFill/>
                <a:ln>
                  <a:noFill/>
                </a:ln>
                <a:extLst/>
              </p:spPr>
              <p:txBody>
                <a:bodyPr/>
                <a:lstStyle/>
                <a:p>
                  <a:pPr eaLnBrk="1" hangingPunct="1">
                    <a:defRPr/>
                  </a:pPr>
                  <a:endParaRPr lang="zh-CN" altLang="en-US" sz="1050"/>
                </a:p>
              </p:txBody>
            </p:sp>
            <p:sp>
              <p:nvSpPr>
                <p:cNvPr id="4230" name="Freeform 1473"/>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close/>
                    </a:path>
                  </a:pathLst>
                </a:custGeom>
                <a:solidFill>
                  <a:srgbClr val="01AAE5"/>
                </a:solidFill>
                <a:ln>
                  <a:noFill/>
                </a:ln>
                <a:extLst/>
              </p:spPr>
              <p:txBody>
                <a:bodyPr/>
                <a:lstStyle/>
                <a:p>
                  <a:pPr eaLnBrk="1" hangingPunct="1">
                    <a:defRPr/>
                  </a:pPr>
                  <a:endParaRPr lang="zh-CN" altLang="en-US" sz="1050"/>
                </a:p>
              </p:txBody>
            </p:sp>
            <p:sp>
              <p:nvSpPr>
                <p:cNvPr id="4231" name="Freeform 1474"/>
                <p:cNvSpPr>
                  <a:spLocks/>
                </p:cNvSpPr>
                <p:nvPr/>
              </p:nvSpPr>
              <p:spPr bwMode="auto">
                <a:xfrm>
                  <a:off x="11363" y="1950"/>
                  <a:ext cx="33" cy="35"/>
                </a:xfrm>
                <a:custGeom>
                  <a:avLst/>
                  <a:gdLst>
                    <a:gd name="T0" fmla="*/ 0 w 31"/>
                    <a:gd name="T1" fmla="*/ 42 h 42"/>
                    <a:gd name="T2" fmla="*/ 31 w 31"/>
                    <a:gd name="T3" fmla="*/ 0 h 42"/>
                    <a:gd name="T4" fmla="*/ 31 w 31"/>
                    <a:gd name="T5" fmla="*/ 0 h 42"/>
                    <a:gd name="T6" fmla="*/ 0 w 31"/>
                    <a:gd name="T7" fmla="*/ 42 h 42"/>
                    <a:gd name="T8" fmla="*/ 0 w 31"/>
                    <a:gd name="T9" fmla="*/ 42 h 42"/>
                  </a:gdLst>
                  <a:ahLst/>
                  <a:cxnLst>
                    <a:cxn ang="0">
                      <a:pos x="T0" y="T1"/>
                    </a:cxn>
                    <a:cxn ang="0">
                      <a:pos x="T2" y="T3"/>
                    </a:cxn>
                    <a:cxn ang="0">
                      <a:pos x="T4" y="T5"/>
                    </a:cxn>
                    <a:cxn ang="0">
                      <a:pos x="T6" y="T7"/>
                    </a:cxn>
                    <a:cxn ang="0">
                      <a:pos x="T8" y="T9"/>
                    </a:cxn>
                  </a:cxnLst>
                  <a:rect l="0" t="0" r="r" b="b"/>
                  <a:pathLst>
                    <a:path w="31" h="42">
                      <a:moveTo>
                        <a:pt x="0" y="42"/>
                      </a:moveTo>
                      <a:lnTo>
                        <a:pt x="31" y="0"/>
                      </a:lnTo>
                      <a:lnTo>
                        <a:pt x="31" y="0"/>
                      </a:lnTo>
                      <a:lnTo>
                        <a:pt x="0" y="42"/>
                      </a:lnTo>
                      <a:lnTo>
                        <a:pt x="0" y="42"/>
                      </a:lnTo>
                    </a:path>
                  </a:pathLst>
                </a:custGeom>
                <a:noFill/>
                <a:ln>
                  <a:noFill/>
                </a:ln>
                <a:extLst/>
              </p:spPr>
              <p:txBody>
                <a:bodyPr/>
                <a:lstStyle/>
                <a:p>
                  <a:pPr eaLnBrk="1" hangingPunct="1">
                    <a:defRPr/>
                  </a:pPr>
                  <a:endParaRPr lang="zh-CN" altLang="en-US" sz="1050"/>
                </a:p>
              </p:txBody>
            </p:sp>
            <p:sp>
              <p:nvSpPr>
                <p:cNvPr id="4232" name="Freeform 1475"/>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close/>
                    </a:path>
                  </a:pathLst>
                </a:custGeom>
                <a:solidFill>
                  <a:srgbClr val="01AAE5"/>
                </a:solidFill>
                <a:ln>
                  <a:noFill/>
                </a:ln>
                <a:extLst/>
              </p:spPr>
              <p:txBody>
                <a:bodyPr/>
                <a:lstStyle/>
                <a:p>
                  <a:pPr eaLnBrk="1" hangingPunct="1">
                    <a:defRPr/>
                  </a:pPr>
                  <a:endParaRPr lang="zh-CN" altLang="en-US" sz="1050"/>
                </a:p>
              </p:txBody>
            </p:sp>
            <p:sp>
              <p:nvSpPr>
                <p:cNvPr id="4233" name="Freeform 1476"/>
                <p:cNvSpPr>
                  <a:spLocks/>
                </p:cNvSpPr>
                <p:nvPr/>
              </p:nvSpPr>
              <p:spPr bwMode="auto">
                <a:xfrm>
                  <a:off x="11330" y="1933"/>
                  <a:ext cx="25" cy="26"/>
                </a:xfrm>
                <a:custGeom>
                  <a:avLst/>
                  <a:gdLst>
                    <a:gd name="T0" fmla="*/ 0 w 21"/>
                    <a:gd name="T1" fmla="*/ 31 h 31"/>
                    <a:gd name="T2" fmla="*/ 21 w 21"/>
                    <a:gd name="T3" fmla="*/ 0 h 31"/>
                    <a:gd name="T4" fmla="*/ 19 w 21"/>
                    <a:gd name="T5" fmla="*/ 0 h 31"/>
                    <a:gd name="T6" fmla="*/ 0 w 21"/>
                    <a:gd name="T7" fmla="*/ 28 h 31"/>
                    <a:gd name="T8" fmla="*/ 0 w 21"/>
                    <a:gd name="T9" fmla="*/ 31 h 31"/>
                  </a:gdLst>
                  <a:ahLst/>
                  <a:cxnLst>
                    <a:cxn ang="0">
                      <a:pos x="T0" y="T1"/>
                    </a:cxn>
                    <a:cxn ang="0">
                      <a:pos x="T2" y="T3"/>
                    </a:cxn>
                    <a:cxn ang="0">
                      <a:pos x="T4" y="T5"/>
                    </a:cxn>
                    <a:cxn ang="0">
                      <a:pos x="T6" y="T7"/>
                    </a:cxn>
                    <a:cxn ang="0">
                      <a:pos x="T8" y="T9"/>
                    </a:cxn>
                  </a:cxnLst>
                  <a:rect l="0" t="0" r="r" b="b"/>
                  <a:pathLst>
                    <a:path w="21" h="31">
                      <a:moveTo>
                        <a:pt x="0" y="31"/>
                      </a:moveTo>
                      <a:lnTo>
                        <a:pt x="21" y="0"/>
                      </a:lnTo>
                      <a:lnTo>
                        <a:pt x="19" y="0"/>
                      </a:lnTo>
                      <a:lnTo>
                        <a:pt x="0" y="28"/>
                      </a:lnTo>
                      <a:lnTo>
                        <a:pt x="0" y="31"/>
                      </a:lnTo>
                    </a:path>
                  </a:pathLst>
                </a:custGeom>
                <a:noFill/>
                <a:ln>
                  <a:noFill/>
                </a:ln>
                <a:extLst/>
              </p:spPr>
              <p:txBody>
                <a:bodyPr/>
                <a:lstStyle/>
                <a:p>
                  <a:pPr eaLnBrk="1" hangingPunct="1">
                    <a:defRPr/>
                  </a:pPr>
                  <a:endParaRPr lang="zh-CN" altLang="en-US" sz="1050"/>
                </a:p>
              </p:txBody>
            </p:sp>
            <p:sp>
              <p:nvSpPr>
                <p:cNvPr id="4234" name="Freeform 1477"/>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close/>
                    </a:path>
                  </a:pathLst>
                </a:custGeom>
                <a:solidFill>
                  <a:srgbClr val="01AAE5"/>
                </a:solidFill>
                <a:ln>
                  <a:noFill/>
                </a:ln>
                <a:extLst/>
              </p:spPr>
              <p:txBody>
                <a:bodyPr/>
                <a:lstStyle/>
                <a:p>
                  <a:pPr eaLnBrk="1" hangingPunct="1">
                    <a:defRPr/>
                  </a:pPr>
                  <a:endParaRPr lang="zh-CN" altLang="en-US" sz="1050"/>
                </a:p>
              </p:txBody>
            </p:sp>
            <p:sp>
              <p:nvSpPr>
                <p:cNvPr id="4235" name="Freeform 1478"/>
                <p:cNvSpPr>
                  <a:spLocks/>
                </p:cNvSpPr>
                <p:nvPr/>
              </p:nvSpPr>
              <p:spPr bwMode="auto">
                <a:xfrm>
                  <a:off x="11330" y="1933"/>
                  <a:ext cx="25" cy="26"/>
                </a:xfrm>
                <a:custGeom>
                  <a:avLst/>
                  <a:gdLst>
                    <a:gd name="T0" fmla="*/ 0 w 18"/>
                    <a:gd name="T1" fmla="*/ 31 h 31"/>
                    <a:gd name="T2" fmla="*/ 18 w 18"/>
                    <a:gd name="T3" fmla="*/ 0 h 31"/>
                    <a:gd name="T4" fmla="*/ 18 w 18"/>
                    <a:gd name="T5" fmla="*/ 0 h 31"/>
                    <a:gd name="T6" fmla="*/ 0 w 18"/>
                    <a:gd name="T7" fmla="*/ 29 h 31"/>
                    <a:gd name="T8" fmla="*/ 0 w 18"/>
                    <a:gd name="T9" fmla="*/ 31 h 31"/>
                  </a:gdLst>
                  <a:ahLst/>
                  <a:cxnLst>
                    <a:cxn ang="0">
                      <a:pos x="T0" y="T1"/>
                    </a:cxn>
                    <a:cxn ang="0">
                      <a:pos x="T2" y="T3"/>
                    </a:cxn>
                    <a:cxn ang="0">
                      <a:pos x="T4" y="T5"/>
                    </a:cxn>
                    <a:cxn ang="0">
                      <a:pos x="T6" y="T7"/>
                    </a:cxn>
                    <a:cxn ang="0">
                      <a:pos x="T8" y="T9"/>
                    </a:cxn>
                  </a:cxnLst>
                  <a:rect l="0" t="0" r="r" b="b"/>
                  <a:pathLst>
                    <a:path w="18" h="31">
                      <a:moveTo>
                        <a:pt x="0" y="31"/>
                      </a:moveTo>
                      <a:lnTo>
                        <a:pt x="18" y="0"/>
                      </a:lnTo>
                      <a:lnTo>
                        <a:pt x="18" y="0"/>
                      </a:lnTo>
                      <a:lnTo>
                        <a:pt x="0" y="29"/>
                      </a:lnTo>
                      <a:lnTo>
                        <a:pt x="0" y="31"/>
                      </a:lnTo>
                    </a:path>
                  </a:pathLst>
                </a:custGeom>
                <a:noFill/>
                <a:ln>
                  <a:noFill/>
                </a:ln>
                <a:extLst/>
              </p:spPr>
              <p:txBody>
                <a:bodyPr/>
                <a:lstStyle/>
                <a:p>
                  <a:pPr eaLnBrk="1" hangingPunct="1">
                    <a:defRPr/>
                  </a:pPr>
                  <a:endParaRPr lang="zh-CN" altLang="en-US" sz="1050"/>
                </a:p>
              </p:txBody>
            </p:sp>
            <p:sp>
              <p:nvSpPr>
                <p:cNvPr id="4236" name="Freeform 1479"/>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close/>
                    </a:path>
                  </a:pathLst>
                </a:custGeom>
                <a:solidFill>
                  <a:srgbClr val="01AAE5"/>
                </a:solidFill>
                <a:ln>
                  <a:noFill/>
                </a:ln>
                <a:extLst/>
              </p:spPr>
              <p:txBody>
                <a:bodyPr/>
                <a:lstStyle/>
                <a:p>
                  <a:pPr eaLnBrk="1" hangingPunct="1">
                    <a:defRPr/>
                  </a:pPr>
                  <a:endParaRPr lang="zh-CN" altLang="en-US" sz="1050"/>
                </a:p>
              </p:txBody>
            </p:sp>
            <p:sp>
              <p:nvSpPr>
                <p:cNvPr id="4237" name="Freeform 1480"/>
                <p:cNvSpPr>
                  <a:spLocks/>
                </p:cNvSpPr>
                <p:nvPr/>
              </p:nvSpPr>
              <p:spPr bwMode="auto">
                <a:xfrm>
                  <a:off x="11330" y="1933"/>
                  <a:ext cx="25" cy="26"/>
                </a:xfrm>
                <a:custGeom>
                  <a:avLst/>
                  <a:gdLst>
                    <a:gd name="T0" fmla="*/ 0 w 19"/>
                    <a:gd name="T1" fmla="*/ 29 h 29"/>
                    <a:gd name="T2" fmla="*/ 19 w 19"/>
                    <a:gd name="T3" fmla="*/ 0 h 29"/>
                    <a:gd name="T4" fmla="*/ 17 w 19"/>
                    <a:gd name="T5" fmla="*/ 0 h 29"/>
                    <a:gd name="T6" fmla="*/ 0 w 19"/>
                    <a:gd name="T7" fmla="*/ 26 h 29"/>
                    <a:gd name="T8" fmla="*/ 0 w 19"/>
                    <a:gd name="T9" fmla="*/ 29 h 29"/>
                  </a:gdLst>
                  <a:ahLst/>
                  <a:cxnLst>
                    <a:cxn ang="0">
                      <a:pos x="T0" y="T1"/>
                    </a:cxn>
                    <a:cxn ang="0">
                      <a:pos x="T2" y="T3"/>
                    </a:cxn>
                    <a:cxn ang="0">
                      <a:pos x="T4" y="T5"/>
                    </a:cxn>
                    <a:cxn ang="0">
                      <a:pos x="T6" y="T7"/>
                    </a:cxn>
                    <a:cxn ang="0">
                      <a:pos x="T8" y="T9"/>
                    </a:cxn>
                  </a:cxnLst>
                  <a:rect l="0" t="0" r="r" b="b"/>
                  <a:pathLst>
                    <a:path w="19" h="29">
                      <a:moveTo>
                        <a:pt x="0" y="29"/>
                      </a:moveTo>
                      <a:lnTo>
                        <a:pt x="19" y="0"/>
                      </a:lnTo>
                      <a:lnTo>
                        <a:pt x="17" y="0"/>
                      </a:lnTo>
                      <a:lnTo>
                        <a:pt x="0" y="26"/>
                      </a:lnTo>
                      <a:lnTo>
                        <a:pt x="0" y="29"/>
                      </a:lnTo>
                    </a:path>
                  </a:pathLst>
                </a:custGeom>
                <a:noFill/>
                <a:ln>
                  <a:noFill/>
                </a:ln>
                <a:extLst/>
              </p:spPr>
              <p:txBody>
                <a:bodyPr/>
                <a:lstStyle/>
                <a:p>
                  <a:pPr eaLnBrk="1" hangingPunct="1">
                    <a:defRPr/>
                  </a:pPr>
                  <a:endParaRPr lang="zh-CN" altLang="en-US" sz="1050"/>
                </a:p>
              </p:txBody>
            </p:sp>
            <p:sp>
              <p:nvSpPr>
                <p:cNvPr id="4238" name="Freeform 1481"/>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close/>
                    </a:path>
                  </a:pathLst>
                </a:custGeom>
                <a:solidFill>
                  <a:srgbClr val="01AAE5"/>
                </a:solidFill>
                <a:ln>
                  <a:noFill/>
                </a:ln>
                <a:extLst/>
              </p:spPr>
              <p:txBody>
                <a:bodyPr/>
                <a:lstStyle/>
                <a:p>
                  <a:pPr eaLnBrk="1" hangingPunct="1">
                    <a:defRPr/>
                  </a:pPr>
                  <a:endParaRPr lang="zh-CN" altLang="en-US" sz="1050"/>
                </a:p>
              </p:txBody>
            </p:sp>
            <p:sp>
              <p:nvSpPr>
                <p:cNvPr id="4239" name="Freeform 1482"/>
                <p:cNvSpPr>
                  <a:spLocks/>
                </p:cNvSpPr>
                <p:nvPr/>
              </p:nvSpPr>
              <p:spPr bwMode="auto">
                <a:xfrm>
                  <a:off x="11355" y="1933"/>
                  <a:ext cx="33" cy="44"/>
                </a:xfrm>
                <a:custGeom>
                  <a:avLst/>
                  <a:gdLst>
                    <a:gd name="T0" fmla="*/ 3 w 26"/>
                    <a:gd name="T1" fmla="*/ 38 h 38"/>
                    <a:gd name="T2" fmla="*/ 26 w 26"/>
                    <a:gd name="T3" fmla="*/ 0 h 38"/>
                    <a:gd name="T4" fmla="*/ 26 w 26"/>
                    <a:gd name="T5" fmla="*/ 0 h 38"/>
                    <a:gd name="T6" fmla="*/ 0 w 26"/>
                    <a:gd name="T7" fmla="*/ 38 h 38"/>
                    <a:gd name="T8" fmla="*/ 3 w 26"/>
                    <a:gd name="T9" fmla="*/ 38 h 38"/>
                  </a:gdLst>
                  <a:ahLst/>
                  <a:cxnLst>
                    <a:cxn ang="0">
                      <a:pos x="T0" y="T1"/>
                    </a:cxn>
                    <a:cxn ang="0">
                      <a:pos x="T2" y="T3"/>
                    </a:cxn>
                    <a:cxn ang="0">
                      <a:pos x="T4" y="T5"/>
                    </a:cxn>
                    <a:cxn ang="0">
                      <a:pos x="T6" y="T7"/>
                    </a:cxn>
                    <a:cxn ang="0">
                      <a:pos x="T8" y="T9"/>
                    </a:cxn>
                  </a:cxnLst>
                  <a:rect l="0" t="0" r="r" b="b"/>
                  <a:pathLst>
                    <a:path w="26" h="38">
                      <a:moveTo>
                        <a:pt x="3" y="38"/>
                      </a:moveTo>
                      <a:lnTo>
                        <a:pt x="26" y="0"/>
                      </a:lnTo>
                      <a:lnTo>
                        <a:pt x="26" y="0"/>
                      </a:lnTo>
                      <a:lnTo>
                        <a:pt x="0" y="38"/>
                      </a:lnTo>
                      <a:lnTo>
                        <a:pt x="3" y="38"/>
                      </a:lnTo>
                    </a:path>
                  </a:pathLst>
                </a:custGeom>
                <a:noFill/>
                <a:ln>
                  <a:noFill/>
                </a:ln>
                <a:extLst/>
              </p:spPr>
              <p:txBody>
                <a:bodyPr/>
                <a:lstStyle/>
                <a:p>
                  <a:pPr eaLnBrk="1" hangingPunct="1">
                    <a:defRPr/>
                  </a:pPr>
                  <a:endParaRPr lang="zh-CN" altLang="en-US" sz="1050"/>
                </a:p>
              </p:txBody>
            </p:sp>
            <p:sp>
              <p:nvSpPr>
                <p:cNvPr id="4240" name="Freeform 1483"/>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close/>
                    </a:path>
                  </a:pathLst>
                </a:custGeom>
                <a:solidFill>
                  <a:srgbClr val="01AAE5"/>
                </a:solidFill>
                <a:ln>
                  <a:noFill/>
                </a:ln>
                <a:extLst/>
              </p:spPr>
              <p:txBody>
                <a:bodyPr/>
                <a:lstStyle/>
                <a:p>
                  <a:pPr eaLnBrk="1" hangingPunct="1">
                    <a:defRPr/>
                  </a:pPr>
                  <a:endParaRPr lang="zh-CN" altLang="en-US" sz="1050"/>
                </a:p>
              </p:txBody>
            </p:sp>
            <p:sp>
              <p:nvSpPr>
                <p:cNvPr id="4241" name="Freeform 1484"/>
                <p:cNvSpPr>
                  <a:spLocks/>
                </p:cNvSpPr>
                <p:nvPr/>
              </p:nvSpPr>
              <p:spPr bwMode="auto">
                <a:xfrm>
                  <a:off x="11355" y="1933"/>
                  <a:ext cx="33" cy="35"/>
                </a:xfrm>
                <a:custGeom>
                  <a:avLst/>
                  <a:gdLst>
                    <a:gd name="T0" fmla="*/ 2 w 26"/>
                    <a:gd name="T1" fmla="*/ 36 h 36"/>
                    <a:gd name="T2" fmla="*/ 26 w 26"/>
                    <a:gd name="T3" fmla="*/ 0 h 36"/>
                    <a:gd name="T4" fmla="*/ 24 w 26"/>
                    <a:gd name="T5" fmla="*/ 0 h 36"/>
                    <a:gd name="T6" fmla="*/ 0 w 26"/>
                    <a:gd name="T7" fmla="*/ 36 h 36"/>
                    <a:gd name="T8" fmla="*/ 2 w 26"/>
                    <a:gd name="T9" fmla="*/ 36 h 36"/>
                  </a:gdLst>
                  <a:ahLst/>
                  <a:cxnLst>
                    <a:cxn ang="0">
                      <a:pos x="T0" y="T1"/>
                    </a:cxn>
                    <a:cxn ang="0">
                      <a:pos x="T2" y="T3"/>
                    </a:cxn>
                    <a:cxn ang="0">
                      <a:pos x="T4" y="T5"/>
                    </a:cxn>
                    <a:cxn ang="0">
                      <a:pos x="T6" y="T7"/>
                    </a:cxn>
                    <a:cxn ang="0">
                      <a:pos x="T8" y="T9"/>
                    </a:cxn>
                  </a:cxnLst>
                  <a:rect l="0" t="0" r="r" b="b"/>
                  <a:pathLst>
                    <a:path w="26" h="36">
                      <a:moveTo>
                        <a:pt x="2" y="36"/>
                      </a:moveTo>
                      <a:lnTo>
                        <a:pt x="26" y="0"/>
                      </a:lnTo>
                      <a:lnTo>
                        <a:pt x="24" y="0"/>
                      </a:lnTo>
                      <a:lnTo>
                        <a:pt x="0" y="36"/>
                      </a:lnTo>
                      <a:lnTo>
                        <a:pt x="2" y="36"/>
                      </a:lnTo>
                    </a:path>
                  </a:pathLst>
                </a:custGeom>
                <a:noFill/>
                <a:ln>
                  <a:noFill/>
                </a:ln>
                <a:extLst/>
              </p:spPr>
              <p:txBody>
                <a:bodyPr/>
                <a:lstStyle/>
                <a:p>
                  <a:pPr eaLnBrk="1" hangingPunct="1">
                    <a:defRPr/>
                  </a:pPr>
                  <a:endParaRPr lang="zh-CN" altLang="en-US" sz="1050"/>
                </a:p>
              </p:txBody>
            </p:sp>
            <p:sp>
              <p:nvSpPr>
                <p:cNvPr id="4242" name="Freeform 1485"/>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close/>
                    </a:path>
                  </a:pathLst>
                </a:custGeom>
                <a:solidFill>
                  <a:srgbClr val="01AAE5"/>
                </a:solidFill>
                <a:ln>
                  <a:noFill/>
                </a:ln>
                <a:extLst/>
              </p:spPr>
              <p:txBody>
                <a:bodyPr/>
                <a:lstStyle/>
                <a:p>
                  <a:pPr eaLnBrk="1" hangingPunct="1">
                    <a:defRPr/>
                  </a:pPr>
                  <a:endParaRPr lang="zh-CN" altLang="en-US" sz="1050"/>
                </a:p>
              </p:txBody>
            </p:sp>
            <p:sp>
              <p:nvSpPr>
                <p:cNvPr id="4243" name="Freeform 1486"/>
                <p:cNvSpPr>
                  <a:spLocks/>
                </p:cNvSpPr>
                <p:nvPr/>
              </p:nvSpPr>
              <p:spPr bwMode="auto">
                <a:xfrm>
                  <a:off x="11330" y="1933"/>
                  <a:ext cx="33" cy="35"/>
                </a:xfrm>
                <a:custGeom>
                  <a:avLst/>
                  <a:gdLst>
                    <a:gd name="T0" fmla="*/ 0 w 24"/>
                    <a:gd name="T1" fmla="*/ 33 h 33"/>
                    <a:gd name="T2" fmla="*/ 24 w 24"/>
                    <a:gd name="T3" fmla="*/ 0 h 33"/>
                    <a:gd name="T4" fmla="*/ 22 w 24"/>
                    <a:gd name="T5" fmla="*/ 0 h 33"/>
                    <a:gd name="T6" fmla="*/ 0 w 24"/>
                    <a:gd name="T7" fmla="*/ 33 h 33"/>
                    <a:gd name="T8" fmla="*/ 0 w 24"/>
                    <a:gd name="T9" fmla="*/ 33 h 33"/>
                  </a:gdLst>
                  <a:ahLst/>
                  <a:cxnLst>
                    <a:cxn ang="0">
                      <a:pos x="T0" y="T1"/>
                    </a:cxn>
                    <a:cxn ang="0">
                      <a:pos x="T2" y="T3"/>
                    </a:cxn>
                    <a:cxn ang="0">
                      <a:pos x="T4" y="T5"/>
                    </a:cxn>
                    <a:cxn ang="0">
                      <a:pos x="T6" y="T7"/>
                    </a:cxn>
                    <a:cxn ang="0">
                      <a:pos x="T8" y="T9"/>
                    </a:cxn>
                  </a:cxnLst>
                  <a:rect l="0" t="0" r="r" b="b"/>
                  <a:pathLst>
                    <a:path w="24" h="33">
                      <a:moveTo>
                        <a:pt x="0" y="33"/>
                      </a:moveTo>
                      <a:lnTo>
                        <a:pt x="24" y="0"/>
                      </a:lnTo>
                      <a:lnTo>
                        <a:pt x="22" y="0"/>
                      </a:lnTo>
                      <a:lnTo>
                        <a:pt x="0" y="33"/>
                      </a:lnTo>
                      <a:lnTo>
                        <a:pt x="0" y="33"/>
                      </a:lnTo>
                    </a:path>
                  </a:pathLst>
                </a:custGeom>
                <a:noFill/>
                <a:ln>
                  <a:noFill/>
                </a:ln>
                <a:extLst/>
              </p:spPr>
              <p:txBody>
                <a:bodyPr/>
                <a:lstStyle/>
                <a:p>
                  <a:pPr eaLnBrk="1" hangingPunct="1">
                    <a:defRPr/>
                  </a:pPr>
                  <a:endParaRPr lang="zh-CN" altLang="en-US" sz="1050"/>
                </a:p>
              </p:txBody>
            </p:sp>
            <p:sp>
              <p:nvSpPr>
                <p:cNvPr id="4244" name="Freeform 1487"/>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close/>
                    </a:path>
                  </a:pathLst>
                </a:custGeom>
                <a:solidFill>
                  <a:srgbClr val="01AAE5"/>
                </a:solidFill>
                <a:ln>
                  <a:noFill/>
                </a:ln>
                <a:extLst/>
              </p:spPr>
              <p:txBody>
                <a:bodyPr/>
                <a:lstStyle/>
                <a:p>
                  <a:pPr eaLnBrk="1" hangingPunct="1">
                    <a:defRPr/>
                  </a:pPr>
                  <a:endParaRPr lang="zh-CN" altLang="en-US" sz="1050"/>
                </a:p>
              </p:txBody>
            </p:sp>
            <p:sp>
              <p:nvSpPr>
                <p:cNvPr id="4245" name="Freeform 1488"/>
                <p:cNvSpPr>
                  <a:spLocks/>
                </p:cNvSpPr>
                <p:nvPr/>
              </p:nvSpPr>
              <p:spPr bwMode="auto">
                <a:xfrm>
                  <a:off x="11330" y="1933"/>
                  <a:ext cx="33" cy="35"/>
                </a:xfrm>
                <a:custGeom>
                  <a:avLst/>
                  <a:gdLst>
                    <a:gd name="T0" fmla="*/ 2 w 23"/>
                    <a:gd name="T1" fmla="*/ 35 h 35"/>
                    <a:gd name="T2" fmla="*/ 23 w 23"/>
                    <a:gd name="T3" fmla="*/ 2 h 35"/>
                    <a:gd name="T4" fmla="*/ 23 w 23"/>
                    <a:gd name="T5" fmla="*/ 0 h 35"/>
                    <a:gd name="T6" fmla="*/ 0 w 23"/>
                    <a:gd name="T7" fmla="*/ 35 h 35"/>
                    <a:gd name="T8" fmla="*/ 2 w 23"/>
                    <a:gd name="T9" fmla="*/ 35 h 35"/>
                  </a:gdLst>
                  <a:ahLst/>
                  <a:cxnLst>
                    <a:cxn ang="0">
                      <a:pos x="T0" y="T1"/>
                    </a:cxn>
                    <a:cxn ang="0">
                      <a:pos x="T2" y="T3"/>
                    </a:cxn>
                    <a:cxn ang="0">
                      <a:pos x="T4" y="T5"/>
                    </a:cxn>
                    <a:cxn ang="0">
                      <a:pos x="T6" y="T7"/>
                    </a:cxn>
                    <a:cxn ang="0">
                      <a:pos x="T8" y="T9"/>
                    </a:cxn>
                  </a:cxnLst>
                  <a:rect l="0" t="0" r="r" b="b"/>
                  <a:pathLst>
                    <a:path w="23" h="35">
                      <a:moveTo>
                        <a:pt x="2" y="35"/>
                      </a:moveTo>
                      <a:lnTo>
                        <a:pt x="23" y="2"/>
                      </a:lnTo>
                      <a:lnTo>
                        <a:pt x="23" y="0"/>
                      </a:lnTo>
                      <a:lnTo>
                        <a:pt x="0" y="35"/>
                      </a:lnTo>
                      <a:lnTo>
                        <a:pt x="2" y="35"/>
                      </a:lnTo>
                    </a:path>
                  </a:pathLst>
                </a:custGeom>
                <a:noFill/>
                <a:ln>
                  <a:noFill/>
                </a:ln>
                <a:extLst/>
              </p:spPr>
              <p:txBody>
                <a:bodyPr/>
                <a:lstStyle/>
                <a:p>
                  <a:pPr eaLnBrk="1" hangingPunct="1">
                    <a:defRPr/>
                  </a:pPr>
                  <a:endParaRPr lang="zh-CN" altLang="en-US" sz="1050"/>
                </a:p>
              </p:txBody>
            </p:sp>
            <p:sp>
              <p:nvSpPr>
                <p:cNvPr id="4246" name="Freeform 1489"/>
                <p:cNvSpPr>
                  <a:spLocks/>
                </p:cNvSpPr>
                <p:nvPr/>
              </p:nvSpPr>
              <p:spPr bwMode="auto">
                <a:xfrm>
                  <a:off x="10506" y="1977"/>
                  <a:ext cx="8" cy="9"/>
                </a:xfrm>
                <a:custGeom>
                  <a:avLst/>
                  <a:gdLst>
                    <a:gd name="T0" fmla="*/ 7 w 7"/>
                    <a:gd name="T1" fmla="*/ 7 h 7"/>
                    <a:gd name="T2" fmla="*/ 3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47" name="Freeform 1490"/>
                <p:cNvSpPr>
                  <a:spLocks/>
                </p:cNvSpPr>
                <p:nvPr/>
              </p:nvSpPr>
              <p:spPr bwMode="auto">
                <a:xfrm>
                  <a:off x="10506" y="1985"/>
                  <a:ext cx="0" cy="0"/>
                </a:xfrm>
                <a:custGeom>
                  <a:avLst/>
                  <a:gdLst>
                    <a:gd name="T0" fmla="*/ 5 w 5"/>
                    <a:gd name="T1" fmla="*/ 8 h 8"/>
                    <a:gd name="T2" fmla="*/ 0 w 5"/>
                    <a:gd name="T3" fmla="*/ 0 h 8"/>
                    <a:gd name="T4" fmla="*/ 0 w 5"/>
                    <a:gd name="T5" fmla="*/ 0 h 8"/>
                    <a:gd name="T6" fmla="*/ 5 w 5"/>
                    <a:gd name="T7" fmla="*/ 8 h 8"/>
                    <a:gd name="T8" fmla="*/ 5 w 5"/>
                    <a:gd name="T9" fmla="*/ 8 h 8"/>
                  </a:gdLst>
                  <a:ahLst/>
                  <a:cxnLst>
                    <a:cxn ang="0">
                      <a:pos x="T0" y="T1"/>
                    </a:cxn>
                    <a:cxn ang="0">
                      <a:pos x="T2" y="T3"/>
                    </a:cxn>
                    <a:cxn ang="0">
                      <a:pos x="T4" y="T5"/>
                    </a:cxn>
                    <a:cxn ang="0">
                      <a:pos x="T6" y="T7"/>
                    </a:cxn>
                    <a:cxn ang="0">
                      <a:pos x="T8" y="T9"/>
                    </a:cxn>
                  </a:cxnLst>
                  <a:rect l="0" t="0" r="r" b="b"/>
                  <a:pathLst>
                    <a:path w="5" h="8">
                      <a:moveTo>
                        <a:pt x="5" y="8"/>
                      </a:moveTo>
                      <a:lnTo>
                        <a:pt x="0" y="0"/>
                      </a:lnTo>
                      <a:lnTo>
                        <a:pt x="0" y="0"/>
                      </a:lnTo>
                      <a:lnTo>
                        <a:pt x="5" y="8"/>
                      </a:lnTo>
                      <a:lnTo>
                        <a:pt x="5" y="8"/>
                      </a:lnTo>
                      <a:close/>
                    </a:path>
                  </a:pathLst>
                </a:custGeom>
                <a:solidFill>
                  <a:srgbClr val="01AAE5"/>
                </a:solidFill>
                <a:ln>
                  <a:noFill/>
                </a:ln>
                <a:extLst/>
              </p:spPr>
              <p:txBody>
                <a:bodyPr/>
                <a:lstStyle/>
                <a:p>
                  <a:pPr eaLnBrk="1" hangingPunct="1">
                    <a:defRPr/>
                  </a:pPr>
                  <a:endParaRPr lang="zh-CN" altLang="en-US" sz="1050"/>
                </a:p>
              </p:txBody>
            </p:sp>
            <p:sp>
              <p:nvSpPr>
                <p:cNvPr id="4248" name="Freeform 1491"/>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close/>
                    </a:path>
                  </a:pathLst>
                </a:custGeom>
                <a:solidFill>
                  <a:srgbClr val="01AAE5"/>
                </a:solidFill>
                <a:ln>
                  <a:noFill/>
                </a:ln>
                <a:extLst/>
              </p:spPr>
              <p:txBody>
                <a:bodyPr/>
                <a:lstStyle/>
                <a:p>
                  <a:pPr eaLnBrk="1" hangingPunct="1">
                    <a:defRPr/>
                  </a:pPr>
                  <a:endParaRPr lang="zh-CN" altLang="en-US" sz="1050"/>
                </a:p>
              </p:txBody>
            </p:sp>
            <p:sp>
              <p:nvSpPr>
                <p:cNvPr id="4249" name="Freeform 1492"/>
                <p:cNvSpPr>
                  <a:spLocks/>
                </p:cNvSpPr>
                <p:nvPr/>
              </p:nvSpPr>
              <p:spPr bwMode="auto">
                <a:xfrm>
                  <a:off x="10506" y="1977"/>
                  <a:ext cx="8" cy="9"/>
                </a:xfrm>
                <a:custGeom>
                  <a:avLst/>
                  <a:gdLst>
                    <a:gd name="T0" fmla="*/ 5 w 5"/>
                    <a:gd name="T1" fmla="*/ 7 h 9"/>
                    <a:gd name="T2" fmla="*/ 0 w 5"/>
                    <a:gd name="T3" fmla="*/ 0 h 9"/>
                    <a:gd name="T4" fmla="*/ 0 w 5"/>
                    <a:gd name="T5" fmla="*/ 2 h 9"/>
                    <a:gd name="T6" fmla="*/ 5 w 5"/>
                    <a:gd name="T7" fmla="*/ 9 h 9"/>
                    <a:gd name="T8" fmla="*/ 5 w 5"/>
                    <a:gd name="T9" fmla="*/ 7 h 9"/>
                  </a:gdLst>
                  <a:ahLst/>
                  <a:cxnLst>
                    <a:cxn ang="0">
                      <a:pos x="T0" y="T1"/>
                    </a:cxn>
                    <a:cxn ang="0">
                      <a:pos x="T2" y="T3"/>
                    </a:cxn>
                    <a:cxn ang="0">
                      <a:pos x="T4" y="T5"/>
                    </a:cxn>
                    <a:cxn ang="0">
                      <a:pos x="T6" y="T7"/>
                    </a:cxn>
                    <a:cxn ang="0">
                      <a:pos x="T8" y="T9"/>
                    </a:cxn>
                  </a:cxnLst>
                  <a:rect l="0" t="0" r="r" b="b"/>
                  <a:pathLst>
                    <a:path w="5" h="9">
                      <a:moveTo>
                        <a:pt x="5" y="7"/>
                      </a:moveTo>
                      <a:lnTo>
                        <a:pt x="0" y="0"/>
                      </a:lnTo>
                      <a:lnTo>
                        <a:pt x="0" y="2"/>
                      </a:lnTo>
                      <a:lnTo>
                        <a:pt x="5" y="9"/>
                      </a:lnTo>
                      <a:lnTo>
                        <a:pt x="5" y="7"/>
                      </a:lnTo>
                    </a:path>
                  </a:pathLst>
                </a:custGeom>
                <a:noFill/>
                <a:ln>
                  <a:noFill/>
                </a:ln>
                <a:extLst/>
              </p:spPr>
              <p:txBody>
                <a:bodyPr/>
                <a:lstStyle/>
                <a:p>
                  <a:pPr eaLnBrk="1" hangingPunct="1">
                    <a:defRPr/>
                  </a:pPr>
                  <a:endParaRPr lang="zh-CN" altLang="en-US" sz="1050"/>
                </a:p>
              </p:txBody>
            </p:sp>
            <p:sp>
              <p:nvSpPr>
                <p:cNvPr id="4250" name="Freeform 1493"/>
                <p:cNvSpPr>
                  <a:spLocks/>
                </p:cNvSpPr>
                <p:nvPr/>
              </p:nvSpPr>
              <p:spPr bwMode="auto">
                <a:xfrm>
                  <a:off x="10531" y="1959"/>
                  <a:ext cx="0" cy="9"/>
                </a:xfrm>
                <a:custGeom>
                  <a:avLst/>
                  <a:gdLst>
                    <a:gd name="T0" fmla="*/ 7 w 7"/>
                    <a:gd name="T1" fmla="*/ 7 h 7"/>
                    <a:gd name="T2" fmla="*/ 2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2"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51" name="Freeform 1494"/>
                <p:cNvSpPr>
                  <a:spLocks/>
                </p:cNvSpPr>
                <p:nvPr/>
              </p:nvSpPr>
              <p:spPr bwMode="auto">
                <a:xfrm>
                  <a:off x="10498" y="1985"/>
                  <a:ext cx="8" cy="0"/>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52" name="Freeform 1495"/>
                <p:cNvSpPr>
                  <a:spLocks/>
                </p:cNvSpPr>
                <p:nvPr/>
              </p:nvSpPr>
              <p:spPr bwMode="auto">
                <a:xfrm>
                  <a:off x="10523" y="1968"/>
                  <a:ext cx="8" cy="9"/>
                </a:xfrm>
                <a:custGeom>
                  <a:avLst/>
                  <a:gdLst>
                    <a:gd name="T0" fmla="*/ 4 w 4"/>
                    <a:gd name="T1" fmla="*/ 7 h 9"/>
                    <a:gd name="T2" fmla="*/ 0 w 4"/>
                    <a:gd name="T3" fmla="*/ 0 h 9"/>
                    <a:gd name="T4" fmla="*/ 0 w 4"/>
                    <a:gd name="T5" fmla="*/ 2 h 9"/>
                    <a:gd name="T6" fmla="*/ 4 w 4"/>
                    <a:gd name="T7" fmla="*/ 9 h 9"/>
                    <a:gd name="T8" fmla="*/ 4 w 4"/>
                    <a:gd name="T9" fmla="*/ 7 h 9"/>
                  </a:gdLst>
                  <a:ahLst/>
                  <a:cxnLst>
                    <a:cxn ang="0">
                      <a:pos x="T0" y="T1"/>
                    </a:cxn>
                    <a:cxn ang="0">
                      <a:pos x="T2" y="T3"/>
                    </a:cxn>
                    <a:cxn ang="0">
                      <a:pos x="T4" y="T5"/>
                    </a:cxn>
                    <a:cxn ang="0">
                      <a:pos x="T6" y="T7"/>
                    </a:cxn>
                    <a:cxn ang="0">
                      <a:pos x="T8" y="T9"/>
                    </a:cxn>
                  </a:cxnLst>
                  <a:rect l="0" t="0" r="r" b="b"/>
                  <a:pathLst>
                    <a:path w="4" h="9">
                      <a:moveTo>
                        <a:pt x="4" y="7"/>
                      </a:moveTo>
                      <a:lnTo>
                        <a:pt x="0" y="0"/>
                      </a:lnTo>
                      <a:lnTo>
                        <a:pt x="0" y="2"/>
                      </a:lnTo>
                      <a:lnTo>
                        <a:pt x="4" y="9"/>
                      </a:lnTo>
                      <a:lnTo>
                        <a:pt x="4" y="7"/>
                      </a:lnTo>
                      <a:close/>
                    </a:path>
                  </a:pathLst>
                </a:custGeom>
                <a:solidFill>
                  <a:srgbClr val="01AAE5"/>
                </a:solidFill>
                <a:ln>
                  <a:noFill/>
                </a:ln>
                <a:extLst/>
              </p:spPr>
              <p:txBody>
                <a:bodyPr/>
                <a:lstStyle/>
                <a:p>
                  <a:pPr eaLnBrk="1" hangingPunct="1">
                    <a:defRPr/>
                  </a:pPr>
                  <a:endParaRPr lang="zh-CN" altLang="en-US" sz="1050"/>
                </a:p>
              </p:txBody>
            </p:sp>
            <p:sp>
              <p:nvSpPr>
                <p:cNvPr id="4253" name="Freeform 1496"/>
                <p:cNvSpPr>
                  <a:spLocks/>
                </p:cNvSpPr>
                <p:nvPr/>
              </p:nvSpPr>
              <p:spPr bwMode="auto">
                <a:xfrm>
                  <a:off x="10523" y="1968"/>
                  <a:ext cx="0"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4254" name="Freeform 1497"/>
                <p:cNvSpPr>
                  <a:spLocks/>
                </p:cNvSpPr>
                <p:nvPr/>
              </p:nvSpPr>
              <p:spPr bwMode="auto">
                <a:xfrm>
                  <a:off x="10457" y="2011"/>
                  <a:ext cx="8" cy="9"/>
                </a:xfrm>
                <a:custGeom>
                  <a:avLst/>
                  <a:gdLst>
                    <a:gd name="T0" fmla="*/ 8 w 8"/>
                    <a:gd name="T1" fmla="*/ 7 h 7"/>
                    <a:gd name="T2" fmla="*/ 3 w 8"/>
                    <a:gd name="T3" fmla="*/ 0 h 7"/>
                    <a:gd name="T4" fmla="*/ 0 w 8"/>
                    <a:gd name="T5" fmla="*/ 0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3" y="0"/>
                      </a:lnTo>
                      <a:lnTo>
                        <a:pt x="0" y="0"/>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4255" name="Freeform 1498"/>
                <p:cNvSpPr>
                  <a:spLocks/>
                </p:cNvSpPr>
                <p:nvPr/>
              </p:nvSpPr>
              <p:spPr bwMode="auto">
                <a:xfrm>
                  <a:off x="10473" y="2011"/>
                  <a:ext cx="0" cy="0"/>
                </a:xfrm>
                <a:custGeom>
                  <a:avLst/>
                  <a:gdLst>
                    <a:gd name="T0" fmla="*/ 7 w 7"/>
                    <a:gd name="T1" fmla="*/ 7 h 7"/>
                    <a:gd name="T2" fmla="*/ 0 w 7"/>
                    <a:gd name="T3" fmla="*/ 0 h 7"/>
                    <a:gd name="T4" fmla="*/ 0 w 7"/>
                    <a:gd name="T5" fmla="*/ 2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2"/>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56" name="Freeform 1499"/>
                <p:cNvSpPr>
                  <a:spLocks/>
                </p:cNvSpPr>
                <p:nvPr/>
              </p:nvSpPr>
              <p:spPr bwMode="auto">
                <a:xfrm>
                  <a:off x="10473" y="2011"/>
                  <a:ext cx="0" cy="0"/>
                </a:xfrm>
                <a:custGeom>
                  <a:avLst/>
                  <a:gdLst>
                    <a:gd name="T0" fmla="*/ 7 w 7"/>
                    <a:gd name="T1" fmla="*/ 8 h 8"/>
                    <a:gd name="T2" fmla="*/ 3 w 7"/>
                    <a:gd name="T3" fmla="*/ 0 h 8"/>
                    <a:gd name="T4" fmla="*/ 0 w 7"/>
                    <a:gd name="T5" fmla="*/ 0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3" y="0"/>
                      </a:lnTo>
                      <a:lnTo>
                        <a:pt x="0" y="0"/>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4257" name="Freeform 1500"/>
                <p:cNvSpPr>
                  <a:spLocks/>
                </p:cNvSpPr>
                <p:nvPr/>
              </p:nvSpPr>
              <p:spPr bwMode="auto">
                <a:xfrm>
                  <a:off x="10482" y="2003"/>
                  <a:ext cx="0" cy="9"/>
                </a:xfrm>
                <a:custGeom>
                  <a:avLst/>
                  <a:gdLst>
                    <a:gd name="T0" fmla="*/ 7 w 7"/>
                    <a:gd name="T1" fmla="*/ 7 h 9"/>
                    <a:gd name="T2" fmla="*/ 0 w 7"/>
                    <a:gd name="T3" fmla="*/ 0 h 9"/>
                    <a:gd name="T4" fmla="*/ 0 w 7"/>
                    <a:gd name="T5" fmla="*/ 2 h 9"/>
                    <a:gd name="T6" fmla="*/ 5 w 7"/>
                    <a:gd name="T7" fmla="*/ 9 h 9"/>
                    <a:gd name="T8" fmla="*/ 7 w 7"/>
                    <a:gd name="T9" fmla="*/ 7 h 9"/>
                  </a:gdLst>
                  <a:ahLst/>
                  <a:cxnLst>
                    <a:cxn ang="0">
                      <a:pos x="T0" y="T1"/>
                    </a:cxn>
                    <a:cxn ang="0">
                      <a:pos x="T2" y="T3"/>
                    </a:cxn>
                    <a:cxn ang="0">
                      <a:pos x="T4" y="T5"/>
                    </a:cxn>
                    <a:cxn ang="0">
                      <a:pos x="T6" y="T7"/>
                    </a:cxn>
                    <a:cxn ang="0">
                      <a:pos x="T8" y="T9"/>
                    </a:cxn>
                  </a:cxnLst>
                  <a:rect l="0" t="0" r="r" b="b"/>
                  <a:pathLst>
                    <a:path w="7" h="9">
                      <a:moveTo>
                        <a:pt x="7" y="7"/>
                      </a:moveTo>
                      <a:lnTo>
                        <a:pt x="0" y="0"/>
                      </a:lnTo>
                      <a:lnTo>
                        <a:pt x="0" y="2"/>
                      </a:lnTo>
                      <a:lnTo>
                        <a:pt x="5" y="9"/>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58" name="Freeform 1501"/>
                <p:cNvSpPr>
                  <a:spLocks/>
                </p:cNvSpPr>
                <p:nvPr/>
              </p:nvSpPr>
              <p:spPr bwMode="auto">
                <a:xfrm>
                  <a:off x="10482" y="2003"/>
                  <a:ext cx="0" cy="9"/>
                </a:xfrm>
                <a:custGeom>
                  <a:avLst/>
                  <a:gdLst>
                    <a:gd name="T0" fmla="*/ 4 w 4"/>
                    <a:gd name="T1" fmla="*/ 7 h 7"/>
                    <a:gd name="T2" fmla="*/ 0 w 4"/>
                    <a:gd name="T3" fmla="*/ 0 h 7"/>
                    <a:gd name="T4" fmla="*/ 0 w 4"/>
                    <a:gd name="T5" fmla="*/ 0 h 7"/>
                    <a:gd name="T6" fmla="*/ 4 w 4"/>
                    <a:gd name="T7" fmla="*/ 7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0" y="0"/>
                      </a:lnTo>
                      <a:lnTo>
                        <a:pt x="0" y="0"/>
                      </a:lnTo>
                      <a:lnTo>
                        <a:pt x="4" y="7"/>
                      </a:lnTo>
                      <a:lnTo>
                        <a:pt x="4" y="7"/>
                      </a:lnTo>
                      <a:close/>
                    </a:path>
                  </a:pathLst>
                </a:custGeom>
                <a:solidFill>
                  <a:srgbClr val="01AAE5"/>
                </a:solidFill>
                <a:ln>
                  <a:noFill/>
                </a:ln>
                <a:extLst/>
              </p:spPr>
              <p:txBody>
                <a:bodyPr/>
                <a:lstStyle/>
                <a:p>
                  <a:pPr eaLnBrk="1" hangingPunct="1">
                    <a:defRPr/>
                  </a:pPr>
                  <a:endParaRPr lang="zh-CN" altLang="en-US" sz="1050"/>
                </a:p>
              </p:txBody>
            </p:sp>
            <p:sp>
              <p:nvSpPr>
                <p:cNvPr id="4259" name="Freeform 1502"/>
                <p:cNvSpPr>
                  <a:spLocks/>
                </p:cNvSpPr>
                <p:nvPr/>
              </p:nvSpPr>
              <p:spPr bwMode="auto">
                <a:xfrm>
                  <a:off x="10465" y="2011"/>
                  <a:ext cx="8" cy="9"/>
                </a:xfrm>
                <a:custGeom>
                  <a:avLst/>
                  <a:gdLst>
                    <a:gd name="T0" fmla="*/ 7 w 7"/>
                    <a:gd name="T1" fmla="*/ 4 h 7"/>
                    <a:gd name="T2" fmla="*/ 0 w 7"/>
                    <a:gd name="T3" fmla="*/ 0 h 7"/>
                    <a:gd name="T4" fmla="*/ 0 w 7"/>
                    <a:gd name="T5" fmla="*/ 0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4260" name="Freeform 1503"/>
                <p:cNvSpPr>
                  <a:spLocks/>
                </p:cNvSpPr>
                <p:nvPr/>
              </p:nvSpPr>
              <p:spPr bwMode="auto">
                <a:xfrm>
                  <a:off x="10490" y="1994"/>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61" name="Freeform 1504"/>
                <p:cNvSpPr>
                  <a:spLocks/>
                </p:cNvSpPr>
                <p:nvPr/>
              </p:nvSpPr>
              <p:spPr bwMode="auto">
                <a:xfrm>
                  <a:off x="10490" y="1985"/>
                  <a:ext cx="8" cy="9"/>
                </a:xfrm>
                <a:custGeom>
                  <a:avLst/>
                  <a:gdLst>
                    <a:gd name="T0" fmla="*/ 5 w 5"/>
                    <a:gd name="T1" fmla="*/ 7 h 7"/>
                    <a:gd name="T2" fmla="*/ 0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0"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4262" name="Freeform 1505"/>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63" name="Freeform 1506"/>
                <p:cNvSpPr>
                  <a:spLocks/>
                </p:cNvSpPr>
                <p:nvPr/>
              </p:nvSpPr>
              <p:spPr bwMode="auto">
                <a:xfrm>
                  <a:off x="10498" y="1985"/>
                  <a:ext cx="8" cy="9"/>
                </a:xfrm>
                <a:custGeom>
                  <a:avLst/>
                  <a:gdLst>
                    <a:gd name="T0" fmla="*/ 7 w 7"/>
                    <a:gd name="T1" fmla="*/ 7 h 10"/>
                    <a:gd name="T2" fmla="*/ 2 w 7"/>
                    <a:gd name="T3" fmla="*/ 0 h 10"/>
                    <a:gd name="T4" fmla="*/ 0 w 7"/>
                    <a:gd name="T5" fmla="*/ 3 h 10"/>
                    <a:gd name="T6" fmla="*/ 7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2" y="0"/>
                      </a:lnTo>
                      <a:lnTo>
                        <a:pt x="0" y="3"/>
                      </a:lnTo>
                      <a:lnTo>
                        <a:pt x="7" y="10"/>
                      </a:lnTo>
                      <a:lnTo>
                        <a:pt x="7" y="7"/>
                      </a:lnTo>
                    </a:path>
                  </a:pathLst>
                </a:custGeom>
                <a:noFill/>
                <a:ln>
                  <a:noFill/>
                </a:ln>
                <a:extLst/>
              </p:spPr>
              <p:txBody>
                <a:bodyPr/>
                <a:lstStyle/>
                <a:p>
                  <a:pPr eaLnBrk="1" hangingPunct="1">
                    <a:defRPr/>
                  </a:pPr>
                  <a:endParaRPr lang="zh-CN" altLang="en-US" sz="1050"/>
                </a:p>
              </p:txBody>
            </p:sp>
            <p:sp>
              <p:nvSpPr>
                <p:cNvPr id="4264" name="Freeform 1507"/>
                <p:cNvSpPr>
                  <a:spLocks/>
                </p:cNvSpPr>
                <p:nvPr/>
              </p:nvSpPr>
              <p:spPr bwMode="auto">
                <a:xfrm>
                  <a:off x="10482" y="1994"/>
                  <a:ext cx="8" cy="9"/>
                </a:xfrm>
                <a:custGeom>
                  <a:avLst/>
                  <a:gdLst>
                    <a:gd name="T0" fmla="*/ 7 w 7"/>
                    <a:gd name="T1" fmla="*/ 5 h 7"/>
                    <a:gd name="T2" fmla="*/ 2 w 7"/>
                    <a:gd name="T3" fmla="*/ 0 h 7"/>
                    <a:gd name="T4" fmla="*/ 0 w 7"/>
                    <a:gd name="T5" fmla="*/ 0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2" y="0"/>
                      </a:lnTo>
                      <a:lnTo>
                        <a:pt x="0" y="0"/>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4265" name="Freeform 1508"/>
                <p:cNvSpPr>
                  <a:spLocks/>
                </p:cNvSpPr>
                <p:nvPr/>
              </p:nvSpPr>
              <p:spPr bwMode="auto">
                <a:xfrm>
                  <a:off x="10515" y="1977"/>
                  <a:ext cx="8" cy="9"/>
                </a:xfrm>
                <a:custGeom>
                  <a:avLst/>
                  <a:gdLst>
                    <a:gd name="T0" fmla="*/ 7 w 7"/>
                    <a:gd name="T1" fmla="*/ 7 h 7"/>
                    <a:gd name="T2" fmla="*/ 0 w 7"/>
                    <a:gd name="T3" fmla="*/ 0 h 7"/>
                    <a:gd name="T4" fmla="*/ 0 w 7"/>
                    <a:gd name="T5" fmla="*/ 0 h 7"/>
                    <a:gd name="T6" fmla="*/ 5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5"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266" name="Freeform 1509"/>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close/>
                    </a:path>
                  </a:pathLst>
                </a:custGeom>
                <a:solidFill>
                  <a:srgbClr val="01AAE5"/>
                </a:solidFill>
                <a:ln>
                  <a:noFill/>
                </a:ln>
                <a:extLst/>
              </p:spPr>
              <p:txBody>
                <a:bodyPr/>
                <a:lstStyle/>
                <a:p>
                  <a:pPr eaLnBrk="1" hangingPunct="1">
                    <a:defRPr/>
                  </a:pPr>
                  <a:endParaRPr lang="zh-CN" altLang="en-US" sz="1050"/>
                </a:p>
              </p:txBody>
            </p:sp>
            <p:sp>
              <p:nvSpPr>
                <p:cNvPr id="4267" name="Freeform 1510"/>
                <p:cNvSpPr>
                  <a:spLocks/>
                </p:cNvSpPr>
                <p:nvPr/>
              </p:nvSpPr>
              <p:spPr bwMode="auto">
                <a:xfrm>
                  <a:off x="10581" y="1916"/>
                  <a:ext cx="17" cy="26"/>
                </a:xfrm>
                <a:custGeom>
                  <a:avLst/>
                  <a:gdLst>
                    <a:gd name="T0" fmla="*/ 17 w 17"/>
                    <a:gd name="T1" fmla="*/ 30 h 30"/>
                    <a:gd name="T2" fmla="*/ 0 w 17"/>
                    <a:gd name="T3" fmla="*/ 0 h 30"/>
                    <a:gd name="T4" fmla="*/ 0 w 17"/>
                    <a:gd name="T5" fmla="*/ 0 h 30"/>
                    <a:gd name="T6" fmla="*/ 17 w 17"/>
                    <a:gd name="T7" fmla="*/ 30 h 30"/>
                    <a:gd name="T8" fmla="*/ 17 w 17"/>
                    <a:gd name="T9" fmla="*/ 30 h 30"/>
                  </a:gdLst>
                  <a:ahLst/>
                  <a:cxnLst>
                    <a:cxn ang="0">
                      <a:pos x="T0" y="T1"/>
                    </a:cxn>
                    <a:cxn ang="0">
                      <a:pos x="T2" y="T3"/>
                    </a:cxn>
                    <a:cxn ang="0">
                      <a:pos x="T4" y="T5"/>
                    </a:cxn>
                    <a:cxn ang="0">
                      <a:pos x="T6" y="T7"/>
                    </a:cxn>
                    <a:cxn ang="0">
                      <a:pos x="T8" y="T9"/>
                    </a:cxn>
                  </a:cxnLst>
                  <a:rect l="0" t="0" r="r" b="b"/>
                  <a:pathLst>
                    <a:path w="17" h="30">
                      <a:moveTo>
                        <a:pt x="17" y="30"/>
                      </a:moveTo>
                      <a:lnTo>
                        <a:pt x="0" y="0"/>
                      </a:lnTo>
                      <a:lnTo>
                        <a:pt x="0" y="0"/>
                      </a:lnTo>
                      <a:lnTo>
                        <a:pt x="17" y="30"/>
                      </a:lnTo>
                      <a:lnTo>
                        <a:pt x="17" y="30"/>
                      </a:lnTo>
                    </a:path>
                  </a:pathLst>
                </a:custGeom>
                <a:noFill/>
                <a:ln>
                  <a:noFill/>
                </a:ln>
                <a:extLst/>
              </p:spPr>
              <p:txBody>
                <a:bodyPr/>
                <a:lstStyle/>
                <a:p>
                  <a:pPr eaLnBrk="1" hangingPunct="1">
                    <a:defRPr/>
                  </a:pPr>
                  <a:endParaRPr lang="zh-CN" altLang="en-US" sz="1050"/>
                </a:p>
              </p:txBody>
            </p:sp>
          </p:grpSp>
          <p:grpSp>
            <p:nvGrpSpPr>
              <p:cNvPr id="44" name="Group 1712"/>
              <p:cNvGrpSpPr>
                <a:grpSpLocks/>
              </p:cNvGrpSpPr>
              <p:nvPr/>
            </p:nvGrpSpPr>
            <p:grpSpPr bwMode="auto">
              <a:xfrm>
                <a:off x="16155988" y="2903538"/>
                <a:ext cx="1154113" cy="1428750"/>
                <a:chOff x="10177" y="1829"/>
                <a:chExt cx="727" cy="900"/>
              </a:xfrm>
            </p:grpSpPr>
            <p:sp>
              <p:nvSpPr>
                <p:cNvPr id="3868" name="Freeform 1512"/>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close/>
                    </a:path>
                  </a:pathLst>
                </a:custGeom>
                <a:solidFill>
                  <a:srgbClr val="01AAE5"/>
                </a:solidFill>
                <a:ln>
                  <a:noFill/>
                </a:ln>
                <a:extLst/>
              </p:spPr>
              <p:txBody>
                <a:bodyPr/>
                <a:lstStyle/>
                <a:p>
                  <a:pPr eaLnBrk="1" hangingPunct="1">
                    <a:defRPr/>
                  </a:pPr>
                  <a:endParaRPr lang="zh-CN" altLang="en-US" sz="1050"/>
                </a:p>
              </p:txBody>
            </p:sp>
            <p:sp>
              <p:nvSpPr>
                <p:cNvPr id="3869" name="Freeform 1513"/>
                <p:cNvSpPr>
                  <a:spLocks/>
                </p:cNvSpPr>
                <p:nvPr/>
              </p:nvSpPr>
              <p:spPr bwMode="auto">
                <a:xfrm>
                  <a:off x="10573" y="1916"/>
                  <a:ext cx="17" cy="35"/>
                </a:xfrm>
                <a:custGeom>
                  <a:avLst/>
                  <a:gdLst>
                    <a:gd name="T0" fmla="*/ 14 w 14"/>
                    <a:gd name="T1" fmla="*/ 26 h 26"/>
                    <a:gd name="T2" fmla="*/ 0 w 14"/>
                    <a:gd name="T3" fmla="*/ 0 h 26"/>
                    <a:gd name="T4" fmla="*/ 0 w 14"/>
                    <a:gd name="T5" fmla="*/ 2 h 26"/>
                    <a:gd name="T6" fmla="*/ 14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lnTo>
                        <a:pt x="0" y="0"/>
                      </a:lnTo>
                      <a:lnTo>
                        <a:pt x="0" y="2"/>
                      </a:lnTo>
                      <a:lnTo>
                        <a:pt x="14" y="26"/>
                      </a:lnTo>
                      <a:lnTo>
                        <a:pt x="14" y="26"/>
                      </a:lnTo>
                    </a:path>
                  </a:pathLst>
                </a:custGeom>
                <a:noFill/>
                <a:ln>
                  <a:noFill/>
                </a:ln>
                <a:extLst/>
              </p:spPr>
              <p:txBody>
                <a:bodyPr/>
                <a:lstStyle/>
                <a:p>
                  <a:pPr eaLnBrk="1" hangingPunct="1">
                    <a:defRPr/>
                  </a:pPr>
                  <a:endParaRPr lang="zh-CN" altLang="en-US" sz="1050"/>
                </a:p>
              </p:txBody>
            </p:sp>
            <p:sp>
              <p:nvSpPr>
                <p:cNvPr id="3870" name="Freeform 1514"/>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close/>
                    </a:path>
                  </a:pathLst>
                </a:custGeom>
                <a:solidFill>
                  <a:srgbClr val="01AAE5"/>
                </a:solidFill>
                <a:ln>
                  <a:noFill/>
                </a:ln>
                <a:extLst/>
              </p:spPr>
              <p:txBody>
                <a:bodyPr/>
                <a:lstStyle/>
                <a:p>
                  <a:pPr eaLnBrk="1" hangingPunct="1">
                    <a:defRPr/>
                  </a:pPr>
                  <a:endParaRPr lang="zh-CN" altLang="en-US" sz="1050"/>
                </a:p>
              </p:txBody>
            </p:sp>
            <p:sp>
              <p:nvSpPr>
                <p:cNvPr id="3871" name="Freeform 1515"/>
                <p:cNvSpPr>
                  <a:spLocks/>
                </p:cNvSpPr>
                <p:nvPr/>
              </p:nvSpPr>
              <p:spPr bwMode="auto">
                <a:xfrm>
                  <a:off x="10581" y="1916"/>
                  <a:ext cx="8" cy="26"/>
                </a:xfrm>
                <a:custGeom>
                  <a:avLst/>
                  <a:gdLst>
                    <a:gd name="T0" fmla="*/ 16 w 16"/>
                    <a:gd name="T1" fmla="*/ 28 h 28"/>
                    <a:gd name="T2" fmla="*/ 0 w 16"/>
                    <a:gd name="T3" fmla="*/ 0 h 28"/>
                    <a:gd name="T4" fmla="*/ 0 w 16"/>
                    <a:gd name="T5" fmla="*/ 2 h 28"/>
                    <a:gd name="T6" fmla="*/ 16 w 16"/>
                    <a:gd name="T7" fmla="*/ 28 h 28"/>
                    <a:gd name="T8" fmla="*/ 16 w 16"/>
                    <a:gd name="T9" fmla="*/ 28 h 28"/>
                  </a:gdLst>
                  <a:ahLst/>
                  <a:cxnLst>
                    <a:cxn ang="0">
                      <a:pos x="T0" y="T1"/>
                    </a:cxn>
                    <a:cxn ang="0">
                      <a:pos x="T2" y="T3"/>
                    </a:cxn>
                    <a:cxn ang="0">
                      <a:pos x="T4" y="T5"/>
                    </a:cxn>
                    <a:cxn ang="0">
                      <a:pos x="T6" y="T7"/>
                    </a:cxn>
                    <a:cxn ang="0">
                      <a:pos x="T8" y="T9"/>
                    </a:cxn>
                  </a:cxnLst>
                  <a:rect l="0" t="0" r="r" b="b"/>
                  <a:pathLst>
                    <a:path w="16" h="28">
                      <a:moveTo>
                        <a:pt x="16" y="28"/>
                      </a:moveTo>
                      <a:lnTo>
                        <a:pt x="0" y="0"/>
                      </a:lnTo>
                      <a:lnTo>
                        <a:pt x="0" y="2"/>
                      </a:lnTo>
                      <a:lnTo>
                        <a:pt x="16" y="28"/>
                      </a:lnTo>
                      <a:lnTo>
                        <a:pt x="16" y="28"/>
                      </a:lnTo>
                    </a:path>
                  </a:pathLst>
                </a:custGeom>
                <a:noFill/>
                <a:ln>
                  <a:noFill/>
                </a:ln>
                <a:extLst/>
              </p:spPr>
              <p:txBody>
                <a:bodyPr/>
                <a:lstStyle/>
                <a:p>
                  <a:pPr eaLnBrk="1" hangingPunct="1">
                    <a:defRPr/>
                  </a:pPr>
                  <a:endParaRPr lang="zh-CN" altLang="en-US" sz="1050"/>
                </a:p>
              </p:txBody>
            </p:sp>
            <p:sp>
              <p:nvSpPr>
                <p:cNvPr id="3872" name="Freeform 1516"/>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close/>
                    </a:path>
                  </a:pathLst>
                </a:custGeom>
                <a:solidFill>
                  <a:srgbClr val="01AAE5"/>
                </a:solidFill>
                <a:ln>
                  <a:noFill/>
                </a:ln>
                <a:extLst/>
              </p:spPr>
              <p:txBody>
                <a:bodyPr/>
                <a:lstStyle/>
                <a:p>
                  <a:pPr eaLnBrk="1" hangingPunct="1">
                    <a:defRPr/>
                  </a:pPr>
                  <a:endParaRPr lang="zh-CN" altLang="en-US" sz="1050"/>
                </a:p>
              </p:txBody>
            </p:sp>
            <p:sp>
              <p:nvSpPr>
                <p:cNvPr id="3873" name="Freeform 1517"/>
                <p:cNvSpPr>
                  <a:spLocks/>
                </p:cNvSpPr>
                <p:nvPr/>
              </p:nvSpPr>
              <p:spPr bwMode="auto">
                <a:xfrm>
                  <a:off x="10573" y="1924"/>
                  <a:ext cx="8" cy="17"/>
                </a:xfrm>
                <a:custGeom>
                  <a:avLst/>
                  <a:gdLst>
                    <a:gd name="T0" fmla="*/ 15 w 15"/>
                    <a:gd name="T1" fmla="*/ 24 h 24"/>
                    <a:gd name="T2" fmla="*/ 0 w 15"/>
                    <a:gd name="T3" fmla="*/ 0 h 24"/>
                    <a:gd name="T4" fmla="*/ 0 w 15"/>
                    <a:gd name="T5" fmla="*/ 0 h 24"/>
                    <a:gd name="T6" fmla="*/ 15 w 15"/>
                    <a:gd name="T7" fmla="*/ 24 h 24"/>
                    <a:gd name="T8" fmla="*/ 15 w 15"/>
                    <a:gd name="T9" fmla="*/ 24 h 24"/>
                  </a:gdLst>
                  <a:ahLst/>
                  <a:cxnLst>
                    <a:cxn ang="0">
                      <a:pos x="T0" y="T1"/>
                    </a:cxn>
                    <a:cxn ang="0">
                      <a:pos x="T2" y="T3"/>
                    </a:cxn>
                    <a:cxn ang="0">
                      <a:pos x="T4" y="T5"/>
                    </a:cxn>
                    <a:cxn ang="0">
                      <a:pos x="T6" y="T7"/>
                    </a:cxn>
                    <a:cxn ang="0">
                      <a:pos x="T8" y="T9"/>
                    </a:cxn>
                  </a:cxnLst>
                  <a:rect l="0" t="0" r="r" b="b"/>
                  <a:pathLst>
                    <a:path w="15" h="24">
                      <a:moveTo>
                        <a:pt x="15" y="24"/>
                      </a:moveTo>
                      <a:lnTo>
                        <a:pt x="0" y="0"/>
                      </a:lnTo>
                      <a:lnTo>
                        <a:pt x="0" y="0"/>
                      </a:lnTo>
                      <a:lnTo>
                        <a:pt x="15" y="24"/>
                      </a:lnTo>
                      <a:lnTo>
                        <a:pt x="15" y="24"/>
                      </a:lnTo>
                    </a:path>
                  </a:pathLst>
                </a:custGeom>
                <a:noFill/>
                <a:ln>
                  <a:noFill/>
                </a:ln>
                <a:extLst/>
              </p:spPr>
              <p:txBody>
                <a:bodyPr/>
                <a:lstStyle/>
                <a:p>
                  <a:pPr eaLnBrk="1" hangingPunct="1">
                    <a:defRPr/>
                  </a:pPr>
                  <a:endParaRPr lang="zh-CN" altLang="en-US" sz="1050"/>
                </a:p>
              </p:txBody>
            </p:sp>
            <p:sp>
              <p:nvSpPr>
                <p:cNvPr id="3874" name="Freeform 1518"/>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close/>
                    </a:path>
                  </a:pathLst>
                </a:custGeom>
                <a:solidFill>
                  <a:srgbClr val="01AAE5"/>
                </a:solidFill>
                <a:ln>
                  <a:noFill/>
                </a:ln>
                <a:extLst/>
              </p:spPr>
              <p:txBody>
                <a:bodyPr/>
                <a:lstStyle/>
                <a:p>
                  <a:pPr eaLnBrk="1" hangingPunct="1">
                    <a:defRPr/>
                  </a:pPr>
                  <a:endParaRPr lang="zh-CN" altLang="en-US" sz="1050"/>
                </a:p>
              </p:txBody>
            </p:sp>
            <p:sp>
              <p:nvSpPr>
                <p:cNvPr id="3875" name="Freeform 1519"/>
                <p:cNvSpPr>
                  <a:spLocks/>
                </p:cNvSpPr>
                <p:nvPr/>
              </p:nvSpPr>
              <p:spPr bwMode="auto">
                <a:xfrm>
                  <a:off x="10590" y="1898"/>
                  <a:ext cx="17" cy="44"/>
                </a:xfrm>
                <a:custGeom>
                  <a:avLst/>
                  <a:gdLst>
                    <a:gd name="T0" fmla="*/ 19 w 19"/>
                    <a:gd name="T1" fmla="*/ 36 h 36"/>
                    <a:gd name="T2" fmla="*/ 0 w 19"/>
                    <a:gd name="T3" fmla="*/ 0 h 36"/>
                    <a:gd name="T4" fmla="*/ 0 w 19"/>
                    <a:gd name="T5" fmla="*/ 2 h 36"/>
                    <a:gd name="T6" fmla="*/ 19 w 19"/>
                    <a:gd name="T7" fmla="*/ 36 h 36"/>
                    <a:gd name="T8" fmla="*/ 19 w 19"/>
                    <a:gd name="T9" fmla="*/ 36 h 36"/>
                  </a:gdLst>
                  <a:ahLst/>
                  <a:cxnLst>
                    <a:cxn ang="0">
                      <a:pos x="T0" y="T1"/>
                    </a:cxn>
                    <a:cxn ang="0">
                      <a:pos x="T2" y="T3"/>
                    </a:cxn>
                    <a:cxn ang="0">
                      <a:pos x="T4" y="T5"/>
                    </a:cxn>
                    <a:cxn ang="0">
                      <a:pos x="T6" y="T7"/>
                    </a:cxn>
                    <a:cxn ang="0">
                      <a:pos x="T8" y="T9"/>
                    </a:cxn>
                  </a:cxnLst>
                  <a:rect l="0" t="0" r="r" b="b"/>
                  <a:pathLst>
                    <a:path w="19" h="36">
                      <a:moveTo>
                        <a:pt x="19" y="36"/>
                      </a:moveTo>
                      <a:lnTo>
                        <a:pt x="0" y="0"/>
                      </a:lnTo>
                      <a:lnTo>
                        <a:pt x="0" y="2"/>
                      </a:lnTo>
                      <a:lnTo>
                        <a:pt x="19" y="36"/>
                      </a:lnTo>
                      <a:lnTo>
                        <a:pt x="19" y="36"/>
                      </a:lnTo>
                    </a:path>
                  </a:pathLst>
                </a:custGeom>
                <a:noFill/>
                <a:ln>
                  <a:noFill/>
                </a:ln>
                <a:extLst/>
              </p:spPr>
              <p:txBody>
                <a:bodyPr/>
                <a:lstStyle/>
                <a:p>
                  <a:pPr eaLnBrk="1" hangingPunct="1">
                    <a:defRPr/>
                  </a:pPr>
                  <a:endParaRPr lang="zh-CN" altLang="en-US" sz="1050"/>
                </a:p>
              </p:txBody>
            </p:sp>
            <p:sp>
              <p:nvSpPr>
                <p:cNvPr id="3876" name="Freeform 1520"/>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close/>
                    </a:path>
                  </a:pathLst>
                </a:custGeom>
                <a:solidFill>
                  <a:srgbClr val="01AAE5"/>
                </a:solidFill>
                <a:ln>
                  <a:noFill/>
                </a:ln>
                <a:extLst/>
              </p:spPr>
              <p:txBody>
                <a:bodyPr/>
                <a:lstStyle/>
                <a:p>
                  <a:pPr eaLnBrk="1" hangingPunct="1">
                    <a:defRPr/>
                  </a:pPr>
                  <a:endParaRPr lang="zh-CN" altLang="en-US" sz="1050"/>
                </a:p>
              </p:txBody>
            </p:sp>
            <p:sp>
              <p:nvSpPr>
                <p:cNvPr id="3877" name="Freeform 1521"/>
                <p:cNvSpPr>
                  <a:spLocks/>
                </p:cNvSpPr>
                <p:nvPr/>
              </p:nvSpPr>
              <p:spPr bwMode="auto">
                <a:xfrm>
                  <a:off x="10590" y="1898"/>
                  <a:ext cx="17" cy="44"/>
                </a:xfrm>
                <a:custGeom>
                  <a:avLst/>
                  <a:gdLst>
                    <a:gd name="T0" fmla="*/ 21 w 21"/>
                    <a:gd name="T1" fmla="*/ 41 h 41"/>
                    <a:gd name="T2" fmla="*/ 2 w 21"/>
                    <a:gd name="T3" fmla="*/ 0 h 41"/>
                    <a:gd name="T4" fmla="*/ 0 w 21"/>
                    <a:gd name="T5" fmla="*/ 3 h 41"/>
                    <a:gd name="T6" fmla="*/ 21 w 21"/>
                    <a:gd name="T7" fmla="*/ 41 h 41"/>
                    <a:gd name="T8" fmla="*/ 21 w 21"/>
                    <a:gd name="T9" fmla="*/ 41 h 41"/>
                  </a:gdLst>
                  <a:ahLst/>
                  <a:cxnLst>
                    <a:cxn ang="0">
                      <a:pos x="T0" y="T1"/>
                    </a:cxn>
                    <a:cxn ang="0">
                      <a:pos x="T2" y="T3"/>
                    </a:cxn>
                    <a:cxn ang="0">
                      <a:pos x="T4" y="T5"/>
                    </a:cxn>
                    <a:cxn ang="0">
                      <a:pos x="T6" y="T7"/>
                    </a:cxn>
                    <a:cxn ang="0">
                      <a:pos x="T8" y="T9"/>
                    </a:cxn>
                  </a:cxnLst>
                  <a:rect l="0" t="0" r="r" b="b"/>
                  <a:pathLst>
                    <a:path w="21" h="41">
                      <a:moveTo>
                        <a:pt x="21" y="41"/>
                      </a:moveTo>
                      <a:lnTo>
                        <a:pt x="2" y="0"/>
                      </a:lnTo>
                      <a:lnTo>
                        <a:pt x="0" y="3"/>
                      </a:lnTo>
                      <a:lnTo>
                        <a:pt x="21" y="41"/>
                      </a:lnTo>
                      <a:lnTo>
                        <a:pt x="21" y="41"/>
                      </a:lnTo>
                    </a:path>
                  </a:pathLst>
                </a:custGeom>
                <a:noFill/>
                <a:ln>
                  <a:noFill/>
                </a:ln>
                <a:extLst/>
              </p:spPr>
              <p:txBody>
                <a:bodyPr/>
                <a:lstStyle/>
                <a:p>
                  <a:pPr eaLnBrk="1" hangingPunct="1">
                    <a:defRPr/>
                  </a:pPr>
                  <a:endParaRPr lang="zh-CN" altLang="en-US" sz="1050"/>
                </a:p>
              </p:txBody>
            </p:sp>
            <p:sp>
              <p:nvSpPr>
                <p:cNvPr id="3878" name="Freeform 1522"/>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close/>
                    </a:path>
                  </a:pathLst>
                </a:custGeom>
                <a:solidFill>
                  <a:srgbClr val="01AAE5"/>
                </a:solidFill>
                <a:ln>
                  <a:noFill/>
                </a:ln>
                <a:extLst/>
              </p:spPr>
              <p:txBody>
                <a:bodyPr/>
                <a:lstStyle/>
                <a:p>
                  <a:pPr eaLnBrk="1" hangingPunct="1">
                    <a:defRPr/>
                  </a:pPr>
                  <a:endParaRPr lang="zh-CN" altLang="en-US" sz="1050"/>
                </a:p>
              </p:txBody>
            </p:sp>
            <p:sp>
              <p:nvSpPr>
                <p:cNvPr id="3879" name="Freeform 1523"/>
                <p:cNvSpPr>
                  <a:spLocks/>
                </p:cNvSpPr>
                <p:nvPr/>
              </p:nvSpPr>
              <p:spPr bwMode="auto">
                <a:xfrm>
                  <a:off x="10581" y="1907"/>
                  <a:ext cx="25" cy="35"/>
                </a:xfrm>
                <a:custGeom>
                  <a:avLst/>
                  <a:gdLst>
                    <a:gd name="T0" fmla="*/ 19 w 19"/>
                    <a:gd name="T1" fmla="*/ 33 h 33"/>
                    <a:gd name="T2" fmla="*/ 2 w 19"/>
                    <a:gd name="T3" fmla="*/ 0 h 33"/>
                    <a:gd name="T4" fmla="*/ 0 w 19"/>
                    <a:gd name="T5" fmla="*/ 0 h 33"/>
                    <a:gd name="T6" fmla="*/ 19 w 19"/>
                    <a:gd name="T7" fmla="*/ 33 h 33"/>
                    <a:gd name="T8" fmla="*/ 19 w 19"/>
                    <a:gd name="T9" fmla="*/ 33 h 33"/>
                  </a:gdLst>
                  <a:ahLst/>
                  <a:cxnLst>
                    <a:cxn ang="0">
                      <a:pos x="T0" y="T1"/>
                    </a:cxn>
                    <a:cxn ang="0">
                      <a:pos x="T2" y="T3"/>
                    </a:cxn>
                    <a:cxn ang="0">
                      <a:pos x="T4" y="T5"/>
                    </a:cxn>
                    <a:cxn ang="0">
                      <a:pos x="T6" y="T7"/>
                    </a:cxn>
                    <a:cxn ang="0">
                      <a:pos x="T8" y="T9"/>
                    </a:cxn>
                  </a:cxnLst>
                  <a:rect l="0" t="0" r="r" b="b"/>
                  <a:pathLst>
                    <a:path w="19" h="33">
                      <a:moveTo>
                        <a:pt x="19" y="33"/>
                      </a:moveTo>
                      <a:lnTo>
                        <a:pt x="2" y="0"/>
                      </a:lnTo>
                      <a:lnTo>
                        <a:pt x="0" y="0"/>
                      </a:lnTo>
                      <a:lnTo>
                        <a:pt x="19" y="33"/>
                      </a:lnTo>
                      <a:lnTo>
                        <a:pt x="19" y="33"/>
                      </a:lnTo>
                    </a:path>
                  </a:pathLst>
                </a:custGeom>
                <a:noFill/>
                <a:ln>
                  <a:noFill/>
                </a:ln>
                <a:extLst/>
              </p:spPr>
              <p:txBody>
                <a:bodyPr/>
                <a:lstStyle/>
                <a:p>
                  <a:pPr eaLnBrk="1" hangingPunct="1">
                    <a:defRPr/>
                  </a:pPr>
                  <a:endParaRPr lang="zh-CN" altLang="en-US" sz="1050"/>
                </a:p>
              </p:txBody>
            </p:sp>
            <p:sp>
              <p:nvSpPr>
                <p:cNvPr id="3880" name="Freeform 1524"/>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close/>
                    </a:path>
                  </a:pathLst>
                </a:custGeom>
                <a:solidFill>
                  <a:srgbClr val="01AAE5"/>
                </a:solidFill>
                <a:ln>
                  <a:noFill/>
                </a:ln>
                <a:extLst/>
              </p:spPr>
              <p:txBody>
                <a:bodyPr/>
                <a:lstStyle/>
                <a:p>
                  <a:pPr eaLnBrk="1" hangingPunct="1">
                    <a:defRPr/>
                  </a:pPr>
                  <a:endParaRPr lang="zh-CN" altLang="en-US" sz="1050"/>
                </a:p>
              </p:txBody>
            </p:sp>
            <p:sp>
              <p:nvSpPr>
                <p:cNvPr id="3881" name="Freeform 1525"/>
                <p:cNvSpPr>
                  <a:spLocks/>
                </p:cNvSpPr>
                <p:nvPr/>
              </p:nvSpPr>
              <p:spPr bwMode="auto">
                <a:xfrm>
                  <a:off x="10565" y="1924"/>
                  <a:ext cx="17" cy="17"/>
                </a:xfrm>
                <a:custGeom>
                  <a:avLst/>
                  <a:gdLst>
                    <a:gd name="T0" fmla="*/ 12 w 12"/>
                    <a:gd name="T1" fmla="*/ 19 h 19"/>
                    <a:gd name="T2" fmla="*/ 0 w 12"/>
                    <a:gd name="T3" fmla="*/ 0 h 19"/>
                    <a:gd name="T4" fmla="*/ 0 w 12"/>
                    <a:gd name="T5" fmla="*/ 0 h 19"/>
                    <a:gd name="T6" fmla="*/ 12 w 12"/>
                    <a:gd name="T7" fmla="*/ 19 h 19"/>
                    <a:gd name="T8" fmla="*/ 12 w 12"/>
                    <a:gd name="T9" fmla="*/ 19 h 19"/>
                  </a:gdLst>
                  <a:ahLst/>
                  <a:cxnLst>
                    <a:cxn ang="0">
                      <a:pos x="T0" y="T1"/>
                    </a:cxn>
                    <a:cxn ang="0">
                      <a:pos x="T2" y="T3"/>
                    </a:cxn>
                    <a:cxn ang="0">
                      <a:pos x="T4" y="T5"/>
                    </a:cxn>
                    <a:cxn ang="0">
                      <a:pos x="T6" y="T7"/>
                    </a:cxn>
                    <a:cxn ang="0">
                      <a:pos x="T8" y="T9"/>
                    </a:cxn>
                  </a:cxnLst>
                  <a:rect l="0" t="0" r="r" b="b"/>
                  <a:pathLst>
                    <a:path w="12" h="19">
                      <a:moveTo>
                        <a:pt x="12" y="19"/>
                      </a:moveTo>
                      <a:lnTo>
                        <a:pt x="0" y="0"/>
                      </a:lnTo>
                      <a:lnTo>
                        <a:pt x="0" y="0"/>
                      </a:lnTo>
                      <a:lnTo>
                        <a:pt x="12" y="19"/>
                      </a:lnTo>
                      <a:lnTo>
                        <a:pt x="12" y="19"/>
                      </a:lnTo>
                    </a:path>
                  </a:pathLst>
                </a:custGeom>
                <a:noFill/>
                <a:ln>
                  <a:noFill/>
                </a:ln>
                <a:extLst/>
              </p:spPr>
              <p:txBody>
                <a:bodyPr/>
                <a:lstStyle/>
                <a:p>
                  <a:pPr eaLnBrk="1" hangingPunct="1">
                    <a:defRPr/>
                  </a:pPr>
                  <a:endParaRPr lang="zh-CN" altLang="en-US" sz="1050"/>
                </a:p>
              </p:txBody>
            </p:sp>
            <p:sp>
              <p:nvSpPr>
                <p:cNvPr id="3882" name="Freeform 1526"/>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close/>
                    </a:path>
                  </a:pathLst>
                </a:custGeom>
                <a:solidFill>
                  <a:srgbClr val="01AAE5"/>
                </a:solidFill>
                <a:ln>
                  <a:noFill/>
                </a:ln>
                <a:extLst/>
              </p:spPr>
              <p:txBody>
                <a:bodyPr/>
                <a:lstStyle/>
                <a:p>
                  <a:pPr eaLnBrk="1" hangingPunct="1">
                    <a:defRPr/>
                  </a:pPr>
                  <a:endParaRPr lang="zh-CN" altLang="en-US" sz="1050"/>
                </a:p>
              </p:txBody>
            </p:sp>
            <p:sp>
              <p:nvSpPr>
                <p:cNvPr id="3883" name="Freeform 1527"/>
                <p:cNvSpPr>
                  <a:spLocks/>
                </p:cNvSpPr>
                <p:nvPr/>
              </p:nvSpPr>
              <p:spPr bwMode="auto">
                <a:xfrm>
                  <a:off x="10556" y="1933"/>
                  <a:ext cx="17" cy="17"/>
                </a:xfrm>
                <a:custGeom>
                  <a:avLst/>
                  <a:gdLst>
                    <a:gd name="T0" fmla="*/ 9 w 9"/>
                    <a:gd name="T1" fmla="*/ 17 h 17"/>
                    <a:gd name="T2" fmla="*/ 0 w 9"/>
                    <a:gd name="T3" fmla="*/ 0 h 17"/>
                    <a:gd name="T4" fmla="*/ 0 w 9"/>
                    <a:gd name="T5" fmla="*/ 3 h 17"/>
                    <a:gd name="T6" fmla="*/ 7 w 9"/>
                    <a:gd name="T7" fmla="*/ 17 h 17"/>
                    <a:gd name="T8" fmla="*/ 9 w 9"/>
                    <a:gd name="T9" fmla="*/ 17 h 17"/>
                  </a:gdLst>
                  <a:ahLst/>
                  <a:cxnLst>
                    <a:cxn ang="0">
                      <a:pos x="T0" y="T1"/>
                    </a:cxn>
                    <a:cxn ang="0">
                      <a:pos x="T2" y="T3"/>
                    </a:cxn>
                    <a:cxn ang="0">
                      <a:pos x="T4" y="T5"/>
                    </a:cxn>
                    <a:cxn ang="0">
                      <a:pos x="T6" y="T7"/>
                    </a:cxn>
                    <a:cxn ang="0">
                      <a:pos x="T8" y="T9"/>
                    </a:cxn>
                  </a:cxnLst>
                  <a:rect l="0" t="0" r="r" b="b"/>
                  <a:pathLst>
                    <a:path w="9" h="17">
                      <a:moveTo>
                        <a:pt x="9" y="17"/>
                      </a:moveTo>
                      <a:lnTo>
                        <a:pt x="0" y="0"/>
                      </a:lnTo>
                      <a:lnTo>
                        <a:pt x="0" y="3"/>
                      </a:lnTo>
                      <a:lnTo>
                        <a:pt x="7" y="17"/>
                      </a:lnTo>
                      <a:lnTo>
                        <a:pt x="9" y="17"/>
                      </a:lnTo>
                    </a:path>
                  </a:pathLst>
                </a:custGeom>
                <a:noFill/>
                <a:ln>
                  <a:noFill/>
                </a:ln>
                <a:extLst/>
              </p:spPr>
              <p:txBody>
                <a:bodyPr/>
                <a:lstStyle/>
                <a:p>
                  <a:pPr eaLnBrk="1" hangingPunct="1">
                    <a:defRPr/>
                  </a:pPr>
                  <a:endParaRPr lang="zh-CN" altLang="en-US" sz="1050"/>
                </a:p>
              </p:txBody>
            </p:sp>
            <p:sp>
              <p:nvSpPr>
                <p:cNvPr id="3884" name="Freeform 1528"/>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3885" name="Freeform 1529"/>
                <p:cNvSpPr>
                  <a:spLocks/>
                </p:cNvSpPr>
                <p:nvPr/>
              </p:nvSpPr>
              <p:spPr bwMode="auto">
                <a:xfrm>
                  <a:off x="10598" y="1889"/>
                  <a:ext cx="17" cy="44"/>
                </a:xfrm>
                <a:custGeom>
                  <a:avLst/>
                  <a:gdLst>
                    <a:gd name="T0" fmla="*/ 22 w 22"/>
                    <a:gd name="T1" fmla="*/ 40 h 40"/>
                    <a:gd name="T2" fmla="*/ 3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3"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3886" name="Freeform 1530"/>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close/>
                    </a:path>
                  </a:pathLst>
                </a:custGeom>
                <a:solidFill>
                  <a:srgbClr val="01AAE5"/>
                </a:solidFill>
                <a:ln>
                  <a:noFill/>
                </a:ln>
                <a:extLst/>
              </p:spPr>
              <p:txBody>
                <a:bodyPr/>
                <a:lstStyle/>
                <a:p>
                  <a:pPr eaLnBrk="1" hangingPunct="1">
                    <a:defRPr/>
                  </a:pPr>
                  <a:endParaRPr lang="zh-CN" altLang="en-US" sz="1050"/>
                </a:p>
              </p:txBody>
            </p:sp>
            <p:sp>
              <p:nvSpPr>
                <p:cNvPr id="3887" name="Freeform 1531"/>
                <p:cNvSpPr>
                  <a:spLocks/>
                </p:cNvSpPr>
                <p:nvPr/>
              </p:nvSpPr>
              <p:spPr bwMode="auto">
                <a:xfrm>
                  <a:off x="10565" y="1933"/>
                  <a:ext cx="8" cy="9"/>
                </a:xfrm>
                <a:custGeom>
                  <a:avLst/>
                  <a:gdLst>
                    <a:gd name="T0" fmla="*/ 12 w 12"/>
                    <a:gd name="T1" fmla="*/ 16 h 16"/>
                    <a:gd name="T2" fmla="*/ 0 w 12"/>
                    <a:gd name="T3" fmla="*/ 0 h 16"/>
                    <a:gd name="T4" fmla="*/ 0 w 12"/>
                    <a:gd name="T5" fmla="*/ 0 h 16"/>
                    <a:gd name="T6" fmla="*/ 12 w 12"/>
                    <a:gd name="T7" fmla="*/ 16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0"/>
                      </a:lnTo>
                      <a:lnTo>
                        <a:pt x="0" y="0"/>
                      </a:lnTo>
                      <a:lnTo>
                        <a:pt x="12" y="16"/>
                      </a:lnTo>
                      <a:lnTo>
                        <a:pt x="12" y="16"/>
                      </a:lnTo>
                    </a:path>
                  </a:pathLst>
                </a:custGeom>
                <a:noFill/>
                <a:ln>
                  <a:noFill/>
                </a:ln>
                <a:extLst/>
              </p:spPr>
              <p:txBody>
                <a:bodyPr/>
                <a:lstStyle/>
                <a:p>
                  <a:pPr eaLnBrk="1" hangingPunct="1">
                    <a:defRPr/>
                  </a:pPr>
                  <a:endParaRPr lang="zh-CN" altLang="en-US" sz="1050"/>
                </a:p>
              </p:txBody>
            </p:sp>
            <p:sp>
              <p:nvSpPr>
                <p:cNvPr id="3888" name="Freeform 1532"/>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close/>
                    </a:path>
                  </a:pathLst>
                </a:custGeom>
                <a:solidFill>
                  <a:srgbClr val="01AAE5"/>
                </a:solidFill>
                <a:ln>
                  <a:noFill/>
                </a:ln>
                <a:extLst/>
              </p:spPr>
              <p:txBody>
                <a:bodyPr/>
                <a:lstStyle/>
                <a:p>
                  <a:pPr eaLnBrk="1" hangingPunct="1">
                    <a:defRPr/>
                  </a:pPr>
                  <a:endParaRPr lang="zh-CN" altLang="en-US" sz="1050"/>
                </a:p>
              </p:txBody>
            </p:sp>
            <p:sp>
              <p:nvSpPr>
                <p:cNvPr id="3889" name="Freeform 1533"/>
                <p:cNvSpPr>
                  <a:spLocks/>
                </p:cNvSpPr>
                <p:nvPr/>
              </p:nvSpPr>
              <p:spPr bwMode="auto">
                <a:xfrm>
                  <a:off x="10548" y="1950"/>
                  <a:ext cx="0" cy="9"/>
                </a:xfrm>
                <a:custGeom>
                  <a:avLst/>
                  <a:gdLst>
                    <a:gd name="T0" fmla="*/ 8 w 8"/>
                    <a:gd name="T1" fmla="*/ 7 h 9"/>
                    <a:gd name="T2" fmla="*/ 3 w 8"/>
                    <a:gd name="T3" fmla="*/ 0 h 9"/>
                    <a:gd name="T4" fmla="*/ 0 w 8"/>
                    <a:gd name="T5" fmla="*/ 0 h 9"/>
                    <a:gd name="T6" fmla="*/ 8 w 8"/>
                    <a:gd name="T7" fmla="*/ 9 h 9"/>
                    <a:gd name="T8" fmla="*/ 8 w 8"/>
                    <a:gd name="T9" fmla="*/ 7 h 9"/>
                  </a:gdLst>
                  <a:ahLst/>
                  <a:cxnLst>
                    <a:cxn ang="0">
                      <a:pos x="T0" y="T1"/>
                    </a:cxn>
                    <a:cxn ang="0">
                      <a:pos x="T2" y="T3"/>
                    </a:cxn>
                    <a:cxn ang="0">
                      <a:pos x="T4" y="T5"/>
                    </a:cxn>
                    <a:cxn ang="0">
                      <a:pos x="T6" y="T7"/>
                    </a:cxn>
                    <a:cxn ang="0">
                      <a:pos x="T8" y="T9"/>
                    </a:cxn>
                  </a:cxnLst>
                  <a:rect l="0" t="0" r="r" b="b"/>
                  <a:pathLst>
                    <a:path w="8" h="9">
                      <a:moveTo>
                        <a:pt x="8" y="7"/>
                      </a:moveTo>
                      <a:lnTo>
                        <a:pt x="3" y="0"/>
                      </a:lnTo>
                      <a:lnTo>
                        <a:pt x="0" y="0"/>
                      </a:lnTo>
                      <a:lnTo>
                        <a:pt x="8" y="9"/>
                      </a:lnTo>
                      <a:lnTo>
                        <a:pt x="8" y="7"/>
                      </a:lnTo>
                    </a:path>
                  </a:pathLst>
                </a:custGeom>
                <a:noFill/>
                <a:ln>
                  <a:noFill/>
                </a:ln>
                <a:extLst/>
              </p:spPr>
              <p:txBody>
                <a:bodyPr/>
                <a:lstStyle/>
                <a:p>
                  <a:pPr eaLnBrk="1" hangingPunct="1">
                    <a:defRPr/>
                  </a:pPr>
                  <a:endParaRPr lang="zh-CN" altLang="en-US" sz="1050"/>
                </a:p>
              </p:txBody>
            </p:sp>
            <p:sp>
              <p:nvSpPr>
                <p:cNvPr id="3890" name="Freeform 1534"/>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3891" name="Freeform 1535"/>
                <p:cNvSpPr>
                  <a:spLocks/>
                </p:cNvSpPr>
                <p:nvPr/>
              </p:nvSpPr>
              <p:spPr bwMode="auto">
                <a:xfrm>
                  <a:off x="10540" y="1950"/>
                  <a:ext cx="0" cy="17"/>
                </a:xfrm>
                <a:custGeom>
                  <a:avLst/>
                  <a:gdLst>
                    <a:gd name="T0" fmla="*/ 5 w 5"/>
                    <a:gd name="T1" fmla="*/ 10 h 10"/>
                    <a:gd name="T2" fmla="*/ 0 w 5"/>
                    <a:gd name="T3" fmla="*/ 0 h 10"/>
                    <a:gd name="T4" fmla="*/ 0 w 5"/>
                    <a:gd name="T5" fmla="*/ 3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0" y="0"/>
                      </a:lnTo>
                      <a:lnTo>
                        <a:pt x="0" y="3"/>
                      </a:lnTo>
                      <a:lnTo>
                        <a:pt x="5" y="10"/>
                      </a:lnTo>
                      <a:lnTo>
                        <a:pt x="5" y="10"/>
                      </a:lnTo>
                    </a:path>
                  </a:pathLst>
                </a:custGeom>
                <a:noFill/>
                <a:ln>
                  <a:noFill/>
                </a:ln>
                <a:extLst/>
              </p:spPr>
              <p:txBody>
                <a:bodyPr/>
                <a:lstStyle/>
                <a:p>
                  <a:pPr eaLnBrk="1" hangingPunct="1">
                    <a:defRPr/>
                  </a:pPr>
                  <a:endParaRPr lang="zh-CN" altLang="en-US" sz="1050"/>
                </a:p>
              </p:txBody>
            </p:sp>
            <p:sp>
              <p:nvSpPr>
                <p:cNvPr id="3892" name="Freeform 1536"/>
                <p:cNvSpPr>
                  <a:spLocks/>
                </p:cNvSpPr>
                <p:nvPr/>
              </p:nvSpPr>
              <p:spPr bwMode="auto">
                <a:xfrm>
                  <a:off x="10540" y="1950"/>
                  <a:ext cx="8" cy="17"/>
                </a:xfrm>
                <a:custGeom>
                  <a:avLst/>
                  <a:gdLst>
                    <a:gd name="T0" fmla="*/ 5 w 5"/>
                    <a:gd name="T1" fmla="*/ 7 h 10"/>
                    <a:gd name="T2" fmla="*/ 0 w 5"/>
                    <a:gd name="T3" fmla="*/ 0 h 10"/>
                    <a:gd name="T4" fmla="*/ 0 w 5"/>
                    <a:gd name="T5" fmla="*/ 2 h 10"/>
                    <a:gd name="T6" fmla="*/ 5 w 5"/>
                    <a:gd name="T7" fmla="*/ 10 h 10"/>
                    <a:gd name="T8" fmla="*/ 5 w 5"/>
                    <a:gd name="T9" fmla="*/ 7 h 10"/>
                  </a:gdLst>
                  <a:ahLst/>
                  <a:cxnLst>
                    <a:cxn ang="0">
                      <a:pos x="T0" y="T1"/>
                    </a:cxn>
                    <a:cxn ang="0">
                      <a:pos x="T2" y="T3"/>
                    </a:cxn>
                    <a:cxn ang="0">
                      <a:pos x="T4" y="T5"/>
                    </a:cxn>
                    <a:cxn ang="0">
                      <a:pos x="T6" y="T7"/>
                    </a:cxn>
                    <a:cxn ang="0">
                      <a:pos x="T8" y="T9"/>
                    </a:cxn>
                  </a:cxnLst>
                  <a:rect l="0" t="0" r="r" b="b"/>
                  <a:pathLst>
                    <a:path w="5" h="10">
                      <a:moveTo>
                        <a:pt x="5" y="7"/>
                      </a:moveTo>
                      <a:lnTo>
                        <a:pt x="0" y="0"/>
                      </a:lnTo>
                      <a:lnTo>
                        <a:pt x="0" y="2"/>
                      </a:lnTo>
                      <a:lnTo>
                        <a:pt x="5" y="10"/>
                      </a:lnTo>
                      <a:lnTo>
                        <a:pt x="5" y="7"/>
                      </a:lnTo>
                      <a:close/>
                    </a:path>
                  </a:pathLst>
                </a:custGeom>
                <a:solidFill>
                  <a:srgbClr val="01AAE5"/>
                </a:solidFill>
                <a:ln>
                  <a:noFill/>
                </a:ln>
                <a:extLst/>
              </p:spPr>
              <p:txBody>
                <a:bodyPr/>
                <a:lstStyle/>
                <a:p>
                  <a:pPr eaLnBrk="1" hangingPunct="1">
                    <a:defRPr/>
                  </a:pPr>
                  <a:endParaRPr lang="zh-CN" altLang="en-US" sz="1050"/>
                </a:p>
              </p:txBody>
            </p:sp>
            <p:sp>
              <p:nvSpPr>
                <p:cNvPr id="3893" name="Freeform 1537"/>
                <p:cNvSpPr>
                  <a:spLocks/>
                </p:cNvSpPr>
                <p:nvPr/>
              </p:nvSpPr>
              <p:spPr bwMode="auto">
                <a:xfrm>
                  <a:off x="10548" y="1950"/>
                  <a:ext cx="8" cy="0"/>
                </a:xfrm>
                <a:custGeom>
                  <a:avLst/>
                  <a:gdLst>
                    <a:gd name="T0" fmla="*/ 7 w 7"/>
                    <a:gd name="T1" fmla="*/ 9 h 11"/>
                    <a:gd name="T2" fmla="*/ 0 w 7"/>
                    <a:gd name="T3" fmla="*/ 0 h 11"/>
                    <a:gd name="T4" fmla="*/ 0 w 7"/>
                    <a:gd name="T5" fmla="*/ 0 h 11"/>
                    <a:gd name="T6" fmla="*/ 5 w 7"/>
                    <a:gd name="T7" fmla="*/ 11 h 11"/>
                    <a:gd name="T8" fmla="*/ 7 w 7"/>
                    <a:gd name="T9" fmla="*/ 9 h 11"/>
                  </a:gdLst>
                  <a:ahLst/>
                  <a:cxnLst>
                    <a:cxn ang="0">
                      <a:pos x="T0" y="T1"/>
                    </a:cxn>
                    <a:cxn ang="0">
                      <a:pos x="T2" y="T3"/>
                    </a:cxn>
                    <a:cxn ang="0">
                      <a:pos x="T4" y="T5"/>
                    </a:cxn>
                    <a:cxn ang="0">
                      <a:pos x="T6" y="T7"/>
                    </a:cxn>
                    <a:cxn ang="0">
                      <a:pos x="T8" y="T9"/>
                    </a:cxn>
                  </a:cxnLst>
                  <a:rect l="0" t="0" r="r" b="b"/>
                  <a:pathLst>
                    <a:path w="7" h="11">
                      <a:moveTo>
                        <a:pt x="7" y="9"/>
                      </a:moveTo>
                      <a:lnTo>
                        <a:pt x="0" y="0"/>
                      </a:lnTo>
                      <a:lnTo>
                        <a:pt x="0" y="0"/>
                      </a:lnTo>
                      <a:lnTo>
                        <a:pt x="5" y="11"/>
                      </a:lnTo>
                      <a:lnTo>
                        <a:pt x="7" y="9"/>
                      </a:lnTo>
                      <a:close/>
                    </a:path>
                  </a:pathLst>
                </a:custGeom>
                <a:solidFill>
                  <a:srgbClr val="01AAE5"/>
                </a:solidFill>
                <a:ln>
                  <a:noFill/>
                </a:ln>
                <a:extLst/>
              </p:spPr>
              <p:txBody>
                <a:bodyPr/>
                <a:lstStyle/>
                <a:p>
                  <a:pPr eaLnBrk="1" hangingPunct="1">
                    <a:defRPr/>
                  </a:pPr>
                  <a:endParaRPr lang="zh-CN" altLang="en-US" sz="1050"/>
                </a:p>
              </p:txBody>
            </p:sp>
            <p:sp>
              <p:nvSpPr>
                <p:cNvPr id="3894" name="Freeform 1538"/>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895" name="Freeform 1539"/>
                <p:cNvSpPr>
                  <a:spLocks/>
                </p:cNvSpPr>
                <p:nvPr/>
              </p:nvSpPr>
              <p:spPr bwMode="auto">
                <a:xfrm>
                  <a:off x="10531" y="1959"/>
                  <a:ext cx="8" cy="9"/>
                </a:xfrm>
                <a:custGeom>
                  <a:avLst/>
                  <a:gdLst>
                    <a:gd name="T0" fmla="*/ 7 w 7"/>
                    <a:gd name="T1" fmla="*/ 7 h 7"/>
                    <a:gd name="T2" fmla="*/ 0 w 7"/>
                    <a:gd name="T3" fmla="*/ 0 h 7"/>
                    <a:gd name="T4" fmla="*/ 0 w 7"/>
                    <a:gd name="T5" fmla="*/ 0 h 7"/>
                    <a:gd name="T6" fmla="*/ 4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4" y="7"/>
                      </a:lnTo>
                      <a:lnTo>
                        <a:pt x="7" y="7"/>
                      </a:lnTo>
                    </a:path>
                  </a:pathLst>
                </a:custGeom>
                <a:noFill/>
                <a:ln>
                  <a:noFill/>
                </a:ln>
                <a:extLst/>
              </p:spPr>
              <p:txBody>
                <a:bodyPr/>
                <a:lstStyle/>
                <a:p>
                  <a:pPr eaLnBrk="1" hangingPunct="1">
                    <a:defRPr/>
                  </a:pPr>
                  <a:endParaRPr lang="zh-CN" altLang="en-US" sz="1050"/>
                </a:p>
              </p:txBody>
            </p:sp>
            <p:sp>
              <p:nvSpPr>
                <p:cNvPr id="3896" name="Freeform 1540"/>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close/>
                    </a:path>
                  </a:pathLst>
                </a:custGeom>
                <a:solidFill>
                  <a:srgbClr val="01AAE5"/>
                </a:solidFill>
                <a:ln>
                  <a:noFill/>
                </a:ln>
                <a:extLst/>
              </p:spPr>
              <p:txBody>
                <a:bodyPr/>
                <a:lstStyle/>
                <a:p>
                  <a:pPr eaLnBrk="1" hangingPunct="1">
                    <a:defRPr/>
                  </a:pPr>
                  <a:endParaRPr lang="zh-CN" altLang="en-US" sz="1050"/>
                </a:p>
              </p:txBody>
            </p:sp>
            <p:sp>
              <p:nvSpPr>
                <p:cNvPr id="3897" name="Freeform 1541"/>
                <p:cNvSpPr>
                  <a:spLocks/>
                </p:cNvSpPr>
                <p:nvPr/>
              </p:nvSpPr>
              <p:spPr bwMode="auto">
                <a:xfrm>
                  <a:off x="10556" y="1942"/>
                  <a:ext cx="8" cy="9"/>
                </a:xfrm>
                <a:custGeom>
                  <a:avLst/>
                  <a:gdLst>
                    <a:gd name="T0" fmla="*/ 10 w 10"/>
                    <a:gd name="T1" fmla="*/ 14 h 14"/>
                    <a:gd name="T2" fmla="*/ 0 w 10"/>
                    <a:gd name="T3" fmla="*/ 0 h 14"/>
                    <a:gd name="T4" fmla="*/ 0 w 10"/>
                    <a:gd name="T5" fmla="*/ 2 h 14"/>
                    <a:gd name="T6" fmla="*/ 7 w 10"/>
                    <a:gd name="T7" fmla="*/ 14 h 14"/>
                    <a:gd name="T8" fmla="*/ 10 w 10"/>
                    <a:gd name="T9" fmla="*/ 14 h 14"/>
                  </a:gdLst>
                  <a:ahLst/>
                  <a:cxnLst>
                    <a:cxn ang="0">
                      <a:pos x="T0" y="T1"/>
                    </a:cxn>
                    <a:cxn ang="0">
                      <a:pos x="T2" y="T3"/>
                    </a:cxn>
                    <a:cxn ang="0">
                      <a:pos x="T4" y="T5"/>
                    </a:cxn>
                    <a:cxn ang="0">
                      <a:pos x="T6" y="T7"/>
                    </a:cxn>
                    <a:cxn ang="0">
                      <a:pos x="T8" y="T9"/>
                    </a:cxn>
                  </a:cxnLst>
                  <a:rect l="0" t="0" r="r" b="b"/>
                  <a:pathLst>
                    <a:path w="10" h="14">
                      <a:moveTo>
                        <a:pt x="10" y="14"/>
                      </a:moveTo>
                      <a:lnTo>
                        <a:pt x="0" y="0"/>
                      </a:lnTo>
                      <a:lnTo>
                        <a:pt x="0" y="2"/>
                      </a:lnTo>
                      <a:lnTo>
                        <a:pt x="7" y="14"/>
                      </a:lnTo>
                      <a:lnTo>
                        <a:pt x="10" y="14"/>
                      </a:lnTo>
                    </a:path>
                  </a:pathLst>
                </a:custGeom>
                <a:noFill/>
                <a:ln>
                  <a:noFill/>
                </a:ln>
                <a:extLst/>
              </p:spPr>
              <p:txBody>
                <a:bodyPr/>
                <a:lstStyle/>
                <a:p>
                  <a:pPr eaLnBrk="1" hangingPunct="1">
                    <a:defRPr/>
                  </a:pPr>
                  <a:endParaRPr lang="zh-CN" altLang="en-US" sz="1050"/>
                </a:p>
              </p:txBody>
            </p:sp>
            <p:sp>
              <p:nvSpPr>
                <p:cNvPr id="3898" name="Freeform 1542"/>
                <p:cNvSpPr>
                  <a:spLocks/>
                </p:cNvSpPr>
                <p:nvPr/>
              </p:nvSpPr>
              <p:spPr bwMode="auto">
                <a:xfrm>
                  <a:off x="10548" y="1950"/>
                  <a:ext cx="8" cy="9"/>
                </a:xfrm>
                <a:custGeom>
                  <a:avLst/>
                  <a:gdLst>
                    <a:gd name="T0" fmla="*/ 7 w 7"/>
                    <a:gd name="T1" fmla="*/ 9 h 12"/>
                    <a:gd name="T2" fmla="*/ 0 w 7"/>
                    <a:gd name="T3" fmla="*/ 0 h 12"/>
                    <a:gd name="T4" fmla="*/ 0 w 7"/>
                    <a:gd name="T5" fmla="*/ 2 h 12"/>
                    <a:gd name="T6" fmla="*/ 5 w 7"/>
                    <a:gd name="T7" fmla="*/ 12 h 12"/>
                    <a:gd name="T8" fmla="*/ 7 w 7"/>
                    <a:gd name="T9" fmla="*/ 9 h 12"/>
                  </a:gdLst>
                  <a:ahLst/>
                  <a:cxnLst>
                    <a:cxn ang="0">
                      <a:pos x="T0" y="T1"/>
                    </a:cxn>
                    <a:cxn ang="0">
                      <a:pos x="T2" y="T3"/>
                    </a:cxn>
                    <a:cxn ang="0">
                      <a:pos x="T4" y="T5"/>
                    </a:cxn>
                    <a:cxn ang="0">
                      <a:pos x="T6" y="T7"/>
                    </a:cxn>
                    <a:cxn ang="0">
                      <a:pos x="T8" y="T9"/>
                    </a:cxn>
                  </a:cxnLst>
                  <a:rect l="0" t="0" r="r" b="b"/>
                  <a:pathLst>
                    <a:path w="7" h="12">
                      <a:moveTo>
                        <a:pt x="7" y="9"/>
                      </a:moveTo>
                      <a:lnTo>
                        <a:pt x="0" y="0"/>
                      </a:lnTo>
                      <a:lnTo>
                        <a:pt x="0" y="2"/>
                      </a:lnTo>
                      <a:lnTo>
                        <a:pt x="5" y="12"/>
                      </a:lnTo>
                      <a:lnTo>
                        <a:pt x="7" y="9"/>
                      </a:lnTo>
                      <a:close/>
                    </a:path>
                  </a:pathLst>
                </a:custGeom>
                <a:solidFill>
                  <a:srgbClr val="01AAE5"/>
                </a:solidFill>
                <a:ln>
                  <a:noFill/>
                </a:ln>
                <a:extLst/>
              </p:spPr>
              <p:txBody>
                <a:bodyPr/>
                <a:lstStyle/>
                <a:p>
                  <a:pPr eaLnBrk="1" hangingPunct="1">
                    <a:defRPr/>
                  </a:pPr>
                  <a:endParaRPr lang="zh-CN" altLang="en-US" sz="1050"/>
                </a:p>
              </p:txBody>
            </p:sp>
            <p:sp>
              <p:nvSpPr>
                <p:cNvPr id="3899" name="Freeform 1543"/>
                <p:cNvSpPr>
                  <a:spLocks/>
                </p:cNvSpPr>
                <p:nvPr/>
              </p:nvSpPr>
              <p:spPr bwMode="auto">
                <a:xfrm>
                  <a:off x="10390" y="2099"/>
                  <a:ext cx="0" cy="17"/>
                </a:xfrm>
                <a:custGeom>
                  <a:avLst/>
                  <a:gdLst>
                    <a:gd name="T0" fmla="*/ 14 w 14"/>
                    <a:gd name="T1" fmla="*/ 9 h 9"/>
                    <a:gd name="T2" fmla="*/ 0 w 14"/>
                    <a:gd name="T3" fmla="*/ 0 h 9"/>
                    <a:gd name="T4" fmla="*/ 0 w 14"/>
                    <a:gd name="T5" fmla="*/ 0 h 9"/>
                    <a:gd name="T6" fmla="*/ 12 w 14"/>
                    <a:gd name="T7" fmla="*/ 9 h 9"/>
                    <a:gd name="T8" fmla="*/ 14 w 14"/>
                    <a:gd name="T9" fmla="*/ 9 h 9"/>
                  </a:gdLst>
                  <a:ahLst/>
                  <a:cxnLst>
                    <a:cxn ang="0">
                      <a:pos x="T0" y="T1"/>
                    </a:cxn>
                    <a:cxn ang="0">
                      <a:pos x="T2" y="T3"/>
                    </a:cxn>
                    <a:cxn ang="0">
                      <a:pos x="T4" y="T5"/>
                    </a:cxn>
                    <a:cxn ang="0">
                      <a:pos x="T6" y="T7"/>
                    </a:cxn>
                    <a:cxn ang="0">
                      <a:pos x="T8" y="T9"/>
                    </a:cxn>
                  </a:cxnLst>
                  <a:rect l="0" t="0" r="r" b="b"/>
                  <a:pathLst>
                    <a:path w="14" h="9">
                      <a:moveTo>
                        <a:pt x="14" y="9"/>
                      </a:moveTo>
                      <a:lnTo>
                        <a:pt x="0" y="0"/>
                      </a:lnTo>
                      <a:lnTo>
                        <a:pt x="0" y="0"/>
                      </a:lnTo>
                      <a:lnTo>
                        <a:pt x="12" y="9"/>
                      </a:lnTo>
                      <a:lnTo>
                        <a:pt x="14" y="9"/>
                      </a:lnTo>
                      <a:close/>
                    </a:path>
                  </a:pathLst>
                </a:custGeom>
                <a:solidFill>
                  <a:srgbClr val="01AAE5"/>
                </a:solidFill>
                <a:ln>
                  <a:noFill/>
                </a:ln>
                <a:extLst/>
              </p:spPr>
              <p:txBody>
                <a:bodyPr/>
                <a:lstStyle/>
                <a:p>
                  <a:pPr eaLnBrk="1" hangingPunct="1">
                    <a:defRPr/>
                  </a:pPr>
                  <a:endParaRPr lang="zh-CN" altLang="en-US" sz="1050"/>
                </a:p>
              </p:txBody>
            </p:sp>
            <p:sp>
              <p:nvSpPr>
                <p:cNvPr id="3900" name="Freeform 1544"/>
                <p:cNvSpPr>
                  <a:spLocks/>
                </p:cNvSpPr>
                <p:nvPr/>
              </p:nvSpPr>
              <p:spPr bwMode="auto">
                <a:xfrm>
                  <a:off x="10373" y="2107"/>
                  <a:ext cx="8" cy="9"/>
                </a:xfrm>
                <a:custGeom>
                  <a:avLst/>
                  <a:gdLst>
                    <a:gd name="T0" fmla="*/ 12 w 12"/>
                    <a:gd name="T1" fmla="*/ 7 h 7"/>
                    <a:gd name="T2" fmla="*/ 0 w 12"/>
                    <a:gd name="T3" fmla="*/ 0 h 7"/>
                    <a:gd name="T4" fmla="*/ 0 w 12"/>
                    <a:gd name="T5" fmla="*/ 0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0" y="0"/>
                      </a:lnTo>
                      <a:lnTo>
                        <a:pt x="0" y="0"/>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3901" name="Freeform 1545"/>
                <p:cNvSpPr>
                  <a:spLocks/>
                </p:cNvSpPr>
                <p:nvPr/>
              </p:nvSpPr>
              <p:spPr bwMode="auto">
                <a:xfrm>
                  <a:off x="10373" y="2116"/>
                  <a:ext cx="8" cy="9"/>
                </a:xfrm>
                <a:custGeom>
                  <a:avLst/>
                  <a:gdLst>
                    <a:gd name="T0" fmla="*/ 9 w 9"/>
                    <a:gd name="T1" fmla="*/ 7 h 7"/>
                    <a:gd name="T2" fmla="*/ 0 w 9"/>
                    <a:gd name="T3" fmla="*/ 0 h 7"/>
                    <a:gd name="T4" fmla="*/ 0 w 9"/>
                    <a:gd name="T5" fmla="*/ 0 h 7"/>
                    <a:gd name="T6" fmla="*/ 9 w 9"/>
                    <a:gd name="T7" fmla="*/ 7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0" y="0"/>
                      </a:lnTo>
                      <a:lnTo>
                        <a:pt x="0" y="0"/>
                      </a:lnTo>
                      <a:lnTo>
                        <a:pt x="9" y="7"/>
                      </a:lnTo>
                      <a:lnTo>
                        <a:pt x="9" y="7"/>
                      </a:lnTo>
                      <a:close/>
                    </a:path>
                  </a:pathLst>
                </a:custGeom>
                <a:solidFill>
                  <a:srgbClr val="01AAE5"/>
                </a:solidFill>
                <a:ln>
                  <a:noFill/>
                </a:ln>
                <a:extLst/>
              </p:spPr>
              <p:txBody>
                <a:bodyPr/>
                <a:lstStyle/>
                <a:p>
                  <a:pPr eaLnBrk="1" hangingPunct="1">
                    <a:defRPr/>
                  </a:pPr>
                  <a:endParaRPr lang="zh-CN" altLang="en-US" sz="1050"/>
                </a:p>
              </p:txBody>
            </p:sp>
            <p:sp>
              <p:nvSpPr>
                <p:cNvPr id="3902" name="Freeform 1546"/>
                <p:cNvSpPr>
                  <a:spLocks/>
                </p:cNvSpPr>
                <p:nvPr/>
              </p:nvSpPr>
              <p:spPr bwMode="auto">
                <a:xfrm>
                  <a:off x="10390" y="2090"/>
                  <a:ext cx="0" cy="17"/>
                </a:xfrm>
                <a:custGeom>
                  <a:avLst/>
                  <a:gdLst>
                    <a:gd name="T0" fmla="*/ 14 w 14"/>
                    <a:gd name="T1" fmla="*/ 12 h 14"/>
                    <a:gd name="T2" fmla="*/ 0 w 14"/>
                    <a:gd name="T3" fmla="*/ 0 h 14"/>
                    <a:gd name="T4" fmla="*/ 0 w 14"/>
                    <a:gd name="T5" fmla="*/ 2 h 14"/>
                    <a:gd name="T6" fmla="*/ 14 w 14"/>
                    <a:gd name="T7" fmla="*/ 14 h 14"/>
                    <a:gd name="T8" fmla="*/ 14 w 14"/>
                    <a:gd name="T9" fmla="*/ 12 h 14"/>
                  </a:gdLst>
                  <a:ahLst/>
                  <a:cxnLst>
                    <a:cxn ang="0">
                      <a:pos x="T0" y="T1"/>
                    </a:cxn>
                    <a:cxn ang="0">
                      <a:pos x="T2" y="T3"/>
                    </a:cxn>
                    <a:cxn ang="0">
                      <a:pos x="T4" y="T5"/>
                    </a:cxn>
                    <a:cxn ang="0">
                      <a:pos x="T6" y="T7"/>
                    </a:cxn>
                    <a:cxn ang="0">
                      <a:pos x="T8" y="T9"/>
                    </a:cxn>
                  </a:cxnLst>
                  <a:rect l="0" t="0" r="r" b="b"/>
                  <a:pathLst>
                    <a:path w="14" h="14">
                      <a:moveTo>
                        <a:pt x="14" y="12"/>
                      </a:moveTo>
                      <a:lnTo>
                        <a:pt x="0" y="0"/>
                      </a:lnTo>
                      <a:lnTo>
                        <a:pt x="0" y="2"/>
                      </a:lnTo>
                      <a:lnTo>
                        <a:pt x="14" y="14"/>
                      </a:lnTo>
                      <a:lnTo>
                        <a:pt x="14" y="12"/>
                      </a:lnTo>
                      <a:close/>
                    </a:path>
                  </a:pathLst>
                </a:custGeom>
                <a:solidFill>
                  <a:srgbClr val="01AAE5"/>
                </a:solidFill>
                <a:ln>
                  <a:noFill/>
                </a:ln>
                <a:extLst/>
              </p:spPr>
              <p:txBody>
                <a:bodyPr/>
                <a:lstStyle/>
                <a:p>
                  <a:pPr eaLnBrk="1" hangingPunct="1">
                    <a:defRPr/>
                  </a:pPr>
                  <a:endParaRPr lang="zh-CN" altLang="en-US" sz="1050"/>
                </a:p>
              </p:txBody>
            </p:sp>
            <p:sp>
              <p:nvSpPr>
                <p:cNvPr id="3903" name="Freeform 1547"/>
                <p:cNvSpPr>
                  <a:spLocks/>
                </p:cNvSpPr>
                <p:nvPr/>
              </p:nvSpPr>
              <p:spPr bwMode="auto">
                <a:xfrm>
                  <a:off x="10390" y="2090"/>
                  <a:ext cx="25" cy="9"/>
                </a:xfrm>
                <a:custGeom>
                  <a:avLst/>
                  <a:gdLst>
                    <a:gd name="T0" fmla="*/ 17 w 17"/>
                    <a:gd name="T1" fmla="*/ 14 h 14"/>
                    <a:gd name="T2" fmla="*/ 0 w 17"/>
                    <a:gd name="T3" fmla="*/ 0 h 14"/>
                    <a:gd name="T4" fmla="*/ 0 w 17"/>
                    <a:gd name="T5" fmla="*/ 2 h 14"/>
                    <a:gd name="T6" fmla="*/ 17 w 17"/>
                    <a:gd name="T7" fmla="*/ 14 h 14"/>
                    <a:gd name="T8" fmla="*/ 17 w 17"/>
                    <a:gd name="T9" fmla="*/ 14 h 14"/>
                  </a:gdLst>
                  <a:ahLst/>
                  <a:cxnLst>
                    <a:cxn ang="0">
                      <a:pos x="T0" y="T1"/>
                    </a:cxn>
                    <a:cxn ang="0">
                      <a:pos x="T2" y="T3"/>
                    </a:cxn>
                    <a:cxn ang="0">
                      <a:pos x="T4" y="T5"/>
                    </a:cxn>
                    <a:cxn ang="0">
                      <a:pos x="T6" y="T7"/>
                    </a:cxn>
                    <a:cxn ang="0">
                      <a:pos x="T8" y="T9"/>
                    </a:cxn>
                  </a:cxnLst>
                  <a:rect l="0" t="0" r="r" b="b"/>
                  <a:pathLst>
                    <a:path w="17" h="14">
                      <a:moveTo>
                        <a:pt x="17" y="14"/>
                      </a:moveTo>
                      <a:lnTo>
                        <a:pt x="0" y="0"/>
                      </a:lnTo>
                      <a:lnTo>
                        <a:pt x="0" y="2"/>
                      </a:lnTo>
                      <a:lnTo>
                        <a:pt x="17" y="14"/>
                      </a:lnTo>
                      <a:lnTo>
                        <a:pt x="17" y="14"/>
                      </a:lnTo>
                      <a:close/>
                    </a:path>
                  </a:pathLst>
                </a:custGeom>
                <a:solidFill>
                  <a:srgbClr val="01AAE5"/>
                </a:solidFill>
                <a:ln>
                  <a:noFill/>
                </a:ln>
                <a:extLst/>
              </p:spPr>
              <p:txBody>
                <a:bodyPr/>
                <a:lstStyle/>
                <a:p>
                  <a:pPr eaLnBrk="1" hangingPunct="1">
                    <a:defRPr/>
                  </a:pPr>
                  <a:endParaRPr lang="zh-CN" altLang="en-US" sz="1050"/>
                </a:p>
              </p:txBody>
            </p:sp>
            <p:sp>
              <p:nvSpPr>
                <p:cNvPr id="3904" name="Freeform 1548"/>
                <p:cNvSpPr>
                  <a:spLocks/>
                </p:cNvSpPr>
                <p:nvPr/>
              </p:nvSpPr>
              <p:spPr bwMode="auto">
                <a:xfrm>
                  <a:off x="10390" y="2081"/>
                  <a:ext cx="25" cy="17"/>
                </a:xfrm>
                <a:custGeom>
                  <a:avLst/>
                  <a:gdLst>
                    <a:gd name="T0" fmla="*/ 19 w 19"/>
                    <a:gd name="T1" fmla="*/ 16 h 19"/>
                    <a:gd name="T2" fmla="*/ 0 w 19"/>
                    <a:gd name="T3" fmla="*/ 0 h 19"/>
                    <a:gd name="T4" fmla="*/ 0 w 19"/>
                    <a:gd name="T5" fmla="*/ 2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2"/>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3905" name="Freeform 1549"/>
                <p:cNvSpPr>
                  <a:spLocks/>
                </p:cNvSpPr>
                <p:nvPr/>
              </p:nvSpPr>
              <p:spPr bwMode="auto">
                <a:xfrm>
                  <a:off x="10390" y="2090"/>
                  <a:ext cx="25" cy="9"/>
                </a:xfrm>
                <a:custGeom>
                  <a:avLst/>
                  <a:gdLst>
                    <a:gd name="T0" fmla="*/ 19 w 19"/>
                    <a:gd name="T1" fmla="*/ 17 h 17"/>
                    <a:gd name="T2" fmla="*/ 0 w 19"/>
                    <a:gd name="T3" fmla="*/ 0 h 17"/>
                    <a:gd name="T4" fmla="*/ 0 w 19"/>
                    <a:gd name="T5" fmla="*/ 3 h 17"/>
                    <a:gd name="T6" fmla="*/ 16 w 19"/>
                    <a:gd name="T7" fmla="*/ 17 h 17"/>
                    <a:gd name="T8" fmla="*/ 19 w 19"/>
                    <a:gd name="T9" fmla="*/ 17 h 17"/>
                  </a:gdLst>
                  <a:ahLst/>
                  <a:cxnLst>
                    <a:cxn ang="0">
                      <a:pos x="T0" y="T1"/>
                    </a:cxn>
                    <a:cxn ang="0">
                      <a:pos x="T2" y="T3"/>
                    </a:cxn>
                    <a:cxn ang="0">
                      <a:pos x="T4" y="T5"/>
                    </a:cxn>
                    <a:cxn ang="0">
                      <a:pos x="T6" y="T7"/>
                    </a:cxn>
                    <a:cxn ang="0">
                      <a:pos x="T8" y="T9"/>
                    </a:cxn>
                  </a:cxnLst>
                  <a:rect l="0" t="0" r="r" b="b"/>
                  <a:pathLst>
                    <a:path w="19" h="17">
                      <a:moveTo>
                        <a:pt x="19" y="17"/>
                      </a:moveTo>
                      <a:lnTo>
                        <a:pt x="0" y="0"/>
                      </a:lnTo>
                      <a:lnTo>
                        <a:pt x="0" y="3"/>
                      </a:lnTo>
                      <a:lnTo>
                        <a:pt x="16" y="17"/>
                      </a:lnTo>
                      <a:lnTo>
                        <a:pt x="19" y="17"/>
                      </a:lnTo>
                      <a:close/>
                    </a:path>
                  </a:pathLst>
                </a:custGeom>
                <a:solidFill>
                  <a:srgbClr val="01AAE5"/>
                </a:solidFill>
                <a:ln>
                  <a:noFill/>
                </a:ln>
                <a:extLst/>
              </p:spPr>
              <p:txBody>
                <a:bodyPr/>
                <a:lstStyle/>
                <a:p>
                  <a:pPr eaLnBrk="1" hangingPunct="1">
                    <a:defRPr/>
                  </a:pPr>
                  <a:endParaRPr lang="zh-CN" altLang="en-US" sz="1050"/>
                </a:p>
              </p:txBody>
            </p:sp>
            <p:sp>
              <p:nvSpPr>
                <p:cNvPr id="3906" name="Freeform 1550"/>
                <p:cNvSpPr>
                  <a:spLocks/>
                </p:cNvSpPr>
                <p:nvPr/>
              </p:nvSpPr>
              <p:spPr bwMode="auto">
                <a:xfrm>
                  <a:off x="10373" y="2116"/>
                  <a:ext cx="8" cy="9"/>
                </a:xfrm>
                <a:custGeom>
                  <a:avLst/>
                  <a:gdLst>
                    <a:gd name="T0" fmla="*/ 9 w 9"/>
                    <a:gd name="T1" fmla="*/ 5 h 7"/>
                    <a:gd name="T2" fmla="*/ 0 w 9"/>
                    <a:gd name="T3" fmla="*/ 0 h 7"/>
                    <a:gd name="T4" fmla="*/ 0 w 9"/>
                    <a:gd name="T5" fmla="*/ 0 h 7"/>
                    <a:gd name="T6" fmla="*/ 7 w 9"/>
                    <a:gd name="T7" fmla="*/ 7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lnTo>
                        <a:pt x="0" y="0"/>
                      </a:lnTo>
                      <a:lnTo>
                        <a:pt x="0" y="0"/>
                      </a:lnTo>
                      <a:lnTo>
                        <a:pt x="7" y="7"/>
                      </a:lnTo>
                      <a:lnTo>
                        <a:pt x="9" y="5"/>
                      </a:lnTo>
                      <a:close/>
                    </a:path>
                  </a:pathLst>
                </a:custGeom>
                <a:solidFill>
                  <a:srgbClr val="01AAE5"/>
                </a:solidFill>
                <a:ln>
                  <a:noFill/>
                </a:ln>
                <a:extLst/>
              </p:spPr>
              <p:txBody>
                <a:bodyPr/>
                <a:lstStyle/>
                <a:p>
                  <a:pPr eaLnBrk="1" hangingPunct="1">
                    <a:defRPr/>
                  </a:pPr>
                  <a:endParaRPr lang="zh-CN" altLang="en-US" sz="1050"/>
                </a:p>
              </p:txBody>
            </p:sp>
            <p:sp>
              <p:nvSpPr>
                <p:cNvPr id="3907" name="Freeform 1551"/>
                <p:cNvSpPr>
                  <a:spLocks/>
                </p:cNvSpPr>
                <p:nvPr/>
              </p:nvSpPr>
              <p:spPr bwMode="auto">
                <a:xfrm>
                  <a:off x="10365" y="2125"/>
                  <a:ext cx="8" cy="0"/>
                </a:xfrm>
                <a:custGeom>
                  <a:avLst/>
                  <a:gdLst>
                    <a:gd name="T0" fmla="*/ 7 w 7"/>
                    <a:gd name="T1" fmla="*/ 5 h 7"/>
                    <a:gd name="T2" fmla="*/ 0 w 7"/>
                    <a:gd name="T3" fmla="*/ 0 h 7"/>
                    <a:gd name="T4" fmla="*/ 0 w 7"/>
                    <a:gd name="T5" fmla="*/ 3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3"/>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3908" name="Freeform 1552"/>
                <p:cNvSpPr>
                  <a:spLocks/>
                </p:cNvSpPr>
                <p:nvPr/>
              </p:nvSpPr>
              <p:spPr bwMode="auto">
                <a:xfrm>
                  <a:off x="10365" y="2133"/>
                  <a:ext cx="0" cy="9"/>
                </a:xfrm>
                <a:custGeom>
                  <a:avLst/>
                  <a:gdLst>
                    <a:gd name="T0" fmla="*/ 8 w 8"/>
                    <a:gd name="T1" fmla="*/ 7 h 7"/>
                    <a:gd name="T2" fmla="*/ 0 w 8"/>
                    <a:gd name="T3" fmla="*/ 0 h 7"/>
                    <a:gd name="T4" fmla="*/ 0 w 8"/>
                    <a:gd name="T5" fmla="*/ 2 h 7"/>
                    <a:gd name="T6" fmla="*/ 8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0" y="0"/>
                      </a:lnTo>
                      <a:lnTo>
                        <a:pt x="0" y="2"/>
                      </a:lnTo>
                      <a:lnTo>
                        <a:pt x="8" y="7"/>
                      </a:lnTo>
                      <a:lnTo>
                        <a:pt x="8" y="7"/>
                      </a:lnTo>
                      <a:close/>
                    </a:path>
                  </a:pathLst>
                </a:custGeom>
                <a:solidFill>
                  <a:srgbClr val="01AAE5"/>
                </a:solidFill>
                <a:ln>
                  <a:noFill/>
                </a:ln>
                <a:extLst/>
              </p:spPr>
              <p:txBody>
                <a:bodyPr/>
                <a:lstStyle/>
                <a:p>
                  <a:pPr eaLnBrk="1" hangingPunct="1">
                    <a:defRPr/>
                  </a:pPr>
                  <a:endParaRPr lang="zh-CN" altLang="en-US" sz="1050"/>
                </a:p>
              </p:txBody>
            </p:sp>
            <p:sp>
              <p:nvSpPr>
                <p:cNvPr id="3909" name="Freeform 1553"/>
                <p:cNvSpPr>
                  <a:spLocks/>
                </p:cNvSpPr>
                <p:nvPr/>
              </p:nvSpPr>
              <p:spPr bwMode="auto">
                <a:xfrm>
                  <a:off x="10348" y="2142"/>
                  <a:ext cx="8" cy="9"/>
                </a:xfrm>
                <a:custGeom>
                  <a:avLst/>
                  <a:gdLst>
                    <a:gd name="T0" fmla="*/ 10 w 10"/>
                    <a:gd name="T1" fmla="*/ 5 h 8"/>
                    <a:gd name="T2" fmla="*/ 3 w 10"/>
                    <a:gd name="T3" fmla="*/ 0 h 8"/>
                    <a:gd name="T4" fmla="*/ 0 w 10"/>
                    <a:gd name="T5" fmla="*/ 0 h 8"/>
                    <a:gd name="T6" fmla="*/ 7 w 10"/>
                    <a:gd name="T7" fmla="*/ 8 h 8"/>
                    <a:gd name="T8" fmla="*/ 10 w 10"/>
                    <a:gd name="T9" fmla="*/ 5 h 8"/>
                  </a:gdLst>
                  <a:ahLst/>
                  <a:cxnLst>
                    <a:cxn ang="0">
                      <a:pos x="T0" y="T1"/>
                    </a:cxn>
                    <a:cxn ang="0">
                      <a:pos x="T2" y="T3"/>
                    </a:cxn>
                    <a:cxn ang="0">
                      <a:pos x="T4" y="T5"/>
                    </a:cxn>
                    <a:cxn ang="0">
                      <a:pos x="T6" y="T7"/>
                    </a:cxn>
                    <a:cxn ang="0">
                      <a:pos x="T8" y="T9"/>
                    </a:cxn>
                  </a:cxnLst>
                  <a:rect l="0" t="0" r="r" b="b"/>
                  <a:pathLst>
                    <a:path w="10" h="8">
                      <a:moveTo>
                        <a:pt x="10" y="5"/>
                      </a:moveTo>
                      <a:lnTo>
                        <a:pt x="3" y="0"/>
                      </a:lnTo>
                      <a:lnTo>
                        <a:pt x="0" y="0"/>
                      </a:lnTo>
                      <a:lnTo>
                        <a:pt x="7" y="8"/>
                      </a:lnTo>
                      <a:lnTo>
                        <a:pt x="10" y="5"/>
                      </a:lnTo>
                      <a:close/>
                    </a:path>
                  </a:pathLst>
                </a:custGeom>
                <a:solidFill>
                  <a:srgbClr val="01AAE5"/>
                </a:solidFill>
                <a:ln>
                  <a:noFill/>
                </a:ln>
                <a:extLst/>
              </p:spPr>
              <p:txBody>
                <a:bodyPr/>
                <a:lstStyle/>
                <a:p>
                  <a:pPr eaLnBrk="1" hangingPunct="1">
                    <a:defRPr/>
                  </a:pPr>
                  <a:endParaRPr lang="zh-CN" altLang="en-US" sz="1050"/>
                </a:p>
              </p:txBody>
            </p:sp>
            <p:sp>
              <p:nvSpPr>
                <p:cNvPr id="3910" name="Freeform 1554"/>
                <p:cNvSpPr>
                  <a:spLocks/>
                </p:cNvSpPr>
                <p:nvPr/>
              </p:nvSpPr>
              <p:spPr bwMode="auto">
                <a:xfrm>
                  <a:off x="10365" y="2142"/>
                  <a:ext cx="0"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3911" name="Freeform 1555"/>
                <p:cNvSpPr>
                  <a:spLocks/>
                </p:cNvSpPr>
                <p:nvPr/>
              </p:nvSpPr>
              <p:spPr bwMode="auto">
                <a:xfrm>
                  <a:off x="10348" y="2151"/>
                  <a:ext cx="0" cy="0"/>
                </a:xfrm>
                <a:custGeom>
                  <a:avLst/>
                  <a:gdLst>
                    <a:gd name="T0" fmla="*/ 9 w 9"/>
                    <a:gd name="T1" fmla="*/ 5 h 5"/>
                    <a:gd name="T2" fmla="*/ 0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3912" name="Freeform 1556"/>
                <p:cNvSpPr>
                  <a:spLocks/>
                </p:cNvSpPr>
                <p:nvPr/>
              </p:nvSpPr>
              <p:spPr bwMode="auto">
                <a:xfrm>
                  <a:off x="10365" y="2133"/>
                  <a:ext cx="0" cy="0"/>
                </a:xfrm>
                <a:custGeom>
                  <a:avLst/>
                  <a:gdLst>
                    <a:gd name="T0" fmla="*/ 7 w 7"/>
                    <a:gd name="T1" fmla="*/ 4 h 4"/>
                    <a:gd name="T2" fmla="*/ 0 w 7"/>
                    <a:gd name="T3" fmla="*/ 0 h 4"/>
                    <a:gd name="T4" fmla="*/ 0 w 7"/>
                    <a:gd name="T5" fmla="*/ 0 h 4"/>
                    <a:gd name="T6" fmla="*/ 7 w 7"/>
                    <a:gd name="T7" fmla="*/ 4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0" y="0"/>
                      </a:lnTo>
                      <a:lnTo>
                        <a:pt x="0" y="0"/>
                      </a:lnTo>
                      <a:lnTo>
                        <a:pt x="7" y="4"/>
                      </a:lnTo>
                      <a:lnTo>
                        <a:pt x="7" y="4"/>
                      </a:lnTo>
                      <a:close/>
                    </a:path>
                  </a:pathLst>
                </a:custGeom>
                <a:solidFill>
                  <a:srgbClr val="01AAE5"/>
                </a:solidFill>
                <a:ln>
                  <a:noFill/>
                </a:ln>
                <a:extLst/>
              </p:spPr>
              <p:txBody>
                <a:bodyPr/>
                <a:lstStyle/>
                <a:p>
                  <a:pPr eaLnBrk="1" hangingPunct="1">
                    <a:defRPr/>
                  </a:pPr>
                  <a:endParaRPr lang="zh-CN" altLang="en-US" sz="1050"/>
                </a:p>
              </p:txBody>
            </p:sp>
            <p:sp>
              <p:nvSpPr>
                <p:cNvPr id="3913" name="Freeform 1557"/>
                <p:cNvSpPr>
                  <a:spLocks/>
                </p:cNvSpPr>
                <p:nvPr/>
              </p:nvSpPr>
              <p:spPr bwMode="auto">
                <a:xfrm>
                  <a:off x="10365" y="2125"/>
                  <a:ext cx="8" cy="0"/>
                </a:xfrm>
                <a:custGeom>
                  <a:avLst/>
                  <a:gdLst>
                    <a:gd name="T0" fmla="*/ 7 w 7"/>
                    <a:gd name="T1" fmla="*/ 8 h 8"/>
                    <a:gd name="T2" fmla="*/ 0 w 7"/>
                    <a:gd name="T3" fmla="*/ 0 h 8"/>
                    <a:gd name="T4" fmla="*/ 0 w 7"/>
                    <a:gd name="T5" fmla="*/ 3 h 8"/>
                    <a:gd name="T6" fmla="*/ 7 w 7"/>
                    <a:gd name="T7" fmla="*/ 8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lnTo>
                        <a:pt x="0" y="0"/>
                      </a:lnTo>
                      <a:lnTo>
                        <a:pt x="0" y="3"/>
                      </a:lnTo>
                      <a:lnTo>
                        <a:pt x="7" y="8"/>
                      </a:lnTo>
                      <a:lnTo>
                        <a:pt x="7" y="8"/>
                      </a:lnTo>
                      <a:close/>
                    </a:path>
                  </a:pathLst>
                </a:custGeom>
                <a:solidFill>
                  <a:srgbClr val="01AAE5"/>
                </a:solidFill>
                <a:ln>
                  <a:noFill/>
                </a:ln>
                <a:extLst/>
              </p:spPr>
              <p:txBody>
                <a:bodyPr/>
                <a:lstStyle/>
                <a:p>
                  <a:pPr eaLnBrk="1" hangingPunct="1">
                    <a:defRPr/>
                  </a:pPr>
                  <a:endParaRPr lang="zh-CN" altLang="en-US" sz="1050"/>
                </a:p>
              </p:txBody>
            </p:sp>
            <p:sp>
              <p:nvSpPr>
                <p:cNvPr id="3914" name="Freeform 1558"/>
                <p:cNvSpPr>
                  <a:spLocks/>
                </p:cNvSpPr>
                <p:nvPr/>
              </p:nvSpPr>
              <p:spPr bwMode="auto">
                <a:xfrm>
                  <a:off x="10390" y="2072"/>
                  <a:ext cx="25" cy="17"/>
                </a:xfrm>
                <a:custGeom>
                  <a:avLst/>
                  <a:gdLst>
                    <a:gd name="T0" fmla="*/ 21 w 21"/>
                    <a:gd name="T1" fmla="*/ 19 h 19"/>
                    <a:gd name="T2" fmla="*/ 0 w 21"/>
                    <a:gd name="T3" fmla="*/ 0 h 19"/>
                    <a:gd name="T4" fmla="*/ 0 w 21"/>
                    <a:gd name="T5" fmla="*/ 2 h 19"/>
                    <a:gd name="T6" fmla="*/ 21 w 21"/>
                    <a:gd name="T7" fmla="*/ 19 h 19"/>
                    <a:gd name="T8" fmla="*/ 21 w 21"/>
                    <a:gd name="T9" fmla="*/ 19 h 19"/>
                  </a:gdLst>
                  <a:ahLst/>
                  <a:cxnLst>
                    <a:cxn ang="0">
                      <a:pos x="T0" y="T1"/>
                    </a:cxn>
                    <a:cxn ang="0">
                      <a:pos x="T2" y="T3"/>
                    </a:cxn>
                    <a:cxn ang="0">
                      <a:pos x="T4" y="T5"/>
                    </a:cxn>
                    <a:cxn ang="0">
                      <a:pos x="T6" y="T7"/>
                    </a:cxn>
                    <a:cxn ang="0">
                      <a:pos x="T8" y="T9"/>
                    </a:cxn>
                  </a:cxnLst>
                  <a:rect l="0" t="0" r="r" b="b"/>
                  <a:pathLst>
                    <a:path w="21" h="19">
                      <a:moveTo>
                        <a:pt x="21" y="19"/>
                      </a:moveTo>
                      <a:lnTo>
                        <a:pt x="0" y="0"/>
                      </a:lnTo>
                      <a:lnTo>
                        <a:pt x="0" y="2"/>
                      </a:lnTo>
                      <a:lnTo>
                        <a:pt x="21" y="19"/>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3915" name="Freeform 1559"/>
                <p:cNvSpPr>
                  <a:spLocks/>
                </p:cNvSpPr>
                <p:nvPr/>
              </p:nvSpPr>
              <p:spPr bwMode="auto">
                <a:xfrm>
                  <a:off x="10365" y="2125"/>
                  <a:ext cx="25" cy="9"/>
                </a:xfrm>
                <a:custGeom>
                  <a:avLst/>
                  <a:gdLst>
                    <a:gd name="T0" fmla="*/ 10 w 10"/>
                    <a:gd name="T1" fmla="*/ 5 h 7"/>
                    <a:gd name="T2" fmla="*/ 3 w 10"/>
                    <a:gd name="T3" fmla="*/ 0 h 7"/>
                    <a:gd name="T4" fmla="*/ 0 w 10"/>
                    <a:gd name="T5" fmla="*/ 0 h 7"/>
                    <a:gd name="T6" fmla="*/ 7 w 10"/>
                    <a:gd name="T7" fmla="*/ 7 h 7"/>
                    <a:gd name="T8" fmla="*/ 10 w 10"/>
                    <a:gd name="T9" fmla="*/ 5 h 7"/>
                  </a:gdLst>
                  <a:ahLst/>
                  <a:cxnLst>
                    <a:cxn ang="0">
                      <a:pos x="T0" y="T1"/>
                    </a:cxn>
                    <a:cxn ang="0">
                      <a:pos x="T2" y="T3"/>
                    </a:cxn>
                    <a:cxn ang="0">
                      <a:pos x="T4" y="T5"/>
                    </a:cxn>
                    <a:cxn ang="0">
                      <a:pos x="T6" y="T7"/>
                    </a:cxn>
                    <a:cxn ang="0">
                      <a:pos x="T8" y="T9"/>
                    </a:cxn>
                  </a:cxnLst>
                  <a:rect l="0" t="0" r="r" b="b"/>
                  <a:pathLst>
                    <a:path w="10" h="7">
                      <a:moveTo>
                        <a:pt x="10" y="5"/>
                      </a:moveTo>
                      <a:lnTo>
                        <a:pt x="3" y="0"/>
                      </a:lnTo>
                      <a:lnTo>
                        <a:pt x="0" y="0"/>
                      </a:lnTo>
                      <a:lnTo>
                        <a:pt x="7" y="7"/>
                      </a:lnTo>
                      <a:lnTo>
                        <a:pt x="10" y="5"/>
                      </a:lnTo>
                      <a:close/>
                    </a:path>
                  </a:pathLst>
                </a:custGeom>
                <a:solidFill>
                  <a:srgbClr val="01AAE5"/>
                </a:solidFill>
                <a:ln>
                  <a:noFill/>
                </a:ln>
                <a:extLst/>
              </p:spPr>
              <p:txBody>
                <a:bodyPr/>
                <a:lstStyle/>
                <a:p>
                  <a:pPr eaLnBrk="1" hangingPunct="1">
                    <a:defRPr/>
                  </a:pPr>
                  <a:endParaRPr lang="zh-CN" altLang="en-US" sz="1050"/>
                </a:p>
              </p:txBody>
            </p:sp>
            <p:sp>
              <p:nvSpPr>
                <p:cNvPr id="3916" name="Freeform 1560"/>
                <p:cNvSpPr>
                  <a:spLocks/>
                </p:cNvSpPr>
                <p:nvPr/>
              </p:nvSpPr>
              <p:spPr bwMode="auto">
                <a:xfrm>
                  <a:off x="10415" y="2055"/>
                  <a:ext cx="25" cy="17"/>
                </a:xfrm>
                <a:custGeom>
                  <a:avLst/>
                  <a:gdLst>
                    <a:gd name="T0" fmla="*/ 19 w 19"/>
                    <a:gd name="T1" fmla="*/ 16 h 19"/>
                    <a:gd name="T2" fmla="*/ 0 w 19"/>
                    <a:gd name="T3" fmla="*/ 0 h 19"/>
                    <a:gd name="T4" fmla="*/ 0 w 19"/>
                    <a:gd name="T5" fmla="*/ 0 h 19"/>
                    <a:gd name="T6" fmla="*/ 19 w 19"/>
                    <a:gd name="T7" fmla="*/ 19 h 19"/>
                    <a:gd name="T8" fmla="*/ 19 w 19"/>
                    <a:gd name="T9" fmla="*/ 16 h 19"/>
                  </a:gdLst>
                  <a:ahLst/>
                  <a:cxnLst>
                    <a:cxn ang="0">
                      <a:pos x="T0" y="T1"/>
                    </a:cxn>
                    <a:cxn ang="0">
                      <a:pos x="T2" y="T3"/>
                    </a:cxn>
                    <a:cxn ang="0">
                      <a:pos x="T4" y="T5"/>
                    </a:cxn>
                    <a:cxn ang="0">
                      <a:pos x="T6" y="T7"/>
                    </a:cxn>
                    <a:cxn ang="0">
                      <a:pos x="T8" y="T9"/>
                    </a:cxn>
                  </a:cxnLst>
                  <a:rect l="0" t="0" r="r" b="b"/>
                  <a:pathLst>
                    <a:path w="19" h="19">
                      <a:moveTo>
                        <a:pt x="19" y="16"/>
                      </a:moveTo>
                      <a:lnTo>
                        <a:pt x="0" y="0"/>
                      </a:lnTo>
                      <a:lnTo>
                        <a:pt x="0" y="0"/>
                      </a:lnTo>
                      <a:lnTo>
                        <a:pt x="19" y="19"/>
                      </a:lnTo>
                      <a:lnTo>
                        <a:pt x="19" y="16"/>
                      </a:lnTo>
                      <a:close/>
                    </a:path>
                  </a:pathLst>
                </a:custGeom>
                <a:solidFill>
                  <a:srgbClr val="01AAE5"/>
                </a:solidFill>
                <a:ln>
                  <a:noFill/>
                </a:ln>
                <a:extLst/>
              </p:spPr>
              <p:txBody>
                <a:bodyPr/>
                <a:lstStyle/>
                <a:p>
                  <a:pPr eaLnBrk="1" hangingPunct="1">
                    <a:defRPr/>
                  </a:pPr>
                  <a:endParaRPr lang="zh-CN" altLang="en-US" sz="1050"/>
                </a:p>
              </p:txBody>
            </p:sp>
            <p:sp>
              <p:nvSpPr>
                <p:cNvPr id="3917" name="Freeform 1561"/>
                <p:cNvSpPr>
                  <a:spLocks/>
                </p:cNvSpPr>
                <p:nvPr/>
              </p:nvSpPr>
              <p:spPr bwMode="auto">
                <a:xfrm>
                  <a:off x="10440" y="2038"/>
                  <a:ext cx="0"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918" name="Freeform 1562"/>
                <p:cNvSpPr>
                  <a:spLocks/>
                </p:cNvSpPr>
                <p:nvPr/>
              </p:nvSpPr>
              <p:spPr bwMode="auto">
                <a:xfrm>
                  <a:off x="10440" y="2029"/>
                  <a:ext cx="8" cy="9"/>
                </a:xfrm>
                <a:custGeom>
                  <a:avLst/>
                  <a:gdLst>
                    <a:gd name="T0" fmla="*/ 9 w 9"/>
                    <a:gd name="T1" fmla="*/ 8 h 10"/>
                    <a:gd name="T2" fmla="*/ 2 w 9"/>
                    <a:gd name="T3" fmla="*/ 0 h 10"/>
                    <a:gd name="T4" fmla="*/ 0 w 9"/>
                    <a:gd name="T5" fmla="*/ 3 h 10"/>
                    <a:gd name="T6" fmla="*/ 7 w 9"/>
                    <a:gd name="T7" fmla="*/ 10 h 10"/>
                    <a:gd name="T8" fmla="*/ 9 w 9"/>
                    <a:gd name="T9" fmla="*/ 8 h 10"/>
                  </a:gdLst>
                  <a:ahLst/>
                  <a:cxnLst>
                    <a:cxn ang="0">
                      <a:pos x="T0" y="T1"/>
                    </a:cxn>
                    <a:cxn ang="0">
                      <a:pos x="T2" y="T3"/>
                    </a:cxn>
                    <a:cxn ang="0">
                      <a:pos x="T4" y="T5"/>
                    </a:cxn>
                    <a:cxn ang="0">
                      <a:pos x="T6" y="T7"/>
                    </a:cxn>
                    <a:cxn ang="0">
                      <a:pos x="T8" y="T9"/>
                    </a:cxn>
                  </a:cxnLst>
                  <a:rect l="0" t="0" r="r" b="b"/>
                  <a:pathLst>
                    <a:path w="9" h="10">
                      <a:moveTo>
                        <a:pt x="9" y="8"/>
                      </a:moveTo>
                      <a:lnTo>
                        <a:pt x="2" y="0"/>
                      </a:lnTo>
                      <a:lnTo>
                        <a:pt x="0" y="3"/>
                      </a:lnTo>
                      <a:lnTo>
                        <a:pt x="7" y="10"/>
                      </a:lnTo>
                      <a:lnTo>
                        <a:pt x="9" y="8"/>
                      </a:lnTo>
                      <a:close/>
                    </a:path>
                  </a:pathLst>
                </a:custGeom>
                <a:solidFill>
                  <a:srgbClr val="01AAE5"/>
                </a:solidFill>
                <a:ln>
                  <a:noFill/>
                </a:ln>
                <a:extLst/>
              </p:spPr>
              <p:txBody>
                <a:bodyPr/>
                <a:lstStyle/>
                <a:p>
                  <a:pPr eaLnBrk="1" hangingPunct="1">
                    <a:defRPr/>
                  </a:pPr>
                  <a:endParaRPr lang="zh-CN" altLang="en-US" sz="1050"/>
                </a:p>
              </p:txBody>
            </p:sp>
            <p:sp>
              <p:nvSpPr>
                <p:cNvPr id="3919" name="Freeform 1563"/>
                <p:cNvSpPr>
                  <a:spLocks/>
                </p:cNvSpPr>
                <p:nvPr/>
              </p:nvSpPr>
              <p:spPr bwMode="auto">
                <a:xfrm>
                  <a:off x="10390" y="2072"/>
                  <a:ext cx="25" cy="17"/>
                </a:xfrm>
                <a:custGeom>
                  <a:avLst/>
                  <a:gdLst>
                    <a:gd name="T0" fmla="*/ 24 w 24"/>
                    <a:gd name="T1" fmla="*/ 21 h 21"/>
                    <a:gd name="T2" fmla="*/ 0 w 24"/>
                    <a:gd name="T3" fmla="*/ 0 h 21"/>
                    <a:gd name="T4" fmla="*/ 0 w 24"/>
                    <a:gd name="T5" fmla="*/ 3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3"/>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3920" name="Freeform 1564"/>
                <p:cNvSpPr>
                  <a:spLocks/>
                </p:cNvSpPr>
                <p:nvPr/>
              </p:nvSpPr>
              <p:spPr bwMode="auto">
                <a:xfrm>
                  <a:off x="10440" y="2038"/>
                  <a:ext cx="0" cy="17"/>
                </a:xfrm>
                <a:custGeom>
                  <a:avLst/>
                  <a:gdLst>
                    <a:gd name="T0" fmla="*/ 12 w 12"/>
                    <a:gd name="T1" fmla="*/ 12 h 12"/>
                    <a:gd name="T2" fmla="*/ 0 w 12"/>
                    <a:gd name="T3" fmla="*/ 0 h 12"/>
                    <a:gd name="T4" fmla="*/ 0 w 12"/>
                    <a:gd name="T5" fmla="*/ 0 h 12"/>
                    <a:gd name="T6" fmla="*/ 12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0" y="0"/>
                      </a:lnTo>
                      <a:lnTo>
                        <a:pt x="0" y="0"/>
                      </a:lnTo>
                      <a:lnTo>
                        <a:pt x="12" y="12"/>
                      </a:lnTo>
                      <a:lnTo>
                        <a:pt x="12" y="12"/>
                      </a:lnTo>
                      <a:close/>
                    </a:path>
                  </a:pathLst>
                </a:custGeom>
                <a:solidFill>
                  <a:srgbClr val="01AAE5"/>
                </a:solidFill>
                <a:ln>
                  <a:noFill/>
                </a:ln>
                <a:extLst/>
              </p:spPr>
              <p:txBody>
                <a:bodyPr/>
                <a:lstStyle/>
                <a:p>
                  <a:pPr eaLnBrk="1" hangingPunct="1">
                    <a:defRPr/>
                  </a:pPr>
                  <a:endParaRPr lang="zh-CN" altLang="en-US" sz="1050"/>
                </a:p>
              </p:txBody>
            </p:sp>
            <p:sp>
              <p:nvSpPr>
                <p:cNvPr id="3921" name="Freeform 1565"/>
                <p:cNvSpPr>
                  <a:spLocks/>
                </p:cNvSpPr>
                <p:nvPr/>
              </p:nvSpPr>
              <p:spPr bwMode="auto">
                <a:xfrm>
                  <a:off x="10448" y="2029"/>
                  <a:ext cx="8" cy="9"/>
                </a:xfrm>
                <a:custGeom>
                  <a:avLst/>
                  <a:gdLst>
                    <a:gd name="T0" fmla="*/ 7 w 7"/>
                    <a:gd name="T1" fmla="*/ 7 h 7"/>
                    <a:gd name="T2" fmla="*/ 3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3"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922" name="Freeform 1566"/>
                <p:cNvSpPr>
                  <a:spLocks/>
                </p:cNvSpPr>
                <p:nvPr/>
              </p:nvSpPr>
              <p:spPr bwMode="auto">
                <a:xfrm>
                  <a:off x="10440" y="2029"/>
                  <a:ext cx="8" cy="9"/>
                </a:xfrm>
                <a:custGeom>
                  <a:avLst/>
                  <a:gdLst>
                    <a:gd name="T0" fmla="*/ 7 w 7"/>
                    <a:gd name="T1" fmla="*/ 7 h 7"/>
                    <a:gd name="T2" fmla="*/ 0 w 7"/>
                    <a:gd name="T3" fmla="*/ 0 h 7"/>
                    <a:gd name="T4" fmla="*/ 0 w 7"/>
                    <a:gd name="T5" fmla="*/ 0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0"/>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3923" name="Freeform 1567"/>
                <p:cNvSpPr>
                  <a:spLocks/>
                </p:cNvSpPr>
                <p:nvPr/>
              </p:nvSpPr>
              <p:spPr bwMode="auto">
                <a:xfrm>
                  <a:off x="10423" y="2046"/>
                  <a:ext cx="17" cy="17"/>
                </a:xfrm>
                <a:custGeom>
                  <a:avLst/>
                  <a:gdLst>
                    <a:gd name="T0" fmla="*/ 14 w 14"/>
                    <a:gd name="T1" fmla="*/ 14 h 14"/>
                    <a:gd name="T2" fmla="*/ 0 w 14"/>
                    <a:gd name="T3" fmla="*/ 0 h 14"/>
                    <a:gd name="T4" fmla="*/ 0 w 14"/>
                    <a:gd name="T5" fmla="*/ 0 h 14"/>
                    <a:gd name="T6" fmla="*/ 12 w 14"/>
                    <a:gd name="T7" fmla="*/ 14 h 14"/>
                    <a:gd name="T8" fmla="*/ 14 w 14"/>
                    <a:gd name="T9" fmla="*/ 14 h 14"/>
                  </a:gdLst>
                  <a:ahLst/>
                  <a:cxnLst>
                    <a:cxn ang="0">
                      <a:pos x="T0" y="T1"/>
                    </a:cxn>
                    <a:cxn ang="0">
                      <a:pos x="T2" y="T3"/>
                    </a:cxn>
                    <a:cxn ang="0">
                      <a:pos x="T4" y="T5"/>
                    </a:cxn>
                    <a:cxn ang="0">
                      <a:pos x="T6" y="T7"/>
                    </a:cxn>
                    <a:cxn ang="0">
                      <a:pos x="T8" y="T9"/>
                    </a:cxn>
                  </a:cxnLst>
                  <a:rect l="0" t="0" r="r" b="b"/>
                  <a:pathLst>
                    <a:path w="14" h="14">
                      <a:moveTo>
                        <a:pt x="14" y="14"/>
                      </a:moveTo>
                      <a:lnTo>
                        <a:pt x="0" y="0"/>
                      </a:lnTo>
                      <a:lnTo>
                        <a:pt x="0" y="0"/>
                      </a:lnTo>
                      <a:lnTo>
                        <a:pt x="12" y="14"/>
                      </a:lnTo>
                      <a:lnTo>
                        <a:pt x="14" y="14"/>
                      </a:lnTo>
                      <a:close/>
                    </a:path>
                  </a:pathLst>
                </a:custGeom>
                <a:solidFill>
                  <a:srgbClr val="01AAE5"/>
                </a:solidFill>
                <a:ln>
                  <a:noFill/>
                </a:ln>
                <a:extLst/>
              </p:spPr>
              <p:txBody>
                <a:bodyPr/>
                <a:lstStyle/>
                <a:p>
                  <a:pPr eaLnBrk="1" hangingPunct="1">
                    <a:defRPr/>
                  </a:pPr>
                  <a:endParaRPr lang="zh-CN" altLang="en-US" sz="1050"/>
                </a:p>
              </p:txBody>
            </p:sp>
            <p:sp>
              <p:nvSpPr>
                <p:cNvPr id="3924" name="Freeform 1568"/>
                <p:cNvSpPr>
                  <a:spLocks/>
                </p:cNvSpPr>
                <p:nvPr/>
              </p:nvSpPr>
              <p:spPr bwMode="auto">
                <a:xfrm>
                  <a:off x="10448" y="2029"/>
                  <a:ext cx="8"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3925" name="Freeform 1569"/>
                <p:cNvSpPr>
                  <a:spLocks/>
                </p:cNvSpPr>
                <p:nvPr/>
              </p:nvSpPr>
              <p:spPr bwMode="auto">
                <a:xfrm>
                  <a:off x="10440" y="2038"/>
                  <a:ext cx="0" cy="17"/>
                </a:xfrm>
                <a:custGeom>
                  <a:avLst/>
                  <a:gdLst>
                    <a:gd name="T0" fmla="*/ 10 w 10"/>
                    <a:gd name="T1" fmla="*/ 9 h 9"/>
                    <a:gd name="T2" fmla="*/ 0 w 10"/>
                    <a:gd name="T3" fmla="*/ 0 h 9"/>
                    <a:gd name="T4" fmla="*/ 0 w 10"/>
                    <a:gd name="T5" fmla="*/ 0 h 9"/>
                    <a:gd name="T6" fmla="*/ 10 w 10"/>
                    <a:gd name="T7" fmla="*/ 9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0"/>
                      </a:lnTo>
                      <a:lnTo>
                        <a:pt x="0" y="0"/>
                      </a:lnTo>
                      <a:lnTo>
                        <a:pt x="10" y="9"/>
                      </a:lnTo>
                      <a:lnTo>
                        <a:pt x="10" y="9"/>
                      </a:lnTo>
                      <a:close/>
                    </a:path>
                  </a:pathLst>
                </a:custGeom>
                <a:solidFill>
                  <a:srgbClr val="01AAE5"/>
                </a:solidFill>
                <a:ln>
                  <a:noFill/>
                </a:ln>
                <a:extLst/>
              </p:spPr>
              <p:txBody>
                <a:bodyPr/>
                <a:lstStyle/>
                <a:p>
                  <a:pPr eaLnBrk="1" hangingPunct="1">
                    <a:defRPr/>
                  </a:pPr>
                  <a:endParaRPr lang="zh-CN" altLang="en-US" sz="1050"/>
                </a:p>
              </p:txBody>
            </p:sp>
            <p:sp>
              <p:nvSpPr>
                <p:cNvPr id="3926" name="Freeform 1570"/>
                <p:cNvSpPr>
                  <a:spLocks/>
                </p:cNvSpPr>
                <p:nvPr/>
              </p:nvSpPr>
              <p:spPr bwMode="auto">
                <a:xfrm>
                  <a:off x="10398" y="2064"/>
                  <a:ext cx="25" cy="26"/>
                </a:xfrm>
                <a:custGeom>
                  <a:avLst/>
                  <a:gdLst>
                    <a:gd name="T0" fmla="*/ 24 w 24"/>
                    <a:gd name="T1" fmla="*/ 21 h 21"/>
                    <a:gd name="T2" fmla="*/ 0 w 24"/>
                    <a:gd name="T3" fmla="*/ 0 h 21"/>
                    <a:gd name="T4" fmla="*/ 0 w 24"/>
                    <a:gd name="T5" fmla="*/ 0 h 21"/>
                    <a:gd name="T6" fmla="*/ 21 w 24"/>
                    <a:gd name="T7" fmla="*/ 21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lnTo>
                        <a:pt x="0" y="0"/>
                      </a:lnTo>
                      <a:lnTo>
                        <a:pt x="0" y="0"/>
                      </a:lnTo>
                      <a:lnTo>
                        <a:pt x="21" y="21"/>
                      </a:lnTo>
                      <a:lnTo>
                        <a:pt x="24" y="21"/>
                      </a:lnTo>
                      <a:close/>
                    </a:path>
                  </a:pathLst>
                </a:custGeom>
                <a:solidFill>
                  <a:srgbClr val="01AAE5"/>
                </a:solidFill>
                <a:ln>
                  <a:noFill/>
                </a:ln>
                <a:extLst/>
              </p:spPr>
              <p:txBody>
                <a:bodyPr/>
                <a:lstStyle/>
                <a:p>
                  <a:pPr eaLnBrk="1" hangingPunct="1">
                    <a:defRPr/>
                  </a:pPr>
                  <a:endParaRPr lang="zh-CN" altLang="en-US" sz="1050"/>
                </a:p>
              </p:txBody>
            </p:sp>
            <p:sp>
              <p:nvSpPr>
                <p:cNvPr id="3927" name="Freeform 1571"/>
                <p:cNvSpPr>
                  <a:spLocks/>
                </p:cNvSpPr>
                <p:nvPr/>
              </p:nvSpPr>
              <p:spPr bwMode="auto">
                <a:xfrm>
                  <a:off x="10398" y="2064"/>
                  <a:ext cx="25" cy="17"/>
                </a:xfrm>
                <a:custGeom>
                  <a:avLst/>
                  <a:gdLst>
                    <a:gd name="T0" fmla="*/ 24 w 24"/>
                    <a:gd name="T1" fmla="*/ 22 h 22"/>
                    <a:gd name="T2" fmla="*/ 3 w 24"/>
                    <a:gd name="T3" fmla="*/ 0 h 22"/>
                    <a:gd name="T4" fmla="*/ 0 w 24"/>
                    <a:gd name="T5" fmla="*/ 3 h 22"/>
                    <a:gd name="T6" fmla="*/ 24 w 24"/>
                    <a:gd name="T7" fmla="*/ 22 h 22"/>
                    <a:gd name="T8" fmla="*/ 24 w 24"/>
                    <a:gd name="T9" fmla="*/ 22 h 22"/>
                  </a:gdLst>
                  <a:ahLst/>
                  <a:cxnLst>
                    <a:cxn ang="0">
                      <a:pos x="T0" y="T1"/>
                    </a:cxn>
                    <a:cxn ang="0">
                      <a:pos x="T2" y="T3"/>
                    </a:cxn>
                    <a:cxn ang="0">
                      <a:pos x="T4" y="T5"/>
                    </a:cxn>
                    <a:cxn ang="0">
                      <a:pos x="T6" y="T7"/>
                    </a:cxn>
                    <a:cxn ang="0">
                      <a:pos x="T8" y="T9"/>
                    </a:cxn>
                  </a:cxnLst>
                  <a:rect l="0" t="0" r="r" b="b"/>
                  <a:pathLst>
                    <a:path w="24" h="22">
                      <a:moveTo>
                        <a:pt x="24" y="22"/>
                      </a:moveTo>
                      <a:lnTo>
                        <a:pt x="3" y="0"/>
                      </a:lnTo>
                      <a:lnTo>
                        <a:pt x="0" y="3"/>
                      </a:lnTo>
                      <a:lnTo>
                        <a:pt x="24" y="22"/>
                      </a:lnTo>
                      <a:lnTo>
                        <a:pt x="24" y="22"/>
                      </a:lnTo>
                      <a:close/>
                    </a:path>
                  </a:pathLst>
                </a:custGeom>
                <a:solidFill>
                  <a:srgbClr val="01AAE5"/>
                </a:solidFill>
                <a:ln>
                  <a:noFill/>
                </a:ln>
                <a:extLst/>
              </p:spPr>
              <p:txBody>
                <a:bodyPr/>
                <a:lstStyle/>
                <a:p>
                  <a:pPr eaLnBrk="1" hangingPunct="1">
                    <a:defRPr/>
                  </a:pPr>
                  <a:endParaRPr lang="zh-CN" altLang="en-US" sz="1050"/>
                </a:p>
              </p:txBody>
            </p:sp>
            <p:sp>
              <p:nvSpPr>
                <p:cNvPr id="3928" name="Freeform 1572"/>
                <p:cNvSpPr>
                  <a:spLocks/>
                </p:cNvSpPr>
                <p:nvPr/>
              </p:nvSpPr>
              <p:spPr bwMode="auto">
                <a:xfrm>
                  <a:off x="10348" y="2151"/>
                  <a:ext cx="0" cy="9"/>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3929" name="Freeform 1573"/>
                <p:cNvSpPr>
                  <a:spLocks/>
                </p:cNvSpPr>
                <p:nvPr/>
              </p:nvSpPr>
              <p:spPr bwMode="auto">
                <a:xfrm>
                  <a:off x="10415" y="2046"/>
                  <a:ext cx="25" cy="17"/>
                </a:xfrm>
                <a:custGeom>
                  <a:avLst/>
                  <a:gdLst>
                    <a:gd name="T0" fmla="*/ 17 w 17"/>
                    <a:gd name="T1" fmla="*/ 16 h 16"/>
                    <a:gd name="T2" fmla="*/ 0 w 17"/>
                    <a:gd name="T3" fmla="*/ 0 h 16"/>
                    <a:gd name="T4" fmla="*/ 0 w 17"/>
                    <a:gd name="T5" fmla="*/ 0 h 16"/>
                    <a:gd name="T6" fmla="*/ 14 w 17"/>
                    <a:gd name="T7" fmla="*/ 16 h 16"/>
                    <a:gd name="T8" fmla="*/ 17 w 17"/>
                    <a:gd name="T9" fmla="*/ 16 h 16"/>
                  </a:gdLst>
                  <a:ahLst/>
                  <a:cxnLst>
                    <a:cxn ang="0">
                      <a:pos x="T0" y="T1"/>
                    </a:cxn>
                    <a:cxn ang="0">
                      <a:pos x="T2" y="T3"/>
                    </a:cxn>
                    <a:cxn ang="0">
                      <a:pos x="T4" y="T5"/>
                    </a:cxn>
                    <a:cxn ang="0">
                      <a:pos x="T6" y="T7"/>
                    </a:cxn>
                    <a:cxn ang="0">
                      <a:pos x="T8" y="T9"/>
                    </a:cxn>
                  </a:cxnLst>
                  <a:rect l="0" t="0" r="r" b="b"/>
                  <a:pathLst>
                    <a:path w="17" h="16">
                      <a:moveTo>
                        <a:pt x="17" y="16"/>
                      </a:moveTo>
                      <a:lnTo>
                        <a:pt x="0" y="0"/>
                      </a:lnTo>
                      <a:lnTo>
                        <a:pt x="0" y="0"/>
                      </a:lnTo>
                      <a:lnTo>
                        <a:pt x="14" y="16"/>
                      </a:lnTo>
                      <a:lnTo>
                        <a:pt x="17" y="16"/>
                      </a:lnTo>
                      <a:close/>
                    </a:path>
                  </a:pathLst>
                </a:custGeom>
                <a:solidFill>
                  <a:srgbClr val="01AAE5"/>
                </a:solidFill>
                <a:ln>
                  <a:noFill/>
                </a:ln>
                <a:extLst/>
              </p:spPr>
              <p:txBody>
                <a:bodyPr/>
                <a:lstStyle/>
                <a:p>
                  <a:pPr eaLnBrk="1" hangingPunct="1">
                    <a:defRPr/>
                  </a:pPr>
                  <a:endParaRPr lang="zh-CN" altLang="en-US" sz="1050"/>
                </a:p>
              </p:txBody>
            </p:sp>
            <p:sp>
              <p:nvSpPr>
                <p:cNvPr id="3930" name="Freeform 1574"/>
                <p:cNvSpPr>
                  <a:spLocks/>
                </p:cNvSpPr>
                <p:nvPr/>
              </p:nvSpPr>
              <p:spPr bwMode="auto">
                <a:xfrm>
                  <a:off x="10415" y="2055"/>
                  <a:ext cx="25" cy="9"/>
                </a:xfrm>
                <a:custGeom>
                  <a:avLst/>
                  <a:gdLst>
                    <a:gd name="T0" fmla="*/ 18 w 18"/>
                    <a:gd name="T1" fmla="*/ 17 h 19"/>
                    <a:gd name="T2" fmla="*/ 0 w 18"/>
                    <a:gd name="T3" fmla="*/ 0 h 19"/>
                    <a:gd name="T4" fmla="*/ 0 w 18"/>
                    <a:gd name="T5" fmla="*/ 2 h 19"/>
                    <a:gd name="T6" fmla="*/ 16 w 18"/>
                    <a:gd name="T7" fmla="*/ 19 h 19"/>
                    <a:gd name="T8" fmla="*/ 18 w 18"/>
                    <a:gd name="T9" fmla="*/ 17 h 19"/>
                  </a:gdLst>
                  <a:ahLst/>
                  <a:cxnLst>
                    <a:cxn ang="0">
                      <a:pos x="T0" y="T1"/>
                    </a:cxn>
                    <a:cxn ang="0">
                      <a:pos x="T2" y="T3"/>
                    </a:cxn>
                    <a:cxn ang="0">
                      <a:pos x="T4" y="T5"/>
                    </a:cxn>
                    <a:cxn ang="0">
                      <a:pos x="T6" y="T7"/>
                    </a:cxn>
                    <a:cxn ang="0">
                      <a:pos x="T8" y="T9"/>
                    </a:cxn>
                  </a:cxnLst>
                  <a:rect l="0" t="0" r="r" b="b"/>
                  <a:pathLst>
                    <a:path w="18" h="19">
                      <a:moveTo>
                        <a:pt x="18" y="17"/>
                      </a:moveTo>
                      <a:lnTo>
                        <a:pt x="0" y="0"/>
                      </a:lnTo>
                      <a:lnTo>
                        <a:pt x="0" y="2"/>
                      </a:lnTo>
                      <a:lnTo>
                        <a:pt x="16" y="19"/>
                      </a:lnTo>
                      <a:lnTo>
                        <a:pt x="18" y="17"/>
                      </a:lnTo>
                      <a:close/>
                    </a:path>
                  </a:pathLst>
                </a:custGeom>
                <a:solidFill>
                  <a:srgbClr val="01AAE5"/>
                </a:solidFill>
                <a:ln>
                  <a:noFill/>
                </a:ln>
                <a:extLst/>
              </p:spPr>
              <p:txBody>
                <a:bodyPr/>
                <a:lstStyle/>
                <a:p>
                  <a:pPr eaLnBrk="1" hangingPunct="1">
                    <a:defRPr/>
                  </a:pPr>
                  <a:endParaRPr lang="zh-CN" altLang="en-US" sz="1050"/>
                </a:p>
              </p:txBody>
            </p:sp>
            <p:sp>
              <p:nvSpPr>
                <p:cNvPr id="3931" name="Freeform 1575"/>
                <p:cNvSpPr>
                  <a:spLocks/>
                </p:cNvSpPr>
                <p:nvPr/>
              </p:nvSpPr>
              <p:spPr bwMode="auto">
                <a:xfrm>
                  <a:off x="10465" y="2020"/>
                  <a:ext cx="0" cy="9"/>
                </a:xfrm>
                <a:custGeom>
                  <a:avLst/>
                  <a:gdLst>
                    <a:gd name="T0" fmla="*/ 7 w 7"/>
                    <a:gd name="T1" fmla="*/ 4 h 7"/>
                    <a:gd name="T2" fmla="*/ 0 w 7"/>
                    <a:gd name="T3" fmla="*/ 0 h 7"/>
                    <a:gd name="T4" fmla="*/ 0 w 7"/>
                    <a:gd name="T5" fmla="*/ 0 h 7"/>
                    <a:gd name="T6" fmla="*/ 5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0"/>
                      </a:lnTo>
                      <a:lnTo>
                        <a:pt x="5"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3932" name="Freeform 1576"/>
                <p:cNvSpPr>
                  <a:spLocks/>
                </p:cNvSpPr>
                <p:nvPr/>
              </p:nvSpPr>
              <p:spPr bwMode="auto">
                <a:xfrm>
                  <a:off x="10415" y="2064"/>
                  <a:ext cx="25" cy="17"/>
                </a:xfrm>
                <a:custGeom>
                  <a:avLst/>
                  <a:gdLst>
                    <a:gd name="T0" fmla="*/ 21 w 21"/>
                    <a:gd name="T1" fmla="*/ 19 h 21"/>
                    <a:gd name="T2" fmla="*/ 0 w 21"/>
                    <a:gd name="T3" fmla="*/ 0 h 21"/>
                    <a:gd name="T4" fmla="*/ 0 w 21"/>
                    <a:gd name="T5" fmla="*/ 0 h 21"/>
                    <a:gd name="T6" fmla="*/ 21 w 21"/>
                    <a:gd name="T7" fmla="*/ 21 h 21"/>
                    <a:gd name="T8" fmla="*/ 21 w 21"/>
                    <a:gd name="T9" fmla="*/ 19 h 21"/>
                  </a:gdLst>
                  <a:ahLst/>
                  <a:cxnLst>
                    <a:cxn ang="0">
                      <a:pos x="T0" y="T1"/>
                    </a:cxn>
                    <a:cxn ang="0">
                      <a:pos x="T2" y="T3"/>
                    </a:cxn>
                    <a:cxn ang="0">
                      <a:pos x="T4" y="T5"/>
                    </a:cxn>
                    <a:cxn ang="0">
                      <a:pos x="T6" y="T7"/>
                    </a:cxn>
                    <a:cxn ang="0">
                      <a:pos x="T8" y="T9"/>
                    </a:cxn>
                  </a:cxnLst>
                  <a:rect l="0" t="0" r="r" b="b"/>
                  <a:pathLst>
                    <a:path w="21" h="21">
                      <a:moveTo>
                        <a:pt x="21" y="19"/>
                      </a:moveTo>
                      <a:lnTo>
                        <a:pt x="0" y="0"/>
                      </a:lnTo>
                      <a:lnTo>
                        <a:pt x="0" y="0"/>
                      </a:lnTo>
                      <a:lnTo>
                        <a:pt x="21" y="21"/>
                      </a:lnTo>
                      <a:lnTo>
                        <a:pt x="21" y="19"/>
                      </a:lnTo>
                      <a:close/>
                    </a:path>
                  </a:pathLst>
                </a:custGeom>
                <a:solidFill>
                  <a:srgbClr val="01AAE5"/>
                </a:solidFill>
                <a:ln>
                  <a:noFill/>
                </a:ln>
                <a:extLst/>
              </p:spPr>
              <p:txBody>
                <a:bodyPr/>
                <a:lstStyle/>
                <a:p>
                  <a:pPr eaLnBrk="1" hangingPunct="1">
                    <a:defRPr/>
                  </a:pPr>
                  <a:endParaRPr lang="zh-CN" altLang="en-US" sz="1050"/>
                </a:p>
              </p:txBody>
            </p:sp>
            <p:sp>
              <p:nvSpPr>
                <p:cNvPr id="3933" name="Freeform 1577"/>
                <p:cNvSpPr>
                  <a:spLocks/>
                </p:cNvSpPr>
                <p:nvPr/>
              </p:nvSpPr>
              <p:spPr bwMode="auto">
                <a:xfrm>
                  <a:off x="10390" y="2064"/>
                  <a:ext cx="25" cy="26"/>
                </a:xfrm>
                <a:custGeom>
                  <a:avLst/>
                  <a:gdLst>
                    <a:gd name="T0" fmla="*/ 24 w 24"/>
                    <a:gd name="T1" fmla="*/ 19 h 19"/>
                    <a:gd name="T2" fmla="*/ 3 w 24"/>
                    <a:gd name="T3" fmla="*/ 0 h 19"/>
                    <a:gd name="T4" fmla="*/ 0 w 24"/>
                    <a:gd name="T5" fmla="*/ 0 h 19"/>
                    <a:gd name="T6" fmla="*/ 24 w 24"/>
                    <a:gd name="T7" fmla="*/ 19 h 19"/>
                    <a:gd name="T8" fmla="*/ 24 w 24"/>
                    <a:gd name="T9" fmla="*/ 19 h 19"/>
                  </a:gdLst>
                  <a:ahLst/>
                  <a:cxnLst>
                    <a:cxn ang="0">
                      <a:pos x="T0" y="T1"/>
                    </a:cxn>
                    <a:cxn ang="0">
                      <a:pos x="T2" y="T3"/>
                    </a:cxn>
                    <a:cxn ang="0">
                      <a:pos x="T4" y="T5"/>
                    </a:cxn>
                    <a:cxn ang="0">
                      <a:pos x="T6" y="T7"/>
                    </a:cxn>
                    <a:cxn ang="0">
                      <a:pos x="T8" y="T9"/>
                    </a:cxn>
                  </a:cxnLst>
                  <a:rect l="0" t="0" r="r" b="b"/>
                  <a:pathLst>
                    <a:path w="24" h="19">
                      <a:moveTo>
                        <a:pt x="24" y="19"/>
                      </a:moveTo>
                      <a:lnTo>
                        <a:pt x="3" y="0"/>
                      </a:lnTo>
                      <a:lnTo>
                        <a:pt x="0" y="0"/>
                      </a:lnTo>
                      <a:lnTo>
                        <a:pt x="24" y="19"/>
                      </a:lnTo>
                      <a:lnTo>
                        <a:pt x="24" y="19"/>
                      </a:lnTo>
                      <a:close/>
                    </a:path>
                  </a:pathLst>
                </a:custGeom>
                <a:solidFill>
                  <a:srgbClr val="01AAE5"/>
                </a:solidFill>
                <a:ln>
                  <a:noFill/>
                </a:ln>
                <a:extLst/>
              </p:spPr>
              <p:txBody>
                <a:bodyPr/>
                <a:lstStyle/>
                <a:p>
                  <a:pPr eaLnBrk="1" hangingPunct="1">
                    <a:defRPr/>
                  </a:pPr>
                  <a:endParaRPr lang="zh-CN" altLang="en-US" sz="1050"/>
                </a:p>
              </p:txBody>
            </p:sp>
            <p:sp>
              <p:nvSpPr>
                <p:cNvPr id="3934" name="Freeform 1578"/>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close/>
                    </a:path>
                  </a:pathLst>
                </a:custGeom>
                <a:solidFill>
                  <a:srgbClr val="01AAE5"/>
                </a:solidFill>
                <a:ln>
                  <a:noFill/>
                </a:ln>
                <a:extLst/>
              </p:spPr>
              <p:txBody>
                <a:bodyPr/>
                <a:lstStyle/>
                <a:p>
                  <a:pPr eaLnBrk="1" hangingPunct="1">
                    <a:defRPr/>
                  </a:pPr>
                  <a:endParaRPr lang="zh-CN" altLang="en-US" sz="1050"/>
                </a:p>
              </p:txBody>
            </p:sp>
            <p:sp>
              <p:nvSpPr>
                <p:cNvPr id="3935" name="Freeform 1579"/>
                <p:cNvSpPr>
                  <a:spLocks/>
                </p:cNvSpPr>
                <p:nvPr/>
              </p:nvSpPr>
              <p:spPr bwMode="auto">
                <a:xfrm>
                  <a:off x="10839" y="1828"/>
                  <a:ext cx="0" cy="26"/>
                </a:xfrm>
                <a:custGeom>
                  <a:avLst/>
                  <a:gdLst>
                    <a:gd name="T0" fmla="*/ 5 w 5"/>
                    <a:gd name="T1" fmla="*/ 21 h 21"/>
                    <a:gd name="T2" fmla="*/ 2 w 5"/>
                    <a:gd name="T3" fmla="*/ 0 h 21"/>
                    <a:gd name="T4" fmla="*/ 0 w 5"/>
                    <a:gd name="T5" fmla="*/ 0 h 21"/>
                    <a:gd name="T6" fmla="*/ 2 w 5"/>
                    <a:gd name="T7" fmla="*/ 21 h 21"/>
                    <a:gd name="T8" fmla="*/ 5 w 5"/>
                    <a:gd name="T9" fmla="*/ 21 h 21"/>
                  </a:gdLst>
                  <a:ahLst/>
                  <a:cxnLst>
                    <a:cxn ang="0">
                      <a:pos x="T0" y="T1"/>
                    </a:cxn>
                    <a:cxn ang="0">
                      <a:pos x="T2" y="T3"/>
                    </a:cxn>
                    <a:cxn ang="0">
                      <a:pos x="T4" y="T5"/>
                    </a:cxn>
                    <a:cxn ang="0">
                      <a:pos x="T6" y="T7"/>
                    </a:cxn>
                    <a:cxn ang="0">
                      <a:pos x="T8" y="T9"/>
                    </a:cxn>
                  </a:cxnLst>
                  <a:rect l="0" t="0" r="r" b="b"/>
                  <a:pathLst>
                    <a:path w="5" h="21">
                      <a:moveTo>
                        <a:pt x="5" y="21"/>
                      </a:moveTo>
                      <a:lnTo>
                        <a:pt x="2" y="0"/>
                      </a:lnTo>
                      <a:lnTo>
                        <a:pt x="0" y="0"/>
                      </a:lnTo>
                      <a:lnTo>
                        <a:pt x="2" y="21"/>
                      </a:lnTo>
                      <a:lnTo>
                        <a:pt x="5" y="21"/>
                      </a:lnTo>
                    </a:path>
                  </a:pathLst>
                </a:custGeom>
                <a:noFill/>
                <a:ln>
                  <a:noFill/>
                </a:ln>
                <a:extLst/>
              </p:spPr>
              <p:txBody>
                <a:bodyPr/>
                <a:lstStyle/>
                <a:p>
                  <a:pPr eaLnBrk="1" hangingPunct="1">
                    <a:defRPr/>
                  </a:pPr>
                  <a:endParaRPr lang="zh-CN" altLang="en-US" sz="1050"/>
                </a:p>
              </p:txBody>
            </p:sp>
            <p:sp>
              <p:nvSpPr>
                <p:cNvPr id="3936" name="Freeform 1580"/>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close/>
                    </a:path>
                  </a:pathLst>
                </a:custGeom>
                <a:solidFill>
                  <a:srgbClr val="01AAE5"/>
                </a:solidFill>
                <a:ln>
                  <a:noFill/>
                </a:ln>
                <a:extLst/>
              </p:spPr>
              <p:txBody>
                <a:bodyPr/>
                <a:lstStyle/>
                <a:p>
                  <a:pPr eaLnBrk="1" hangingPunct="1">
                    <a:defRPr/>
                  </a:pPr>
                  <a:endParaRPr lang="zh-CN" altLang="en-US" sz="1050"/>
                </a:p>
              </p:txBody>
            </p:sp>
            <p:sp>
              <p:nvSpPr>
                <p:cNvPr id="3937" name="Freeform 1581"/>
                <p:cNvSpPr>
                  <a:spLocks/>
                </p:cNvSpPr>
                <p:nvPr/>
              </p:nvSpPr>
              <p:spPr bwMode="auto">
                <a:xfrm>
                  <a:off x="10831" y="1828"/>
                  <a:ext cx="8" cy="26"/>
                </a:xfrm>
                <a:custGeom>
                  <a:avLst/>
                  <a:gdLst>
                    <a:gd name="T0" fmla="*/ 5 w 5"/>
                    <a:gd name="T1" fmla="*/ 23 h 23"/>
                    <a:gd name="T2" fmla="*/ 0 w 5"/>
                    <a:gd name="T3" fmla="*/ 0 h 23"/>
                    <a:gd name="T4" fmla="*/ 0 w 5"/>
                    <a:gd name="T5" fmla="*/ 0 h 23"/>
                    <a:gd name="T6" fmla="*/ 2 w 5"/>
                    <a:gd name="T7" fmla="*/ 23 h 23"/>
                    <a:gd name="T8" fmla="*/ 5 w 5"/>
                    <a:gd name="T9" fmla="*/ 23 h 23"/>
                  </a:gdLst>
                  <a:ahLst/>
                  <a:cxnLst>
                    <a:cxn ang="0">
                      <a:pos x="T0" y="T1"/>
                    </a:cxn>
                    <a:cxn ang="0">
                      <a:pos x="T2" y="T3"/>
                    </a:cxn>
                    <a:cxn ang="0">
                      <a:pos x="T4" y="T5"/>
                    </a:cxn>
                    <a:cxn ang="0">
                      <a:pos x="T6" y="T7"/>
                    </a:cxn>
                    <a:cxn ang="0">
                      <a:pos x="T8" y="T9"/>
                    </a:cxn>
                  </a:cxnLst>
                  <a:rect l="0" t="0" r="r" b="b"/>
                  <a:pathLst>
                    <a:path w="5" h="23">
                      <a:moveTo>
                        <a:pt x="5" y="23"/>
                      </a:moveTo>
                      <a:lnTo>
                        <a:pt x="0" y="0"/>
                      </a:lnTo>
                      <a:lnTo>
                        <a:pt x="0" y="0"/>
                      </a:lnTo>
                      <a:lnTo>
                        <a:pt x="2" y="23"/>
                      </a:lnTo>
                      <a:lnTo>
                        <a:pt x="5" y="23"/>
                      </a:lnTo>
                    </a:path>
                  </a:pathLst>
                </a:custGeom>
                <a:noFill/>
                <a:ln>
                  <a:noFill/>
                </a:ln>
                <a:extLst/>
              </p:spPr>
              <p:txBody>
                <a:bodyPr/>
                <a:lstStyle/>
                <a:p>
                  <a:pPr eaLnBrk="1" hangingPunct="1">
                    <a:defRPr/>
                  </a:pPr>
                  <a:endParaRPr lang="zh-CN" altLang="en-US" sz="1050"/>
                </a:p>
              </p:txBody>
            </p:sp>
            <p:sp>
              <p:nvSpPr>
                <p:cNvPr id="3938" name="Freeform 1582"/>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close/>
                    </a:path>
                  </a:pathLst>
                </a:custGeom>
                <a:solidFill>
                  <a:srgbClr val="01AAE5"/>
                </a:solidFill>
                <a:ln>
                  <a:noFill/>
                </a:ln>
                <a:extLst/>
              </p:spPr>
              <p:txBody>
                <a:bodyPr/>
                <a:lstStyle/>
                <a:p>
                  <a:pPr eaLnBrk="1" hangingPunct="1">
                    <a:defRPr/>
                  </a:pPr>
                  <a:endParaRPr lang="zh-CN" altLang="en-US" sz="1050"/>
                </a:p>
              </p:txBody>
            </p:sp>
            <p:sp>
              <p:nvSpPr>
                <p:cNvPr id="3939" name="Freeform 1583"/>
                <p:cNvSpPr>
                  <a:spLocks/>
                </p:cNvSpPr>
                <p:nvPr/>
              </p:nvSpPr>
              <p:spPr bwMode="auto">
                <a:xfrm>
                  <a:off x="10839" y="1828"/>
                  <a:ext cx="8" cy="26"/>
                </a:xfrm>
                <a:custGeom>
                  <a:avLst/>
                  <a:gdLst>
                    <a:gd name="T0" fmla="*/ 4 w 4"/>
                    <a:gd name="T1" fmla="*/ 21 h 21"/>
                    <a:gd name="T2" fmla="*/ 2 w 4"/>
                    <a:gd name="T3" fmla="*/ 0 h 21"/>
                    <a:gd name="T4" fmla="*/ 0 w 4"/>
                    <a:gd name="T5" fmla="*/ 0 h 21"/>
                    <a:gd name="T6" fmla="*/ 2 w 4"/>
                    <a:gd name="T7" fmla="*/ 21 h 21"/>
                    <a:gd name="T8" fmla="*/ 4 w 4"/>
                    <a:gd name="T9" fmla="*/ 21 h 21"/>
                  </a:gdLst>
                  <a:ahLst/>
                  <a:cxnLst>
                    <a:cxn ang="0">
                      <a:pos x="T0" y="T1"/>
                    </a:cxn>
                    <a:cxn ang="0">
                      <a:pos x="T2" y="T3"/>
                    </a:cxn>
                    <a:cxn ang="0">
                      <a:pos x="T4" y="T5"/>
                    </a:cxn>
                    <a:cxn ang="0">
                      <a:pos x="T6" y="T7"/>
                    </a:cxn>
                    <a:cxn ang="0">
                      <a:pos x="T8" y="T9"/>
                    </a:cxn>
                  </a:cxnLst>
                  <a:rect l="0" t="0" r="r" b="b"/>
                  <a:pathLst>
                    <a:path w="4" h="21">
                      <a:moveTo>
                        <a:pt x="4" y="21"/>
                      </a:moveTo>
                      <a:lnTo>
                        <a:pt x="2" y="0"/>
                      </a:lnTo>
                      <a:lnTo>
                        <a:pt x="0" y="0"/>
                      </a:lnTo>
                      <a:lnTo>
                        <a:pt x="2" y="21"/>
                      </a:lnTo>
                      <a:lnTo>
                        <a:pt x="4" y="21"/>
                      </a:lnTo>
                    </a:path>
                  </a:pathLst>
                </a:custGeom>
                <a:noFill/>
                <a:ln>
                  <a:noFill/>
                </a:ln>
                <a:extLst/>
              </p:spPr>
              <p:txBody>
                <a:bodyPr/>
                <a:lstStyle/>
                <a:p>
                  <a:pPr eaLnBrk="1" hangingPunct="1">
                    <a:defRPr/>
                  </a:pPr>
                  <a:endParaRPr lang="zh-CN" altLang="en-US" sz="1050"/>
                </a:p>
              </p:txBody>
            </p:sp>
            <p:sp>
              <p:nvSpPr>
                <p:cNvPr id="3940" name="Freeform 1584"/>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close/>
                    </a:path>
                  </a:pathLst>
                </a:custGeom>
                <a:solidFill>
                  <a:srgbClr val="01AAE5"/>
                </a:solidFill>
                <a:ln>
                  <a:noFill/>
                </a:ln>
                <a:extLst/>
              </p:spPr>
              <p:txBody>
                <a:bodyPr/>
                <a:lstStyle/>
                <a:p>
                  <a:pPr eaLnBrk="1" hangingPunct="1">
                    <a:defRPr/>
                  </a:pPr>
                  <a:endParaRPr lang="zh-CN" altLang="en-US" sz="1050"/>
                </a:p>
              </p:txBody>
            </p:sp>
            <p:sp>
              <p:nvSpPr>
                <p:cNvPr id="3941" name="Freeform 1585"/>
                <p:cNvSpPr>
                  <a:spLocks/>
                </p:cNvSpPr>
                <p:nvPr/>
              </p:nvSpPr>
              <p:spPr bwMode="auto">
                <a:xfrm>
                  <a:off x="10831" y="1828"/>
                  <a:ext cx="0" cy="26"/>
                </a:xfrm>
                <a:custGeom>
                  <a:avLst/>
                  <a:gdLst>
                    <a:gd name="T0" fmla="*/ 5 w 5"/>
                    <a:gd name="T1" fmla="*/ 26 h 26"/>
                    <a:gd name="T2" fmla="*/ 0 w 5"/>
                    <a:gd name="T3" fmla="*/ 0 h 26"/>
                    <a:gd name="T4" fmla="*/ 0 w 5"/>
                    <a:gd name="T5" fmla="*/ 0 h 26"/>
                    <a:gd name="T6" fmla="*/ 3 w 5"/>
                    <a:gd name="T7" fmla="*/ 26 h 26"/>
                    <a:gd name="T8" fmla="*/ 5 w 5"/>
                    <a:gd name="T9" fmla="*/ 26 h 26"/>
                  </a:gdLst>
                  <a:ahLst/>
                  <a:cxnLst>
                    <a:cxn ang="0">
                      <a:pos x="T0" y="T1"/>
                    </a:cxn>
                    <a:cxn ang="0">
                      <a:pos x="T2" y="T3"/>
                    </a:cxn>
                    <a:cxn ang="0">
                      <a:pos x="T4" y="T5"/>
                    </a:cxn>
                    <a:cxn ang="0">
                      <a:pos x="T6" y="T7"/>
                    </a:cxn>
                    <a:cxn ang="0">
                      <a:pos x="T8" y="T9"/>
                    </a:cxn>
                  </a:cxnLst>
                  <a:rect l="0" t="0" r="r" b="b"/>
                  <a:pathLst>
                    <a:path w="5" h="26">
                      <a:moveTo>
                        <a:pt x="5" y="26"/>
                      </a:moveTo>
                      <a:lnTo>
                        <a:pt x="0" y="0"/>
                      </a:lnTo>
                      <a:lnTo>
                        <a:pt x="0" y="0"/>
                      </a:lnTo>
                      <a:lnTo>
                        <a:pt x="3" y="26"/>
                      </a:lnTo>
                      <a:lnTo>
                        <a:pt x="5" y="26"/>
                      </a:lnTo>
                    </a:path>
                  </a:pathLst>
                </a:custGeom>
                <a:noFill/>
                <a:ln>
                  <a:noFill/>
                </a:ln>
                <a:extLst/>
              </p:spPr>
              <p:txBody>
                <a:bodyPr/>
                <a:lstStyle/>
                <a:p>
                  <a:pPr eaLnBrk="1" hangingPunct="1">
                    <a:defRPr/>
                  </a:pPr>
                  <a:endParaRPr lang="zh-CN" altLang="en-US" sz="1050"/>
                </a:p>
              </p:txBody>
            </p:sp>
            <p:sp>
              <p:nvSpPr>
                <p:cNvPr id="3942" name="Freeform 1586"/>
                <p:cNvSpPr>
                  <a:spLocks/>
                </p:cNvSpPr>
                <p:nvPr/>
              </p:nvSpPr>
              <p:spPr bwMode="auto">
                <a:xfrm>
                  <a:off x="10848" y="1828"/>
                  <a:ext cx="8" cy="26"/>
                </a:xfrm>
                <a:custGeom>
                  <a:avLst/>
                  <a:gdLst>
                    <a:gd name="T0" fmla="*/ 5 w 5"/>
                    <a:gd name="T1" fmla="*/ 18 h 18"/>
                    <a:gd name="T2" fmla="*/ 3 w 5"/>
                    <a:gd name="T3" fmla="*/ 0 h 18"/>
                    <a:gd name="T4" fmla="*/ 0 w 5"/>
                    <a:gd name="T5" fmla="*/ 0 h 18"/>
                    <a:gd name="T6" fmla="*/ 3 w 5"/>
                    <a:gd name="T7" fmla="*/ 18 h 18"/>
                    <a:gd name="T8" fmla="*/ 5 w 5"/>
                    <a:gd name="T9" fmla="*/ 18 h 18"/>
                  </a:gdLst>
                  <a:ahLst/>
                  <a:cxnLst>
                    <a:cxn ang="0">
                      <a:pos x="T0" y="T1"/>
                    </a:cxn>
                    <a:cxn ang="0">
                      <a:pos x="T2" y="T3"/>
                    </a:cxn>
                    <a:cxn ang="0">
                      <a:pos x="T4" y="T5"/>
                    </a:cxn>
                    <a:cxn ang="0">
                      <a:pos x="T6" y="T7"/>
                    </a:cxn>
                    <a:cxn ang="0">
                      <a:pos x="T8" y="T9"/>
                    </a:cxn>
                  </a:cxnLst>
                  <a:rect l="0" t="0" r="r" b="b"/>
                  <a:pathLst>
                    <a:path w="5" h="18">
                      <a:moveTo>
                        <a:pt x="5" y="18"/>
                      </a:moveTo>
                      <a:lnTo>
                        <a:pt x="3" y="0"/>
                      </a:lnTo>
                      <a:lnTo>
                        <a:pt x="0" y="0"/>
                      </a:lnTo>
                      <a:lnTo>
                        <a:pt x="3" y="18"/>
                      </a:lnTo>
                      <a:lnTo>
                        <a:pt x="5" y="18"/>
                      </a:lnTo>
                      <a:close/>
                    </a:path>
                  </a:pathLst>
                </a:custGeom>
                <a:solidFill>
                  <a:srgbClr val="01AAE5"/>
                </a:solidFill>
                <a:ln>
                  <a:noFill/>
                </a:ln>
                <a:extLst/>
              </p:spPr>
              <p:txBody>
                <a:bodyPr/>
                <a:lstStyle/>
                <a:p>
                  <a:pPr eaLnBrk="1" hangingPunct="1">
                    <a:defRPr/>
                  </a:pPr>
                  <a:endParaRPr lang="zh-CN" altLang="en-US" sz="1050"/>
                </a:p>
              </p:txBody>
            </p:sp>
            <p:sp>
              <p:nvSpPr>
                <p:cNvPr id="3943" name="Freeform 1587"/>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3944" name="Freeform 1588"/>
                <p:cNvSpPr>
                  <a:spLocks/>
                </p:cNvSpPr>
                <p:nvPr/>
              </p:nvSpPr>
              <p:spPr bwMode="auto">
                <a:xfrm>
                  <a:off x="10823" y="1828"/>
                  <a:ext cx="0" cy="26"/>
                </a:xfrm>
                <a:custGeom>
                  <a:avLst/>
                  <a:gdLst>
                    <a:gd name="T0" fmla="*/ 7 w 7"/>
                    <a:gd name="T1" fmla="*/ 26 h 26"/>
                    <a:gd name="T2" fmla="*/ 3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3"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3945" name="Freeform 1589"/>
                <p:cNvSpPr>
                  <a:spLocks/>
                </p:cNvSpPr>
                <p:nvPr/>
              </p:nvSpPr>
              <p:spPr bwMode="auto">
                <a:xfrm>
                  <a:off x="10856" y="1828"/>
                  <a:ext cx="0" cy="26"/>
                </a:xfrm>
                <a:custGeom>
                  <a:avLst/>
                  <a:gdLst>
                    <a:gd name="T0" fmla="*/ 2 w 2"/>
                    <a:gd name="T1" fmla="*/ 16 h 16"/>
                    <a:gd name="T2" fmla="*/ 0 w 2"/>
                    <a:gd name="T3" fmla="*/ 0 h 16"/>
                    <a:gd name="T4" fmla="*/ 0 w 2"/>
                    <a:gd name="T5" fmla="*/ 0 h 16"/>
                    <a:gd name="T6" fmla="*/ 2 w 2"/>
                    <a:gd name="T7" fmla="*/ 16 h 16"/>
                    <a:gd name="T8" fmla="*/ 2 w 2"/>
                    <a:gd name="T9" fmla="*/ 16 h 16"/>
                  </a:gdLst>
                  <a:ahLst/>
                  <a:cxnLst>
                    <a:cxn ang="0">
                      <a:pos x="T0" y="T1"/>
                    </a:cxn>
                    <a:cxn ang="0">
                      <a:pos x="T2" y="T3"/>
                    </a:cxn>
                    <a:cxn ang="0">
                      <a:pos x="T4" y="T5"/>
                    </a:cxn>
                    <a:cxn ang="0">
                      <a:pos x="T6" y="T7"/>
                    </a:cxn>
                    <a:cxn ang="0">
                      <a:pos x="T8" y="T9"/>
                    </a:cxn>
                  </a:cxnLst>
                  <a:rect l="0" t="0" r="r" b="b"/>
                  <a:pathLst>
                    <a:path w="2" h="16">
                      <a:moveTo>
                        <a:pt x="2" y="16"/>
                      </a:moveTo>
                      <a:lnTo>
                        <a:pt x="0" y="0"/>
                      </a:lnTo>
                      <a:lnTo>
                        <a:pt x="0" y="0"/>
                      </a:lnTo>
                      <a:lnTo>
                        <a:pt x="2" y="16"/>
                      </a:lnTo>
                      <a:lnTo>
                        <a:pt x="2" y="16"/>
                      </a:lnTo>
                      <a:close/>
                    </a:path>
                  </a:pathLst>
                </a:custGeom>
                <a:solidFill>
                  <a:srgbClr val="01AAE5"/>
                </a:solidFill>
                <a:ln>
                  <a:noFill/>
                </a:ln>
                <a:extLst/>
              </p:spPr>
              <p:txBody>
                <a:bodyPr/>
                <a:lstStyle/>
                <a:p>
                  <a:pPr eaLnBrk="1" hangingPunct="1">
                    <a:defRPr/>
                  </a:pPr>
                  <a:endParaRPr lang="zh-CN" altLang="en-US" sz="1050"/>
                </a:p>
              </p:txBody>
            </p:sp>
            <p:sp>
              <p:nvSpPr>
                <p:cNvPr id="3946" name="Freeform 1590"/>
                <p:cNvSpPr>
                  <a:spLocks/>
                </p:cNvSpPr>
                <p:nvPr/>
              </p:nvSpPr>
              <p:spPr bwMode="auto">
                <a:xfrm>
                  <a:off x="10856" y="1828"/>
                  <a:ext cx="0" cy="26"/>
                </a:xfrm>
                <a:custGeom>
                  <a:avLst/>
                  <a:gdLst>
                    <a:gd name="T0" fmla="*/ 3 w 3"/>
                    <a:gd name="T1" fmla="*/ 16 h 16"/>
                    <a:gd name="T2" fmla="*/ 0 w 3"/>
                    <a:gd name="T3" fmla="*/ 0 h 16"/>
                    <a:gd name="T4" fmla="*/ 0 w 3"/>
                    <a:gd name="T5" fmla="*/ 0 h 16"/>
                    <a:gd name="T6" fmla="*/ 3 w 3"/>
                    <a:gd name="T7" fmla="*/ 16 h 16"/>
                    <a:gd name="T8" fmla="*/ 3 w 3"/>
                    <a:gd name="T9" fmla="*/ 16 h 16"/>
                  </a:gdLst>
                  <a:ahLst/>
                  <a:cxnLst>
                    <a:cxn ang="0">
                      <a:pos x="T0" y="T1"/>
                    </a:cxn>
                    <a:cxn ang="0">
                      <a:pos x="T2" y="T3"/>
                    </a:cxn>
                    <a:cxn ang="0">
                      <a:pos x="T4" y="T5"/>
                    </a:cxn>
                    <a:cxn ang="0">
                      <a:pos x="T6" y="T7"/>
                    </a:cxn>
                    <a:cxn ang="0">
                      <a:pos x="T8" y="T9"/>
                    </a:cxn>
                  </a:cxnLst>
                  <a:rect l="0" t="0" r="r" b="b"/>
                  <a:pathLst>
                    <a:path w="3" h="16">
                      <a:moveTo>
                        <a:pt x="3" y="16"/>
                      </a:moveTo>
                      <a:lnTo>
                        <a:pt x="0" y="0"/>
                      </a:lnTo>
                      <a:lnTo>
                        <a:pt x="0" y="0"/>
                      </a:lnTo>
                      <a:lnTo>
                        <a:pt x="3" y="16"/>
                      </a:lnTo>
                      <a:lnTo>
                        <a:pt x="3" y="16"/>
                      </a:lnTo>
                      <a:close/>
                    </a:path>
                  </a:pathLst>
                </a:custGeom>
                <a:solidFill>
                  <a:srgbClr val="01AAE5"/>
                </a:solidFill>
                <a:ln>
                  <a:noFill/>
                </a:ln>
                <a:extLst/>
              </p:spPr>
              <p:txBody>
                <a:bodyPr/>
                <a:lstStyle/>
                <a:p>
                  <a:pPr eaLnBrk="1" hangingPunct="1">
                    <a:defRPr/>
                  </a:pPr>
                  <a:endParaRPr lang="zh-CN" altLang="en-US" sz="1050"/>
                </a:p>
              </p:txBody>
            </p:sp>
            <p:sp>
              <p:nvSpPr>
                <p:cNvPr id="3947" name="Freeform 1591"/>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3948" name="Freeform 1592"/>
                <p:cNvSpPr>
                  <a:spLocks/>
                </p:cNvSpPr>
                <p:nvPr/>
              </p:nvSpPr>
              <p:spPr bwMode="auto">
                <a:xfrm>
                  <a:off x="10781"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3949" name="Freeform 1593"/>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3950" name="Freeform 1594"/>
                <p:cNvSpPr>
                  <a:spLocks/>
                </p:cNvSpPr>
                <p:nvPr/>
              </p:nvSpPr>
              <p:spPr bwMode="auto">
                <a:xfrm>
                  <a:off x="10789" y="1837"/>
                  <a:ext cx="8" cy="26"/>
                </a:xfrm>
                <a:custGeom>
                  <a:avLst/>
                  <a:gdLst>
                    <a:gd name="T0" fmla="*/ 7 w 7"/>
                    <a:gd name="T1" fmla="*/ 26 h 26"/>
                    <a:gd name="T2" fmla="*/ 2 w 7"/>
                    <a:gd name="T3" fmla="*/ 0 h 26"/>
                    <a:gd name="T4" fmla="*/ 0 w 7"/>
                    <a:gd name="T5" fmla="*/ 0 h 26"/>
                    <a:gd name="T6" fmla="*/ 7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2" y="0"/>
                      </a:lnTo>
                      <a:lnTo>
                        <a:pt x="0" y="0"/>
                      </a:lnTo>
                      <a:lnTo>
                        <a:pt x="7" y="26"/>
                      </a:lnTo>
                      <a:lnTo>
                        <a:pt x="7" y="26"/>
                      </a:lnTo>
                    </a:path>
                  </a:pathLst>
                </a:custGeom>
                <a:noFill/>
                <a:ln>
                  <a:noFill/>
                </a:ln>
                <a:extLst/>
              </p:spPr>
              <p:txBody>
                <a:bodyPr/>
                <a:lstStyle/>
                <a:p>
                  <a:pPr eaLnBrk="1" hangingPunct="1">
                    <a:defRPr/>
                  </a:pPr>
                  <a:endParaRPr lang="zh-CN" altLang="en-US" sz="1050"/>
                </a:p>
              </p:txBody>
            </p:sp>
            <p:sp>
              <p:nvSpPr>
                <p:cNvPr id="3951" name="Freeform 1595"/>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close/>
                    </a:path>
                  </a:pathLst>
                </a:custGeom>
                <a:solidFill>
                  <a:srgbClr val="01AAE5"/>
                </a:solidFill>
                <a:ln>
                  <a:noFill/>
                </a:ln>
                <a:extLst/>
              </p:spPr>
              <p:txBody>
                <a:bodyPr/>
                <a:lstStyle/>
                <a:p>
                  <a:pPr eaLnBrk="1" hangingPunct="1">
                    <a:defRPr/>
                  </a:pPr>
                  <a:endParaRPr lang="zh-CN" altLang="en-US" sz="1050"/>
                </a:p>
              </p:txBody>
            </p:sp>
            <p:sp>
              <p:nvSpPr>
                <p:cNvPr id="3952" name="Freeform 1596"/>
                <p:cNvSpPr>
                  <a:spLocks/>
                </p:cNvSpPr>
                <p:nvPr/>
              </p:nvSpPr>
              <p:spPr bwMode="auto">
                <a:xfrm>
                  <a:off x="10789" y="1837"/>
                  <a:ext cx="8" cy="26"/>
                </a:xfrm>
                <a:custGeom>
                  <a:avLst/>
                  <a:gdLst>
                    <a:gd name="T0" fmla="*/ 7 w 7"/>
                    <a:gd name="T1" fmla="*/ 29 h 29"/>
                    <a:gd name="T2" fmla="*/ 2 w 7"/>
                    <a:gd name="T3" fmla="*/ 0 h 29"/>
                    <a:gd name="T4" fmla="*/ 0 w 7"/>
                    <a:gd name="T5" fmla="*/ 0 h 29"/>
                    <a:gd name="T6" fmla="*/ 7 w 7"/>
                    <a:gd name="T7" fmla="*/ 29 h 29"/>
                    <a:gd name="T8" fmla="*/ 7 w 7"/>
                    <a:gd name="T9" fmla="*/ 29 h 29"/>
                  </a:gdLst>
                  <a:ahLst/>
                  <a:cxnLst>
                    <a:cxn ang="0">
                      <a:pos x="T0" y="T1"/>
                    </a:cxn>
                    <a:cxn ang="0">
                      <a:pos x="T2" y="T3"/>
                    </a:cxn>
                    <a:cxn ang="0">
                      <a:pos x="T4" y="T5"/>
                    </a:cxn>
                    <a:cxn ang="0">
                      <a:pos x="T6" y="T7"/>
                    </a:cxn>
                    <a:cxn ang="0">
                      <a:pos x="T8" y="T9"/>
                    </a:cxn>
                  </a:cxnLst>
                  <a:rect l="0" t="0" r="r" b="b"/>
                  <a:pathLst>
                    <a:path w="7" h="29">
                      <a:moveTo>
                        <a:pt x="7" y="29"/>
                      </a:moveTo>
                      <a:lnTo>
                        <a:pt x="2" y="0"/>
                      </a:lnTo>
                      <a:lnTo>
                        <a:pt x="0" y="0"/>
                      </a:lnTo>
                      <a:lnTo>
                        <a:pt x="7" y="29"/>
                      </a:lnTo>
                      <a:lnTo>
                        <a:pt x="7" y="29"/>
                      </a:lnTo>
                    </a:path>
                  </a:pathLst>
                </a:custGeom>
                <a:noFill/>
                <a:ln>
                  <a:noFill/>
                </a:ln>
                <a:extLst/>
              </p:spPr>
              <p:txBody>
                <a:bodyPr/>
                <a:lstStyle/>
                <a:p>
                  <a:pPr eaLnBrk="1" hangingPunct="1">
                    <a:defRPr/>
                  </a:pPr>
                  <a:endParaRPr lang="zh-CN" altLang="en-US" sz="1050"/>
                </a:p>
              </p:txBody>
            </p:sp>
            <p:sp>
              <p:nvSpPr>
                <p:cNvPr id="3953" name="Freeform 1597"/>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close/>
                    </a:path>
                  </a:pathLst>
                </a:custGeom>
                <a:solidFill>
                  <a:srgbClr val="01AAE5"/>
                </a:solidFill>
                <a:ln>
                  <a:noFill/>
                </a:ln>
                <a:extLst/>
              </p:spPr>
              <p:txBody>
                <a:bodyPr/>
                <a:lstStyle/>
                <a:p>
                  <a:pPr eaLnBrk="1" hangingPunct="1">
                    <a:defRPr/>
                  </a:pPr>
                  <a:endParaRPr lang="zh-CN" altLang="en-US" sz="1050"/>
                </a:p>
              </p:txBody>
            </p:sp>
            <p:sp>
              <p:nvSpPr>
                <p:cNvPr id="3954" name="Freeform 1598"/>
                <p:cNvSpPr>
                  <a:spLocks/>
                </p:cNvSpPr>
                <p:nvPr/>
              </p:nvSpPr>
              <p:spPr bwMode="auto">
                <a:xfrm>
                  <a:off x="10798" y="1837"/>
                  <a:ext cx="0" cy="26"/>
                </a:xfrm>
                <a:custGeom>
                  <a:avLst/>
                  <a:gdLst>
                    <a:gd name="T0" fmla="*/ 7 w 7"/>
                    <a:gd name="T1" fmla="*/ 28 h 31"/>
                    <a:gd name="T2" fmla="*/ 3 w 7"/>
                    <a:gd name="T3" fmla="*/ 0 h 31"/>
                    <a:gd name="T4" fmla="*/ 0 w 7"/>
                    <a:gd name="T5" fmla="*/ 2 h 31"/>
                    <a:gd name="T6" fmla="*/ 7 w 7"/>
                    <a:gd name="T7" fmla="*/ 31 h 31"/>
                    <a:gd name="T8" fmla="*/ 7 w 7"/>
                    <a:gd name="T9" fmla="*/ 28 h 31"/>
                  </a:gdLst>
                  <a:ahLst/>
                  <a:cxnLst>
                    <a:cxn ang="0">
                      <a:pos x="T0" y="T1"/>
                    </a:cxn>
                    <a:cxn ang="0">
                      <a:pos x="T2" y="T3"/>
                    </a:cxn>
                    <a:cxn ang="0">
                      <a:pos x="T4" y="T5"/>
                    </a:cxn>
                    <a:cxn ang="0">
                      <a:pos x="T6" y="T7"/>
                    </a:cxn>
                    <a:cxn ang="0">
                      <a:pos x="T8" y="T9"/>
                    </a:cxn>
                  </a:cxnLst>
                  <a:rect l="0" t="0" r="r" b="b"/>
                  <a:pathLst>
                    <a:path w="7" h="31">
                      <a:moveTo>
                        <a:pt x="7" y="28"/>
                      </a:moveTo>
                      <a:lnTo>
                        <a:pt x="3" y="0"/>
                      </a:lnTo>
                      <a:lnTo>
                        <a:pt x="0" y="2"/>
                      </a:lnTo>
                      <a:lnTo>
                        <a:pt x="7" y="31"/>
                      </a:lnTo>
                      <a:lnTo>
                        <a:pt x="7" y="28"/>
                      </a:lnTo>
                    </a:path>
                  </a:pathLst>
                </a:custGeom>
                <a:noFill/>
                <a:ln>
                  <a:noFill/>
                </a:ln>
                <a:extLst/>
              </p:spPr>
              <p:txBody>
                <a:bodyPr/>
                <a:lstStyle/>
                <a:p>
                  <a:pPr eaLnBrk="1" hangingPunct="1">
                    <a:defRPr/>
                  </a:pPr>
                  <a:endParaRPr lang="zh-CN" altLang="en-US" sz="1050"/>
                </a:p>
              </p:txBody>
            </p:sp>
            <p:sp>
              <p:nvSpPr>
                <p:cNvPr id="3955" name="Freeform 1599"/>
                <p:cNvSpPr>
                  <a:spLocks/>
                </p:cNvSpPr>
                <p:nvPr/>
              </p:nvSpPr>
              <p:spPr bwMode="auto">
                <a:xfrm>
                  <a:off x="10864" y="1828"/>
                  <a:ext cx="0" cy="26"/>
                </a:xfrm>
                <a:custGeom>
                  <a:avLst/>
                  <a:gdLst>
                    <a:gd name="T0" fmla="*/ 2 w 2"/>
                    <a:gd name="T1" fmla="*/ 14 h 14"/>
                    <a:gd name="T2" fmla="*/ 2 w 2"/>
                    <a:gd name="T3" fmla="*/ 0 h 14"/>
                    <a:gd name="T4" fmla="*/ 0 w 2"/>
                    <a:gd name="T5" fmla="*/ 0 h 14"/>
                    <a:gd name="T6" fmla="*/ 2 w 2"/>
                    <a:gd name="T7" fmla="*/ 14 h 14"/>
                    <a:gd name="T8" fmla="*/ 2 w 2"/>
                    <a:gd name="T9" fmla="*/ 14 h 14"/>
                  </a:gdLst>
                  <a:ahLst/>
                  <a:cxnLst>
                    <a:cxn ang="0">
                      <a:pos x="T0" y="T1"/>
                    </a:cxn>
                    <a:cxn ang="0">
                      <a:pos x="T2" y="T3"/>
                    </a:cxn>
                    <a:cxn ang="0">
                      <a:pos x="T4" y="T5"/>
                    </a:cxn>
                    <a:cxn ang="0">
                      <a:pos x="T6" y="T7"/>
                    </a:cxn>
                    <a:cxn ang="0">
                      <a:pos x="T8" y="T9"/>
                    </a:cxn>
                  </a:cxnLst>
                  <a:rect l="0" t="0" r="r" b="b"/>
                  <a:pathLst>
                    <a:path w="2" h="14">
                      <a:moveTo>
                        <a:pt x="2" y="14"/>
                      </a:moveTo>
                      <a:lnTo>
                        <a:pt x="2" y="0"/>
                      </a:lnTo>
                      <a:lnTo>
                        <a:pt x="0" y="0"/>
                      </a:lnTo>
                      <a:lnTo>
                        <a:pt x="2" y="14"/>
                      </a:lnTo>
                      <a:lnTo>
                        <a:pt x="2" y="14"/>
                      </a:lnTo>
                      <a:close/>
                    </a:path>
                  </a:pathLst>
                </a:custGeom>
                <a:solidFill>
                  <a:srgbClr val="01AAE5"/>
                </a:solidFill>
                <a:ln>
                  <a:noFill/>
                </a:ln>
                <a:extLst/>
              </p:spPr>
              <p:txBody>
                <a:bodyPr/>
                <a:lstStyle/>
                <a:p>
                  <a:pPr eaLnBrk="1" hangingPunct="1">
                    <a:defRPr/>
                  </a:pPr>
                  <a:endParaRPr lang="zh-CN" altLang="en-US" sz="1050"/>
                </a:p>
              </p:txBody>
            </p:sp>
            <p:sp>
              <p:nvSpPr>
                <p:cNvPr id="3956" name="Freeform 1600"/>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3957" name="Freeform 1601"/>
                <p:cNvSpPr>
                  <a:spLocks/>
                </p:cNvSpPr>
                <p:nvPr/>
              </p:nvSpPr>
              <p:spPr bwMode="auto">
                <a:xfrm>
                  <a:off x="10814" y="1828"/>
                  <a:ext cx="17" cy="35"/>
                </a:xfrm>
                <a:custGeom>
                  <a:avLst/>
                  <a:gdLst>
                    <a:gd name="T0" fmla="*/ 7 w 7"/>
                    <a:gd name="T1" fmla="*/ 28 h 28"/>
                    <a:gd name="T2" fmla="*/ 2 w 7"/>
                    <a:gd name="T3" fmla="*/ 0 h 28"/>
                    <a:gd name="T4" fmla="*/ 0 w 7"/>
                    <a:gd name="T5" fmla="*/ 0 h 28"/>
                    <a:gd name="T6" fmla="*/ 4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2" y="0"/>
                      </a:lnTo>
                      <a:lnTo>
                        <a:pt x="0" y="0"/>
                      </a:lnTo>
                      <a:lnTo>
                        <a:pt x="4" y="28"/>
                      </a:lnTo>
                      <a:lnTo>
                        <a:pt x="7" y="28"/>
                      </a:lnTo>
                    </a:path>
                  </a:pathLst>
                </a:custGeom>
                <a:noFill/>
                <a:ln>
                  <a:noFill/>
                </a:ln>
                <a:extLst/>
              </p:spPr>
              <p:txBody>
                <a:bodyPr/>
                <a:lstStyle/>
                <a:p>
                  <a:pPr eaLnBrk="1" hangingPunct="1">
                    <a:defRPr/>
                  </a:pPr>
                  <a:endParaRPr lang="zh-CN" altLang="en-US" sz="1050"/>
                </a:p>
              </p:txBody>
            </p:sp>
            <p:sp>
              <p:nvSpPr>
                <p:cNvPr id="3958" name="Freeform 1602"/>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close/>
                    </a:path>
                  </a:pathLst>
                </a:custGeom>
                <a:solidFill>
                  <a:srgbClr val="01AAE5"/>
                </a:solidFill>
                <a:ln>
                  <a:noFill/>
                </a:ln>
                <a:extLst/>
              </p:spPr>
              <p:txBody>
                <a:bodyPr/>
                <a:lstStyle/>
                <a:p>
                  <a:pPr eaLnBrk="1" hangingPunct="1">
                    <a:defRPr/>
                  </a:pPr>
                  <a:endParaRPr lang="zh-CN" altLang="en-US" sz="1050"/>
                </a:p>
              </p:txBody>
            </p:sp>
            <p:sp>
              <p:nvSpPr>
                <p:cNvPr id="3959" name="Freeform 1603"/>
                <p:cNvSpPr>
                  <a:spLocks/>
                </p:cNvSpPr>
                <p:nvPr/>
              </p:nvSpPr>
              <p:spPr bwMode="auto">
                <a:xfrm>
                  <a:off x="10814" y="1828"/>
                  <a:ext cx="8" cy="35"/>
                </a:xfrm>
                <a:custGeom>
                  <a:avLst/>
                  <a:gdLst>
                    <a:gd name="T0" fmla="*/ 7 w 7"/>
                    <a:gd name="T1" fmla="*/ 28 h 28"/>
                    <a:gd name="T2" fmla="*/ 0 w 7"/>
                    <a:gd name="T3" fmla="*/ 0 h 28"/>
                    <a:gd name="T4" fmla="*/ 0 w 7"/>
                    <a:gd name="T5" fmla="*/ 0 h 28"/>
                    <a:gd name="T6" fmla="*/ 5 w 7"/>
                    <a:gd name="T7" fmla="*/ 28 h 28"/>
                    <a:gd name="T8" fmla="*/ 7 w 7"/>
                    <a:gd name="T9" fmla="*/ 28 h 28"/>
                  </a:gdLst>
                  <a:ahLst/>
                  <a:cxnLst>
                    <a:cxn ang="0">
                      <a:pos x="T0" y="T1"/>
                    </a:cxn>
                    <a:cxn ang="0">
                      <a:pos x="T2" y="T3"/>
                    </a:cxn>
                    <a:cxn ang="0">
                      <a:pos x="T4" y="T5"/>
                    </a:cxn>
                    <a:cxn ang="0">
                      <a:pos x="T6" y="T7"/>
                    </a:cxn>
                    <a:cxn ang="0">
                      <a:pos x="T8" y="T9"/>
                    </a:cxn>
                  </a:cxnLst>
                  <a:rect l="0" t="0" r="r" b="b"/>
                  <a:pathLst>
                    <a:path w="7" h="28">
                      <a:moveTo>
                        <a:pt x="7" y="28"/>
                      </a:moveTo>
                      <a:lnTo>
                        <a:pt x="0" y="0"/>
                      </a:lnTo>
                      <a:lnTo>
                        <a:pt x="0" y="0"/>
                      </a:lnTo>
                      <a:lnTo>
                        <a:pt x="5" y="28"/>
                      </a:lnTo>
                      <a:lnTo>
                        <a:pt x="7" y="28"/>
                      </a:lnTo>
                    </a:path>
                  </a:pathLst>
                </a:custGeom>
                <a:noFill/>
                <a:ln>
                  <a:noFill/>
                </a:ln>
                <a:extLst/>
              </p:spPr>
              <p:txBody>
                <a:bodyPr/>
                <a:lstStyle/>
                <a:p>
                  <a:pPr eaLnBrk="1" hangingPunct="1">
                    <a:defRPr/>
                  </a:pPr>
                  <a:endParaRPr lang="zh-CN" altLang="en-US" sz="1050"/>
                </a:p>
              </p:txBody>
            </p:sp>
            <p:sp>
              <p:nvSpPr>
                <p:cNvPr id="3960" name="Freeform 1604"/>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close/>
                    </a:path>
                  </a:pathLst>
                </a:custGeom>
                <a:solidFill>
                  <a:srgbClr val="01AAE5"/>
                </a:solidFill>
                <a:ln>
                  <a:noFill/>
                </a:ln>
                <a:extLst/>
              </p:spPr>
              <p:txBody>
                <a:bodyPr/>
                <a:lstStyle/>
                <a:p>
                  <a:pPr eaLnBrk="1" hangingPunct="1">
                    <a:defRPr/>
                  </a:pPr>
                  <a:endParaRPr lang="zh-CN" altLang="en-US" sz="1050"/>
                </a:p>
              </p:txBody>
            </p:sp>
            <p:sp>
              <p:nvSpPr>
                <p:cNvPr id="3961" name="Freeform 1605"/>
                <p:cNvSpPr>
                  <a:spLocks/>
                </p:cNvSpPr>
                <p:nvPr/>
              </p:nvSpPr>
              <p:spPr bwMode="auto">
                <a:xfrm>
                  <a:off x="10798" y="1837"/>
                  <a:ext cx="8" cy="26"/>
                </a:xfrm>
                <a:custGeom>
                  <a:avLst/>
                  <a:gdLst>
                    <a:gd name="T0" fmla="*/ 5 w 5"/>
                    <a:gd name="T1" fmla="*/ 28 h 28"/>
                    <a:gd name="T2" fmla="*/ 0 w 5"/>
                    <a:gd name="T3" fmla="*/ 0 h 28"/>
                    <a:gd name="T4" fmla="*/ 0 w 5"/>
                    <a:gd name="T5" fmla="*/ 0 h 28"/>
                    <a:gd name="T6" fmla="*/ 5 w 5"/>
                    <a:gd name="T7" fmla="*/ 28 h 28"/>
                    <a:gd name="T8" fmla="*/ 5 w 5"/>
                    <a:gd name="T9" fmla="*/ 28 h 28"/>
                  </a:gdLst>
                  <a:ahLst/>
                  <a:cxnLst>
                    <a:cxn ang="0">
                      <a:pos x="T0" y="T1"/>
                    </a:cxn>
                    <a:cxn ang="0">
                      <a:pos x="T2" y="T3"/>
                    </a:cxn>
                    <a:cxn ang="0">
                      <a:pos x="T4" y="T5"/>
                    </a:cxn>
                    <a:cxn ang="0">
                      <a:pos x="T6" y="T7"/>
                    </a:cxn>
                    <a:cxn ang="0">
                      <a:pos x="T8" y="T9"/>
                    </a:cxn>
                  </a:cxnLst>
                  <a:rect l="0" t="0" r="r" b="b"/>
                  <a:pathLst>
                    <a:path w="5" h="28">
                      <a:moveTo>
                        <a:pt x="5" y="28"/>
                      </a:moveTo>
                      <a:lnTo>
                        <a:pt x="0" y="0"/>
                      </a:lnTo>
                      <a:lnTo>
                        <a:pt x="0" y="0"/>
                      </a:lnTo>
                      <a:lnTo>
                        <a:pt x="5" y="28"/>
                      </a:lnTo>
                      <a:lnTo>
                        <a:pt x="5" y="28"/>
                      </a:lnTo>
                    </a:path>
                  </a:pathLst>
                </a:custGeom>
                <a:noFill/>
                <a:ln>
                  <a:noFill/>
                </a:ln>
                <a:extLst/>
              </p:spPr>
              <p:txBody>
                <a:bodyPr/>
                <a:lstStyle/>
                <a:p>
                  <a:pPr eaLnBrk="1" hangingPunct="1">
                    <a:defRPr/>
                  </a:pPr>
                  <a:endParaRPr lang="zh-CN" altLang="en-US" sz="1050"/>
                </a:p>
              </p:txBody>
            </p:sp>
            <p:sp>
              <p:nvSpPr>
                <p:cNvPr id="3962" name="Freeform 1606"/>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close/>
                    </a:path>
                  </a:pathLst>
                </a:custGeom>
                <a:solidFill>
                  <a:srgbClr val="01AAE5"/>
                </a:solidFill>
                <a:ln>
                  <a:noFill/>
                </a:ln>
                <a:extLst/>
              </p:spPr>
              <p:txBody>
                <a:bodyPr/>
                <a:lstStyle/>
                <a:p>
                  <a:pPr eaLnBrk="1" hangingPunct="1">
                    <a:defRPr/>
                  </a:pPr>
                  <a:endParaRPr lang="zh-CN" altLang="en-US" sz="1050"/>
                </a:p>
              </p:txBody>
            </p:sp>
            <p:sp>
              <p:nvSpPr>
                <p:cNvPr id="3963" name="Freeform 1607"/>
                <p:cNvSpPr>
                  <a:spLocks/>
                </p:cNvSpPr>
                <p:nvPr/>
              </p:nvSpPr>
              <p:spPr bwMode="auto">
                <a:xfrm>
                  <a:off x="10806" y="1828"/>
                  <a:ext cx="8" cy="35"/>
                </a:xfrm>
                <a:custGeom>
                  <a:avLst/>
                  <a:gdLst>
                    <a:gd name="T0" fmla="*/ 7 w 7"/>
                    <a:gd name="T1" fmla="*/ 30 h 30"/>
                    <a:gd name="T2" fmla="*/ 0 w 7"/>
                    <a:gd name="T3" fmla="*/ 0 h 30"/>
                    <a:gd name="T4" fmla="*/ 0 w 7"/>
                    <a:gd name="T5" fmla="*/ 2 h 30"/>
                    <a:gd name="T6" fmla="*/ 5 w 7"/>
                    <a:gd name="T7" fmla="*/ 30 h 30"/>
                    <a:gd name="T8" fmla="*/ 7 w 7"/>
                    <a:gd name="T9" fmla="*/ 30 h 30"/>
                  </a:gdLst>
                  <a:ahLst/>
                  <a:cxnLst>
                    <a:cxn ang="0">
                      <a:pos x="T0" y="T1"/>
                    </a:cxn>
                    <a:cxn ang="0">
                      <a:pos x="T2" y="T3"/>
                    </a:cxn>
                    <a:cxn ang="0">
                      <a:pos x="T4" y="T5"/>
                    </a:cxn>
                    <a:cxn ang="0">
                      <a:pos x="T6" y="T7"/>
                    </a:cxn>
                    <a:cxn ang="0">
                      <a:pos x="T8" y="T9"/>
                    </a:cxn>
                  </a:cxnLst>
                  <a:rect l="0" t="0" r="r" b="b"/>
                  <a:pathLst>
                    <a:path w="7" h="30">
                      <a:moveTo>
                        <a:pt x="7" y="30"/>
                      </a:moveTo>
                      <a:lnTo>
                        <a:pt x="0" y="0"/>
                      </a:lnTo>
                      <a:lnTo>
                        <a:pt x="0" y="2"/>
                      </a:lnTo>
                      <a:lnTo>
                        <a:pt x="5" y="30"/>
                      </a:lnTo>
                      <a:lnTo>
                        <a:pt x="7" y="30"/>
                      </a:lnTo>
                    </a:path>
                  </a:pathLst>
                </a:custGeom>
                <a:noFill/>
                <a:ln>
                  <a:noFill/>
                </a:ln>
                <a:extLst/>
              </p:spPr>
              <p:txBody>
                <a:bodyPr/>
                <a:lstStyle/>
                <a:p>
                  <a:pPr eaLnBrk="1" hangingPunct="1">
                    <a:defRPr/>
                  </a:pPr>
                  <a:endParaRPr lang="zh-CN" altLang="en-US" sz="1050"/>
                </a:p>
              </p:txBody>
            </p:sp>
            <p:sp>
              <p:nvSpPr>
                <p:cNvPr id="3964" name="Freeform 1608"/>
                <p:cNvSpPr>
                  <a:spLocks/>
                </p:cNvSpPr>
                <p:nvPr/>
              </p:nvSpPr>
              <p:spPr bwMode="auto">
                <a:xfrm>
                  <a:off x="10914" y="1828"/>
                  <a:ext cx="0" cy="9"/>
                </a:xfrm>
                <a:custGeom>
                  <a:avLst/>
                  <a:gdLst>
                    <a:gd name="T0" fmla="*/ 2 w 2"/>
                    <a:gd name="T1" fmla="*/ 7 h 7"/>
                    <a:gd name="T2" fmla="*/ 0 w 2"/>
                    <a:gd name="T3" fmla="*/ 0 h 7"/>
                    <a:gd name="T4" fmla="*/ 0 w 2"/>
                    <a:gd name="T5" fmla="*/ 0 h 7"/>
                    <a:gd name="T6" fmla="*/ 0 w 2"/>
                    <a:gd name="T7" fmla="*/ 7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0" y="0"/>
                      </a:lnTo>
                      <a:lnTo>
                        <a:pt x="0" y="0"/>
                      </a:lnTo>
                      <a:lnTo>
                        <a:pt x="0" y="7"/>
                      </a:lnTo>
                      <a:lnTo>
                        <a:pt x="2" y="7"/>
                      </a:lnTo>
                      <a:close/>
                    </a:path>
                  </a:pathLst>
                </a:custGeom>
                <a:solidFill>
                  <a:srgbClr val="01AAE5"/>
                </a:solidFill>
                <a:ln>
                  <a:noFill/>
                </a:ln>
                <a:extLst/>
              </p:spPr>
              <p:txBody>
                <a:bodyPr/>
                <a:lstStyle/>
                <a:p>
                  <a:pPr eaLnBrk="1" hangingPunct="1">
                    <a:defRPr/>
                  </a:pPr>
                  <a:endParaRPr lang="zh-CN" altLang="en-US" sz="1050"/>
                </a:p>
              </p:txBody>
            </p:sp>
            <p:sp>
              <p:nvSpPr>
                <p:cNvPr id="3965" name="Freeform 1609"/>
                <p:cNvSpPr>
                  <a:spLocks/>
                </p:cNvSpPr>
                <p:nvPr/>
              </p:nvSpPr>
              <p:spPr bwMode="auto">
                <a:xfrm>
                  <a:off x="10864" y="1828"/>
                  <a:ext cx="8" cy="26"/>
                </a:xfrm>
                <a:custGeom>
                  <a:avLst/>
                  <a:gdLst>
                    <a:gd name="T0" fmla="*/ 2 w 2"/>
                    <a:gd name="T1" fmla="*/ 11 h 14"/>
                    <a:gd name="T2" fmla="*/ 2 w 2"/>
                    <a:gd name="T3" fmla="*/ 0 h 14"/>
                    <a:gd name="T4" fmla="*/ 0 w 2"/>
                    <a:gd name="T5" fmla="*/ 0 h 14"/>
                    <a:gd name="T6" fmla="*/ 2 w 2"/>
                    <a:gd name="T7" fmla="*/ 14 h 14"/>
                    <a:gd name="T8" fmla="*/ 2 w 2"/>
                    <a:gd name="T9" fmla="*/ 11 h 14"/>
                  </a:gdLst>
                  <a:ahLst/>
                  <a:cxnLst>
                    <a:cxn ang="0">
                      <a:pos x="T0" y="T1"/>
                    </a:cxn>
                    <a:cxn ang="0">
                      <a:pos x="T2" y="T3"/>
                    </a:cxn>
                    <a:cxn ang="0">
                      <a:pos x="T4" y="T5"/>
                    </a:cxn>
                    <a:cxn ang="0">
                      <a:pos x="T6" y="T7"/>
                    </a:cxn>
                    <a:cxn ang="0">
                      <a:pos x="T8" y="T9"/>
                    </a:cxn>
                  </a:cxnLst>
                  <a:rect l="0" t="0" r="r" b="b"/>
                  <a:pathLst>
                    <a:path w="2" h="14">
                      <a:moveTo>
                        <a:pt x="2" y="11"/>
                      </a:moveTo>
                      <a:lnTo>
                        <a:pt x="2" y="0"/>
                      </a:lnTo>
                      <a:lnTo>
                        <a:pt x="0" y="0"/>
                      </a:lnTo>
                      <a:lnTo>
                        <a:pt x="2" y="14"/>
                      </a:lnTo>
                      <a:lnTo>
                        <a:pt x="2" y="11"/>
                      </a:lnTo>
                      <a:close/>
                    </a:path>
                  </a:pathLst>
                </a:custGeom>
                <a:solidFill>
                  <a:srgbClr val="01AAE5"/>
                </a:solidFill>
                <a:ln>
                  <a:noFill/>
                </a:ln>
                <a:extLst/>
              </p:spPr>
              <p:txBody>
                <a:bodyPr/>
                <a:lstStyle/>
                <a:p>
                  <a:pPr eaLnBrk="1" hangingPunct="1">
                    <a:defRPr/>
                  </a:pPr>
                  <a:endParaRPr lang="zh-CN" altLang="en-US" sz="1050"/>
                </a:p>
              </p:txBody>
            </p:sp>
            <p:sp>
              <p:nvSpPr>
                <p:cNvPr id="3966" name="Rectangle 1610"/>
                <p:cNvSpPr>
                  <a:spLocks noChangeArrowheads="1"/>
                </p:cNvSpPr>
                <p:nvPr/>
              </p:nvSpPr>
              <p:spPr bwMode="auto">
                <a:xfrm>
                  <a:off x="10922" y="1828"/>
                  <a:ext cx="8" cy="9"/>
                </a:xfrm>
                <a:prstGeom prst="rect">
                  <a:avLst/>
                </a:prstGeom>
                <a:solidFill>
                  <a:srgbClr val="01AAE5"/>
                </a:solidFill>
                <a:ln>
                  <a:noFill/>
                </a:ln>
                <a:extLst/>
              </p:spPr>
              <p:txBody>
                <a:bodyPr/>
                <a:lstStyle/>
                <a:p>
                  <a:pPr eaLnBrk="1" hangingPunct="1">
                    <a:defRPr/>
                  </a:pPr>
                  <a:endParaRPr lang="zh-CN" altLang="en-US" sz="1050"/>
                </a:p>
              </p:txBody>
            </p:sp>
            <p:sp>
              <p:nvSpPr>
                <p:cNvPr id="3967" name="Freeform 1611"/>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close/>
                    </a:path>
                  </a:pathLst>
                </a:custGeom>
                <a:solidFill>
                  <a:srgbClr val="01AAE5"/>
                </a:solidFill>
                <a:ln>
                  <a:noFill/>
                </a:ln>
                <a:extLst/>
              </p:spPr>
              <p:txBody>
                <a:bodyPr/>
                <a:lstStyle/>
                <a:p>
                  <a:pPr eaLnBrk="1" hangingPunct="1">
                    <a:defRPr/>
                  </a:pPr>
                  <a:endParaRPr lang="zh-CN" altLang="en-US" sz="1050"/>
                </a:p>
              </p:txBody>
            </p:sp>
            <p:sp>
              <p:nvSpPr>
                <p:cNvPr id="3968" name="Freeform 1612"/>
                <p:cNvSpPr>
                  <a:spLocks/>
                </p:cNvSpPr>
                <p:nvPr/>
              </p:nvSpPr>
              <p:spPr bwMode="auto">
                <a:xfrm>
                  <a:off x="10773" y="1855"/>
                  <a:ext cx="8" cy="26"/>
                </a:xfrm>
                <a:custGeom>
                  <a:avLst/>
                  <a:gdLst>
                    <a:gd name="T0" fmla="*/ 7 w 7"/>
                    <a:gd name="T1" fmla="*/ 26 h 26"/>
                    <a:gd name="T2" fmla="*/ 0 w 7"/>
                    <a:gd name="T3" fmla="*/ 0 h 26"/>
                    <a:gd name="T4" fmla="*/ 0 w 7"/>
                    <a:gd name="T5" fmla="*/ 0 h 26"/>
                    <a:gd name="T6" fmla="*/ 5 w 7"/>
                    <a:gd name="T7" fmla="*/ 26 h 26"/>
                    <a:gd name="T8" fmla="*/ 7 w 7"/>
                    <a:gd name="T9" fmla="*/ 26 h 26"/>
                  </a:gdLst>
                  <a:ahLst/>
                  <a:cxnLst>
                    <a:cxn ang="0">
                      <a:pos x="T0" y="T1"/>
                    </a:cxn>
                    <a:cxn ang="0">
                      <a:pos x="T2" y="T3"/>
                    </a:cxn>
                    <a:cxn ang="0">
                      <a:pos x="T4" y="T5"/>
                    </a:cxn>
                    <a:cxn ang="0">
                      <a:pos x="T6" y="T7"/>
                    </a:cxn>
                    <a:cxn ang="0">
                      <a:pos x="T8" y="T9"/>
                    </a:cxn>
                  </a:cxnLst>
                  <a:rect l="0" t="0" r="r" b="b"/>
                  <a:pathLst>
                    <a:path w="7" h="26">
                      <a:moveTo>
                        <a:pt x="7" y="26"/>
                      </a:moveTo>
                      <a:lnTo>
                        <a:pt x="0" y="0"/>
                      </a:lnTo>
                      <a:lnTo>
                        <a:pt x="0" y="0"/>
                      </a:lnTo>
                      <a:lnTo>
                        <a:pt x="5" y="26"/>
                      </a:lnTo>
                      <a:lnTo>
                        <a:pt x="7" y="26"/>
                      </a:lnTo>
                    </a:path>
                  </a:pathLst>
                </a:custGeom>
                <a:noFill/>
                <a:ln>
                  <a:noFill/>
                </a:ln>
                <a:extLst/>
              </p:spPr>
              <p:txBody>
                <a:bodyPr/>
                <a:lstStyle/>
                <a:p>
                  <a:pPr eaLnBrk="1" hangingPunct="1">
                    <a:defRPr/>
                  </a:pPr>
                  <a:endParaRPr lang="zh-CN" altLang="en-US" sz="1050"/>
                </a:p>
              </p:txBody>
            </p:sp>
            <p:sp>
              <p:nvSpPr>
                <p:cNvPr id="3969" name="Rectangle 1613"/>
                <p:cNvSpPr>
                  <a:spLocks noChangeArrowheads="1"/>
                </p:cNvSpPr>
                <p:nvPr/>
              </p:nvSpPr>
              <p:spPr bwMode="auto">
                <a:xfrm>
                  <a:off x="10931" y="1828"/>
                  <a:ext cx="0" cy="9"/>
                </a:xfrm>
                <a:prstGeom prst="rect">
                  <a:avLst/>
                </a:prstGeom>
                <a:solidFill>
                  <a:srgbClr val="01AAE5"/>
                </a:solidFill>
                <a:ln>
                  <a:noFill/>
                </a:ln>
                <a:extLst/>
              </p:spPr>
              <p:txBody>
                <a:bodyPr/>
                <a:lstStyle/>
                <a:p>
                  <a:pPr eaLnBrk="1" hangingPunct="1">
                    <a:defRPr/>
                  </a:pPr>
                  <a:endParaRPr lang="zh-CN" altLang="en-US" sz="1050"/>
                </a:p>
              </p:txBody>
            </p:sp>
            <p:sp>
              <p:nvSpPr>
                <p:cNvPr id="3970" name="Rectangle 1614"/>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3971" name="Freeform 1615"/>
                <p:cNvSpPr>
                  <a:spLocks/>
                </p:cNvSpPr>
                <p:nvPr/>
              </p:nvSpPr>
              <p:spPr bwMode="auto">
                <a:xfrm>
                  <a:off x="10249" y="2325"/>
                  <a:ext cx="75" cy="17"/>
                </a:xfrm>
                <a:custGeom>
                  <a:avLst/>
                  <a:gdLst>
                    <a:gd name="T0" fmla="*/ 71 w 71"/>
                    <a:gd name="T1" fmla="*/ 21 h 23"/>
                    <a:gd name="T2" fmla="*/ 71 w 71"/>
                    <a:gd name="T3" fmla="*/ 21 h 23"/>
                    <a:gd name="T4" fmla="*/ 0 w 71"/>
                    <a:gd name="T5" fmla="*/ 0 h 23"/>
                    <a:gd name="T6" fmla="*/ 0 w 71"/>
                    <a:gd name="T7" fmla="*/ 0 h 23"/>
                    <a:gd name="T8" fmla="*/ 71 w 71"/>
                    <a:gd name="T9" fmla="*/ 23 h 23"/>
                    <a:gd name="T10" fmla="*/ 71 w 71"/>
                    <a:gd name="T11" fmla="*/ 21 h 23"/>
                  </a:gdLst>
                  <a:ahLst/>
                  <a:cxnLst>
                    <a:cxn ang="0">
                      <a:pos x="T0" y="T1"/>
                    </a:cxn>
                    <a:cxn ang="0">
                      <a:pos x="T2" y="T3"/>
                    </a:cxn>
                    <a:cxn ang="0">
                      <a:pos x="T4" y="T5"/>
                    </a:cxn>
                    <a:cxn ang="0">
                      <a:pos x="T6" y="T7"/>
                    </a:cxn>
                    <a:cxn ang="0">
                      <a:pos x="T8" y="T9"/>
                    </a:cxn>
                    <a:cxn ang="0">
                      <a:pos x="T10" y="T11"/>
                    </a:cxn>
                  </a:cxnLst>
                  <a:rect l="0" t="0" r="r" b="b"/>
                  <a:pathLst>
                    <a:path w="71" h="23">
                      <a:moveTo>
                        <a:pt x="71" y="21"/>
                      </a:moveTo>
                      <a:lnTo>
                        <a:pt x="71" y="21"/>
                      </a:lnTo>
                      <a:lnTo>
                        <a:pt x="0" y="0"/>
                      </a:lnTo>
                      <a:lnTo>
                        <a:pt x="0" y="0"/>
                      </a:lnTo>
                      <a:lnTo>
                        <a:pt x="71"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3972" name="Rectangle 1616"/>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3973" name="Rectangle 1617"/>
                <p:cNvSpPr>
                  <a:spLocks noChangeArrowheads="1"/>
                </p:cNvSpPr>
                <p:nvPr/>
              </p:nvSpPr>
              <p:spPr bwMode="auto">
                <a:xfrm>
                  <a:off x="10939" y="1828"/>
                  <a:ext cx="0" cy="9"/>
                </a:xfrm>
                <a:prstGeom prst="rect">
                  <a:avLst/>
                </a:prstGeom>
                <a:solidFill>
                  <a:srgbClr val="01AAE5"/>
                </a:solidFill>
                <a:ln>
                  <a:noFill/>
                </a:ln>
                <a:extLst/>
              </p:spPr>
              <p:txBody>
                <a:bodyPr/>
                <a:lstStyle/>
                <a:p>
                  <a:pPr eaLnBrk="1" hangingPunct="1">
                    <a:defRPr/>
                  </a:pPr>
                  <a:endParaRPr lang="zh-CN" altLang="en-US" sz="1050"/>
                </a:p>
              </p:txBody>
            </p:sp>
            <p:sp>
              <p:nvSpPr>
                <p:cNvPr id="3974" name="Freeform 1618"/>
                <p:cNvSpPr>
                  <a:spLocks/>
                </p:cNvSpPr>
                <p:nvPr/>
              </p:nvSpPr>
              <p:spPr bwMode="auto">
                <a:xfrm>
                  <a:off x="10922" y="1828"/>
                  <a:ext cx="0" cy="9"/>
                </a:xfrm>
                <a:custGeom>
                  <a:avLst/>
                  <a:gdLst>
                    <a:gd name="T0" fmla="*/ 2 w 2"/>
                    <a:gd name="T1" fmla="*/ 10 h 10"/>
                    <a:gd name="T2" fmla="*/ 2 w 2"/>
                    <a:gd name="T3" fmla="*/ 0 h 10"/>
                    <a:gd name="T4" fmla="*/ 0 w 2"/>
                    <a:gd name="T5" fmla="*/ 3 h 10"/>
                    <a:gd name="T6" fmla="*/ 0 w 2"/>
                    <a:gd name="T7" fmla="*/ 1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0"/>
                      </a:lnTo>
                      <a:lnTo>
                        <a:pt x="0" y="3"/>
                      </a:lnTo>
                      <a:lnTo>
                        <a:pt x="0" y="10"/>
                      </a:lnTo>
                      <a:lnTo>
                        <a:pt x="2" y="10"/>
                      </a:lnTo>
                      <a:close/>
                    </a:path>
                  </a:pathLst>
                </a:custGeom>
                <a:solidFill>
                  <a:srgbClr val="01AAE5"/>
                </a:solidFill>
                <a:ln>
                  <a:noFill/>
                </a:ln>
                <a:extLst/>
              </p:spPr>
              <p:txBody>
                <a:bodyPr/>
                <a:lstStyle/>
                <a:p>
                  <a:pPr eaLnBrk="1" hangingPunct="1">
                    <a:defRPr/>
                  </a:pPr>
                  <a:endParaRPr lang="zh-CN" altLang="en-US" sz="1050"/>
                </a:p>
              </p:txBody>
            </p:sp>
            <p:sp>
              <p:nvSpPr>
                <p:cNvPr id="3975" name="Freeform 1619"/>
                <p:cNvSpPr>
                  <a:spLocks/>
                </p:cNvSpPr>
                <p:nvPr/>
              </p:nvSpPr>
              <p:spPr bwMode="auto">
                <a:xfrm>
                  <a:off x="10881" y="1828"/>
                  <a:ext cx="0" cy="17"/>
                </a:xfrm>
                <a:custGeom>
                  <a:avLst/>
                  <a:gdLst>
                    <a:gd name="T0" fmla="*/ 3 w 3"/>
                    <a:gd name="T1" fmla="*/ 9 h 11"/>
                    <a:gd name="T2" fmla="*/ 0 w 3"/>
                    <a:gd name="T3" fmla="*/ 0 h 11"/>
                    <a:gd name="T4" fmla="*/ 0 w 3"/>
                    <a:gd name="T5" fmla="*/ 0 h 11"/>
                    <a:gd name="T6" fmla="*/ 0 w 3"/>
                    <a:gd name="T7" fmla="*/ 11 h 11"/>
                    <a:gd name="T8" fmla="*/ 3 w 3"/>
                    <a:gd name="T9" fmla="*/ 9 h 11"/>
                  </a:gdLst>
                  <a:ahLst/>
                  <a:cxnLst>
                    <a:cxn ang="0">
                      <a:pos x="T0" y="T1"/>
                    </a:cxn>
                    <a:cxn ang="0">
                      <a:pos x="T2" y="T3"/>
                    </a:cxn>
                    <a:cxn ang="0">
                      <a:pos x="T4" y="T5"/>
                    </a:cxn>
                    <a:cxn ang="0">
                      <a:pos x="T6" y="T7"/>
                    </a:cxn>
                    <a:cxn ang="0">
                      <a:pos x="T8" y="T9"/>
                    </a:cxn>
                  </a:cxnLst>
                  <a:rect l="0" t="0" r="r" b="b"/>
                  <a:pathLst>
                    <a:path w="3" h="11">
                      <a:moveTo>
                        <a:pt x="3" y="9"/>
                      </a:moveTo>
                      <a:lnTo>
                        <a:pt x="0" y="0"/>
                      </a:lnTo>
                      <a:lnTo>
                        <a:pt x="0" y="0"/>
                      </a:lnTo>
                      <a:lnTo>
                        <a:pt x="0" y="11"/>
                      </a:lnTo>
                      <a:lnTo>
                        <a:pt x="3" y="9"/>
                      </a:lnTo>
                      <a:close/>
                    </a:path>
                  </a:pathLst>
                </a:custGeom>
                <a:solidFill>
                  <a:srgbClr val="01AAE5"/>
                </a:solidFill>
                <a:ln>
                  <a:noFill/>
                </a:ln>
                <a:extLst/>
              </p:spPr>
              <p:txBody>
                <a:bodyPr/>
                <a:lstStyle/>
                <a:p>
                  <a:pPr eaLnBrk="1" hangingPunct="1">
                    <a:defRPr/>
                  </a:pPr>
                  <a:endParaRPr lang="zh-CN" altLang="en-US" sz="1050"/>
                </a:p>
              </p:txBody>
            </p:sp>
            <p:sp>
              <p:nvSpPr>
                <p:cNvPr id="3976" name="Rectangle 1620"/>
                <p:cNvSpPr>
                  <a:spLocks noChangeArrowheads="1"/>
                </p:cNvSpPr>
                <p:nvPr/>
              </p:nvSpPr>
              <p:spPr bwMode="auto">
                <a:xfrm>
                  <a:off x="10906" y="1828"/>
                  <a:ext cx="0" cy="9"/>
                </a:xfrm>
                <a:prstGeom prst="rect">
                  <a:avLst/>
                </a:prstGeom>
                <a:solidFill>
                  <a:srgbClr val="01AAE5"/>
                </a:solidFill>
                <a:ln>
                  <a:noFill/>
                </a:ln>
                <a:extLst/>
              </p:spPr>
              <p:txBody>
                <a:bodyPr/>
                <a:lstStyle/>
                <a:p>
                  <a:pPr eaLnBrk="1" hangingPunct="1">
                    <a:defRPr/>
                  </a:pPr>
                  <a:endParaRPr lang="zh-CN" altLang="en-US" sz="1050"/>
                </a:p>
              </p:txBody>
            </p:sp>
            <p:sp>
              <p:nvSpPr>
                <p:cNvPr id="3977" name="Freeform 1621"/>
                <p:cNvSpPr>
                  <a:spLocks/>
                </p:cNvSpPr>
                <p:nvPr/>
              </p:nvSpPr>
              <p:spPr bwMode="auto">
                <a:xfrm>
                  <a:off x="10873" y="1828"/>
                  <a:ext cx="8" cy="17"/>
                </a:xfrm>
                <a:custGeom>
                  <a:avLst/>
                  <a:gdLst>
                    <a:gd name="T0" fmla="*/ 3 w 3"/>
                    <a:gd name="T1" fmla="*/ 11 h 11"/>
                    <a:gd name="T2" fmla="*/ 3 w 3"/>
                    <a:gd name="T3" fmla="*/ 0 h 11"/>
                    <a:gd name="T4" fmla="*/ 0 w 3"/>
                    <a:gd name="T5" fmla="*/ 0 h 11"/>
                    <a:gd name="T6" fmla="*/ 3 w 3"/>
                    <a:gd name="T7" fmla="*/ 11 h 11"/>
                    <a:gd name="T8" fmla="*/ 3 w 3"/>
                    <a:gd name="T9" fmla="*/ 11 h 11"/>
                  </a:gdLst>
                  <a:ahLst/>
                  <a:cxnLst>
                    <a:cxn ang="0">
                      <a:pos x="T0" y="T1"/>
                    </a:cxn>
                    <a:cxn ang="0">
                      <a:pos x="T2" y="T3"/>
                    </a:cxn>
                    <a:cxn ang="0">
                      <a:pos x="T4" y="T5"/>
                    </a:cxn>
                    <a:cxn ang="0">
                      <a:pos x="T6" y="T7"/>
                    </a:cxn>
                    <a:cxn ang="0">
                      <a:pos x="T8" y="T9"/>
                    </a:cxn>
                  </a:cxnLst>
                  <a:rect l="0" t="0" r="r" b="b"/>
                  <a:pathLst>
                    <a:path w="3" h="11">
                      <a:moveTo>
                        <a:pt x="3" y="11"/>
                      </a:moveTo>
                      <a:lnTo>
                        <a:pt x="3" y="0"/>
                      </a:lnTo>
                      <a:lnTo>
                        <a:pt x="0" y="0"/>
                      </a:lnTo>
                      <a:lnTo>
                        <a:pt x="3" y="11"/>
                      </a:lnTo>
                      <a:lnTo>
                        <a:pt x="3" y="11"/>
                      </a:lnTo>
                      <a:close/>
                    </a:path>
                  </a:pathLst>
                </a:custGeom>
                <a:solidFill>
                  <a:srgbClr val="01AAE5"/>
                </a:solidFill>
                <a:ln>
                  <a:noFill/>
                </a:ln>
                <a:extLst/>
              </p:spPr>
              <p:txBody>
                <a:bodyPr/>
                <a:lstStyle/>
                <a:p>
                  <a:pPr eaLnBrk="1" hangingPunct="1">
                    <a:defRPr/>
                  </a:pPr>
                  <a:endParaRPr lang="zh-CN" altLang="en-US" sz="1050"/>
                </a:p>
              </p:txBody>
            </p:sp>
            <p:sp>
              <p:nvSpPr>
                <p:cNvPr id="3978" name="Freeform 1622"/>
                <p:cNvSpPr>
                  <a:spLocks/>
                </p:cNvSpPr>
                <p:nvPr/>
              </p:nvSpPr>
              <p:spPr bwMode="auto">
                <a:xfrm>
                  <a:off x="10881" y="1828"/>
                  <a:ext cx="0" cy="17"/>
                </a:xfrm>
                <a:custGeom>
                  <a:avLst/>
                  <a:gdLst>
                    <a:gd name="T0" fmla="*/ 2 w 2"/>
                    <a:gd name="T1" fmla="*/ 9 h 9"/>
                    <a:gd name="T2" fmla="*/ 0 w 2"/>
                    <a:gd name="T3" fmla="*/ 0 h 9"/>
                    <a:gd name="T4" fmla="*/ 0 w 2"/>
                    <a:gd name="T5" fmla="*/ 0 h 9"/>
                    <a:gd name="T6" fmla="*/ 0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0"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3979" name="Freeform 1623"/>
                <p:cNvSpPr>
                  <a:spLocks/>
                </p:cNvSpPr>
                <p:nvPr/>
              </p:nvSpPr>
              <p:spPr bwMode="auto">
                <a:xfrm>
                  <a:off x="10897" y="1828"/>
                  <a:ext cx="8" cy="17"/>
                </a:xfrm>
                <a:custGeom>
                  <a:avLst/>
                  <a:gdLst>
                    <a:gd name="T0" fmla="*/ 3 w 3"/>
                    <a:gd name="T1" fmla="*/ 9 h 9"/>
                    <a:gd name="T2" fmla="*/ 3 w 3"/>
                    <a:gd name="T3" fmla="*/ 0 h 9"/>
                    <a:gd name="T4" fmla="*/ 0 w 3"/>
                    <a:gd name="T5" fmla="*/ 0 h 9"/>
                    <a:gd name="T6" fmla="*/ 3 w 3"/>
                    <a:gd name="T7" fmla="*/ 9 h 9"/>
                    <a:gd name="T8" fmla="*/ 3 w 3"/>
                    <a:gd name="T9" fmla="*/ 9 h 9"/>
                  </a:gdLst>
                  <a:ahLst/>
                  <a:cxnLst>
                    <a:cxn ang="0">
                      <a:pos x="T0" y="T1"/>
                    </a:cxn>
                    <a:cxn ang="0">
                      <a:pos x="T2" y="T3"/>
                    </a:cxn>
                    <a:cxn ang="0">
                      <a:pos x="T4" y="T5"/>
                    </a:cxn>
                    <a:cxn ang="0">
                      <a:pos x="T6" y="T7"/>
                    </a:cxn>
                    <a:cxn ang="0">
                      <a:pos x="T8" y="T9"/>
                    </a:cxn>
                  </a:cxnLst>
                  <a:rect l="0" t="0" r="r" b="b"/>
                  <a:pathLst>
                    <a:path w="3" h="9">
                      <a:moveTo>
                        <a:pt x="3" y="9"/>
                      </a:moveTo>
                      <a:lnTo>
                        <a:pt x="3" y="0"/>
                      </a:lnTo>
                      <a:lnTo>
                        <a:pt x="0" y="0"/>
                      </a:lnTo>
                      <a:lnTo>
                        <a:pt x="3" y="9"/>
                      </a:lnTo>
                      <a:lnTo>
                        <a:pt x="3" y="9"/>
                      </a:lnTo>
                      <a:close/>
                    </a:path>
                  </a:pathLst>
                </a:custGeom>
                <a:solidFill>
                  <a:srgbClr val="01AAE5"/>
                </a:solidFill>
                <a:ln>
                  <a:noFill/>
                </a:ln>
                <a:extLst/>
              </p:spPr>
              <p:txBody>
                <a:bodyPr/>
                <a:lstStyle/>
                <a:p>
                  <a:pPr eaLnBrk="1" hangingPunct="1">
                    <a:defRPr/>
                  </a:pPr>
                  <a:endParaRPr lang="zh-CN" altLang="en-US" sz="1050"/>
                </a:p>
              </p:txBody>
            </p:sp>
            <p:sp>
              <p:nvSpPr>
                <p:cNvPr id="3980" name="Rectangle 1624"/>
                <p:cNvSpPr>
                  <a:spLocks noChangeArrowheads="1"/>
                </p:cNvSpPr>
                <p:nvPr/>
              </p:nvSpPr>
              <p:spPr bwMode="auto">
                <a:xfrm>
                  <a:off x="10889"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3981" name="Rectangle 1625"/>
                <p:cNvSpPr>
                  <a:spLocks noChangeArrowheads="1"/>
                </p:cNvSpPr>
                <p:nvPr/>
              </p:nvSpPr>
              <p:spPr bwMode="auto">
                <a:xfrm>
                  <a:off x="10897" y="1828"/>
                  <a:ext cx="0" cy="17"/>
                </a:xfrm>
                <a:prstGeom prst="rect">
                  <a:avLst/>
                </a:prstGeom>
                <a:solidFill>
                  <a:srgbClr val="01AAE5"/>
                </a:solidFill>
                <a:ln>
                  <a:noFill/>
                </a:ln>
                <a:extLst/>
              </p:spPr>
              <p:txBody>
                <a:bodyPr/>
                <a:lstStyle/>
                <a:p>
                  <a:pPr eaLnBrk="1" hangingPunct="1">
                    <a:defRPr/>
                  </a:pPr>
                  <a:endParaRPr lang="zh-CN" altLang="en-US" sz="1050"/>
                </a:p>
              </p:txBody>
            </p:sp>
            <p:sp>
              <p:nvSpPr>
                <p:cNvPr id="3982" name="Freeform 1626"/>
                <p:cNvSpPr>
                  <a:spLocks/>
                </p:cNvSpPr>
                <p:nvPr/>
              </p:nvSpPr>
              <p:spPr bwMode="auto">
                <a:xfrm>
                  <a:off x="10739" y="1855"/>
                  <a:ext cx="0" cy="17"/>
                </a:xfrm>
                <a:custGeom>
                  <a:avLst/>
                  <a:gdLst>
                    <a:gd name="T0" fmla="*/ 4 w 4"/>
                    <a:gd name="T1" fmla="*/ 11 h 11"/>
                    <a:gd name="T2" fmla="*/ 0 w 4"/>
                    <a:gd name="T3" fmla="*/ 0 h 11"/>
                    <a:gd name="T4" fmla="*/ 0 w 4"/>
                    <a:gd name="T5" fmla="*/ 0 h 11"/>
                    <a:gd name="T6" fmla="*/ 2 w 4"/>
                    <a:gd name="T7" fmla="*/ 11 h 11"/>
                    <a:gd name="T8" fmla="*/ 4 w 4"/>
                    <a:gd name="T9" fmla="*/ 11 h 11"/>
                  </a:gdLst>
                  <a:ahLst/>
                  <a:cxnLst>
                    <a:cxn ang="0">
                      <a:pos x="T0" y="T1"/>
                    </a:cxn>
                    <a:cxn ang="0">
                      <a:pos x="T2" y="T3"/>
                    </a:cxn>
                    <a:cxn ang="0">
                      <a:pos x="T4" y="T5"/>
                    </a:cxn>
                    <a:cxn ang="0">
                      <a:pos x="T6" y="T7"/>
                    </a:cxn>
                    <a:cxn ang="0">
                      <a:pos x="T8" y="T9"/>
                    </a:cxn>
                  </a:cxnLst>
                  <a:rect l="0" t="0" r="r" b="b"/>
                  <a:pathLst>
                    <a:path w="4" h="11">
                      <a:moveTo>
                        <a:pt x="4" y="11"/>
                      </a:moveTo>
                      <a:lnTo>
                        <a:pt x="0" y="0"/>
                      </a:lnTo>
                      <a:lnTo>
                        <a:pt x="0" y="0"/>
                      </a:lnTo>
                      <a:lnTo>
                        <a:pt x="2" y="11"/>
                      </a:lnTo>
                      <a:lnTo>
                        <a:pt x="4" y="11"/>
                      </a:lnTo>
                      <a:close/>
                    </a:path>
                  </a:pathLst>
                </a:custGeom>
                <a:solidFill>
                  <a:srgbClr val="01AAE5"/>
                </a:solidFill>
                <a:ln>
                  <a:noFill/>
                </a:ln>
                <a:extLst/>
              </p:spPr>
              <p:txBody>
                <a:bodyPr/>
                <a:lstStyle/>
                <a:p>
                  <a:pPr eaLnBrk="1" hangingPunct="1">
                    <a:defRPr/>
                  </a:pPr>
                  <a:endParaRPr lang="zh-CN" altLang="en-US" sz="1050"/>
                </a:p>
              </p:txBody>
            </p:sp>
            <p:sp>
              <p:nvSpPr>
                <p:cNvPr id="3983" name="Freeform 1627"/>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close/>
                    </a:path>
                  </a:pathLst>
                </a:custGeom>
                <a:solidFill>
                  <a:srgbClr val="01AAE5"/>
                </a:solidFill>
                <a:ln>
                  <a:noFill/>
                </a:ln>
                <a:extLst/>
              </p:spPr>
              <p:txBody>
                <a:bodyPr/>
                <a:lstStyle/>
                <a:p>
                  <a:pPr eaLnBrk="1" hangingPunct="1">
                    <a:defRPr/>
                  </a:pPr>
                  <a:endParaRPr lang="zh-CN" altLang="en-US" sz="1050"/>
                </a:p>
              </p:txBody>
            </p:sp>
            <p:sp>
              <p:nvSpPr>
                <p:cNvPr id="3984" name="Freeform 1628"/>
                <p:cNvSpPr>
                  <a:spLocks/>
                </p:cNvSpPr>
                <p:nvPr/>
              </p:nvSpPr>
              <p:spPr bwMode="auto">
                <a:xfrm>
                  <a:off x="10648" y="1881"/>
                  <a:ext cx="17" cy="35"/>
                </a:xfrm>
                <a:custGeom>
                  <a:avLst/>
                  <a:gdLst>
                    <a:gd name="T0" fmla="*/ 17 w 17"/>
                    <a:gd name="T1" fmla="*/ 31 h 31"/>
                    <a:gd name="T2" fmla="*/ 2 w 17"/>
                    <a:gd name="T3" fmla="*/ 0 h 31"/>
                    <a:gd name="T4" fmla="*/ 0 w 17"/>
                    <a:gd name="T5" fmla="*/ 0 h 31"/>
                    <a:gd name="T6" fmla="*/ 14 w 17"/>
                    <a:gd name="T7" fmla="*/ 31 h 31"/>
                    <a:gd name="T8" fmla="*/ 17 w 17"/>
                    <a:gd name="T9" fmla="*/ 31 h 31"/>
                  </a:gdLst>
                  <a:ahLst/>
                  <a:cxnLst>
                    <a:cxn ang="0">
                      <a:pos x="T0" y="T1"/>
                    </a:cxn>
                    <a:cxn ang="0">
                      <a:pos x="T2" y="T3"/>
                    </a:cxn>
                    <a:cxn ang="0">
                      <a:pos x="T4" y="T5"/>
                    </a:cxn>
                    <a:cxn ang="0">
                      <a:pos x="T6" y="T7"/>
                    </a:cxn>
                    <a:cxn ang="0">
                      <a:pos x="T8" y="T9"/>
                    </a:cxn>
                  </a:cxnLst>
                  <a:rect l="0" t="0" r="r" b="b"/>
                  <a:pathLst>
                    <a:path w="17" h="31">
                      <a:moveTo>
                        <a:pt x="17" y="31"/>
                      </a:moveTo>
                      <a:lnTo>
                        <a:pt x="2" y="0"/>
                      </a:lnTo>
                      <a:lnTo>
                        <a:pt x="0" y="0"/>
                      </a:lnTo>
                      <a:lnTo>
                        <a:pt x="14" y="31"/>
                      </a:lnTo>
                      <a:lnTo>
                        <a:pt x="17" y="31"/>
                      </a:lnTo>
                    </a:path>
                  </a:pathLst>
                </a:custGeom>
                <a:noFill/>
                <a:ln>
                  <a:noFill/>
                </a:ln>
                <a:extLst/>
              </p:spPr>
              <p:txBody>
                <a:bodyPr/>
                <a:lstStyle/>
                <a:p>
                  <a:pPr eaLnBrk="1" hangingPunct="1">
                    <a:defRPr/>
                  </a:pPr>
                  <a:endParaRPr lang="zh-CN" altLang="en-US" sz="1050"/>
                </a:p>
              </p:txBody>
            </p:sp>
            <p:sp>
              <p:nvSpPr>
                <p:cNvPr id="3985" name="Freeform 1629"/>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close/>
                    </a:path>
                  </a:pathLst>
                </a:custGeom>
                <a:solidFill>
                  <a:srgbClr val="01AAE5"/>
                </a:solidFill>
                <a:ln>
                  <a:noFill/>
                </a:ln>
                <a:extLst/>
              </p:spPr>
              <p:txBody>
                <a:bodyPr/>
                <a:lstStyle/>
                <a:p>
                  <a:pPr eaLnBrk="1" hangingPunct="1">
                    <a:defRPr/>
                  </a:pPr>
                  <a:endParaRPr lang="zh-CN" altLang="en-US" sz="1050"/>
                </a:p>
              </p:txBody>
            </p:sp>
            <p:sp>
              <p:nvSpPr>
                <p:cNvPr id="3986" name="Freeform 1630"/>
                <p:cNvSpPr>
                  <a:spLocks/>
                </p:cNvSpPr>
                <p:nvPr/>
              </p:nvSpPr>
              <p:spPr bwMode="auto">
                <a:xfrm>
                  <a:off x="10656" y="1881"/>
                  <a:ext cx="17" cy="17"/>
                </a:xfrm>
                <a:custGeom>
                  <a:avLst/>
                  <a:gdLst>
                    <a:gd name="T0" fmla="*/ 11 w 11"/>
                    <a:gd name="T1" fmla="*/ 24 h 26"/>
                    <a:gd name="T2" fmla="*/ 2 w 11"/>
                    <a:gd name="T3" fmla="*/ 0 h 26"/>
                    <a:gd name="T4" fmla="*/ 0 w 11"/>
                    <a:gd name="T5" fmla="*/ 0 h 26"/>
                    <a:gd name="T6" fmla="*/ 11 w 11"/>
                    <a:gd name="T7" fmla="*/ 26 h 26"/>
                    <a:gd name="T8" fmla="*/ 11 w 11"/>
                    <a:gd name="T9" fmla="*/ 24 h 26"/>
                  </a:gdLst>
                  <a:ahLst/>
                  <a:cxnLst>
                    <a:cxn ang="0">
                      <a:pos x="T0" y="T1"/>
                    </a:cxn>
                    <a:cxn ang="0">
                      <a:pos x="T2" y="T3"/>
                    </a:cxn>
                    <a:cxn ang="0">
                      <a:pos x="T4" y="T5"/>
                    </a:cxn>
                    <a:cxn ang="0">
                      <a:pos x="T6" y="T7"/>
                    </a:cxn>
                    <a:cxn ang="0">
                      <a:pos x="T8" y="T9"/>
                    </a:cxn>
                  </a:cxnLst>
                  <a:rect l="0" t="0" r="r" b="b"/>
                  <a:pathLst>
                    <a:path w="11" h="26">
                      <a:moveTo>
                        <a:pt x="11" y="24"/>
                      </a:moveTo>
                      <a:lnTo>
                        <a:pt x="2" y="0"/>
                      </a:lnTo>
                      <a:lnTo>
                        <a:pt x="0" y="0"/>
                      </a:lnTo>
                      <a:lnTo>
                        <a:pt x="11" y="26"/>
                      </a:lnTo>
                      <a:lnTo>
                        <a:pt x="11" y="24"/>
                      </a:lnTo>
                    </a:path>
                  </a:pathLst>
                </a:custGeom>
                <a:noFill/>
                <a:ln>
                  <a:noFill/>
                </a:ln>
                <a:extLst/>
              </p:spPr>
              <p:txBody>
                <a:bodyPr/>
                <a:lstStyle/>
                <a:p>
                  <a:pPr eaLnBrk="1" hangingPunct="1">
                    <a:defRPr/>
                  </a:pPr>
                  <a:endParaRPr lang="zh-CN" altLang="en-US" sz="1050"/>
                </a:p>
              </p:txBody>
            </p:sp>
            <p:sp>
              <p:nvSpPr>
                <p:cNvPr id="3987" name="Freeform 1631"/>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close/>
                    </a:path>
                  </a:pathLst>
                </a:custGeom>
                <a:solidFill>
                  <a:srgbClr val="01AAE5"/>
                </a:solidFill>
                <a:ln>
                  <a:noFill/>
                </a:ln>
                <a:extLst/>
              </p:spPr>
              <p:txBody>
                <a:bodyPr/>
                <a:lstStyle/>
                <a:p>
                  <a:pPr eaLnBrk="1" hangingPunct="1">
                    <a:defRPr/>
                  </a:pPr>
                  <a:endParaRPr lang="zh-CN" altLang="en-US" sz="1050"/>
                </a:p>
              </p:txBody>
            </p:sp>
            <p:sp>
              <p:nvSpPr>
                <p:cNvPr id="3988" name="Freeform 1632"/>
                <p:cNvSpPr>
                  <a:spLocks/>
                </p:cNvSpPr>
                <p:nvPr/>
              </p:nvSpPr>
              <p:spPr bwMode="auto">
                <a:xfrm>
                  <a:off x="10656" y="1881"/>
                  <a:ext cx="8" cy="26"/>
                </a:xfrm>
                <a:custGeom>
                  <a:avLst/>
                  <a:gdLst>
                    <a:gd name="T0" fmla="*/ 12 w 12"/>
                    <a:gd name="T1" fmla="*/ 28 h 28"/>
                    <a:gd name="T2" fmla="*/ 2 w 12"/>
                    <a:gd name="T3" fmla="*/ 0 h 28"/>
                    <a:gd name="T4" fmla="*/ 0 w 12"/>
                    <a:gd name="T5" fmla="*/ 0 h 28"/>
                    <a:gd name="T6" fmla="*/ 12 w 12"/>
                    <a:gd name="T7" fmla="*/ 28 h 28"/>
                    <a:gd name="T8" fmla="*/ 12 w 12"/>
                    <a:gd name="T9" fmla="*/ 28 h 28"/>
                  </a:gdLst>
                  <a:ahLst/>
                  <a:cxnLst>
                    <a:cxn ang="0">
                      <a:pos x="T0" y="T1"/>
                    </a:cxn>
                    <a:cxn ang="0">
                      <a:pos x="T2" y="T3"/>
                    </a:cxn>
                    <a:cxn ang="0">
                      <a:pos x="T4" y="T5"/>
                    </a:cxn>
                    <a:cxn ang="0">
                      <a:pos x="T6" y="T7"/>
                    </a:cxn>
                    <a:cxn ang="0">
                      <a:pos x="T8" y="T9"/>
                    </a:cxn>
                  </a:cxnLst>
                  <a:rect l="0" t="0" r="r" b="b"/>
                  <a:pathLst>
                    <a:path w="12" h="28">
                      <a:moveTo>
                        <a:pt x="12" y="28"/>
                      </a:moveTo>
                      <a:lnTo>
                        <a:pt x="2" y="0"/>
                      </a:lnTo>
                      <a:lnTo>
                        <a:pt x="0" y="0"/>
                      </a:lnTo>
                      <a:lnTo>
                        <a:pt x="12" y="28"/>
                      </a:lnTo>
                      <a:lnTo>
                        <a:pt x="12" y="28"/>
                      </a:lnTo>
                    </a:path>
                  </a:pathLst>
                </a:custGeom>
                <a:noFill/>
                <a:ln>
                  <a:noFill/>
                </a:ln>
                <a:extLst/>
              </p:spPr>
              <p:txBody>
                <a:bodyPr/>
                <a:lstStyle/>
                <a:p>
                  <a:pPr eaLnBrk="1" hangingPunct="1">
                    <a:defRPr/>
                  </a:pPr>
                  <a:endParaRPr lang="zh-CN" altLang="en-US" sz="1050"/>
                </a:p>
              </p:txBody>
            </p:sp>
            <p:sp>
              <p:nvSpPr>
                <p:cNvPr id="3989" name="Freeform 1633"/>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close/>
                    </a:path>
                  </a:pathLst>
                </a:custGeom>
                <a:solidFill>
                  <a:srgbClr val="01AAE5"/>
                </a:solidFill>
                <a:ln>
                  <a:noFill/>
                </a:ln>
                <a:extLst/>
              </p:spPr>
              <p:txBody>
                <a:bodyPr/>
                <a:lstStyle/>
                <a:p>
                  <a:pPr eaLnBrk="1" hangingPunct="1">
                    <a:defRPr/>
                  </a:pPr>
                  <a:endParaRPr lang="zh-CN" altLang="en-US" sz="1050"/>
                </a:p>
              </p:txBody>
            </p:sp>
            <p:sp>
              <p:nvSpPr>
                <p:cNvPr id="3990" name="Freeform 1634"/>
                <p:cNvSpPr>
                  <a:spLocks/>
                </p:cNvSpPr>
                <p:nvPr/>
              </p:nvSpPr>
              <p:spPr bwMode="auto">
                <a:xfrm>
                  <a:off x="10656" y="1881"/>
                  <a:ext cx="0" cy="26"/>
                </a:xfrm>
                <a:custGeom>
                  <a:avLst/>
                  <a:gdLst>
                    <a:gd name="T0" fmla="*/ 12 w 12"/>
                    <a:gd name="T1" fmla="*/ 29 h 29"/>
                    <a:gd name="T2" fmla="*/ 0 w 12"/>
                    <a:gd name="T3" fmla="*/ 0 h 29"/>
                    <a:gd name="T4" fmla="*/ 0 w 12"/>
                    <a:gd name="T5" fmla="*/ 0 h 29"/>
                    <a:gd name="T6" fmla="*/ 12 w 12"/>
                    <a:gd name="T7" fmla="*/ 29 h 29"/>
                    <a:gd name="T8" fmla="*/ 12 w 12"/>
                    <a:gd name="T9" fmla="*/ 29 h 29"/>
                  </a:gdLst>
                  <a:ahLst/>
                  <a:cxnLst>
                    <a:cxn ang="0">
                      <a:pos x="T0" y="T1"/>
                    </a:cxn>
                    <a:cxn ang="0">
                      <a:pos x="T2" y="T3"/>
                    </a:cxn>
                    <a:cxn ang="0">
                      <a:pos x="T4" y="T5"/>
                    </a:cxn>
                    <a:cxn ang="0">
                      <a:pos x="T6" y="T7"/>
                    </a:cxn>
                    <a:cxn ang="0">
                      <a:pos x="T8" y="T9"/>
                    </a:cxn>
                  </a:cxnLst>
                  <a:rect l="0" t="0" r="r" b="b"/>
                  <a:pathLst>
                    <a:path w="12" h="29">
                      <a:moveTo>
                        <a:pt x="12" y="29"/>
                      </a:moveTo>
                      <a:lnTo>
                        <a:pt x="0" y="0"/>
                      </a:lnTo>
                      <a:lnTo>
                        <a:pt x="0" y="0"/>
                      </a:lnTo>
                      <a:lnTo>
                        <a:pt x="12" y="29"/>
                      </a:lnTo>
                      <a:lnTo>
                        <a:pt x="12" y="29"/>
                      </a:lnTo>
                    </a:path>
                  </a:pathLst>
                </a:custGeom>
                <a:noFill/>
                <a:ln>
                  <a:noFill/>
                </a:ln>
                <a:extLst/>
              </p:spPr>
              <p:txBody>
                <a:bodyPr/>
                <a:lstStyle/>
                <a:p>
                  <a:pPr eaLnBrk="1" hangingPunct="1">
                    <a:defRPr/>
                  </a:pPr>
                  <a:endParaRPr lang="zh-CN" altLang="en-US" sz="1050"/>
                </a:p>
              </p:txBody>
            </p:sp>
            <p:sp>
              <p:nvSpPr>
                <p:cNvPr id="3991" name="Freeform 1635"/>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close/>
                    </a:path>
                  </a:pathLst>
                </a:custGeom>
                <a:solidFill>
                  <a:srgbClr val="01AAE5"/>
                </a:solidFill>
                <a:ln>
                  <a:noFill/>
                </a:ln>
                <a:extLst/>
              </p:spPr>
              <p:txBody>
                <a:bodyPr/>
                <a:lstStyle/>
                <a:p>
                  <a:pPr eaLnBrk="1" hangingPunct="1">
                    <a:defRPr/>
                  </a:pPr>
                  <a:endParaRPr lang="zh-CN" altLang="en-US" sz="1050"/>
                </a:p>
              </p:txBody>
            </p:sp>
            <p:sp>
              <p:nvSpPr>
                <p:cNvPr id="3992" name="Freeform 1636"/>
                <p:cNvSpPr>
                  <a:spLocks/>
                </p:cNvSpPr>
                <p:nvPr/>
              </p:nvSpPr>
              <p:spPr bwMode="auto">
                <a:xfrm>
                  <a:off x="10665" y="1881"/>
                  <a:ext cx="17" cy="17"/>
                </a:xfrm>
                <a:custGeom>
                  <a:avLst/>
                  <a:gdLst>
                    <a:gd name="T0" fmla="*/ 9 w 9"/>
                    <a:gd name="T1" fmla="*/ 21 h 24"/>
                    <a:gd name="T2" fmla="*/ 0 w 9"/>
                    <a:gd name="T3" fmla="*/ 0 h 24"/>
                    <a:gd name="T4" fmla="*/ 0 w 9"/>
                    <a:gd name="T5" fmla="*/ 0 h 24"/>
                    <a:gd name="T6" fmla="*/ 9 w 9"/>
                    <a:gd name="T7" fmla="*/ 24 h 24"/>
                    <a:gd name="T8" fmla="*/ 9 w 9"/>
                    <a:gd name="T9" fmla="*/ 21 h 24"/>
                  </a:gdLst>
                  <a:ahLst/>
                  <a:cxnLst>
                    <a:cxn ang="0">
                      <a:pos x="T0" y="T1"/>
                    </a:cxn>
                    <a:cxn ang="0">
                      <a:pos x="T2" y="T3"/>
                    </a:cxn>
                    <a:cxn ang="0">
                      <a:pos x="T4" y="T5"/>
                    </a:cxn>
                    <a:cxn ang="0">
                      <a:pos x="T6" y="T7"/>
                    </a:cxn>
                    <a:cxn ang="0">
                      <a:pos x="T8" y="T9"/>
                    </a:cxn>
                  </a:cxnLst>
                  <a:rect l="0" t="0" r="r" b="b"/>
                  <a:pathLst>
                    <a:path w="9" h="24">
                      <a:moveTo>
                        <a:pt x="9" y="21"/>
                      </a:moveTo>
                      <a:lnTo>
                        <a:pt x="0" y="0"/>
                      </a:lnTo>
                      <a:lnTo>
                        <a:pt x="0" y="0"/>
                      </a:lnTo>
                      <a:lnTo>
                        <a:pt x="9" y="24"/>
                      </a:lnTo>
                      <a:lnTo>
                        <a:pt x="9" y="21"/>
                      </a:lnTo>
                    </a:path>
                  </a:pathLst>
                </a:custGeom>
                <a:noFill/>
                <a:ln>
                  <a:noFill/>
                </a:ln>
                <a:extLst/>
              </p:spPr>
              <p:txBody>
                <a:bodyPr/>
                <a:lstStyle/>
                <a:p>
                  <a:pPr eaLnBrk="1" hangingPunct="1">
                    <a:defRPr/>
                  </a:pPr>
                  <a:endParaRPr lang="zh-CN" altLang="en-US" sz="1050"/>
                </a:p>
              </p:txBody>
            </p:sp>
            <p:sp>
              <p:nvSpPr>
                <p:cNvPr id="3993" name="Freeform 1637"/>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close/>
                    </a:path>
                  </a:pathLst>
                </a:custGeom>
                <a:solidFill>
                  <a:srgbClr val="01AAE5"/>
                </a:solidFill>
                <a:ln>
                  <a:noFill/>
                </a:ln>
                <a:extLst/>
              </p:spPr>
              <p:txBody>
                <a:bodyPr/>
                <a:lstStyle/>
                <a:p>
                  <a:pPr eaLnBrk="1" hangingPunct="1">
                    <a:defRPr/>
                  </a:pPr>
                  <a:endParaRPr lang="zh-CN" altLang="en-US" sz="1050"/>
                </a:p>
              </p:txBody>
            </p:sp>
            <p:sp>
              <p:nvSpPr>
                <p:cNvPr id="3994" name="Freeform 1638"/>
                <p:cNvSpPr>
                  <a:spLocks/>
                </p:cNvSpPr>
                <p:nvPr/>
              </p:nvSpPr>
              <p:spPr bwMode="auto">
                <a:xfrm>
                  <a:off x="10681" y="1881"/>
                  <a:ext cx="8" cy="9"/>
                </a:xfrm>
                <a:custGeom>
                  <a:avLst/>
                  <a:gdLst>
                    <a:gd name="T0" fmla="*/ 9 w 9"/>
                    <a:gd name="T1" fmla="*/ 16 h 16"/>
                    <a:gd name="T2" fmla="*/ 2 w 9"/>
                    <a:gd name="T3" fmla="*/ 0 h 16"/>
                    <a:gd name="T4" fmla="*/ 0 w 9"/>
                    <a:gd name="T5" fmla="*/ 0 h 16"/>
                    <a:gd name="T6" fmla="*/ 7 w 9"/>
                    <a:gd name="T7" fmla="*/ 16 h 16"/>
                    <a:gd name="T8" fmla="*/ 9 w 9"/>
                    <a:gd name="T9" fmla="*/ 16 h 16"/>
                  </a:gdLst>
                  <a:ahLst/>
                  <a:cxnLst>
                    <a:cxn ang="0">
                      <a:pos x="T0" y="T1"/>
                    </a:cxn>
                    <a:cxn ang="0">
                      <a:pos x="T2" y="T3"/>
                    </a:cxn>
                    <a:cxn ang="0">
                      <a:pos x="T4" y="T5"/>
                    </a:cxn>
                    <a:cxn ang="0">
                      <a:pos x="T6" y="T7"/>
                    </a:cxn>
                    <a:cxn ang="0">
                      <a:pos x="T8" y="T9"/>
                    </a:cxn>
                  </a:cxnLst>
                  <a:rect l="0" t="0" r="r" b="b"/>
                  <a:pathLst>
                    <a:path w="9" h="16">
                      <a:moveTo>
                        <a:pt x="9" y="16"/>
                      </a:moveTo>
                      <a:lnTo>
                        <a:pt x="2" y="0"/>
                      </a:lnTo>
                      <a:lnTo>
                        <a:pt x="0" y="0"/>
                      </a:lnTo>
                      <a:lnTo>
                        <a:pt x="7" y="16"/>
                      </a:lnTo>
                      <a:lnTo>
                        <a:pt x="9" y="16"/>
                      </a:lnTo>
                    </a:path>
                  </a:pathLst>
                </a:custGeom>
                <a:noFill/>
                <a:ln>
                  <a:noFill/>
                </a:ln>
                <a:extLst/>
              </p:spPr>
              <p:txBody>
                <a:bodyPr/>
                <a:lstStyle/>
                <a:p>
                  <a:pPr eaLnBrk="1" hangingPunct="1">
                    <a:defRPr/>
                  </a:pPr>
                  <a:endParaRPr lang="zh-CN" altLang="en-US" sz="1050"/>
                </a:p>
              </p:txBody>
            </p:sp>
            <p:sp>
              <p:nvSpPr>
                <p:cNvPr id="3995" name="Freeform 1639"/>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3996" name="Freeform 1640"/>
                <p:cNvSpPr>
                  <a:spLocks/>
                </p:cNvSpPr>
                <p:nvPr/>
              </p:nvSpPr>
              <p:spPr bwMode="auto">
                <a:xfrm>
                  <a:off x="10673" y="1881"/>
                  <a:ext cx="8" cy="9"/>
                </a:xfrm>
                <a:custGeom>
                  <a:avLst/>
                  <a:gdLst>
                    <a:gd name="T0" fmla="*/ 10 w 10"/>
                    <a:gd name="T1" fmla="*/ 19 h 19"/>
                    <a:gd name="T2" fmla="*/ 0 w 10"/>
                    <a:gd name="T3" fmla="*/ 0 h 19"/>
                    <a:gd name="T4" fmla="*/ 0 w 10"/>
                    <a:gd name="T5" fmla="*/ 0 h 19"/>
                    <a:gd name="T6" fmla="*/ 8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0" y="0"/>
                      </a:lnTo>
                      <a:lnTo>
                        <a:pt x="0" y="0"/>
                      </a:lnTo>
                      <a:lnTo>
                        <a:pt x="8" y="19"/>
                      </a:lnTo>
                      <a:lnTo>
                        <a:pt x="10" y="19"/>
                      </a:lnTo>
                    </a:path>
                  </a:pathLst>
                </a:custGeom>
                <a:noFill/>
                <a:ln>
                  <a:noFill/>
                </a:ln>
                <a:extLst/>
              </p:spPr>
              <p:txBody>
                <a:bodyPr/>
                <a:lstStyle/>
                <a:p>
                  <a:pPr eaLnBrk="1" hangingPunct="1">
                    <a:defRPr/>
                  </a:pPr>
                  <a:endParaRPr lang="zh-CN" altLang="en-US" sz="1050"/>
                </a:p>
              </p:txBody>
            </p:sp>
            <p:sp>
              <p:nvSpPr>
                <p:cNvPr id="3997" name="Freeform 1641"/>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close/>
                    </a:path>
                  </a:pathLst>
                </a:custGeom>
                <a:solidFill>
                  <a:srgbClr val="01AAE5"/>
                </a:solidFill>
                <a:ln>
                  <a:noFill/>
                </a:ln>
                <a:extLst/>
              </p:spPr>
              <p:txBody>
                <a:bodyPr/>
                <a:lstStyle/>
                <a:p>
                  <a:pPr eaLnBrk="1" hangingPunct="1">
                    <a:defRPr/>
                  </a:pPr>
                  <a:endParaRPr lang="zh-CN" altLang="en-US" sz="1050"/>
                </a:p>
              </p:txBody>
            </p:sp>
            <p:sp>
              <p:nvSpPr>
                <p:cNvPr id="3998" name="Freeform 1642"/>
                <p:cNvSpPr>
                  <a:spLocks/>
                </p:cNvSpPr>
                <p:nvPr/>
              </p:nvSpPr>
              <p:spPr bwMode="auto">
                <a:xfrm>
                  <a:off x="10681" y="1881"/>
                  <a:ext cx="8" cy="9"/>
                </a:xfrm>
                <a:custGeom>
                  <a:avLst/>
                  <a:gdLst>
                    <a:gd name="T0" fmla="*/ 10 w 10"/>
                    <a:gd name="T1" fmla="*/ 19 h 19"/>
                    <a:gd name="T2" fmla="*/ 3 w 10"/>
                    <a:gd name="T3" fmla="*/ 0 h 19"/>
                    <a:gd name="T4" fmla="*/ 0 w 10"/>
                    <a:gd name="T5" fmla="*/ 2 h 19"/>
                    <a:gd name="T6" fmla="*/ 7 w 10"/>
                    <a:gd name="T7" fmla="*/ 19 h 19"/>
                    <a:gd name="T8" fmla="*/ 10 w 10"/>
                    <a:gd name="T9" fmla="*/ 19 h 19"/>
                  </a:gdLst>
                  <a:ahLst/>
                  <a:cxnLst>
                    <a:cxn ang="0">
                      <a:pos x="T0" y="T1"/>
                    </a:cxn>
                    <a:cxn ang="0">
                      <a:pos x="T2" y="T3"/>
                    </a:cxn>
                    <a:cxn ang="0">
                      <a:pos x="T4" y="T5"/>
                    </a:cxn>
                    <a:cxn ang="0">
                      <a:pos x="T6" y="T7"/>
                    </a:cxn>
                    <a:cxn ang="0">
                      <a:pos x="T8" y="T9"/>
                    </a:cxn>
                  </a:cxnLst>
                  <a:rect l="0" t="0" r="r" b="b"/>
                  <a:pathLst>
                    <a:path w="10" h="19">
                      <a:moveTo>
                        <a:pt x="10" y="19"/>
                      </a:moveTo>
                      <a:lnTo>
                        <a:pt x="3" y="0"/>
                      </a:lnTo>
                      <a:lnTo>
                        <a:pt x="0" y="2"/>
                      </a:lnTo>
                      <a:lnTo>
                        <a:pt x="7" y="19"/>
                      </a:lnTo>
                      <a:lnTo>
                        <a:pt x="10" y="19"/>
                      </a:lnTo>
                    </a:path>
                  </a:pathLst>
                </a:custGeom>
                <a:noFill/>
                <a:ln>
                  <a:noFill/>
                </a:ln>
                <a:extLst/>
              </p:spPr>
              <p:txBody>
                <a:bodyPr/>
                <a:lstStyle/>
                <a:p>
                  <a:pPr eaLnBrk="1" hangingPunct="1">
                    <a:defRPr/>
                  </a:pPr>
                  <a:endParaRPr lang="zh-CN" altLang="en-US" sz="1050"/>
                </a:p>
              </p:txBody>
            </p:sp>
            <p:sp>
              <p:nvSpPr>
                <p:cNvPr id="3999" name="Freeform 1643"/>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close/>
                    </a:path>
                  </a:pathLst>
                </a:custGeom>
                <a:solidFill>
                  <a:srgbClr val="01AAE5"/>
                </a:solidFill>
                <a:ln>
                  <a:noFill/>
                </a:ln>
                <a:extLst/>
              </p:spPr>
              <p:txBody>
                <a:bodyPr/>
                <a:lstStyle/>
                <a:p>
                  <a:pPr eaLnBrk="1" hangingPunct="1">
                    <a:defRPr/>
                  </a:pPr>
                  <a:endParaRPr lang="zh-CN" altLang="en-US" sz="1050"/>
                </a:p>
              </p:txBody>
            </p:sp>
            <p:sp>
              <p:nvSpPr>
                <p:cNvPr id="4000" name="Freeform 1644"/>
                <p:cNvSpPr>
                  <a:spLocks/>
                </p:cNvSpPr>
                <p:nvPr/>
              </p:nvSpPr>
              <p:spPr bwMode="auto">
                <a:xfrm>
                  <a:off x="10640" y="1881"/>
                  <a:ext cx="17" cy="35"/>
                </a:xfrm>
                <a:custGeom>
                  <a:avLst/>
                  <a:gdLst>
                    <a:gd name="T0" fmla="*/ 17 w 17"/>
                    <a:gd name="T1" fmla="*/ 34 h 34"/>
                    <a:gd name="T2" fmla="*/ 3 w 17"/>
                    <a:gd name="T3" fmla="*/ 0 h 34"/>
                    <a:gd name="T4" fmla="*/ 0 w 17"/>
                    <a:gd name="T5" fmla="*/ 0 h 34"/>
                    <a:gd name="T6" fmla="*/ 15 w 17"/>
                    <a:gd name="T7" fmla="*/ 34 h 34"/>
                    <a:gd name="T8" fmla="*/ 17 w 17"/>
                    <a:gd name="T9" fmla="*/ 34 h 34"/>
                  </a:gdLst>
                  <a:ahLst/>
                  <a:cxnLst>
                    <a:cxn ang="0">
                      <a:pos x="T0" y="T1"/>
                    </a:cxn>
                    <a:cxn ang="0">
                      <a:pos x="T2" y="T3"/>
                    </a:cxn>
                    <a:cxn ang="0">
                      <a:pos x="T4" y="T5"/>
                    </a:cxn>
                    <a:cxn ang="0">
                      <a:pos x="T6" y="T7"/>
                    </a:cxn>
                    <a:cxn ang="0">
                      <a:pos x="T8" y="T9"/>
                    </a:cxn>
                  </a:cxnLst>
                  <a:rect l="0" t="0" r="r" b="b"/>
                  <a:pathLst>
                    <a:path w="17" h="34">
                      <a:moveTo>
                        <a:pt x="17" y="34"/>
                      </a:moveTo>
                      <a:lnTo>
                        <a:pt x="3" y="0"/>
                      </a:lnTo>
                      <a:lnTo>
                        <a:pt x="0" y="0"/>
                      </a:lnTo>
                      <a:lnTo>
                        <a:pt x="15" y="34"/>
                      </a:lnTo>
                      <a:lnTo>
                        <a:pt x="17" y="34"/>
                      </a:lnTo>
                    </a:path>
                  </a:pathLst>
                </a:custGeom>
                <a:noFill/>
                <a:ln>
                  <a:noFill/>
                </a:ln>
                <a:extLst/>
              </p:spPr>
              <p:txBody>
                <a:bodyPr/>
                <a:lstStyle/>
                <a:p>
                  <a:pPr eaLnBrk="1" hangingPunct="1">
                    <a:defRPr/>
                  </a:pPr>
                  <a:endParaRPr lang="zh-CN" altLang="en-US" sz="1050"/>
                </a:p>
              </p:txBody>
            </p:sp>
            <p:sp>
              <p:nvSpPr>
                <p:cNvPr id="4001" name="Freeform 1645"/>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4002" name="Freeform 1646"/>
                <p:cNvSpPr>
                  <a:spLocks/>
                </p:cNvSpPr>
                <p:nvPr/>
              </p:nvSpPr>
              <p:spPr bwMode="auto">
                <a:xfrm>
                  <a:off x="10606" y="1889"/>
                  <a:ext cx="25" cy="35"/>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4003" name="Freeform 1647"/>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close/>
                    </a:path>
                  </a:pathLst>
                </a:custGeom>
                <a:solidFill>
                  <a:srgbClr val="01AAE5"/>
                </a:solidFill>
                <a:ln>
                  <a:noFill/>
                </a:ln>
                <a:extLst/>
              </p:spPr>
              <p:txBody>
                <a:bodyPr/>
                <a:lstStyle/>
                <a:p>
                  <a:pPr eaLnBrk="1" hangingPunct="1">
                    <a:defRPr/>
                  </a:pPr>
                  <a:endParaRPr lang="zh-CN" altLang="en-US" sz="1050"/>
                </a:p>
              </p:txBody>
            </p:sp>
            <p:sp>
              <p:nvSpPr>
                <p:cNvPr id="4004" name="Freeform 1648"/>
                <p:cNvSpPr>
                  <a:spLocks/>
                </p:cNvSpPr>
                <p:nvPr/>
              </p:nvSpPr>
              <p:spPr bwMode="auto">
                <a:xfrm>
                  <a:off x="10615" y="1889"/>
                  <a:ext cx="17" cy="35"/>
                </a:xfrm>
                <a:custGeom>
                  <a:avLst/>
                  <a:gdLst>
                    <a:gd name="T0" fmla="*/ 22 w 22"/>
                    <a:gd name="T1" fmla="*/ 40 h 40"/>
                    <a:gd name="T2" fmla="*/ 0 w 22"/>
                    <a:gd name="T3" fmla="*/ 0 h 40"/>
                    <a:gd name="T4" fmla="*/ 0 w 22"/>
                    <a:gd name="T5" fmla="*/ 0 h 40"/>
                    <a:gd name="T6" fmla="*/ 22 w 22"/>
                    <a:gd name="T7" fmla="*/ 40 h 40"/>
                    <a:gd name="T8" fmla="*/ 22 w 22"/>
                    <a:gd name="T9" fmla="*/ 40 h 40"/>
                  </a:gdLst>
                  <a:ahLst/>
                  <a:cxnLst>
                    <a:cxn ang="0">
                      <a:pos x="T0" y="T1"/>
                    </a:cxn>
                    <a:cxn ang="0">
                      <a:pos x="T2" y="T3"/>
                    </a:cxn>
                    <a:cxn ang="0">
                      <a:pos x="T4" y="T5"/>
                    </a:cxn>
                    <a:cxn ang="0">
                      <a:pos x="T6" y="T7"/>
                    </a:cxn>
                    <a:cxn ang="0">
                      <a:pos x="T8" y="T9"/>
                    </a:cxn>
                  </a:cxnLst>
                  <a:rect l="0" t="0" r="r" b="b"/>
                  <a:pathLst>
                    <a:path w="22" h="40">
                      <a:moveTo>
                        <a:pt x="22" y="40"/>
                      </a:moveTo>
                      <a:lnTo>
                        <a:pt x="0" y="0"/>
                      </a:lnTo>
                      <a:lnTo>
                        <a:pt x="0" y="0"/>
                      </a:lnTo>
                      <a:lnTo>
                        <a:pt x="22" y="40"/>
                      </a:lnTo>
                      <a:lnTo>
                        <a:pt x="22" y="40"/>
                      </a:lnTo>
                    </a:path>
                  </a:pathLst>
                </a:custGeom>
                <a:noFill/>
                <a:ln>
                  <a:noFill/>
                </a:ln>
                <a:extLst/>
              </p:spPr>
              <p:txBody>
                <a:bodyPr/>
                <a:lstStyle/>
                <a:p>
                  <a:pPr eaLnBrk="1" hangingPunct="1">
                    <a:defRPr/>
                  </a:pPr>
                  <a:endParaRPr lang="zh-CN" altLang="en-US" sz="1050"/>
                </a:p>
              </p:txBody>
            </p:sp>
            <p:sp>
              <p:nvSpPr>
                <p:cNvPr id="4005" name="Freeform 1649"/>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4006" name="Freeform 1650"/>
                <p:cNvSpPr>
                  <a:spLocks/>
                </p:cNvSpPr>
                <p:nvPr/>
              </p:nvSpPr>
              <p:spPr bwMode="auto">
                <a:xfrm>
                  <a:off x="10615" y="1889"/>
                  <a:ext cx="25" cy="35"/>
                </a:xfrm>
                <a:custGeom>
                  <a:avLst/>
                  <a:gdLst>
                    <a:gd name="T0" fmla="*/ 21 w 21"/>
                    <a:gd name="T1" fmla="*/ 40 h 40"/>
                    <a:gd name="T2" fmla="*/ 2 w 21"/>
                    <a:gd name="T3" fmla="*/ 0 h 40"/>
                    <a:gd name="T4" fmla="*/ 0 w 21"/>
                    <a:gd name="T5" fmla="*/ 0 h 40"/>
                    <a:gd name="T6" fmla="*/ 19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2" y="0"/>
                      </a:lnTo>
                      <a:lnTo>
                        <a:pt x="0" y="0"/>
                      </a:lnTo>
                      <a:lnTo>
                        <a:pt x="19" y="40"/>
                      </a:lnTo>
                      <a:lnTo>
                        <a:pt x="21" y="40"/>
                      </a:lnTo>
                    </a:path>
                  </a:pathLst>
                </a:custGeom>
                <a:noFill/>
                <a:ln>
                  <a:noFill/>
                </a:ln>
                <a:extLst/>
              </p:spPr>
              <p:txBody>
                <a:bodyPr/>
                <a:lstStyle/>
                <a:p>
                  <a:pPr eaLnBrk="1" hangingPunct="1">
                    <a:defRPr/>
                  </a:pPr>
                  <a:endParaRPr lang="zh-CN" altLang="en-US" sz="1050"/>
                </a:p>
              </p:txBody>
            </p:sp>
            <p:sp>
              <p:nvSpPr>
                <p:cNvPr id="4007" name="Freeform 1651"/>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close/>
                    </a:path>
                  </a:pathLst>
                </a:custGeom>
                <a:solidFill>
                  <a:srgbClr val="01AAE5"/>
                </a:solidFill>
                <a:ln>
                  <a:noFill/>
                </a:ln>
                <a:extLst/>
              </p:spPr>
              <p:txBody>
                <a:bodyPr/>
                <a:lstStyle/>
                <a:p>
                  <a:pPr eaLnBrk="1" hangingPunct="1">
                    <a:defRPr/>
                  </a:pPr>
                  <a:endParaRPr lang="zh-CN" altLang="en-US" sz="1050"/>
                </a:p>
              </p:txBody>
            </p:sp>
            <p:sp>
              <p:nvSpPr>
                <p:cNvPr id="4008" name="Freeform 1652"/>
                <p:cNvSpPr>
                  <a:spLocks/>
                </p:cNvSpPr>
                <p:nvPr/>
              </p:nvSpPr>
              <p:spPr bwMode="auto">
                <a:xfrm>
                  <a:off x="10606" y="1889"/>
                  <a:ext cx="25" cy="44"/>
                </a:xfrm>
                <a:custGeom>
                  <a:avLst/>
                  <a:gdLst>
                    <a:gd name="T0" fmla="*/ 21 w 21"/>
                    <a:gd name="T1" fmla="*/ 42 h 42"/>
                    <a:gd name="T2" fmla="*/ 0 w 21"/>
                    <a:gd name="T3" fmla="*/ 0 h 42"/>
                    <a:gd name="T4" fmla="*/ 0 w 21"/>
                    <a:gd name="T5" fmla="*/ 2 h 42"/>
                    <a:gd name="T6" fmla="*/ 21 w 21"/>
                    <a:gd name="T7" fmla="*/ 42 h 42"/>
                    <a:gd name="T8" fmla="*/ 21 w 21"/>
                    <a:gd name="T9" fmla="*/ 42 h 42"/>
                  </a:gdLst>
                  <a:ahLst/>
                  <a:cxnLst>
                    <a:cxn ang="0">
                      <a:pos x="T0" y="T1"/>
                    </a:cxn>
                    <a:cxn ang="0">
                      <a:pos x="T2" y="T3"/>
                    </a:cxn>
                    <a:cxn ang="0">
                      <a:pos x="T4" y="T5"/>
                    </a:cxn>
                    <a:cxn ang="0">
                      <a:pos x="T6" y="T7"/>
                    </a:cxn>
                    <a:cxn ang="0">
                      <a:pos x="T8" y="T9"/>
                    </a:cxn>
                  </a:cxnLst>
                  <a:rect l="0" t="0" r="r" b="b"/>
                  <a:pathLst>
                    <a:path w="21" h="42">
                      <a:moveTo>
                        <a:pt x="21" y="42"/>
                      </a:moveTo>
                      <a:lnTo>
                        <a:pt x="0" y="0"/>
                      </a:lnTo>
                      <a:lnTo>
                        <a:pt x="0" y="2"/>
                      </a:lnTo>
                      <a:lnTo>
                        <a:pt x="21" y="42"/>
                      </a:lnTo>
                      <a:lnTo>
                        <a:pt x="21" y="42"/>
                      </a:lnTo>
                    </a:path>
                  </a:pathLst>
                </a:custGeom>
                <a:noFill/>
                <a:ln>
                  <a:noFill/>
                </a:ln>
                <a:extLst/>
              </p:spPr>
              <p:txBody>
                <a:bodyPr/>
                <a:lstStyle/>
                <a:p>
                  <a:pPr eaLnBrk="1" hangingPunct="1">
                    <a:defRPr/>
                  </a:pPr>
                  <a:endParaRPr lang="zh-CN" altLang="en-US" sz="1050"/>
                </a:p>
              </p:txBody>
            </p:sp>
            <p:sp>
              <p:nvSpPr>
                <p:cNvPr id="4009" name="Freeform 1653"/>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close/>
                    </a:path>
                  </a:pathLst>
                </a:custGeom>
                <a:solidFill>
                  <a:srgbClr val="01AAE5"/>
                </a:solidFill>
                <a:ln>
                  <a:noFill/>
                </a:ln>
                <a:extLst/>
              </p:spPr>
              <p:txBody>
                <a:bodyPr/>
                <a:lstStyle/>
                <a:p>
                  <a:pPr eaLnBrk="1" hangingPunct="1">
                    <a:defRPr/>
                  </a:pPr>
                  <a:endParaRPr lang="zh-CN" altLang="en-US" sz="1050"/>
                </a:p>
              </p:txBody>
            </p:sp>
            <p:sp>
              <p:nvSpPr>
                <p:cNvPr id="4010" name="Freeform 1654"/>
                <p:cNvSpPr>
                  <a:spLocks/>
                </p:cNvSpPr>
                <p:nvPr/>
              </p:nvSpPr>
              <p:spPr bwMode="auto">
                <a:xfrm>
                  <a:off x="10623" y="1889"/>
                  <a:ext cx="25" cy="26"/>
                </a:xfrm>
                <a:custGeom>
                  <a:avLst/>
                  <a:gdLst>
                    <a:gd name="T0" fmla="*/ 21 w 21"/>
                    <a:gd name="T1" fmla="*/ 38 h 38"/>
                    <a:gd name="T2" fmla="*/ 2 w 21"/>
                    <a:gd name="T3" fmla="*/ 0 h 38"/>
                    <a:gd name="T4" fmla="*/ 0 w 21"/>
                    <a:gd name="T5" fmla="*/ 0 h 38"/>
                    <a:gd name="T6" fmla="*/ 19 w 21"/>
                    <a:gd name="T7" fmla="*/ 38 h 38"/>
                    <a:gd name="T8" fmla="*/ 21 w 21"/>
                    <a:gd name="T9" fmla="*/ 38 h 38"/>
                  </a:gdLst>
                  <a:ahLst/>
                  <a:cxnLst>
                    <a:cxn ang="0">
                      <a:pos x="T0" y="T1"/>
                    </a:cxn>
                    <a:cxn ang="0">
                      <a:pos x="T2" y="T3"/>
                    </a:cxn>
                    <a:cxn ang="0">
                      <a:pos x="T4" y="T5"/>
                    </a:cxn>
                    <a:cxn ang="0">
                      <a:pos x="T6" y="T7"/>
                    </a:cxn>
                    <a:cxn ang="0">
                      <a:pos x="T8" y="T9"/>
                    </a:cxn>
                  </a:cxnLst>
                  <a:rect l="0" t="0" r="r" b="b"/>
                  <a:pathLst>
                    <a:path w="21" h="38">
                      <a:moveTo>
                        <a:pt x="21" y="38"/>
                      </a:moveTo>
                      <a:lnTo>
                        <a:pt x="2" y="0"/>
                      </a:lnTo>
                      <a:lnTo>
                        <a:pt x="0" y="0"/>
                      </a:lnTo>
                      <a:lnTo>
                        <a:pt x="19" y="38"/>
                      </a:lnTo>
                      <a:lnTo>
                        <a:pt x="21" y="38"/>
                      </a:lnTo>
                    </a:path>
                  </a:pathLst>
                </a:custGeom>
                <a:noFill/>
                <a:ln>
                  <a:noFill/>
                </a:ln>
                <a:extLst/>
              </p:spPr>
              <p:txBody>
                <a:bodyPr/>
                <a:lstStyle/>
                <a:p>
                  <a:pPr eaLnBrk="1" hangingPunct="1">
                    <a:defRPr/>
                  </a:pPr>
                  <a:endParaRPr lang="zh-CN" altLang="en-US" sz="1050"/>
                </a:p>
              </p:txBody>
            </p:sp>
            <p:sp>
              <p:nvSpPr>
                <p:cNvPr id="4011" name="Freeform 1655"/>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close/>
                    </a:path>
                  </a:pathLst>
                </a:custGeom>
                <a:solidFill>
                  <a:srgbClr val="01AAE5"/>
                </a:solidFill>
                <a:ln>
                  <a:noFill/>
                </a:ln>
                <a:extLst/>
              </p:spPr>
              <p:txBody>
                <a:bodyPr/>
                <a:lstStyle/>
                <a:p>
                  <a:pPr eaLnBrk="1" hangingPunct="1">
                    <a:defRPr/>
                  </a:pPr>
                  <a:endParaRPr lang="zh-CN" altLang="en-US" sz="1050"/>
                </a:p>
              </p:txBody>
            </p:sp>
            <p:sp>
              <p:nvSpPr>
                <p:cNvPr id="4012" name="Freeform 1656"/>
                <p:cNvSpPr>
                  <a:spLocks/>
                </p:cNvSpPr>
                <p:nvPr/>
              </p:nvSpPr>
              <p:spPr bwMode="auto">
                <a:xfrm>
                  <a:off x="10631" y="1881"/>
                  <a:ext cx="25" cy="35"/>
                </a:xfrm>
                <a:custGeom>
                  <a:avLst/>
                  <a:gdLst>
                    <a:gd name="T0" fmla="*/ 16 w 16"/>
                    <a:gd name="T1" fmla="*/ 33 h 35"/>
                    <a:gd name="T2" fmla="*/ 0 w 16"/>
                    <a:gd name="T3" fmla="*/ 0 h 35"/>
                    <a:gd name="T4" fmla="*/ 0 w 16"/>
                    <a:gd name="T5" fmla="*/ 0 h 35"/>
                    <a:gd name="T6" fmla="*/ 16 w 16"/>
                    <a:gd name="T7" fmla="*/ 35 h 35"/>
                    <a:gd name="T8" fmla="*/ 16 w 16"/>
                    <a:gd name="T9" fmla="*/ 33 h 35"/>
                  </a:gdLst>
                  <a:ahLst/>
                  <a:cxnLst>
                    <a:cxn ang="0">
                      <a:pos x="T0" y="T1"/>
                    </a:cxn>
                    <a:cxn ang="0">
                      <a:pos x="T2" y="T3"/>
                    </a:cxn>
                    <a:cxn ang="0">
                      <a:pos x="T4" y="T5"/>
                    </a:cxn>
                    <a:cxn ang="0">
                      <a:pos x="T6" y="T7"/>
                    </a:cxn>
                    <a:cxn ang="0">
                      <a:pos x="T8" y="T9"/>
                    </a:cxn>
                  </a:cxnLst>
                  <a:rect l="0" t="0" r="r" b="b"/>
                  <a:pathLst>
                    <a:path w="16" h="35">
                      <a:moveTo>
                        <a:pt x="16" y="33"/>
                      </a:moveTo>
                      <a:lnTo>
                        <a:pt x="0" y="0"/>
                      </a:lnTo>
                      <a:lnTo>
                        <a:pt x="0" y="0"/>
                      </a:lnTo>
                      <a:lnTo>
                        <a:pt x="16" y="35"/>
                      </a:lnTo>
                      <a:lnTo>
                        <a:pt x="16" y="33"/>
                      </a:lnTo>
                    </a:path>
                  </a:pathLst>
                </a:custGeom>
                <a:noFill/>
                <a:ln>
                  <a:noFill/>
                </a:ln>
                <a:extLst/>
              </p:spPr>
              <p:txBody>
                <a:bodyPr/>
                <a:lstStyle/>
                <a:p>
                  <a:pPr eaLnBrk="1" hangingPunct="1">
                    <a:defRPr/>
                  </a:pPr>
                  <a:endParaRPr lang="zh-CN" altLang="en-US" sz="1050"/>
                </a:p>
              </p:txBody>
            </p:sp>
            <p:sp>
              <p:nvSpPr>
                <p:cNvPr id="4013" name="Freeform 1657"/>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close/>
                    </a:path>
                  </a:pathLst>
                </a:custGeom>
                <a:solidFill>
                  <a:srgbClr val="01AAE5"/>
                </a:solidFill>
                <a:ln>
                  <a:noFill/>
                </a:ln>
                <a:extLst/>
              </p:spPr>
              <p:txBody>
                <a:bodyPr/>
                <a:lstStyle/>
                <a:p>
                  <a:pPr eaLnBrk="1" hangingPunct="1">
                    <a:defRPr/>
                  </a:pPr>
                  <a:endParaRPr lang="zh-CN" altLang="en-US" sz="1050"/>
                </a:p>
              </p:txBody>
            </p:sp>
            <p:sp>
              <p:nvSpPr>
                <p:cNvPr id="4014" name="Freeform 1658"/>
                <p:cNvSpPr>
                  <a:spLocks/>
                </p:cNvSpPr>
                <p:nvPr/>
              </p:nvSpPr>
              <p:spPr bwMode="auto">
                <a:xfrm>
                  <a:off x="10631" y="1881"/>
                  <a:ext cx="17" cy="35"/>
                </a:xfrm>
                <a:custGeom>
                  <a:avLst/>
                  <a:gdLst>
                    <a:gd name="T0" fmla="*/ 16 w 16"/>
                    <a:gd name="T1" fmla="*/ 38 h 38"/>
                    <a:gd name="T2" fmla="*/ 0 w 16"/>
                    <a:gd name="T3" fmla="*/ 0 h 38"/>
                    <a:gd name="T4" fmla="*/ 0 w 16"/>
                    <a:gd name="T5" fmla="*/ 0 h 38"/>
                    <a:gd name="T6" fmla="*/ 16 w 16"/>
                    <a:gd name="T7" fmla="*/ 38 h 38"/>
                    <a:gd name="T8" fmla="*/ 16 w 16"/>
                    <a:gd name="T9" fmla="*/ 38 h 38"/>
                  </a:gdLst>
                  <a:ahLst/>
                  <a:cxnLst>
                    <a:cxn ang="0">
                      <a:pos x="T0" y="T1"/>
                    </a:cxn>
                    <a:cxn ang="0">
                      <a:pos x="T2" y="T3"/>
                    </a:cxn>
                    <a:cxn ang="0">
                      <a:pos x="T4" y="T5"/>
                    </a:cxn>
                    <a:cxn ang="0">
                      <a:pos x="T6" y="T7"/>
                    </a:cxn>
                    <a:cxn ang="0">
                      <a:pos x="T8" y="T9"/>
                    </a:cxn>
                  </a:cxnLst>
                  <a:rect l="0" t="0" r="r" b="b"/>
                  <a:pathLst>
                    <a:path w="16" h="38">
                      <a:moveTo>
                        <a:pt x="16" y="38"/>
                      </a:moveTo>
                      <a:lnTo>
                        <a:pt x="0" y="0"/>
                      </a:lnTo>
                      <a:lnTo>
                        <a:pt x="0" y="0"/>
                      </a:lnTo>
                      <a:lnTo>
                        <a:pt x="16" y="38"/>
                      </a:lnTo>
                      <a:lnTo>
                        <a:pt x="16" y="38"/>
                      </a:lnTo>
                    </a:path>
                  </a:pathLst>
                </a:custGeom>
                <a:noFill/>
                <a:ln>
                  <a:noFill/>
                </a:ln>
                <a:extLst/>
              </p:spPr>
              <p:txBody>
                <a:bodyPr/>
                <a:lstStyle/>
                <a:p>
                  <a:pPr eaLnBrk="1" hangingPunct="1">
                    <a:defRPr/>
                  </a:pPr>
                  <a:endParaRPr lang="zh-CN" altLang="en-US" sz="1050"/>
                </a:p>
              </p:txBody>
            </p:sp>
            <p:sp>
              <p:nvSpPr>
                <p:cNvPr id="4015" name="Freeform 1659"/>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4016" name="Freeform 1660"/>
                <p:cNvSpPr>
                  <a:spLocks/>
                </p:cNvSpPr>
                <p:nvPr/>
              </p:nvSpPr>
              <p:spPr bwMode="auto">
                <a:xfrm>
                  <a:off x="10690" y="1881"/>
                  <a:ext cx="0" cy="9"/>
                </a:xfrm>
                <a:custGeom>
                  <a:avLst/>
                  <a:gdLst>
                    <a:gd name="T0" fmla="*/ 5 w 5"/>
                    <a:gd name="T1" fmla="*/ 14 h 14"/>
                    <a:gd name="T2" fmla="*/ 0 w 5"/>
                    <a:gd name="T3" fmla="*/ 0 h 14"/>
                    <a:gd name="T4" fmla="*/ 0 w 5"/>
                    <a:gd name="T5" fmla="*/ 0 h 14"/>
                    <a:gd name="T6" fmla="*/ 5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5" y="14"/>
                      </a:lnTo>
                      <a:lnTo>
                        <a:pt x="5" y="14"/>
                      </a:lnTo>
                    </a:path>
                  </a:pathLst>
                </a:custGeom>
                <a:noFill/>
                <a:ln>
                  <a:noFill/>
                </a:ln>
                <a:extLst/>
              </p:spPr>
              <p:txBody>
                <a:bodyPr/>
                <a:lstStyle/>
                <a:p>
                  <a:pPr eaLnBrk="1" hangingPunct="1">
                    <a:defRPr/>
                  </a:pPr>
                  <a:endParaRPr lang="zh-CN" altLang="en-US" sz="1050"/>
                </a:p>
              </p:txBody>
            </p:sp>
            <p:sp>
              <p:nvSpPr>
                <p:cNvPr id="4017" name="Freeform 1661"/>
                <p:cNvSpPr>
                  <a:spLocks/>
                </p:cNvSpPr>
                <p:nvPr/>
              </p:nvSpPr>
              <p:spPr bwMode="auto">
                <a:xfrm>
                  <a:off x="10706" y="1881"/>
                  <a:ext cx="0" cy="9"/>
                </a:xfrm>
                <a:custGeom>
                  <a:avLst/>
                  <a:gdLst>
                    <a:gd name="T0" fmla="*/ 5 w 5"/>
                    <a:gd name="T1" fmla="*/ 10 h 10"/>
                    <a:gd name="T2" fmla="*/ 3 w 5"/>
                    <a:gd name="T3" fmla="*/ 0 h 10"/>
                    <a:gd name="T4" fmla="*/ 0 w 5"/>
                    <a:gd name="T5" fmla="*/ 0 h 10"/>
                    <a:gd name="T6" fmla="*/ 5 w 5"/>
                    <a:gd name="T7" fmla="*/ 10 h 10"/>
                    <a:gd name="T8" fmla="*/ 5 w 5"/>
                    <a:gd name="T9" fmla="*/ 10 h 10"/>
                  </a:gdLst>
                  <a:ahLst/>
                  <a:cxnLst>
                    <a:cxn ang="0">
                      <a:pos x="T0" y="T1"/>
                    </a:cxn>
                    <a:cxn ang="0">
                      <a:pos x="T2" y="T3"/>
                    </a:cxn>
                    <a:cxn ang="0">
                      <a:pos x="T4" y="T5"/>
                    </a:cxn>
                    <a:cxn ang="0">
                      <a:pos x="T6" y="T7"/>
                    </a:cxn>
                    <a:cxn ang="0">
                      <a:pos x="T8" y="T9"/>
                    </a:cxn>
                  </a:cxnLst>
                  <a:rect l="0" t="0" r="r" b="b"/>
                  <a:pathLst>
                    <a:path w="5" h="10">
                      <a:moveTo>
                        <a:pt x="5" y="10"/>
                      </a:moveTo>
                      <a:lnTo>
                        <a:pt x="3" y="0"/>
                      </a:lnTo>
                      <a:lnTo>
                        <a:pt x="0" y="0"/>
                      </a:lnTo>
                      <a:lnTo>
                        <a:pt x="5" y="10"/>
                      </a:lnTo>
                      <a:lnTo>
                        <a:pt x="5" y="10"/>
                      </a:lnTo>
                      <a:close/>
                    </a:path>
                  </a:pathLst>
                </a:custGeom>
                <a:solidFill>
                  <a:srgbClr val="01AAE5"/>
                </a:solidFill>
                <a:ln>
                  <a:noFill/>
                </a:ln>
                <a:extLst/>
              </p:spPr>
              <p:txBody>
                <a:bodyPr/>
                <a:lstStyle/>
                <a:p>
                  <a:pPr eaLnBrk="1" hangingPunct="1">
                    <a:defRPr/>
                  </a:pPr>
                  <a:endParaRPr lang="zh-CN" altLang="en-US" sz="1050"/>
                </a:p>
              </p:txBody>
            </p:sp>
            <p:sp>
              <p:nvSpPr>
                <p:cNvPr id="4018" name="Freeform 1662"/>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close/>
                    </a:path>
                  </a:pathLst>
                </a:custGeom>
                <a:solidFill>
                  <a:srgbClr val="01AAE5"/>
                </a:solidFill>
                <a:ln>
                  <a:noFill/>
                </a:ln>
                <a:extLst/>
              </p:spPr>
              <p:txBody>
                <a:bodyPr/>
                <a:lstStyle/>
                <a:p>
                  <a:pPr eaLnBrk="1" hangingPunct="1">
                    <a:defRPr/>
                  </a:pPr>
                  <a:endParaRPr lang="zh-CN" altLang="en-US" sz="1050"/>
                </a:p>
              </p:txBody>
            </p:sp>
            <p:sp>
              <p:nvSpPr>
                <p:cNvPr id="4019" name="Freeform 1663"/>
                <p:cNvSpPr>
                  <a:spLocks/>
                </p:cNvSpPr>
                <p:nvPr/>
              </p:nvSpPr>
              <p:spPr bwMode="auto">
                <a:xfrm>
                  <a:off x="10748" y="1855"/>
                  <a:ext cx="0" cy="17"/>
                </a:xfrm>
                <a:custGeom>
                  <a:avLst/>
                  <a:gdLst>
                    <a:gd name="T0" fmla="*/ 5 w 5"/>
                    <a:gd name="T1" fmla="*/ 16 h 16"/>
                    <a:gd name="T2" fmla="*/ 0 w 5"/>
                    <a:gd name="T3" fmla="*/ 0 h 16"/>
                    <a:gd name="T4" fmla="*/ 0 w 5"/>
                    <a:gd name="T5" fmla="*/ 0 h 16"/>
                    <a:gd name="T6" fmla="*/ 5 w 5"/>
                    <a:gd name="T7" fmla="*/ 16 h 16"/>
                    <a:gd name="T8" fmla="*/ 5 w 5"/>
                    <a:gd name="T9" fmla="*/ 16 h 16"/>
                  </a:gdLst>
                  <a:ahLst/>
                  <a:cxnLst>
                    <a:cxn ang="0">
                      <a:pos x="T0" y="T1"/>
                    </a:cxn>
                    <a:cxn ang="0">
                      <a:pos x="T2" y="T3"/>
                    </a:cxn>
                    <a:cxn ang="0">
                      <a:pos x="T4" y="T5"/>
                    </a:cxn>
                    <a:cxn ang="0">
                      <a:pos x="T6" y="T7"/>
                    </a:cxn>
                    <a:cxn ang="0">
                      <a:pos x="T8" y="T9"/>
                    </a:cxn>
                  </a:cxnLst>
                  <a:rect l="0" t="0" r="r" b="b"/>
                  <a:pathLst>
                    <a:path w="5" h="16">
                      <a:moveTo>
                        <a:pt x="5" y="16"/>
                      </a:moveTo>
                      <a:lnTo>
                        <a:pt x="0" y="0"/>
                      </a:lnTo>
                      <a:lnTo>
                        <a:pt x="0" y="0"/>
                      </a:lnTo>
                      <a:lnTo>
                        <a:pt x="5" y="16"/>
                      </a:lnTo>
                      <a:lnTo>
                        <a:pt x="5" y="16"/>
                      </a:lnTo>
                    </a:path>
                  </a:pathLst>
                </a:custGeom>
                <a:noFill/>
                <a:ln>
                  <a:noFill/>
                </a:ln>
                <a:extLst/>
              </p:spPr>
              <p:txBody>
                <a:bodyPr/>
                <a:lstStyle/>
                <a:p>
                  <a:pPr eaLnBrk="1" hangingPunct="1">
                    <a:defRPr/>
                  </a:pPr>
                  <a:endParaRPr lang="zh-CN" altLang="en-US" sz="1050"/>
                </a:p>
              </p:txBody>
            </p:sp>
            <p:sp>
              <p:nvSpPr>
                <p:cNvPr id="4020" name="Freeform 1664"/>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4021" name="Freeform 1665"/>
                <p:cNvSpPr>
                  <a:spLocks/>
                </p:cNvSpPr>
                <p:nvPr/>
              </p:nvSpPr>
              <p:spPr bwMode="auto">
                <a:xfrm>
                  <a:off x="10739" y="1855"/>
                  <a:ext cx="8" cy="17"/>
                </a:xfrm>
                <a:custGeom>
                  <a:avLst/>
                  <a:gdLst>
                    <a:gd name="T0" fmla="*/ 5 w 5"/>
                    <a:gd name="T1" fmla="*/ 14 h 14"/>
                    <a:gd name="T2" fmla="*/ 0 w 5"/>
                    <a:gd name="T3" fmla="*/ 0 h 14"/>
                    <a:gd name="T4" fmla="*/ 0 w 5"/>
                    <a:gd name="T5" fmla="*/ 0 h 14"/>
                    <a:gd name="T6" fmla="*/ 3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0"/>
                      </a:lnTo>
                      <a:lnTo>
                        <a:pt x="3" y="14"/>
                      </a:lnTo>
                      <a:lnTo>
                        <a:pt x="5" y="14"/>
                      </a:lnTo>
                    </a:path>
                  </a:pathLst>
                </a:custGeom>
                <a:noFill/>
                <a:ln>
                  <a:noFill/>
                </a:ln>
                <a:extLst/>
              </p:spPr>
              <p:txBody>
                <a:bodyPr/>
                <a:lstStyle/>
                <a:p>
                  <a:pPr eaLnBrk="1" hangingPunct="1">
                    <a:defRPr/>
                  </a:pPr>
                  <a:endParaRPr lang="zh-CN" altLang="en-US" sz="1050"/>
                </a:p>
              </p:txBody>
            </p:sp>
            <p:sp>
              <p:nvSpPr>
                <p:cNvPr id="4022" name="Freeform 1666"/>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close/>
                    </a:path>
                  </a:pathLst>
                </a:custGeom>
                <a:solidFill>
                  <a:srgbClr val="01AAE5"/>
                </a:solidFill>
                <a:ln>
                  <a:noFill/>
                </a:ln>
                <a:extLst/>
              </p:spPr>
              <p:txBody>
                <a:bodyPr/>
                <a:lstStyle/>
                <a:p>
                  <a:pPr eaLnBrk="1" hangingPunct="1">
                    <a:defRPr/>
                  </a:pPr>
                  <a:endParaRPr lang="zh-CN" altLang="en-US" sz="1050"/>
                </a:p>
              </p:txBody>
            </p:sp>
            <p:sp>
              <p:nvSpPr>
                <p:cNvPr id="4023" name="Freeform 1667"/>
                <p:cNvSpPr>
                  <a:spLocks/>
                </p:cNvSpPr>
                <p:nvPr/>
              </p:nvSpPr>
              <p:spPr bwMode="auto">
                <a:xfrm>
                  <a:off x="10606" y="1889"/>
                  <a:ext cx="17" cy="44"/>
                </a:xfrm>
                <a:custGeom>
                  <a:avLst/>
                  <a:gdLst>
                    <a:gd name="T0" fmla="*/ 21 w 21"/>
                    <a:gd name="T1" fmla="*/ 40 h 40"/>
                    <a:gd name="T2" fmla="*/ 0 w 21"/>
                    <a:gd name="T3" fmla="*/ 0 h 40"/>
                    <a:gd name="T4" fmla="*/ 0 w 21"/>
                    <a:gd name="T5" fmla="*/ 0 h 40"/>
                    <a:gd name="T6" fmla="*/ 21 w 21"/>
                    <a:gd name="T7" fmla="*/ 40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0"/>
                      </a:lnTo>
                      <a:lnTo>
                        <a:pt x="0" y="0"/>
                      </a:lnTo>
                      <a:lnTo>
                        <a:pt x="21" y="40"/>
                      </a:lnTo>
                      <a:lnTo>
                        <a:pt x="21" y="40"/>
                      </a:lnTo>
                    </a:path>
                  </a:pathLst>
                </a:custGeom>
                <a:noFill/>
                <a:ln>
                  <a:noFill/>
                </a:ln>
                <a:extLst/>
              </p:spPr>
              <p:txBody>
                <a:bodyPr/>
                <a:lstStyle/>
                <a:p>
                  <a:pPr eaLnBrk="1" hangingPunct="1">
                    <a:defRPr/>
                  </a:pPr>
                  <a:endParaRPr lang="zh-CN" altLang="en-US" sz="1050"/>
                </a:p>
              </p:txBody>
            </p:sp>
            <p:sp>
              <p:nvSpPr>
                <p:cNvPr id="4024" name="Freeform 1668"/>
                <p:cNvSpPr>
                  <a:spLocks/>
                </p:cNvSpPr>
                <p:nvPr/>
              </p:nvSpPr>
              <p:spPr bwMode="auto">
                <a:xfrm>
                  <a:off x="10748" y="1855"/>
                  <a:ext cx="8" cy="17"/>
                </a:xfrm>
                <a:custGeom>
                  <a:avLst/>
                  <a:gdLst>
                    <a:gd name="T0" fmla="*/ 4 w 4"/>
                    <a:gd name="T1" fmla="*/ 19 h 19"/>
                    <a:gd name="T2" fmla="*/ 0 w 4"/>
                    <a:gd name="T3" fmla="*/ 0 h 19"/>
                    <a:gd name="T4" fmla="*/ 0 w 4"/>
                    <a:gd name="T5" fmla="*/ 0 h 19"/>
                    <a:gd name="T6" fmla="*/ 4 w 4"/>
                    <a:gd name="T7" fmla="*/ 19 h 19"/>
                    <a:gd name="T8" fmla="*/ 4 w 4"/>
                    <a:gd name="T9" fmla="*/ 19 h 19"/>
                  </a:gdLst>
                  <a:ahLst/>
                  <a:cxnLst>
                    <a:cxn ang="0">
                      <a:pos x="T0" y="T1"/>
                    </a:cxn>
                    <a:cxn ang="0">
                      <a:pos x="T2" y="T3"/>
                    </a:cxn>
                    <a:cxn ang="0">
                      <a:pos x="T4" y="T5"/>
                    </a:cxn>
                    <a:cxn ang="0">
                      <a:pos x="T6" y="T7"/>
                    </a:cxn>
                    <a:cxn ang="0">
                      <a:pos x="T8" y="T9"/>
                    </a:cxn>
                  </a:cxnLst>
                  <a:rect l="0" t="0" r="r" b="b"/>
                  <a:pathLst>
                    <a:path w="4" h="19">
                      <a:moveTo>
                        <a:pt x="4" y="19"/>
                      </a:moveTo>
                      <a:lnTo>
                        <a:pt x="0" y="0"/>
                      </a:lnTo>
                      <a:lnTo>
                        <a:pt x="0" y="0"/>
                      </a:lnTo>
                      <a:lnTo>
                        <a:pt x="4" y="19"/>
                      </a:lnTo>
                      <a:lnTo>
                        <a:pt x="4" y="19"/>
                      </a:lnTo>
                      <a:close/>
                    </a:path>
                  </a:pathLst>
                </a:custGeom>
                <a:solidFill>
                  <a:srgbClr val="01AAE5"/>
                </a:solidFill>
                <a:ln>
                  <a:noFill/>
                </a:ln>
                <a:extLst/>
              </p:spPr>
              <p:txBody>
                <a:bodyPr/>
                <a:lstStyle/>
                <a:p>
                  <a:pPr eaLnBrk="1" hangingPunct="1">
                    <a:defRPr/>
                  </a:pPr>
                  <a:endParaRPr lang="zh-CN" altLang="en-US" sz="1050"/>
                </a:p>
              </p:txBody>
            </p:sp>
            <p:sp>
              <p:nvSpPr>
                <p:cNvPr id="4025" name="Freeform 1669"/>
                <p:cNvSpPr>
                  <a:spLocks/>
                </p:cNvSpPr>
                <p:nvPr/>
              </p:nvSpPr>
              <p:spPr bwMode="auto">
                <a:xfrm>
                  <a:off x="10739" y="1855"/>
                  <a:ext cx="0" cy="17"/>
                </a:xfrm>
                <a:custGeom>
                  <a:avLst/>
                  <a:gdLst>
                    <a:gd name="T0" fmla="*/ 5 w 5"/>
                    <a:gd name="T1" fmla="*/ 14 h 14"/>
                    <a:gd name="T2" fmla="*/ 0 w 5"/>
                    <a:gd name="T3" fmla="*/ 0 h 14"/>
                    <a:gd name="T4" fmla="*/ 0 w 5"/>
                    <a:gd name="T5" fmla="*/ 2 h 14"/>
                    <a:gd name="T6" fmla="*/ 2 w 5"/>
                    <a:gd name="T7" fmla="*/ 14 h 14"/>
                    <a:gd name="T8" fmla="*/ 5 w 5"/>
                    <a:gd name="T9" fmla="*/ 14 h 14"/>
                  </a:gdLst>
                  <a:ahLst/>
                  <a:cxnLst>
                    <a:cxn ang="0">
                      <a:pos x="T0" y="T1"/>
                    </a:cxn>
                    <a:cxn ang="0">
                      <a:pos x="T2" y="T3"/>
                    </a:cxn>
                    <a:cxn ang="0">
                      <a:pos x="T4" y="T5"/>
                    </a:cxn>
                    <a:cxn ang="0">
                      <a:pos x="T6" y="T7"/>
                    </a:cxn>
                    <a:cxn ang="0">
                      <a:pos x="T8" y="T9"/>
                    </a:cxn>
                  </a:cxnLst>
                  <a:rect l="0" t="0" r="r" b="b"/>
                  <a:pathLst>
                    <a:path w="5" h="14">
                      <a:moveTo>
                        <a:pt x="5" y="14"/>
                      </a:moveTo>
                      <a:lnTo>
                        <a:pt x="0" y="0"/>
                      </a:lnTo>
                      <a:lnTo>
                        <a:pt x="0" y="2"/>
                      </a:lnTo>
                      <a:lnTo>
                        <a:pt x="2" y="14"/>
                      </a:lnTo>
                      <a:lnTo>
                        <a:pt x="5" y="14"/>
                      </a:lnTo>
                      <a:close/>
                    </a:path>
                  </a:pathLst>
                </a:custGeom>
                <a:solidFill>
                  <a:srgbClr val="01AAE5"/>
                </a:solidFill>
                <a:ln>
                  <a:noFill/>
                </a:ln>
                <a:extLst/>
              </p:spPr>
              <p:txBody>
                <a:bodyPr/>
                <a:lstStyle/>
                <a:p>
                  <a:pPr eaLnBrk="1" hangingPunct="1">
                    <a:defRPr/>
                  </a:pPr>
                  <a:endParaRPr lang="zh-CN" altLang="en-US" sz="1050"/>
                </a:p>
              </p:txBody>
            </p:sp>
            <p:sp>
              <p:nvSpPr>
                <p:cNvPr id="4026" name="Freeform 1670"/>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4027" name="Freeform 1671"/>
                <p:cNvSpPr>
                  <a:spLocks/>
                </p:cNvSpPr>
                <p:nvPr/>
              </p:nvSpPr>
              <p:spPr bwMode="auto">
                <a:xfrm>
                  <a:off x="10773" y="1855"/>
                  <a:ext cx="0" cy="26"/>
                </a:xfrm>
                <a:custGeom>
                  <a:avLst/>
                  <a:gdLst>
                    <a:gd name="T0" fmla="*/ 7 w 7"/>
                    <a:gd name="T1" fmla="*/ 24 h 24"/>
                    <a:gd name="T2" fmla="*/ 0 w 7"/>
                    <a:gd name="T3" fmla="*/ 0 h 24"/>
                    <a:gd name="T4" fmla="*/ 0 w 7"/>
                    <a:gd name="T5" fmla="*/ 3 h 24"/>
                    <a:gd name="T6" fmla="*/ 5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3"/>
                      </a:lnTo>
                      <a:lnTo>
                        <a:pt x="5" y="24"/>
                      </a:lnTo>
                      <a:lnTo>
                        <a:pt x="7" y="24"/>
                      </a:lnTo>
                    </a:path>
                  </a:pathLst>
                </a:custGeom>
                <a:noFill/>
                <a:ln>
                  <a:noFill/>
                </a:ln>
                <a:extLst/>
              </p:spPr>
              <p:txBody>
                <a:bodyPr/>
                <a:lstStyle/>
                <a:p>
                  <a:pPr eaLnBrk="1" hangingPunct="1">
                    <a:defRPr/>
                  </a:pPr>
                  <a:endParaRPr lang="zh-CN" altLang="en-US" sz="1050"/>
                </a:p>
              </p:txBody>
            </p:sp>
            <p:sp>
              <p:nvSpPr>
                <p:cNvPr id="4028" name="Freeform 1672"/>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close/>
                    </a:path>
                  </a:pathLst>
                </a:custGeom>
                <a:solidFill>
                  <a:srgbClr val="01AAE5"/>
                </a:solidFill>
                <a:ln>
                  <a:noFill/>
                </a:ln>
                <a:extLst/>
              </p:spPr>
              <p:txBody>
                <a:bodyPr/>
                <a:lstStyle/>
                <a:p>
                  <a:pPr eaLnBrk="1" hangingPunct="1">
                    <a:defRPr/>
                  </a:pPr>
                  <a:endParaRPr lang="zh-CN" altLang="en-US" sz="1050"/>
                </a:p>
              </p:txBody>
            </p:sp>
            <p:sp>
              <p:nvSpPr>
                <p:cNvPr id="4029" name="Freeform 1673"/>
                <p:cNvSpPr>
                  <a:spLocks/>
                </p:cNvSpPr>
                <p:nvPr/>
              </p:nvSpPr>
              <p:spPr bwMode="auto">
                <a:xfrm>
                  <a:off x="10764" y="1855"/>
                  <a:ext cx="0" cy="17"/>
                </a:xfrm>
                <a:custGeom>
                  <a:avLst/>
                  <a:gdLst>
                    <a:gd name="T0" fmla="*/ 7 w 7"/>
                    <a:gd name="T1" fmla="*/ 21 h 21"/>
                    <a:gd name="T2" fmla="*/ 0 w 7"/>
                    <a:gd name="T3" fmla="*/ 0 h 21"/>
                    <a:gd name="T4" fmla="*/ 0 w 7"/>
                    <a:gd name="T5" fmla="*/ 0 h 21"/>
                    <a:gd name="T6" fmla="*/ 5 w 7"/>
                    <a:gd name="T7" fmla="*/ 21 h 21"/>
                    <a:gd name="T8" fmla="*/ 7 w 7"/>
                    <a:gd name="T9" fmla="*/ 21 h 21"/>
                  </a:gdLst>
                  <a:ahLst/>
                  <a:cxnLst>
                    <a:cxn ang="0">
                      <a:pos x="T0" y="T1"/>
                    </a:cxn>
                    <a:cxn ang="0">
                      <a:pos x="T2" y="T3"/>
                    </a:cxn>
                    <a:cxn ang="0">
                      <a:pos x="T4" y="T5"/>
                    </a:cxn>
                    <a:cxn ang="0">
                      <a:pos x="T6" y="T7"/>
                    </a:cxn>
                    <a:cxn ang="0">
                      <a:pos x="T8" y="T9"/>
                    </a:cxn>
                  </a:cxnLst>
                  <a:rect l="0" t="0" r="r" b="b"/>
                  <a:pathLst>
                    <a:path w="7" h="21">
                      <a:moveTo>
                        <a:pt x="7" y="21"/>
                      </a:moveTo>
                      <a:lnTo>
                        <a:pt x="0" y="0"/>
                      </a:lnTo>
                      <a:lnTo>
                        <a:pt x="0" y="0"/>
                      </a:lnTo>
                      <a:lnTo>
                        <a:pt x="5" y="21"/>
                      </a:lnTo>
                      <a:lnTo>
                        <a:pt x="7" y="21"/>
                      </a:lnTo>
                    </a:path>
                  </a:pathLst>
                </a:custGeom>
                <a:noFill/>
                <a:ln>
                  <a:noFill/>
                </a:ln>
                <a:extLst/>
              </p:spPr>
              <p:txBody>
                <a:bodyPr/>
                <a:lstStyle/>
                <a:p>
                  <a:pPr eaLnBrk="1" hangingPunct="1">
                    <a:defRPr/>
                  </a:pPr>
                  <a:endParaRPr lang="zh-CN" altLang="en-US" sz="1050"/>
                </a:p>
              </p:txBody>
            </p:sp>
            <p:sp>
              <p:nvSpPr>
                <p:cNvPr id="4030" name="Freeform 1674"/>
                <p:cNvSpPr>
                  <a:spLocks/>
                </p:cNvSpPr>
                <p:nvPr/>
              </p:nvSpPr>
              <p:spPr bwMode="auto">
                <a:xfrm>
                  <a:off x="10756" y="1855"/>
                  <a:ext cx="8" cy="17"/>
                </a:xfrm>
                <a:custGeom>
                  <a:avLst/>
                  <a:gdLst>
                    <a:gd name="T0" fmla="*/ 5 w 5"/>
                    <a:gd name="T1" fmla="*/ 19 h 19"/>
                    <a:gd name="T2" fmla="*/ 0 w 5"/>
                    <a:gd name="T3" fmla="*/ 0 h 19"/>
                    <a:gd name="T4" fmla="*/ 0 w 5"/>
                    <a:gd name="T5" fmla="*/ 0 h 19"/>
                    <a:gd name="T6" fmla="*/ 5 w 5"/>
                    <a:gd name="T7" fmla="*/ 19 h 19"/>
                    <a:gd name="T8" fmla="*/ 5 w 5"/>
                    <a:gd name="T9" fmla="*/ 19 h 19"/>
                  </a:gdLst>
                  <a:ahLst/>
                  <a:cxnLst>
                    <a:cxn ang="0">
                      <a:pos x="T0" y="T1"/>
                    </a:cxn>
                    <a:cxn ang="0">
                      <a:pos x="T2" y="T3"/>
                    </a:cxn>
                    <a:cxn ang="0">
                      <a:pos x="T4" y="T5"/>
                    </a:cxn>
                    <a:cxn ang="0">
                      <a:pos x="T6" y="T7"/>
                    </a:cxn>
                    <a:cxn ang="0">
                      <a:pos x="T8" y="T9"/>
                    </a:cxn>
                  </a:cxnLst>
                  <a:rect l="0" t="0" r="r" b="b"/>
                  <a:pathLst>
                    <a:path w="5" h="19">
                      <a:moveTo>
                        <a:pt x="5" y="19"/>
                      </a:moveTo>
                      <a:lnTo>
                        <a:pt x="0" y="0"/>
                      </a:lnTo>
                      <a:lnTo>
                        <a:pt x="0" y="0"/>
                      </a:lnTo>
                      <a:lnTo>
                        <a:pt x="5" y="19"/>
                      </a:lnTo>
                      <a:lnTo>
                        <a:pt x="5" y="19"/>
                      </a:lnTo>
                      <a:close/>
                    </a:path>
                  </a:pathLst>
                </a:custGeom>
                <a:solidFill>
                  <a:srgbClr val="01AAE5"/>
                </a:solidFill>
                <a:ln>
                  <a:noFill/>
                </a:ln>
                <a:extLst/>
              </p:spPr>
              <p:txBody>
                <a:bodyPr/>
                <a:lstStyle/>
                <a:p>
                  <a:pPr eaLnBrk="1" hangingPunct="1">
                    <a:defRPr/>
                  </a:pPr>
                  <a:endParaRPr lang="zh-CN" altLang="en-US" sz="1050"/>
                </a:p>
              </p:txBody>
            </p:sp>
            <p:sp>
              <p:nvSpPr>
                <p:cNvPr id="4031" name="Freeform 1675"/>
                <p:cNvSpPr>
                  <a:spLocks/>
                </p:cNvSpPr>
                <p:nvPr/>
              </p:nvSpPr>
              <p:spPr bwMode="auto">
                <a:xfrm>
                  <a:off x="10731" y="1863"/>
                  <a:ext cx="8" cy="17"/>
                </a:xfrm>
                <a:custGeom>
                  <a:avLst/>
                  <a:gdLst>
                    <a:gd name="T0" fmla="*/ 5 w 5"/>
                    <a:gd name="T1" fmla="*/ 12 h 12"/>
                    <a:gd name="T2" fmla="*/ 0 w 5"/>
                    <a:gd name="T3" fmla="*/ 0 h 12"/>
                    <a:gd name="T4" fmla="*/ 0 w 5"/>
                    <a:gd name="T5" fmla="*/ 2 h 12"/>
                    <a:gd name="T6" fmla="*/ 2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0" y="0"/>
                      </a:lnTo>
                      <a:lnTo>
                        <a:pt x="0" y="2"/>
                      </a:lnTo>
                      <a:lnTo>
                        <a:pt x="2"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4032" name="Freeform 1676"/>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close/>
                    </a:path>
                  </a:pathLst>
                </a:custGeom>
                <a:solidFill>
                  <a:srgbClr val="01AAE5"/>
                </a:solidFill>
                <a:ln>
                  <a:noFill/>
                </a:ln>
                <a:extLst/>
              </p:spPr>
              <p:txBody>
                <a:bodyPr/>
                <a:lstStyle/>
                <a:p>
                  <a:pPr eaLnBrk="1" hangingPunct="1">
                    <a:defRPr/>
                  </a:pPr>
                  <a:endParaRPr lang="zh-CN" altLang="en-US" sz="1050"/>
                </a:p>
              </p:txBody>
            </p:sp>
            <p:sp>
              <p:nvSpPr>
                <p:cNvPr id="4033" name="Freeform 1677"/>
                <p:cNvSpPr>
                  <a:spLocks/>
                </p:cNvSpPr>
                <p:nvPr/>
              </p:nvSpPr>
              <p:spPr bwMode="auto">
                <a:xfrm>
                  <a:off x="10773" y="1855"/>
                  <a:ext cx="8" cy="26"/>
                </a:xfrm>
                <a:custGeom>
                  <a:avLst/>
                  <a:gdLst>
                    <a:gd name="T0" fmla="*/ 7 w 7"/>
                    <a:gd name="T1" fmla="*/ 24 h 24"/>
                    <a:gd name="T2" fmla="*/ 0 w 7"/>
                    <a:gd name="T3" fmla="*/ 0 h 24"/>
                    <a:gd name="T4" fmla="*/ 0 w 7"/>
                    <a:gd name="T5" fmla="*/ 0 h 24"/>
                    <a:gd name="T6" fmla="*/ 4 w 7"/>
                    <a:gd name="T7" fmla="*/ 24 h 24"/>
                    <a:gd name="T8" fmla="*/ 7 w 7"/>
                    <a:gd name="T9" fmla="*/ 24 h 24"/>
                  </a:gdLst>
                  <a:ahLst/>
                  <a:cxnLst>
                    <a:cxn ang="0">
                      <a:pos x="T0" y="T1"/>
                    </a:cxn>
                    <a:cxn ang="0">
                      <a:pos x="T2" y="T3"/>
                    </a:cxn>
                    <a:cxn ang="0">
                      <a:pos x="T4" y="T5"/>
                    </a:cxn>
                    <a:cxn ang="0">
                      <a:pos x="T6" y="T7"/>
                    </a:cxn>
                    <a:cxn ang="0">
                      <a:pos x="T8" y="T9"/>
                    </a:cxn>
                  </a:cxnLst>
                  <a:rect l="0" t="0" r="r" b="b"/>
                  <a:pathLst>
                    <a:path w="7" h="24">
                      <a:moveTo>
                        <a:pt x="7" y="24"/>
                      </a:moveTo>
                      <a:lnTo>
                        <a:pt x="0" y="0"/>
                      </a:lnTo>
                      <a:lnTo>
                        <a:pt x="0" y="0"/>
                      </a:lnTo>
                      <a:lnTo>
                        <a:pt x="4" y="24"/>
                      </a:lnTo>
                      <a:lnTo>
                        <a:pt x="7" y="24"/>
                      </a:lnTo>
                    </a:path>
                  </a:pathLst>
                </a:custGeom>
                <a:noFill/>
                <a:ln>
                  <a:noFill/>
                </a:ln>
                <a:extLst/>
              </p:spPr>
              <p:txBody>
                <a:bodyPr/>
                <a:lstStyle/>
                <a:p>
                  <a:pPr eaLnBrk="1" hangingPunct="1">
                    <a:defRPr/>
                  </a:pPr>
                  <a:endParaRPr lang="zh-CN" altLang="en-US" sz="1050"/>
                </a:p>
              </p:txBody>
            </p:sp>
            <p:sp>
              <p:nvSpPr>
                <p:cNvPr id="4034" name="Freeform 1678"/>
                <p:cNvSpPr>
                  <a:spLocks/>
                </p:cNvSpPr>
                <p:nvPr/>
              </p:nvSpPr>
              <p:spPr bwMode="auto">
                <a:xfrm>
                  <a:off x="10706" y="1881"/>
                  <a:ext cx="8" cy="9"/>
                </a:xfrm>
                <a:custGeom>
                  <a:avLst/>
                  <a:gdLst>
                    <a:gd name="T0" fmla="*/ 5 w 5"/>
                    <a:gd name="T1" fmla="*/ 7 h 7"/>
                    <a:gd name="T2" fmla="*/ 2 w 5"/>
                    <a:gd name="T3" fmla="*/ 0 h 7"/>
                    <a:gd name="T4" fmla="*/ 0 w 5"/>
                    <a:gd name="T5" fmla="*/ 0 h 7"/>
                    <a:gd name="T6" fmla="*/ 5 w 5"/>
                    <a:gd name="T7" fmla="*/ 7 h 7"/>
                    <a:gd name="T8" fmla="*/ 5 w 5"/>
                    <a:gd name="T9" fmla="*/ 7 h 7"/>
                  </a:gdLst>
                  <a:ahLst/>
                  <a:cxnLst>
                    <a:cxn ang="0">
                      <a:pos x="T0" y="T1"/>
                    </a:cxn>
                    <a:cxn ang="0">
                      <a:pos x="T2" y="T3"/>
                    </a:cxn>
                    <a:cxn ang="0">
                      <a:pos x="T4" y="T5"/>
                    </a:cxn>
                    <a:cxn ang="0">
                      <a:pos x="T6" y="T7"/>
                    </a:cxn>
                    <a:cxn ang="0">
                      <a:pos x="T8" y="T9"/>
                    </a:cxn>
                  </a:cxnLst>
                  <a:rect l="0" t="0" r="r" b="b"/>
                  <a:pathLst>
                    <a:path w="5" h="7">
                      <a:moveTo>
                        <a:pt x="5" y="7"/>
                      </a:moveTo>
                      <a:lnTo>
                        <a:pt x="2" y="0"/>
                      </a:lnTo>
                      <a:lnTo>
                        <a:pt x="0" y="0"/>
                      </a:lnTo>
                      <a:lnTo>
                        <a:pt x="5" y="7"/>
                      </a:lnTo>
                      <a:lnTo>
                        <a:pt x="5" y="7"/>
                      </a:lnTo>
                      <a:close/>
                    </a:path>
                  </a:pathLst>
                </a:custGeom>
                <a:solidFill>
                  <a:srgbClr val="01AAE5"/>
                </a:solidFill>
                <a:ln>
                  <a:noFill/>
                </a:ln>
                <a:extLst/>
              </p:spPr>
              <p:txBody>
                <a:bodyPr/>
                <a:lstStyle/>
                <a:p>
                  <a:pPr eaLnBrk="1" hangingPunct="1">
                    <a:defRPr/>
                  </a:pPr>
                  <a:endParaRPr lang="zh-CN" altLang="en-US" sz="1050"/>
                </a:p>
              </p:txBody>
            </p:sp>
            <p:sp>
              <p:nvSpPr>
                <p:cNvPr id="4035" name="Freeform 1679"/>
                <p:cNvSpPr>
                  <a:spLocks/>
                </p:cNvSpPr>
                <p:nvPr/>
              </p:nvSpPr>
              <p:spPr bwMode="auto">
                <a:xfrm>
                  <a:off x="10698" y="1881"/>
                  <a:ext cx="8" cy="9"/>
                </a:xfrm>
                <a:custGeom>
                  <a:avLst/>
                  <a:gdLst>
                    <a:gd name="T0" fmla="*/ 5 w 5"/>
                    <a:gd name="T1" fmla="*/ 12 h 12"/>
                    <a:gd name="T2" fmla="*/ 3 w 5"/>
                    <a:gd name="T3" fmla="*/ 0 h 12"/>
                    <a:gd name="T4" fmla="*/ 0 w 5"/>
                    <a:gd name="T5" fmla="*/ 0 h 12"/>
                    <a:gd name="T6" fmla="*/ 5 w 5"/>
                    <a:gd name="T7" fmla="*/ 12 h 12"/>
                    <a:gd name="T8" fmla="*/ 5 w 5"/>
                    <a:gd name="T9" fmla="*/ 12 h 12"/>
                  </a:gdLst>
                  <a:ahLst/>
                  <a:cxnLst>
                    <a:cxn ang="0">
                      <a:pos x="T0" y="T1"/>
                    </a:cxn>
                    <a:cxn ang="0">
                      <a:pos x="T2" y="T3"/>
                    </a:cxn>
                    <a:cxn ang="0">
                      <a:pos x="T4" y="T5"/>
                    </a:cxn>
                    <a:cxn ang="0">
                      <a:pos x="T6" y="T7"/>
                    </a:cxn>
                    <a:cxn ang="0">
                      <a:pos x="T8" y="T9"/>
                    </a:cxn>
                  </a:cxnLst>
                  <a:rect l="0" t="0" r="r" b="b"/>
                  <a:pathLst>
                    <a:path w="5" h="12">
                      <a:moveTo>
                        <a:pt x="5" y="12"/>
                      </a:moveTo>
                      <a:lnTo>
                        <a:pt x="3" y="0"/>
                      </a:lnTo>
                      <a:lnTo>
                        <a:pt x="0" y="0"/>
                      </a:lnTo>
                      <a:lnTo>
                        <a:pt x="5" y="12"/>
                      </a:lnTo>
                      <a:lnTo>
                        <a:pt x="5" y="12"/>
                      </a:lnTo>
                      <a:close/>
                    </a:path>
                  </a:pathLst>
                </a:custGeom>
                <a:solidFill>
                  <a:srgbClr val="01AAE5"/>
                </a:solidFill>
                <a:ln>
                  <a:noFill/>
                </a:ln>
                <a:extLst/>
              </p:spPr>
              <p:txBody>
                <a:bodyPr/>
                <a:lstStyle/>
                <a:p>
                  <a:pPr eaLnBrk="1" hangingPunct="1">
                    <a:defRPr/>
                  </a:pPr>
                  <a:endParaRPr lang="zh-CN" altLang="en-US" sz="1050"/>
                </a:p>
              </p:txBody>
            </p:sp>
            <p:sp>
              <p:nvSpPr>
                <p:cNvPr id="4036" name="Freeform 1680"/>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close/>
                    </a:path>
                  </a:pathLst>
                </a:custGeom>
                <a:solidFill>
                  <a:srgbClr val="01AAE5"/>
                </a:solidFill>
                <a:ln>
                  <a:noFill/>
                </a:ln>
                <a:extLst/>
              </p:spPr>
              <p:txBody>
                <a:bodyPr/>
                <a:lstStyle/>
                <a:p>
                  <a:pPr eaLnBrk="1" hangingPunct="1">
                    <a:defRPr/>
                  </a:pPr>
                  <a:endParaRPr lang="zh-CN" altLang="en-US" sz="1050"/>
                </a:p>
              </p:txBody>
            </p:sp>
            <p:sp>
              <p:nvSpPr>
                <p:cNvPr id="4037" name="Freeform 1681"/>
                <p:cNvSpPr>
                  <a:spLocks/>
                </p:cNvSpPr>
                <p:nvPr/>
              </p:nvSpPr>
              <p:spPr bwMode="auto">
                <a:xfrm>
                  <a:off x="10690" y="1881"/>
                  <a:ext cx="8" cy="9"/>
                </a:xfrm>
                <a:custGeom>
                  <a:avLst/>
                  <a:gdLst>
                    <a:gd name="T0" fmla="*/ 4 w 4"/>
                    <a:gd name="T1" fmla="*/ 12 h 12"/>
                    <a:gd name="T2" fmla="*/ 0 w 4"/>
                    <a:gd name="T3" fmla="*/ 0 h 12"/>
                    <a:gd name="T4" fmla="*/ 0 w 4"/>
                    <a:gd name="T5" fmla="*/ 0 h 12"/>
                    <a:gd name="T6" fmla="*/ 4 w 4"/>
                    <a:gd name="T7" fmla="*/ 12 h 12"/>
                    <a:gd name="T8" fmla="*/ 4 w 4"/>
                    <a:gd name="T9" fmla="*/ 12 h 12"/>
                  </a:gdLst>
                  <a:ahLst/>
                  <a:cxnLst>
                    <a:cxn ang="0">
                      <a:pos x="T0" y="T1"/>
                    </a:cxn>
                    <a:cxn ang="0">
                      <a:pos x="T2" y="T3"/>
                    </a:cxn>
                    <a:cxn ang="0">
                      <a:pos x="T4" y="T5"/>
                    </a:cxn>
                    <a:cxn ang="0">
                      <a:pos x="T6" y="T7"/>
                    </a:cxn>
                    <a:cxn ang="0">
                      <a:pos x="T8" y="T9"/>
                    </a:cxn>
                  </a:cxnLst>
                  <a:rect l="0" t="0" r="r" b="b"/>
                  <a:pathLst>
                    <a:path w="4" h="12">
                      <a:moveTo>
                        <a:pt x="4" y="12"/>
                      </a:moveTo>
                      <a:lnTo>
                        <a:pt x="0" y="0"/>
                      </a:lnTo>
                      <a:lnTo>
                        <a:pt x="0" y="0"/>
                      </a:lnTo>
                      <a:lnTo>
                        <a:pt x="4" y="12"/>
                      </a:lnTo>
                      <a:lnTo>
                        <a:pt x="4" y="12"/>
                      </a:lnTo>
                    </a:path>
                  </a:pathLst>
                </a:custGeom>
                <a:noFill/>
                <a:ln>
                  <a:noFill/>
                </a:ln>
                <a:extLst/>
              </p:spPr>
              <p:txBody>
                <a:bodyPr/>
                <a:lstStyle/>
                <a:p>
                  <a:pPr eaLnBrk="1" hangingPunct="1">
                    <a:defRPr/>
                  </a:pPr>
                  <a:endParaRPr lang="zh-CN" altLang="en-US" sz="1050"/>
                </a:p>
              </p:txBody>
            </p:sp>
            <p:sp>
              <p:nvSpPr>
                <p:cNvPr id="4038" name="Freeform 1682"/>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close/>
                    </a:path>
                  </a:pathLst>
                </a:custGeom>
                <a:solidFill>
                  <a:srgbClr val="01AAE5"/>
                </a:solidFill>
                <a:ln>
                  <a:noFill/>
                </a:ln>
                <a:extLst/>
              </p:spPr>
              <p:txBody>
                <a:bodyPr/>
                <a:lstStyle/>
                <a:p>
                  <a:pPr eaLnBrk="1" hangingPunct="1">
                    <a:defRPr/>
                  </a:pPr>
                  <a:endParaRPr lang="zh-CN" altLang="en-US" sz="1050"/>
                </a:p>
              </p:txBody>
            </p:sp>
            <p:sp>
              <p:nvSpPr>
                <p:cNvPr id="4039" name="Freeform 1683"/>
                <p:cNvSpPr>
                  <a:spLocks/>
                </p:cNvSpPr>
                <p:nvPr/>
              </p:nvSpPr>
              <p:spPr bwMode="auto">
                <a:xfrm>
                  <a:off x="10723" y="1863"/>
                  <a:ext cx="0" cy="17"/>
                </a:xfrm>
                <a:custGeom>
                  <a:avLst/>
                  <a:gdLst>
                    <a:gd name="T0" fmla="*/ 3 w 3"/>
                    <a:gd name="T1" fmla="*/ 10 h 10"/>
                    <a:gd name="T2" fmla="*/ 0 w 3"/>
                    <a:gd name="T3" fmla="*/ 0 h 10"/>
                    <a:gd name="T4" fmla="*/ 0 w 3"/>
                    <a:gd name="T5" fmla="*/ 0 h 10"/>
                    <a:gd name="T6" fmla="*/ 3 w 3"/>
                    <a:gd name="T7" fmla="*/ 1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0"/>
                      </a:lnTo>
                      <a:lnTo>
                        <a:pt x="0" y="0"/>
                      </a:lnTo>
                      <a:lnTo>
                        <a:pt x="3" y="10"/>
                      </a:lnTo>
                      <a:lnTo>
                        <a:pt x="3" y="10"/>
                      </a:lnTo>
                    </a:path>
                  </a:pathLst>
                </a:custGeom>
                <a:noFill/>
                <a:ln>
                  <a:noFill/>
                </a:ln>
                <a:extLst/>
              </p:spPr>
              <p:txBody>
                <a:bodyPr/>
                <a:lstStyle/>
                <a:p>
                  <a:pPr eaLnBrk="1" hangingPunct="1">
                    <a:defRPr/>
                  </a:pPr>
                  <a:endParaRPr lang="zh-CN" altLang="en-US" sz="1050"/>
                </a:p>
              </p:txBody>
            </p:sp>
            <p:sp>
              <p:nvSpPr>
                <p:cNvPr id="4040" name="Freeform 1684"/>
                <p:cNvSpPr>
                  <a:spLocks/>
                </p:cNvSpPr>
                <p:nvPr/>
              </p:nvSpPr>
              <p:spPr bwMode="auto">
                <a:xfrm>
                  <a:off x="10714" y="1881"/>
                  <a:ext cx="0" cy="9"/>
                </a:xfrm>
                <a:custGeom>
                  <a:avLst/>
                  <a:gdLst>
                    <a:gd name="T0" fmla="*/ 2 w 2"/>
                    <a:gd name="T1" fmla="*/ 7 h 9"/>
                    <a:gd name="T2" fmla="*/ 0 w 2"/>
                    <a:gd name="T3" fmla="*/ 0 h 9"/>
                    <a:gd name="T4" fmla="*/ 0 w 2"/>
                    <a:gd name="T5" fmla="*/ 0 h 9"/>
                    <a:gd name="T6" fmla="*/ 2 w 2"/>
                    <a:gd name="T7" fmla="*/ 9 h 9"/>
                    <a:gd name="T8" fmla="*/ 2 w 2"/>
                    <a:gd name="T9" fmla="*/ 7 h 9"/>
                  </a:gdLst>
                  <a:ahLst/>
                  <a:cxnLst>
                    <a:cxn ang="0">
                      <a:pos x="T0" y="T1"/>
                    </a:cxn>
                    <a:cxn ang="0">
                      <a:pos x="T2" y="T3"/>
                    </a:cxn>
                    <a:cxn ang="0">
                      <a:pos x="T4" y="T5"/>
                    </a:cxn>
                    <a:cxn ang="0">
                      <a:pos x="T6" y="T7"/>
                    </a:cxn>
                    <a:cxn ang="0">
                      <a:pos x="T8" y="T9"/>
                    </a:cxn>
                  </a:cxnLst>
                  <a:rect l="0" t="0" r="r" b="b"/>
                  <a:pathLst>
                    <a:path w="2" h="9">
                      <a:moveTo>
                        <a:pt x="2" y="7"/>
                      </a:moveTo>
                      <a:lnTo>
                        <a:pt x="0" y="0"/>
                      </a:lnTo>
                      <a:lnTo>
                        <a:pt x="0" y="0"/>
                      </a:lnTo>
                      <a:lnTo>
                        <a:pt x="2" y="9"/>
                      </a:lnTo>
                      <a:lnTo>
                        <a:pt x="2" y="7"/>
                      </a:lnTo>
                      <a:close/>
                    </a:path>
                  </a:pathLst>
                </a:custGeom>
                <a:solidFill>
                  <a:srgbClr val="01AAE5"/>
                </a:solidFill>
                <a:ln>
                  <a:noFill/>
                </a:ln>
                <a:extLst/>
              </p:spPr>
              <p:txBody>
                <a:bodyPr/>
                <a:lstStyle/>
                <a:p>
                  <a:pPr eaLnBrk="1" hangingPunct="1">
                    <a:defRPr/>
                  </a:pPr>
                  <a:endParaRPr lang="zh-CN" altLang="en-US" sz="1050"/>
                </a:p>
              </p:txBody>
            </p:sp>
            <p:sp>
              <p:nvSpPr>
                <p:cNvPr id="4041" name="Freeform 1685"/>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close/>
                    </a:path>
                  </a:pathLst>
                </a:custGeom>
                <a:solidFill>
                  <a:srgbClr val="01AAE5"/>
                </a:solidFill>
                <a:ln>
                  <a:noFill/>
                </a:ln>
                <a:extLst/>
              </p:spPr>
              <p:txBody>
                <a:bodyPr/>
                <a:lstStyle/>
                <a:p>
                  <a:pPr eaLnBrk="1" hangingPunct="1">
                    <a:defRPr/>
                  </a:pPr>
                  <a:endParaRPr lang="zh-CN" altLang="en-US" sz="1050"/>
                </a:p>
              </p:txBody>
            </p:sp>
            <p:sp>
              <p:nvSpPr>
                <p:cNvPr id="4042" name="Freeform 1686"/>
                <p:cNvSpPr>
                  <a:spLocks/>
                </p:cNvSpPr>
                <p:nvPr/>
              </p:nvSpPr>
              <p:spPr bwMode="auto">
                <a:xfrm>
                  <a:off x="10714" y="1863"/>
                  <a:ext cx="8" cy="17"/>
                </a:xfrm>
                <a:custGeom>
                  <a:avLst/>
                  <a:gdLst>
                    <a:gd name="T0" fmla="*/ 2 w 2"/>
                    <a:gd name="T1" fmla="*/ 9 h 9"/>
                    <a:gd name="T2" fmla="*/ 0 w 2"/>
                    <a:gd name="T3" fmla="*/ 0 h 9"/>
                    <a:gd name="T4" fmla="*/ 0 w 2"/>
                    <a:gd name="T5" fmla="*/ 0 h 9"/>
                    <a:gd name="T6" fmla="*/ 2 w 2"/>
                    <a:gd name="T7" fmla="*/ 9 h 9"/>
                    <a:gd name="T8" fmla="*/ 2 w 2"/>
                    <a:gd name="T9" fmla="*/ 9 h 9"/>
                  </a:gdLst>
                  <a:ahLst/>
                  <a:cxnLst>
                    <a:cxn ang="0">
                      <a:pos x="T0" y="T1"/>
                    </a:cxn>
                    <a:cxn ang="0">
                      <a:pos x="T2" y="T3"/>
                    </a:cxn>
                    <a:cxn ang="0">
                      <a:pos x="T4" y="T5"/>
                    </a:cxn>
                    <a:cxn ang="0">
                      <a:pos x="T6" y="T7"/>
                    </a:cxn>
                    <a:cxn ang="0">
                      <a:pos x="T8" y="T9"/>
                    </a:cxn>
                  </a:cxnLst>
                  <a:rect l="0" t="0" r="r" b="b"/>
                  <a:pathLst>
                    <a:path w="2" h="9">
                      <a:moveTo>
                        <a:pt x="2" y="9"/>
                      </a:moveTo>
                      <a:lnTo>
                        <a:pt x="0" y="0"/>
                      </a:lnTo>
                      <a:lnTo>
                        <a:pt x="0" y="0"/>
                      </a:lnTo>
                      <a:lnTo>
                        <a:pt x="2" y="9"/>
                      </a:lnTo>
                      <a:lnTo>
                        <a:pt x="2" y="9"/>
                      </a:lnTo>
                    </a:path>
                  </a:pathLst>
                </a:custGeom>
                <a:noFill/>
                <a:ln>
                  <a:noFill/>
                </a:ln>
                <a:extLst/>
              </p:spPr>
              <p:txBody>
                <a:bodyPr/>
                <a:lstStyle/>
                <a:p>
                  <a:pPr eaLnBrk="1" hangingPunct="1">
                    <a:defRPr/>
                  </a:pPr>
                  <a:endParaRPr lang="zh-CN" altLang="en-US" sz="1050"/>
                </a:p>
              </p:txBody>
            </p:sp>
            <p:sp>
              <p:nvSpPr>
                <p:cNvPr id="4043" name="Freeform 1687"/>
                <p:cNvSpPr>
                  <a:spLocks/>
                </p:cNvSpPr>
                <p:nvPr/>
              </p:nvSpPr>
              <p:spPr bwMode="auto">
                <a:xfrm>
                  <a:off x="10274" y="2726"/>
                  <a:ext cx="17" cy="0"/>
                </a:xfrm>
                <a:custGeom>
                  <a:avLst/>
                  <a:gdLst>
                    <a:gd name="T0" fmla="*/ 10 w 10"/>
                    <a:gd name="T1" fmla="*/ 0 h 2"/>
                    <a:gd name="T2" fmla="*/ 0 w 10"/>
                    <a:gd name="T3" fmla="*/ 2 h 2"/>
                    <a:gd name="T4" fmla="*/ 3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2"/>
                      </a:lnTo>
                      <a:lnTo>
                        <a:pt x="3"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4044" name="Freeform 1688"/>
                <p:cNvSpPr>
                  <a:spLocks/>
                </p:cNvSpPr>
                <p:nvPr/>
              </p:nvSpPr>
              <p:spPr bwMode="auto">
                <a:xfrm>
                  <a:off x="10249" y="2613"/>
                  <a:ext cx="25" cy="9"/>
                </a:xfrm>
                <a:custGeom>
                  <a:avLst/>
                  <a:gdLst>
                    <a:gd name="T0" fmla="*/ 19 w 19"/>
                    <a:gd name="T1" fmla="*/ 0 h 2"/>
                    <a:gd name="T2" fmla="*/ 0 w 19"/>
                    <a:gd name="T3" fmla="*/ 2 h 2"/>
                    <a:gd name="T4" fmla="*/ 0 w 19"/>
                    <a:gd name="T5" fmla="*/ 2 h 2"/>
                    <a:gd name="T6" fmla="*/ 19 w 19"/>
                    <a:gd name="T7" fmla="*/ 0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lnTo>
                        <a:pt x="0" y="2"/>
                      </a:lnTo>
                      <a:lnTo>
                        <a:pt x="0" y="2"/>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045" name="Freeform 1689"/>
                <p:cNvSpPr>
                  <a:spLocks/>
                </p:cNvSpPr>
                <p:nvPr/>
              </p:nvSpPr>
              <p:spPr bwMode="auto">
                <a:xfrm>
                  <a:off x="10257" y="2499"/>
                  <a:ext cx="17" cy="0"/>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4046" name="Freeform 1690"/>
                <p:cNvSpPr>
                  <a:spLocks/>
                </p:cNvSpPr>
                <p:nvPr/>
              </p:nvSpPr>
              <p:spPr bwMode="auto">
                <a:xfrm>
                  <a:off x="10249" y="2613"/>
                  <a:ext cx="25" cy="0"/>
                </a:xfrm>
                <a:custGeom>
                  <a:avLst/>
                  <a:gdLst>
                    <a:gd name="T0" fmla="*/ 19 w 19"/>
                    <a:gd name="T1" fmla="*/ 0 h 3"/>
                    <a:gd name="T2" fmla="*/ 0 w 19"/>
                    <a:gd name="T3" fmla="*/ 0 h 3"/>
                    <a:gd name="T4" fmla="*/ 0 w 19"/>
                    <a:gd name="T5" fmla="*/ 3 h 3"/>
                    <a:gd name="T6" fmla="*/ 19 w 19"/>
                    <a:gd name="T7" fmla="*/ 0 h 3"/>
                    <a:gd name="T8" fmla="*/ 19 w 19"/>
                    <a:gd name="T9" fmla="*/ 0 h 3"/>
                  </a:gdLst>
                  <a:ahLst/>
                  <a:cxnLst>
                    <a:cxn ang="0">
                      <a:pos x="T0" y="T1"/>
                    </a:cxn>
                    <a:cxn ang="0">
                      <a:pos x="T2" y="T3"/>
                    </a:cxn>
                    <a:cxn ang="0">
                      <a:pos x="T4" y="T5"/>
                    </a:cxn>
                    <a:cxn ang="0">
                      <a:pos x="T6" y="T7"/>
                    </a:cxn>
                    <a:cxn ang="0">
                      <a:pos x="T8" y="T9"/>
                    </a:cxn>
                  </a:cxnLst>
                  <a:rect l="0" t="0" r="r" b="b"/>
                  <a:pathLst>
                    <a:path w="19" h="3">
                      <a:moveTo>
                        <a:pt x="19" y="0"/>
                      </a:moveTo>
                      <a:lnTo>
                        <a:pt x="0" y="0"/>
                      </a:lnTo>
                      <a:lnTo>
                        <a:pt x="0" y="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4047" name="Freeform 1691"/>
                <p:cNvSpPr>
                  <a:spLocks/>
                </p:cNvSpPr>
                <p:nvPr/>
              </p:nvSpPr>
              <p:spPr bwMode="auto">
                <a:xfrm>
                  <a:off x="10249" y="2621"/>
                  <a:ext cx="25" cy="0"/>
                </a:xfrm>
                <a:custGeom>
                  <a:avLst/>
                  <a:gdLst>
                    <a:gd name="T0" fmla="*/ 21 w 21"/>
                    <a:gd name="T1" fmla="*/ 0 h 2"/>
                    <a:gd name="T2" fmla="*/ 0 w 21"/>
                    <a:gd name="T3" fmla="*/ 2 h 2"/>
                    <a:gd name="T4" fmla="*/ 0 w 21"/>
                    <a:gd name="T5" fmla="*/ 2 h 2"/>
                    <a:gd name="T6" fmla="*/ 21 w 21"/>
                    <a:gd name="T7" fmla="*/ 0 h 2"/>
                    <a:gd name="T8" fmla="*/ 21 w 21"/>
                    <a:gd name="T9" fmla="*/ 0 h 2"/>
                  </a:gdLst>
                  <a:ahLst/>
                  <a:cxnLst>
                    <a:cxn ang="0">
                      <a:pos x="T0" y="T1"/>
                    </a:cxn>
                    <a:cxn ang="0">
                      <a:pos x="T2" y="T3"/>
                    </a:cxn>
                    <a:cxn ang="0">
                      <a:pos x="T4" y="T5"/>
                    </a:cxn>
                    <a:cxn ang="0">
                      <a:pos x="T6" y="T7"/>
                    </a:cxn>
                    <a:cxn ang="0">
                      <a:pos x="T8" y="T9"/>
                    </a:cxn>
                  </a:cxnLst>
                  <a:rect l="0" t="0" r="r" b="b"/>
                  <a:pathLst>
                    <a:path w="21" h="2">
                      <a:moveTo>
                        <a:pt x="21" y="0"/>
                      </a:moveTo>
                      <a:lnTo>
                        <a:pt x="0" y="2"/>
                      </a:lnTo>
                      <a:lnTo>
                        <a:pt x="0" y="2"/>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4048" name="Freeform 1692"/>
                <p:cNvSpPr>
                  <a:spLocks/>
                </p:cNvSpPr>
                <p:nvPr/>
              </p:nvSpPr>
              <p:spPr bwMode="auto">
                <a:xfrm>
                  <a:off x="10348" y="2151"/>
                  <a:ext cx="0" cy="9"/>
                </a:xfrm>
                <a:custGeom>
                  <a:avLst/>
                  <a:gdLst>
                    <a:gd name="T0" fmla="*/ 7 w 7"/>
                    <a:gd name="T1" fmla="*/ 7 h 7"/>
                    <a:gd name="T2" fmla="*/ 0 w 7"/>
                    <a:gd name="T3" fmla="*/ 0 h 7"/>
                    <a:gd name="T4" fmla="*/ 0 w 7"/>
                    <a:gd name="T5" fmla="*/ 3 h 7"/>
                    <a:gd name="T6" fmla="*/ 7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0" y="0"/>
                      </a:lnTo>
                      <a:lnTo>
                        <a:pt x="0" y="3"/>
                      </a:lnTo>
                      <a:lnTo>
                        <a:pt x="7" y="7"/>
                      </a:lnTo>
                      <a:lnTo>
                        <a:pt x="7" y="7"/>
                      </a:lnTo>
                      <a:close/>
                    </a:path>
                  </a:pathLst>
                </a:custGeom>
                <a:solidFill>
                  <a:srgbClr val="01AAE5"/>
                </a:solidFill>
                <a:ln>
                  <a:noFill/>
                </a:ln>
                <a:extLst/>
              </p:spPr>
              <p:txBody>
                <a:bodyPr/>
                <a:lstStyle/>
                <a:p>
                  <a:pPr eaLnBrk="1" hangingPunct="1">
                    <a:defRPr/>
                  </a:pPr>
                  <a:endParaRPr lang="zh-CN" altLang="en-US" sz="1050"/>
                </a:p>
              </p:txBody>
            </p:sp>
            <p:sp>
              <p:nvSpPr>
                <p:cNvPr id="4049" name="Freeform 1693"/>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050" name="Freeform 1694"/>
                <p:cNvSpPr>
                  <a:spLocks/>
                </p:cNvSpPr>
                <p:nvPr/>
              </p:nvSpPr>
              <p:spPr bwMode="auto">
                <a:xfrm>
                  <a:off x="10257" y="2586"/>
                  <a:ext cx="17" cy="0"/>
                </a:xfrm>
                <a:custGeom>
                  <a:avLst/>
                  <a:gdLst>
                    <a:gd name="T0" fmla="*/ 12 w 12"/>
                    <a:gd name="T1" fmla="*/ 0 h 2"/>
                    <a:gd name="T2" fmla="*/ 0 w 12"/>
                    <a:gd name="T3" fmla="*/ 2 h 2"/>
                    <a:gd name="T4" fmla="*/ 0 w 12"/>
                    <a:gd name="T5" fmla="*/ 2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2"/>
                      </a:lnTo>
                      <a:lnTo>
                        <a:pt x="0" y="2"/>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4051" name="Freeform 1695"/>
                <p:cNvSpPr>
                  <a:spLocks/>
                </p:cNvSpPr>
                <p:nvPr/>
              </p:nvSpPr>
              <p:spPr bwMode="auto">
                <a:xfrm>
                  <a:off x="10249" y="2595"/>
                  <a:ext cx="25" cy="9"/>
                </a:xfrm>
                <a:custGeom>
                  <a:avLst/>
                  <a:gdLst>
                    <a:gd name="T0" fmla="*/ 16 w 16"/>
                    <a:gd name="T1" fmla="*/ 0 h 2"/>
                    <a:gd name="T2" fmla="*/ 2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2"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4052" name="Freeform 1696"/>
                <p:cNvSpPr>
                  <a:spLocks/>
                </p:cNvSpPr>
                <p:nvPr/>
              </p:nvSpPr>
              <p:spPr bwMode="auto">
                <a:xfrm>
                  <a:off x="10249" y="2665"/>
                  <a:ext cx="25" cy="0"/>
                </a:xfrm>
                <a:custGeom>
                  <a:avLst/>
                  <a:gdLst>
                    <a:gd name="T0" fmla="*/ 30 w 30"/>
                    <a:gd name="T1" fmla="*/ 0 h 4"/>
                    <a:gd name="T2" fmla="*/ 30 w 30"/>
                    <a:gd name="T3" fmla="*/ 0 h 4"/>
                    <a:gd name="T4" fmla="*/ 0 w 30"/>
                    <a:gd name="T5" fmla="*/ 4 h 4"/>
                    <a:gd name="T6" fmla="*/ 0 w 30"/>
                    <a:gd name="T7" fmla="*/ 4 h 4"/>
                    <a:gd name="T8" fmla="*/ 30 w 30"/>
                    <a:gd name="T9" fmla="*/ 0 h 4"/>
                    <a:gd name="T10" fmla="*/ 30 w 30"/>
                    <a:gd name="T11" fmla="*/ 0 h 4"/>
                  </a:gdLst>
                  <a:ahLst/>
                  <a:cxnLst>
                    <a:cxn ang="0">
                      <a:pos x="T0" y="T1"/>
                    </a:cxn>
                    <a:cxn ang="0">
                      <a:pos x="T2" y="T3"/>
                    </a:cxn>
                    <a:cxn ang="0">
                      <a:pos x="T4" y="T5"/>
                    </a:cxn>
                    <a:cxn ang="0">
                      <a:pos x="T6" y="T7"/>
                    </a:cxn>
                    <a:cxn ang="0">
                      <a:pos x="T8" y="T9"/>
                    </a:cxn>
                    <a:cxn ang="0">
                      <a:pos x="T10" y="T11"/>
                    </a:cxn>
                  </a:cxnLst>
                  <a:rect l="0" t="0" r="r" b="b"/>
                  <a:pathLst>
                    <a:path w="30" h="4">
                      <a:moveTo>
                        <a:pt x="30" y="0"/>
                      </a:moveTo>
                      <a:lnTo>
                        <a:pt x="30" y="0"/>
                      </a:lnTo>
                      <a:lnTo>
                        <a:pt x="0" y="4"/>
                      </a:lnTo>
                      <a:lnTo>
                        <a:pt x="0" y="4"/>
                      </a:lnTo>
                      <a:lnTo>
                        <a:pt x="30" y="0"/>
                      </a:lnTo>
                      <a:lnTo>
                        <a:pt x="30" y="0"/>
                      </a:lnTo>
                      <a:close/>
                    </a:path>
                  </a:pathLst>
                </a:custGeom>
                <a:solidFill>
                  <a:srgbClr val="01AAE5"/>
                </a:solidFill>
                <a:ln>
                  <a:noFill/>
                </a:ln>
                <a:extLst/>
              </p:spPr>
              <p:txBody>
                <a:bodyPr/>
                <a:lstStyle/>
                <a:p>
                  <a:pPr eaLnBrk="1" hangingPunct="1">
                    <a:defRPr/>
                  </a:pPr>
                  <a:endParaRPr lang="zh-CN" altLang="en-US" sz="1050"/>
                </a:p>
              </p:txBody>
            </p:sp>
            <p:sp>
              <p:nvSpPr>
                <p:cNvPr id="4053" name="Freeform 1697"/>
                <p:cNvSpPr>
                  <a:spLocks/>
                </p:cNvSpPr>
                <p:nvPr/>
              </p:nvSpPr>
              <p:spPr bwMode="auto">
                <a:xfrm>
                  <a:off x="10249" y="2656"/>
                  <a:ext cx="25" cy="9"/>
                </a:xfrm>
                <a:custGeom>
                  <a:avLst/>
                  <a:gdLst>
                    <a:gd name="T0" fmla="*/ 33 w 33"/>
                    <a:gd name="T1" fmla="*/ 0 h 5"/>
                    <a:gd name="T2" fmla="*/ 0 w 33"/>
                    <a:gd name="T3" fmla="*/ 5 h 5"/>
                    <a:gd name="T4" fmla="*/ 3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5"/>
                      </a:lnTo>
                      <a:lnTo>
                        <a:pt x="3"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4054" name="Freeform 1698"/>
                <p:cNvSpPr>
                  <a:spLocks/>
                </p:cNvSpPr>
                <p:nvPr/>
              </p:nvSpPr>
              <p:spPr bwMode="auto">
                <a:xfrm>
                  <a:off x="10249" y="2647"/>
                  <a:ext cx="25" cy="9"/>
                </a:xfrm>
                <a:custGeom>
                  <a:avLst/>
                  <a:gdLst>
                    <a:gd name="T0" fmla="*/ 33 w 33"/>
                    <a:gd name="T1" fmla="*/ 0 h 5"/>
                    <a:gd name="T2" fmla="*/ 0 w 33"/>
                    <a:gd name="T3" fmla="*/ 3 h 5"/>
                    <a:gd name="T4" fmla="*/ 0 w 33"/>
                    <a:gd name="T5" fmla="*/ 5 h 5"/>
                    <a:gd name="T6" fmla="*/ 33 w 33"/>
                    <a:gd name="T7" fmla="*/ 0 h 5"/>
                    <a:gd name="T8" fmla="*/ 33 w 33"/>
                    <a:gd name="T9" fmla="*/ 0 h 5"/>
                  </a:gdLst>
                  <a:ahLst/>
                  <a:cxnLst>
                    <a:cxn ang="0">
                      <a:pos x="T0" y="T1"/>
                    </a:cxn>
                    <a:cxn ang="0">
                      <a:pos x="T2" y="T3"/>
                    </a:cxn>
                    <a:cxn ang="0">
                      <a:pos x="T4" y="T5"/>
                    </a:cxn>
                    <a:cxn ang="0">
                      <a:pos x="T6" y="T7"/>
                    </a:cxn>
                    <a:cxn ang="0">
                      <a:pos x="T8" y="T9"/>
                    </a:cxn>
                  </a:cxnLst>
                  <a:rect l="0" t="0" r="r" b="b"/>
                  <a:pathLst>
                    <a:path w="33" h="5">
                      <a:moveTo>
                        <a:pt x="33" y="0"/>
                      </a:moveTo>
                      <a:lnTo>
                        <a:pt x="0" y="3"/>
                      </a:lnTo>
                      <a:lnTo>
                        <a:pt x="0" y="5"/>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4055" name="Freeform 1699"/>
                <p:cNvSpPr>
                  <a:spLocks/>
                </p:cNvSpPr>
                <p:nvPr/>
              </p:nvSpPr>
              <p:spPr bwMode="auto">
                <a:xfrm>
                  <a:off x="10249" y="2647"/>
                  <a:ext cx="25" cy="0"/>
                </a:xfrm>
                <a:custGeom>
                  <a:avLst/>
                  <a:gdLst>
                    <a:gd name="T0" fmla="*/ 31 w 31"/>
                    <a:gd name="T1" fmla="*/ 0 h 7"/>
                    <a:gd name="T2" fmla="*/ 0 w 31"/>
                    <a:gd name="T3" fmla="*/ 5 h 7"/>
                    <a:gd name="T4" fmla="*/ 0 w 31"/>
                    <a:gd name="T5" fmla="*/ 7 h 7"/>
                    <a:gd name="T6" fmla="*/ 31 w 31"/>
                    <a:gd name="T7" fmla="*/ 2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2"/>
                      </a:lnTo>
                      <a:lnTo>
                        <a:pt x="31" y="0"/>
                      </a:lnTo>
                      <a:close/>
                    </a:path>
                  </a:pathLst>
                </a:custGeom>
                <a:solidFill>
                  <a:srgbClr val="01AAE5"/>
                </a:solidFill>
                <a:ln>
                  <a:noFill/>
                </a:ln>
                <a:extLst/>
              </p:spPr>
              <p:txBody>
                <a:bodyPr/>
                <a:lstStyle/>
                <a:p>
                  <a:pPr eaLnBrk="1" hangingPunct="1">
                    <a:defRPr/>
                  </a:pPr>
                  <a:endParaRPr lang="zh-CN" altLang="en-US" sz="1050"/>
                </a:p>
              </p:txBody>
            </p:sp>
            <p:sp>
              <p:nvSpPr>
                <p:cNvPr id="4056" name="Freeform 1700"/>
                <p:cNvSpPr>
                  <a:spLocks/>
                </p:cNvSpPr>
                <p:nvPr/>
              </p:nvSpPr>
              <p:spPr bwMode="auto">
                <a:xfrm>
                  <a:off x="10249" y="2621"/>
                  <a:ext cx="25" cy="9"/>
                </a:xfrm>
                <a:custGeom>
                  <a:avLst/>
                  <a:gdLst>
                    <a:gd name="T0" fmla="*/ 26 w 26"/>
                    <a:gd name="T1" fmla="*/ 0 h 5"/>
                    <a:gd name="T2" fmla="*/ 0 w 26"/>
                    <a:gd name="T3" fmla="*/ 3 h 5"/>
                    <a:gd name="T4" fmla="*/ 0 w 26"/>
                    <a:gd name="T5" fmla="*/ 5 h 5"/>
                    <a:gd name="T6" fmla="*/ 26 w 26"/>
                    <a:gd name="T7" fmla="*/ 3 h 5"/>
                    <a:gd name="T8" fmla="*/ 26 w 26"/>
                    <a:gd name="T9" fmla="*/ 0 h 5"/>
                  </a:gdLst>
                  <a:ahLst/>
                  <a:cxnLst>
                    <a:cxn ang="0">
                      <a:pos x="T0" y="T1"/>
                    </a:cxn>
                    <a:cxn ang="0">
                      <a:pos x="T2" y="T3"/>
                    </a:cxn>
                    <a:cxn ang="0">
                      <a:pos x="T4" y="T5"/>
                    </a:cxn>
                    <a:cxn ang="0">
                      <a:pos x="T6" y="T7"/>
                    </a:cxn>
                    <a:cxn ang="0">
                      <a:pos x="T8" y="T9"/>
                    </a:cxn>
                  </a:cxnLst>
                  <a:rect l="0" t="0" r="r" b="b"/>
                  <a:pathLst>
                    <a:path w="26" h="5">
                      <a:moveTo>
                        <a:pt x="26" y="0"/>
                      </a:moveTo>
                      <a:lnTo>
                        <a:pt x="0" y="3"/>
                      </a:lnTo>
                      <a:lnTo>
                        <a:pt x="0" y="5"/>
                      </a:lnTo>
                      <a:lnTo>
                        <a:pt x="26"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4057" name="Rectangle 1701"/>
                <p:cNvSpPr>
                  <a:spLocks noChangeArrowheads="1"/>
                </p:cNvSpPr>
                <p:nvPr/>
              </p:nvSpPr>
              <p:spPr bwMode="auto">
                <a:xfrm>
                  <a:off x="10257"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4058" name="Freeform 1702"/>
                <p:cNvSpPr>
                  <a:spLocks/>
                </p:cNvSpPr>
                <p:nvPr/>
              </p:nvSpPr>
              <p:spPr bwMode="auto">
                <a:xfrm>
                  <a:off x="10249" y="2630"/>
                  <a:ext cx="25" cy="9"/>
                </a:xfrm>
                <a:custGeom>
                  <a:avLst/>
                  <a:gdLst>
                    <a:gd name="T0" fmla="*/ 29 w 29"/>
                    <a:gd name="T1" fmla="*/ 0 h 5"/>
                    <a:gd name="T2" fmla="*/ 0 w 29"/>
                    <a:gd name="T3" fmla="*/ 5 h 5"/>
                    <a:gd name="T4" fmla="*/ 0 w 29"/>
                    <a:gd name="T5" fmla="*/ 5 h 5"/>
                    <a:gd name="T6" fmla="*/ 29 w 29"/>
                    <a:gd name="T7" fmla="*/ 2 h 5"/>
                    <a:gd name="T8" fmla="*/ 29 w 29"/>
                    <a:gd name="T9" fmla="*/ 0 h 5"/>
                  </a:gdLst>
                  <a:ahLst/>
                  <a:cxnLst>
                    <a:cxn ang="0">
                      <a:pos x="T0" y="T1"/>
                    </a:cxn>
                    <a:cxn ang="0">
                      <a:pos x="T2" y="T3"/>
                    </a:cxn>
                    <a:cxn ang="0">
                      <a:pos x="T4" y="T5"/>
                    </a:cxn>
                    <a:cxn ang="0">
                      <a:pos x="T6" y="T7"/>
                    </a:cxn>
                    <a:cxn ang="0">
                      <a:pos x="T8" y="T9"/>
                    </a:cxn>
                  </a:cxnLst>
                  <a:rect l="0" t="0" r="r" b="b"/>
                  <a:pathLst>
                    <a:path w="29" h="5">
                      <a:moveTo>
                        <a:pt x="29" y="0"/>
                      </a:moveTo>
                      <a:lnTo>
                        <a:pt x="0" y="5"/>
                      </a:lnTo>
                      <a:lnTo>
                        <a:pt x="0" y="5"/>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4059" name="Freeform 1703"/>
                <p:cNvSpPr>
                  <a:spLocks/>
                </p:cNvSpPr>
                <p:nvPr/>
              </p:nvSpPr>
              <p:spPr bwMode="auto">
                <a:xfrm>
                  <a:off x="10249" y="2639"/>
                  <a:ext cx="25" cy="0"/>
                </a:xfrm>
                <a:custGeom>
                  <a:avLst/>
                  <a:gdLst>
                    <a:gd name="T0" fmla="*/ 29 w 29"/>
                    <a:gd name="T1" fmla="*/ 0 h 4"/>
                    <a:gd name="T2" fmla="*/ 0 w 29"/>
                    <a:gd name="T3" fmla="*/ 4 h 4"/>
                    <a:gd name="T4" fmla="*/ 0 w 29"/>
                    <a:gd name="T5" fmla="*/ 4 h 4"/>
                    <a:gd name="T6" fmla="*/ 29 w 29"/>
                    <a:gd name="T7" fmla="*/ 2 h 4"/>
                    <a:gd name="T8" fmla="*/ 29 w 29"/>
                    <a:gd name="T9" fmla="*/ 0 h 4"/>
                  </a:gdLst>
                  <a:ahLst/>
                  <a:cxnLst>
                    <a:cxn ang="0">
                      <a:pos x="T0" y="T1"/>
                    </a:cxn>
                    <a:cxn ang="0">
                      <a:pos x="T2" y="T3"/>
                    </a:cxn>
                    <a:cxn ang="0">
                      <a:pos x="T4" y="T5"/>
                    </a:cxn>
                    <a:cxn ang="0">
                      <a:pos x="T6" y="T7"/>
                    </a:cxn>
                    <a:cxn ang="0">
                      <a:pos x="T8" y="T9"/>
                    </a:cxn>
                  </a:cxnLst>
                  <a:rect l="0" t="0" r="r" b="b"/>
                  <a:pathLst>
                    <a:path w="29" h="4">
                      <a:moveTo>
                        <a:pt x="29" y="0"/>
                      </a:moveTo>
                      <a:lnTo>
                        <a:pt x="0" y="4"/>
                      </a:lnTo>
                      <a:lnTo>
                        <a:pt x="0" y="4"/>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4060" name="Freeform 1704"/>
                <p:cNvSpPr>
                  <a:spLocks/>
                </p:cNvSpPr>
                <p:nvPr/>
              </p:nvSpPr>
              <p:spPr bwMode="auto">
                <a:xfrm>
                  <a:off x="10249" y="2639"/>
                  <a:ext cx="25" cy="9"/>
                </a:xfrm>
                <a:custGeom>
                  <a:avLst/>
                  <a:gdLst>
                    <a:gd name="T0" fmla="*/ 31 w 31"/>
                    <a:gd name="T1" fmla="*/ 0 h 7"/>
                    <a:gd name="T2" fmla="*/ 0 w 31"/>
                    <a:gd name="T3" fmla="*/ 5 h 7"/>
                    <a:gd name="T4" fmla="*/ 0 w 31"/>
                    <a:gd name="T5" fmla="*/ 7 h 7"/>
                    <a:gd name="T6" fmla="*/ 31 w 31"/>
                    <a:gd name="T7" fmla="*/ 3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3"/>
                      </a:lnTo>
                      <a:lnTo>
                        <a:pt x="31" y="0"/>
                      </a:lnTo>
                      <a:close/>
                    </a:path>
                  </a:pathLst>
                </a:custGeom>
                <a:solidFill>
                  <a:srgbClr val="01AAE5"/>
                </a:solidFill>
                <a:ln>
                  <a:noFill/>
                </a:ln>
                <a:extLst/>
              </p:spPr>
              <p:txBody>
                <a:bodyPr/>
                <a:lstStyle/>
                <a:p>
                  <a:pPr eaLnBrk="1" hangingPunct="1">
                    <a:defRPr/>
                  </a:pPr>
                  <a:endParaRPr lang="zh-CN" altLang="en-US" sz="1050"/>
                </a:p>
              </p:txBody>
            </p:sp>
            <p:sp>
              <p:nvSpPr>
                <p:cNvPr id="4061" name="Rectangle 1705"/>
                <p:cNvSpPr>
                  <a:spLocks noChangeArrowheads="1"/>
                </p:cNvSpPr>
                <p:nvPr/>
              </p:nvSpPr>
              <p:spPr bwMode="auto">
                <a:xfrm>
                  <a:off x="10257" y="2560"/>
                  <a:ext cx="0" cy="0"/>
                </a:xfrm>
                <a:prstGeom prst="rect">
                  <a:avLst/>
                </a:prstGeom>
                <a:solidFill>
                  <a:srgbClr val="01AAE5"/>
                </a:solidFill>
                <a:ln>
                  <a:noFill/>
                </a:ln>
                <a:extLst/>
              </p:spPr>
              <p:txBody>
                <a:bodyPr/>
                <a:lstStyle/>
                <a:p>
                  <a:pPr eaLnBrk="1" hangingPunct="1">
                    <a:defRPr/>
                  </a:pPr>
                  <a:endParaRPr lang="zh-CN" altLang="en-US" sz="1050"/>
                </a:p>
              </p:txBody>
            </p:sp>
            <p:sp>
              <p:nvSpPr>
                <p:cNvPr id="4062" name="Rectangle 1706"/>
                <p:cNvSpPr>
                  <a:spLocks noChangeArrowheads="1"/>
                </p:cNvSpPr>
                <p:nvPr/>
              </p:nvSpPr>
              <p:spPr bwMode="auto">
                <a:xfrm>
                  <a:off x="10257" y="2525"/>
                  <a:ext cx="0" cy="0"/>
                </a:xfrm>
                <a:prstGeom prst="rect">
                  <a:avLst/>
                </a:prstGeom>
                <a:solidFill>
                  <a:srgbClr val="01AAE5"/>
                </a:solidFill>
                <a:ln>
                  <a:noFill/>
                </a:ln>
                <a:extLst/>
              </p:spPr>
              <p:txBody>
                <a:bodyPr/>
                <a:lstStyle/>
                <a:p>
                  <a:pPr eaLnBrk="1" hangingPunct="1">
                    <a:defRPr/>
                  </a:pPr>
                  <a:endParaRPr lang="zh-CN" altLang="en-US" sz="1050"/>
                </a:p>
              </p:txBody>
            </p:sp>
            <p:sp>
              <p:nvSpPr>
                <p:cNvPr id="4063" name="Freeform 1707"/>
                <p:cNvSpPr>
                  <a:spLocks/>
                </p:cNvSpPr>
                <p:nvPr/>
              </p:nvSpPr>
              <p:spPr bwMode="auto">
                <a:xfrm>
                  <a:off x="10257" y="2525"/>
                  <a:ext cx="0" cy="9"/>
                </a:xfrm>
                <a:custGeom>
                  <a:avLst/>
                  <a:gdLst>
                    <a:gd name="T0" fmla="*/ 10 w 10"/>
                    <a:gd name="T1" fmla="*/ 2 h 2"/>
                    <a:gd name="T2" fmla="*/ 0 w 10"/>
                    <a:gd name="T3" fmla="*/ 0 h 2"/>
                    <a:gd name="T4" fmla="*/ 0 w 10"/>
                    <a:gd name="T5" fmla="*/ 2 h 2"/>
                    <a:gd name="T6" fmla="*/ 10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0" y="0"/>
                      </a:lnTo>
                      <a:lnTo>
                        <a:pt x="0" y="2"/>
                      </a:lnTo>
                      <a:lnTo>
                        <a:pt x="10" y="2"/>
                      </a:lnTo>
                      <a:lnTo>
                        <a:pt x="10" y="2"/>
                      </a:lnTo>
                      <a:close/>
                    </a:path>
                  </a:pathLst>
                </a:custGeom>
                <a:solidFill>
                  <a:srgbClr val="01AAE5"/>
                </a:solidFill>
                <a:ln>
                  <a:noFill/>
                </a:ln>
                <a:extLst/>
              </p:spPr>
              <p:txBody>
                <a:bodyPr/>
                <a:lstStyle/>
                <a:p>
                  <a:pPr eaLnBrk="1" hangingPunct="1">
                    <a:defRPr/>
                  </a:pPr>
                  <a:endParaRPr lang="zh-CN" altLang="en-US" sz="1050"/>
                </a:p>
              </p:txBody>
            </p:sp>
            <p:sp>
              <p:nvSpPr>
                <p:cNvPr id="4064" name="Rectangle 1708"/>
                <p:cNvSpPr>
                  <a:spLocks noChangeArrowheads="1"/>
                </p:cNvSpPr>
                <p:nvPr/>
              </p:nvSpPr>
              <p:spPr bwMode="auto">
                <a:xfrm>
                  <a:off x="10257" y="2578"/>
                  <a:ext cx="0" cy="0"/>
                </a:xfrm>
                <a:prstGeom prst="rect">
                  <a:avLst/>
                </a:prstGeom>
                <a:solidFill>
                  <a:srgbClr val="01AAE5"/>
                </a:solidFill>
                <a:ln>
                  <a:noFill/>
                </a:ln>
                <a:extLst/>
              </p:spPr>
              <p:txBody>
                <a:bodyPr/>
                <a:lstStyle/>
                <a:p>
                  <a:pPr eaLnBrk="1" hangingPunct="1">
                    <a:defRPr/>
                  </a:pPr>
                  <a:endParaRPr lang="zh-CN" altLang="en-US" sz="1050"/>
                </a:p>
              </p:txBody>
            </p:sp>
            <p:sp>
              <p:nvSpPr>
                <p:cNvPr id="4065" name="Rectangle 1709"/>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4066" name="Rectangle 1710"/>
                <p:cNvSpPr>
                  <a:spLocks noChangeArrowheads="1"/>
                </p:cNvSpPr>
                <p:nvPr/>
              </p:nvSpPr>
              <p:spPr bwMode="auto">
                <a:xfrm>
                  <a:off x="10257" y="2534"/>
                  <a:ext cx="0" cy="0"/>
                </a:xfrm>
                <a:prstGeom prst="rect">
                  <a:avLst/>
                </a:prstGeom>
                <a:solidFill>
                  <a:srgbClr val="01AAE5"/>
                </a:solidFill>
                <a:ln>
                  <a:noFill/>
                </a:ln>
                <a:extLst/>
              </p:spPr>
              <p:txBody>
                <a:bodyPr/>
                <a:lstStyle/>
                <a:p>
                  <a:pPr eaLnBrk="1" hangingPunct="1">
                    <a:defRPr/>
                  </a:pPr>
                  <a:endParaRPr lang="zh-CN" altLang="en-US" sz="1050"/>
                </a:p>
              </p:txBody>
            </p:sp>
            <p:sp>
              <p:nvSpPr>
                <p:cNvPr id="4067" name="Freeform 1711"/>
                <p:cNvSpPr>
                  <a:spLocks/>
                </p:cNvSpPr>
                <p:nvPr/>
              </p:nvSpPr>
              <p:spPr bwMode="auto">
                <a:xfrm>
                  <a:off x="10257" y="2508"/>
                  <a:ext cx="0" cy="9"/>
                </a:xfrm>
                <a:custGeom>
                  <a:avLst/>
                  <a:gdLst>
                    <a:gd name="T0" fmla="*/ 8 w 8"/>
                    <a:gd name="T1" fmla="*/ 0 h 3"/>
                    <a:gd name="T2" fmla="*/ 0 w 8"/>
                    <a:gd name="T3" fmla="*/ 0 h 3"/>
                    <a:gd name="T4" fmla="*/ 0 w 8"/>
                    <a:gd name="T5" fmla="*/ 0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0" y="0"/>
                      </a:lnTo>
                      <a:lnTo>
                        <a:pt x="0" y="0"/>
                      </a:lnTo>
                      <a:lnTo>
                        <a:pt x="8" y="3"/>
                      </a:lnTo>
                      <a:lnTo>
                        <a:pt x="8" y="0"/>
                      </a:lnTo>
                      <a:close/>
                    </a:path>
                  </a:pathLst>
                </a:custGeom>
                <a:solidFill>
                  <a:srgbClr val="01AAE5"/>
                </a:solidFill>
                <a:ln>
                  <a:noFill/>
                </a:ln>
                <a:extLst/>
              </p:spPr>
              <p:txBody>
                <a:bodyPr/>
                <a:lstStyle/>
                <a:p>
                  <a:pPr eaLnBrk="1" hangingPunct="1">
                    <a:defRPr/>
                  </a:pPr>
                  <a:endParaRPr lang="zh-CN" altLang="en-US" sz="1050"/>
                </a:p>
              </p:txBody>
            </p:sp>
          </p:grpSp>
          <p:grpSp>
            <p:nvGrpSpPr>
              <p:cNvPr id="45" name="Group 1913"/>
              <p:cNvGrpSpPr>
                <a:grpSpLocks/>
              </p:cNvGrpSpPr>
              <p:nvPr/>
            </p:nvGrpSpPr>
            <p:grpSpPr bwMode="auto">
              <a:xfrm>
                <a:off x="16149638" y="3429000"/>
                <a:ext cx="1431925" cy="1789113"/>
                <a:chOff x="10173" y="2160"/>
                <a:chExt cx="902" cy="1127"/>
              </a:xfrm>
            </p:grpSpPr>
            <p:sp>
              <p:nvSpPr>
                <p:cNvPr id="3668" name="Rectangle 1713"/>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3669" name="Rectangle 1714"/>
                <p:cNvSpPr>
                  <a:spLocks noChangeArrowheads="1"/>
                </p:cNvSpPr>
                <p:nvPr/>
              </p:nvSpPr>
              <p:spPr bwMode="auto">
                <a:xfrm>
                  <a:off x="10190" y="2508"/>
                  <a:ext cx="8" cy="0"/>
                </a:xfrm>
                <a:prstGeom prst="rect">
                  <a:avLst/>
                </a:prstGeom>
                <a:solidFill>
                  <a:srgbClr val="01AAE5"/>
                </a:solidFill>
                <a:ln>
                  <a:noFill/>
                </a:ln>
                <a:extLst/>
              </p:spPr>
              <p:txBody>
                <a:bodyPr/>
                <a:lstStyle/>
                <a:p>
                  <a:pPr eaLnBrk="1" hangingPunct="1">
                    <a:defRPr/>
                  </a:pPr>
                  <a:endParaRPr lang="zh-CN" altLang="en-US" sz="1050"/>
                </a:p>
              </p:txBody>
            </p:sp>
            <p:sp>
              <p:nvSpPr>
                <p:cNvPr id="3670" name="Rectangle 1715"/>
                <p:cNvSpPr>
                  <a:spLocks noChangeArrowheads="1"/>
                </p:cNvSpPr>
                <p:nvPr/>
              </p:nvSpPr>
              <p:spPr bwMode="auto">
                <a:xfrm>
                  <a:off x="10190" y="2517"/>
                  <a:ext cx="8" cy="9"/>
                </a:xfrm>
                <a:prstGeom prst="rect">
                  <a:avLst/>
                </a:prstGeom>
                <a:solidFill>
                  <a:srgbClr val="01AAE5"/>
                </a:solidFill>
                <a:ln>
                  <a:noFill/>
                </a:ln>
                <a:extLst/>
              </p:spPr>
              <p:txBody>
                <a:bodyPr/>
                <a:lstStyle/>
                <a:p>
                  <a:pPr eaLnBrk="1" hangingPunct="1">
                    <a:defRPr/>
                  </a:pPr>
                  <a:endParaRPr lang="zh-CN" altLang="en-US" sz="1050"/>
                </a:p>
              </p:txBody>
            </p:sp>
            <p:sp>
              <p:nvSpPr>
                <p:cNvPr id="3671" name="Freeform 1716"/>
                <p:cNvSpPr>
                  <a:spLocks/>
                </p:cNvSpPr>
                <p:nvPr/>
              </p:nvSpPr>
              <p:spPr bwMode="auto">
                <a:xfrm>
                  <a:off x="10182" y="2543"/>
                  <a:ext cx="17" cy="0"/>
                </a:xfrm>
                <a:custGeom>
                  <a:avLst/>
                  <a:gdLst>
                    <a:gd name="T0" fmla="*/ 10 w 10"/>
                    <a:gd name="T1" fmla="*/ 0 h 3"/>
                    <a:gd name="T2" fmla="*/ 0 w 10"/>
                    <a:gd name="T3" fmla="*/ 0 h 3"/>
                    <a:gd name="T4" fmla="*/ 0 w 10"/>
                    <a:gd name="T5" fmla="*/ 0 h 3"/>
                    <a:gd name="T6" fmla="*/ 1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0"/>
                      </a:lnTo>
                      <a:lnTo>
                        <a:pt x="0" y="0"/>
                      </a:lnTo>
                      <a:lnTo>
                        <a:pt x="1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672" name="Rectangle 1717"/>
                <p:cNvSpPr>
                  <a:spLocks noChangeArrowheads="1"/>
                </p:cNvSpPr>
                <p:nvPr/>
              </p:nvSpPr>
              <p:spPr bwMode="auto">
                <a:xfrm>
                  <a:off x="10182"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3673" name="Freeform 1718"/>
                <p:cNvSpPr>
                  <a:spLocks/>
                </p:cNvSpPr>
                <p:nvPr/>
              </p:nvSpPr>
              <p:spPr bwMode="auto">
                <a:xfrm>
                  <a:off x="10182" y="2578"/>
                  <a:ext cx="17" cy="0"/>
                </a:xfrm>
                <a:custGeom>
                  <a:avLst/>
                  <a:gdLst>
                    <a:gd name="T0" fmla="*/ 10 w 10"/>
                    <a:gd name="T1" fmla="*/ 0 h 2"/>
                    <a:gd name="T2" fmla="*/ 0 w 10"/>
                    <a:gd name="T3" fmla="*/ 0 h 2"/>
                    <a:gd name="T4" fmla="*/ 0 w 10"/>
                    <a:gd name="T5" fmla="*/ 2 h 2"/>
                    <a:gd name="T6" fmla="*/ 10 w 10"/>
                    <a:gd name="T7" fmla="*/ 0 h 2"/>
                    <a:gd name="T8" fmla="*/ 10 w 10"/>
                    <a:gd name="T9" fmla="*/ 0 h 2"/>
                  </a:gdLst>
                  <a:ahLst/>
                  <a:cxnLst>
                    <a:cxn ang="0">
                      <a:pos x="T0" y="T1"/>
                    </a:cxn>
                    <a:cxn ang="0">
                      <a:pos x="T2" y="T3"/>
                    </a:cxn>
                    <a:cxn ang="0">
                      <a:pos x="T4" y="T5"/>
                    </a:cxn>
                    <a:cxn ang="0">
                      <a:pos x="T6" y="T7"/>
                    </a:cxn>
                    <a:cxn ang="0">
                      <a:pos x="T8" y="T9"/>
                    </a:cxn>
                  </a:cxnLst>
                  <a:rect l="0" t="0" r="r" b="b"/>
                  <a:pathLst>
                    <a:path w="10" h="2">
                      <a:moveTo>
                        <a:pt x="10" y="0"/>
                      </a:moveTo>
                      <a:lnTo>
                        <a:pt x="0" y="0"/>
                      </a:lnTo>
                      <a:lnTo>
                        <a:pt x="0" y="2"/>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674" name="Rectangle 1719"/>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3675" name="Rectangle 1720"/>
                <p:cNvSpPr>
                  <a:spLocks noChangeArrowheads="1"/>
                </p:cNvSpPr>
                <p:nvPr/>
              </p:nvSpPr>
              <p:spPr bwMode="auto">
                <a:xfrm>
                  <a:off x="10182"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3676" name="Freeform 1721"/>
                <p:cNvSpPr>
                  <a:spLocks/>
                </p:cNvSpPr>
                <p:nvPr/>
              </p:nvSpPr>
              <p:spPr bwMode="auto">
                <a:xfrm>
                  <a:off x="10182" y="2674"/>
                  <a:ext cx="33" cy="9"/>
                </a:xfrm>
                <a:custGeom>
                  <a:avLst/>
                  <a:gdLst>
                    <a:gd name="T0" fmla="*/ 33 w 33"/>
                    <a:gd name="T1" fmla="*/ 0 h 7"/>
                    <a:gd name="T2" fmla="*/ 0 w 33"/>
                    <a:gd name="T3" fmla="*/ 5 h 7"/>
                    <a:gd name="T4" fmla="*/ 0 w 33"/>
                    <a:gd name="T5" fmla="*/ 7 h 7"/>
                    <a:gd name="T6" fmla="*/ 33 w 33"/>
                    <a:gd name="T7" fmla="*/ 0 h 7"/>
                    <a:gd name="T8" fmla="*/ 33 w 33"/>
                    <a:gd name="T9" fmla="*/ 0 h 7"/>
                  </a:gdLst>
                  <a:ahLst/>
                  <a:cxnLst>
                    <a:cxn ang="0">
                      <a:pos x="T0" y="T1"/>
                    </a:cxn>
                    <a:cxn ang="0">
                      <a:pos x="T2" y="T3"/>
                    </a:cxn>
                    <a:cxn ang="0">
                      <a:pos x="T4" y="T5"/>
                    </a:cxn>
                    <a:cxn ang="0">
                      <a:pos x="T6" y="T7"/>
                    </a:cxn>
                    <a:cxn ang="0">
                      <a:pos x="T8" y="T9"/>
                    </a:cxn>
                  </a:cxnLst>
                  <a:rect l="0" t="0" r="r" b="b"/>
                  <a:pathLst>
                    <a:path w="33" h="7">
                      <a:moveTo>
                        <a:pt x="33" y="0"/>
                      </a:moveTo>
                      <a:lnTo>
                        <a:pt x="0" y="5"/>
                      </a:lnTo>
                      <a:lnTo>
                        <a:pt x="0" y="7"/>
                      </a:lnTo>
                      <a:lnTo>
                        <a:pt x="33" y="0"/>
                      </a:lnTo>
                      <a:lnTo>
                        <a:pt x="33" y="0"/>
                      </a:lnTo>
                      <a:close/>
                    </a:path>
                  </a:pathLst>
                </a:custGeom>
                <a:solidFill>
                  <a:srgbClr val="01AAE5"/>
                </a:solidFill>
                <a:ln>
                  <a:noFill/>
                </a:ln>
                <a:extLst/>
              </p:spPr>
              <p:txBody>
                <a:bodyPr/>
                <a:lstStyle/>
                <a:p>
                  <a:pPr eaLnBrk="1" hangingPunct="1">
                    <a:defRPr/>
                  </a:pPr>
                  <a:endParaRPr lang="zh-CN" altLang="en-US" sz="1050"/>
                </a:p>
              </p:txBody>
            </p:sp>
            <p:sp>
              <p:nvSpPr>
                <p:cNvPr id="3677" name="Rectangle 1722"/>
                <p:cNvSpPr>
                  <a:spLocks noChangeArrowheads="1"/>
                </p:cNvSpPr>
                <p:nvPr/>
              </p:nvSpPr>
              <p:spPr bwMode="auto">
                <a:xfrm>
                  <a:off x="10182"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3678" name="Freeform 1723"/>
                <p:cNvSpPr>
                  <a:spLocks/>
                </p:cNvSpPr>
                <p:nvPr/>
              </p:nvSpPr>
              <p:spPr bwMode="auto">
                <a:xfrm>
                  <a:off x="10182" y="2621"/>
                  <a:ext cx="25" cy="9"/>
                </a:xfrm>
                <a:custGeom>
                  <a:avLst/>
                  <a:gdLst>
                    <a:gd name="T0" fmla="*/ 24 w 26"/>
                    <a:gd name="T1" fmla="*/ 0 h 5"/>
                    <a:gd name="T2" fmla="*/ 0 w 26"/>
                    <a:gd name="T3" fmla="*/ 3 h 5"/>
                    <a:gd name="T4" fmla="*/ 0 w 26"/>
                    <a:gd name="T5" fmla="*/ 5 h 5"/>
                    <a:gd name="T6" fmla="*/ 26 w 26"/>
                    <a:gd name="T7" fmla="*/ 3 h 5"/>
                    <a:gd name="T8" fmla="*/ 24 w 26"/>
                    <a:gd name="T9" fmla="*/ 0 h 5"/>
                  </a:gdLst>
                  <a:ahLst/>
                  <a:cxnLst>
                    <a:cxn ang="0">
                      <a:pos x="T0" y="T1"/>
                    </a:cxn>
                    <a:cxn ang="0">
                      <a:pos x="T2" y="T3"/>
                    </a:cxn>
                    <a:cxn ang="0">
                      <a:pos x="T4" y="T5"/>
                    </a:cxn>
                    <a:cxn ang="0">
                      <a:pos x="T6" y="T7"/>
                    </a:cxn>
                    <a:cxn ang="0">
                      <a:pos x="T8" y="T9"/>
                    </a:cxn>
                  </a:cxnLst>
                  <a:rect l="0" t="0" r="r" b="b"/>
                  <a:pathLst>
                    <a:path w="26" h="5">
                      <a:moveTo>
                        <a:pt x="24" y="0"/>
                      </a:moveTo>
                      <a:lnTo>
                        <a:pt x="0" y="3"/>
                      </a:lnTo>
                      <a:lnTo>
                        <a:pt x="0" y="5"/>
                      </a:lnTo>
                      <a:lnTo>
                        <a:pt x="26" y="3"/>
                      </a:lnTo>
                      <a:lnTo>
                        <a:pt x="24" y="0"/>
                      </a:lnTo>
                      <a:close/>
                    </a:path>
                  </a:pathLst>
                </a:custGeom>
                <a:solidFill>
                  <a:srgbClr val="01AAE5"/>
                </a:solidFill>
                <a:ln>
                  <a:noFill/>
                </a:ln>
                <a:extLst/>
              </p:spPr>
              <p:txBody>
                <a:bodyPr/>
                <a:lstStyle/>
                <a:p>
                  <a:pPr eaLnBrk="1" hangingPunct="1">
                    <a:defRPr/>
                  </a:pPr>
                  <a:endParaRPr lang="zh-CN" altLang="en-US" sz="1050"/>
                </a:p>
              </p:txBody>
            </p:sp>
            <p:sp>
              <p:nvSpPr>
                <p:cNvPr id="3679" name="Freeform 1724"/>
                <p:cNvSpPr>
                  <a:spLocks/>
                </p:cNvSpPr>
                <p:nvPr/>
              </p:nvSpPr>
              <p:spPr bwMode="auto">
                <a:xfrm>
                  <a:off x="10232" y="2787"/>
                  <a:ext cx="0"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0" name="Freeform 1725"/>
                <p:cNvSpPr>
                  <a:spLocks/>
                </p:cNvSpPr>
                <p:nvPr/>
              </p:nvSpPr>
              <p:spPr bwMode="auto">
                <a:xfrm>
                  <a:off x="10232" y="2796"/>
                  <a:ext cx="0" cy="0"/>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3681" name="Freeform 1726"/>
                <p:cNvSpPr>
                  <a:spLocks/>
                </p:cNvSpPr>
                <p:nvPr/>
              </p:nvSpPr>
              <p:spPr bwMode="auto">
                <a:xfrm>
                  <a:off x="10232" y="2796"/>
                  <a:ext cx="8" cy="9"/>
                </a:xfrm>
                <a:custGeom>
                  <a:avLst/>
                  <a:gdLst>
                    <a:gd name="T0" fmla="*/ 7 w 10"/>
                    <a:gd name="T1" fmla="*/ 0 h 4"/>
                    <a:gd name="T2" fmla="*/ 0 w 10"/>
                    <a:gd name="T3" fmla="*/ 4 h 4"/>
                    <a:gd name="T4" fmla="*/ 0 w 10"/>
                    <a:gd name="T5" fmla="*/ 4 h 4"/>
                    <a:gd name="T6" fmla="*/ 10 w 10"/>
                    <a:gd name="T7" fmla="*/ 2 h 4"/>
                    <a:gd name="T8" fmla="*/ 7 w 10"/>
                    <a:gd name="T9" fmla="*/ 0 h 4"/>
                  </a:gdLst>
                  <a:ahLst/>
                  <a:cxnLst>
                    <a:cxn ang="0">
                      <a:pos x="T0" y="T1"/>
                    </a:cxn>
                    <a:cxn ang="0">
                      <a:pos x="T2" y="T3"/>
                    </a:cxn>
                    <a:cxn ang="0">
                      <a:pos x="T4" y="T5"/>
                    </a:cxn>
                    <a:cxn ang="0">
                      <a:pos x="T6" y="T7"/>
                    </a:cxn>
                    <a:cxn ang="0">
                      <a:pos x="T8" y="T9"/>
                    </a:cxn>
                  </a:cxnLst>
                  <a:rect l="0" t="0" r="r" b="b"/>
                  <a:pathLst>
                    <a:path w="10" h="4">
                      <a:moveTo>
                        <a:pt x="7" y="0"/>
                      </a:moveTo>
                      <a:lnTo>
                        <a:pt x="0" y="4"/>
                      </a:lnTo>
                      <a:lnTo>
                        <a:pt x="0" y="4"/>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2" name="Freeform 1727"/>
                <p:cNvSpPr>
                  <a:spLocks/>
                </p:cNvSpPr>
                <p:nvPr/>
              </p:nvSpPr>
              <p:spPr bwMode="auto">
                <a:xfrm>
                  <a:off x="10232" y="2796"/>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683" name="Freeform 1728"/>
                <p:cNvSpPr>
                  <a:spLocks/>
                </p:cNvSpPr>
                <p:nvPr/>
              </p:nvSpPr>
              <p:spPr bwMode="auto">
                <a:xfrm>
                  <a:off x="10232" y="2778"/>
                  <a:ext cx="0" cy="9"/>
                </a:xfrm>
                <a:custGeom>
                  <a:avLst/>
                  <a:gdLst>
                    <a:gd name="T0" fmla="*/ 7 w 10"/>
                    <a:gd name="T1" fmla="*/ 0 h 5"/>
                    <a:gd name="T2" fmla="*/ 0 w 10"/>
                    <a:gd name="T3" fmla="*/ 5 h 5"/>
                    <a:gd name="T4" fmla="*/ 0 w 10"/>
                    <a:gd name="T5" fmla="*/ 5 h 5"/>
                    <a:gd name="T6" fmla="*/ 10 w 10"/>
                    <a:gd name="T7" fmla="*/ 2 h 5"/>
                    <a:gd name="T8" fmla="*/ 7 w 10"/>
                    <a:gd name="T9" fmla="*/ 0 h 5"/>
                  </a:gdLst>
                  <a:ahLst/>
                  <a:cxnLst>
                    <a:cxn ang="0">
                      <a:pos x="T0" y="T1"/>
                    </a:cxn>
                    <a:cxn ang="0">
                      <a:pos x="T2" y="T3"/>
                    </a:cxn>
                    <a:cxn ang="0">
                      <a:pos x="T4" y="T5"/>
                    </a:cxn>
                    <a:cxn ang="0">
                      <a:pos x="T6" y="T7"/>
                    </a:cxn>
                    <a:cxn ang="0">
                      <a:pos x="T8" y="T9"/>
                    </a:cxn>
                  </a:cxnLst>
                  <a:rect l="0" t="0" r="r" b="b"/>
                  <a:pathLst>
                    <a:path w="10" h="5">
                      <a:moveTo>
                        <a:pt x="7" y="0"/>
                      </a:moveTo>
                      <a:lnTo>
                        <a:pt x="0" y="5"/>
                      </a:lnTo>
                      <a:lnTo>
                        <a:pt x="0" y="5"/>
                      </a:lnTo>
                      <a:lnTo>
                        <a:pt x="10"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4" name="Freeform 1729"/>
                <p:cNvSpPr>
                  <a:spLocks/>
                </p:cNvSpPr>
                <p:nvPr/>
              </p:nvSpPr>
              <p:spPr bwMode="auto">
                <a:xfrm>
                  <a:off x="10224" y="2769"/>
                  <a:ext cx="0" cy="0"/>
                </a:xfrm>
                <a:custGeom>
                  <a:avLst/>
                  <a:gdLst>
                    <a:gd name="T0" fmla="*/ 10 w 10"/>
                    <a:gd name="T1" fmla="*/ 0 h 5"/>
                    <a:gd name="T2" fmla="*/ 0 w 10"/>
                    <a:gd name="T3" fmla="*/ 2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2"/>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685" name="Freeform 1730"/>
                <p:cNvSpPr>
                  <a:spLocks/>
                </p:cNvSpPr>
                <p:nvPr/>
              </p:nvSpPr>
              <p:spPr bwMode="auto">
                <a:xfrm>
                  <a:off x="10224" y="2769"/>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6" name="Freeform 1731"/>
                <p:cNvSpPr>
                  <a:spLocks/>
                </p:cNvSpPr>
                <p:nvPr/>
              </p:nvSpPr>
              <p:spPr bwMode="auto">
                <a:xfrm>
                  <a:off x="10224" y="2778"/>
                  <a:ext cx="8" cy="0"/>
                </a:xfrm>
                <a:custGeom>
                  <a:avLst/>
                  <a:gdLst>
                    <a:gd name="T0" fmla="*/ 9 w 9"/>
                    <a:gd name="T1" fmla="*/ 0 h 5"/>
                    <a:gd name="T2" fmla="*/ 0 w 9"/>
                    <a:gd name="T3" fmla="*/ 5 h 5"/>
                    <a:gd name="T4" fmla="*/ 0 w 9"/>
                    <a:gd name="T5" fmla="*/ 5 h 5"/>
                    <a:gd name="T6" fmla="*/ 9 w 9"/>
                    <a:gd name="T7" fmla="*/ 2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0" y="5"/>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687" name="Freeform 1732"/>
                <p:cNvSpPr>
                  <a:spLocks/>
                </p:cNvSpPr>
                <p:nvPr/>
              </p:nvSpPr>
              <p:spPr bwMode="auto">
                <a:xfrm>
                  <a:off x="10224" y="2769"/>
                  <a:ext cx="0" cy="0"/>
                </a:xfrm>
                <a:custGeom>
                  <a:avLst/>
                  <a:gdLst>
                    <a:gd name="T0" fmla="*/ 7 w 9"/>
                    <a:gd name="T1" fmla="*/ 0 h 4"/>
                    <a:gd name="T2" fmla="*/ 0 w 9"/>
                    <a:gd name="T3" fmla="*/ 2 h 4"/>
                    <a:gd name="T4" fmla="*/ 0 w 9"/>
                    <a:gd name="T5" fmla="*/ 4 h 4"/>
                    <a:gd name="T6" fmla="*/ 9 w 9"/>
                    <a:gd name="T7" fmla="*/ 2 h 4"/>
                    <a:gd name="T8" fmla="*/ 7 w 9"/>
                    <a:gd name="T9" fmla="*/ 0 h 4"/>
                  </a:gdLst>
                  <a:ahLst/>
                  <a:cxnLst>
                    <a:cxn ang="0">
                      <a:pos x="T0" y="T1"/>
                    </a:cxn>
                    <a:cxn ang="0">
                      <a:pos x="T2" y="T3"/>
                    </a:cxn>
                    <a:cxn ang="0">
                      <a:pos x="T4" y="T5"/>
                    </a:cxn>
                    <a:cxn ang="0">
                      <a:pos x="T6" y="T7"/>
                    </a:cxn>
                    <a:cxn ang="0">
                      <a:pos x="T8" y="T9"/>
                    </a:cxn>
                  </a:cxnLst>
                  <a:rect l="0" t="0" r="r" b="b"/>
                  <a:pathLst>
                    <a:path w="9" h="4">
                      <a:moveTo>
                        <a:pt x="7" y="0"/>
                      </a:moveTo>
                      <a:lnTo>
                        <a:pt x="0" y="2"/>
                      </a:lnTo>
                      <a:lnTo>
                        <a:pt x="0" y="4"/>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8" name="Freeform 1733"/>
                <p:cNvSpPr>
                  <a:spLocks/>
                </p:cNvSpPr>
                <p:nvPr/>
              </p:nvSpPr>
              <p:spPr bwMode="auto">
                <a:xfrm>
                  <a:off x="10240" y="2830"/>
                  <a:ext cx="17" cy="0"/>
                </a:xfrm>
                <a:custGeom>
                  <a:avLst/>
                  <a:gdLst>
                    <a:gd name="T0" fmla="*/ 7 w 9"/>
                    <a:gd name="T1" fmla="*/ 0 h 5"/>
                    <a:gd name="T2" fmla="*/ 0 w 9"/>
                    <a:gd name="T3" fmla="*/ 5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5"/>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89" name="Freeform 1734"/>
                <p:cNvSpPr>
                  <a:spLocks/>
                </p:cNvSpPr>
                <p:nvPr/>
              </p:nvSpPr>
              <p:spPr bwMode="auto">
                <a:xfrm>
                  <a:off x="10249" y="2830"/>
                  <a:ext cx="8" cy="9"/>
                </a:xfrm>
                <a:custGeom>
                  <a:avLst/>
                  <a:gdLst>
                    <a:gd name="T0" fmla="*/ 7 w 7"/>
                    <a:gd name="T1" fmla="*/ 0 h 4"/>
                    <a:gd name="T2" fmla="*/ 0 w 7"/>
                    <a:gd name="T3" fmla="*/ 4 h 4"/>
                    <a:gd name="T4" fmla="*/ 0 w 7"/>
                    <a:gd name="T5" fmla="*/ 4 h 4"/>
                    <a:gd name="T6" fmla="*/ 7 w 7"/>
                    <a:gd name="T7" fmla="*/ 2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0" y="4"/>
                      </a:lnTo>
                      <a:lnTo>
                        <a:pt x="0" y="4"/>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90" name="Freeform 1735"/>
                <p:cNvSpPr>
                  <a:spLocks/>
                </p:cNvSpPr>
                <p:nvPr/>
              </p:nvSpPr>
              <p:spPr bwMode="auto">
                <a:xfrm>
                  <a:off x="10249" y="2830"/>
                  <a:ext cx="8" cy="0"/>
                </a:xfrm>
                <a:custGeom>
                  <a:avLst/>
                  <a:gdLst>
                    <a:gd name="T0" fmla="*/ 7 w 7"/>
                    <a:gd name="T1" fmla="*/ 0 h 5"/>
                    <a:gd name="T2" fmla="*/ 0 w 7"/>
                    <a:gd name="T3" fmla="*/ 5 h 5"/>
                    <a:gd name="T4" fmla="*/ 0 w 7"/>
                    <a:gd name="T5" fmla="*/ 5 h 5"/>
                    <a:gd name="T6" fmla="*/ 7 w 7"/>
                    <a:gd name="T7" fmla="*/ 2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91" name="Freeform 1736"/>
                <p:cNvSpPr>
                  <a:spLocks/>
                </p:cNvSpPr>
                <p:nvPr/>
              </p:nvSpPr>
              <p:spPr bwMode="auto">
                <a:xfrm>
                  <a:off x="10249" y="2839"/>
                  <a:ext cx="8" cy="9"/>
                </a:xfrm>
                <a:custGeom>
                  <a:avLst/>
                  <a:gdLst>
                    <a:gd name="T0" fmla="*/ 9 w 9"/>
                    <a:gd name="T1" fmla="*/ 0 h 5"/>
                    <a:gd name="T2" fmla="*/ 0 w 9"/>
                    <a:gd name="T3" fmla="*/ 5 h 5"/>
                    <a:gd name="T4" fmla="*/ 2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5"/>
                      </a:lnTo>
                      <a:lnTo>
                        <a:pt x="2"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3692" name="Freeform 1737"/>
                <p:cNvSpPr>
                  <a:spLocks/>
                </p:cNvSpPr>
                <p:nvPr/>
              </p:nvSpPr>
              <p:spPr bwMode="auto">
                <a:xfrm>
                  <a:off x="10232" y="2813"/>
                  <a:ext cx="17" cy="9"/>
                </a:xfrm>
                <a:custGeom>
                  <a:avLst/>
                  <a:gdLst>
                    <a:gd name="T0" fmla="*/ 10 w 10"/>
                    <a:gd name="T1" fmla="*/ 0 h 5"/>
                    <a:gd name="T2" fmla="*/ 0 w 10"/>
                    <a:gd name="T3" fmla="*/ 5 h 5"/>
                    <a:gd name="T4" fmla="*/ 0 w 10"/>
                    <a:gd name="T5" fmla="*/ 5 h 5"/>
                    <a:gd name="T6" fmla="*/ 10 w 10"/>
                    <a:gd name="T7" fmla="*/ 2 h 5"/>
                    <a:gd name="T8" fmla="*/ 10 w 10"/>
                    <a:gd name="T9" fmla="*/ 0 h 5"/>
                  </a:gdLst>
                  <a:ahLst/>
                  <a:cxnLst>
                    <a:cxn ang="0">
                      <a:pos x="T0" y="T1"/>
                    </a:cxn>
                    <a:cxn ang="0">
                      <a:pos x="T2" y="T3"/>
                    </a:cxn>
                    <a:cxn ang="0">
                      <a:pos x="T4" y="T5"/>
                    </a:cxn>
                    <a:cxn ang="0">
                      <a:pos x="T6" y="T7"/>
                    </a:cxn>
                    <a:cxn ang="0">
                      <a:pos x="T8" y="T9"/>
                    </a:cxn>
                  </a:cxnLst>
                  <a:rect l="0" t="0" r="r" b="b"/>
                  <a:pathLst>
                    <a:path w="10" h="5">
                      <a:moveTo>
                        <a:pt x="10" y="0"/>
                      </a:moveTo>
                      <a:lnTo>
                        <a:pt x="0" y="5"/>
                      </a:lnTo>
                      <a:lnTo>
                        <a:pt x="0" y="5"/>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693" name="Freeform 1738"/>
                <p:cNvSpPr>
                  <a:spLocks/>
                </p:cNvSpPr>
                <p:nvPr/>
              </p:nvSpPr>
              <p:spPr bwMode="auto">
                <a:xfrm>
                  <a:off x="10240" y="2822"/>
                  <a:ext cx="8" cy="9"/>
                </a:xfrm>
                <a:custGeom>
                  <a:avLst/>
                  <a:gdLst>
                    <a:gd name="T0" fmla="*/ 10 w 10"/>
                    <a:gd name="T1" fmla="*/ 0 h 4"/>
                    <a:gd name="T2" fmla="*/ 0 w 10"/>
                    <a:gd name="T3" fmla="*/ 4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4"/>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694" name="Freeform 1739"/>
                <p:cNvSpPr>
                  <a:spLocks/>
                </p:cNvSpPr>
                <p:nvPr/>
              </p:nvSpPr>
              <p:spPr bwMode="auto">
                <a:xfrm>
                  <a:off x="10232" y="2813"/>
                  <a:ext cx="17" cy="0"/>
                </a:xfrm>
                <a:custGeom>
                  <a:avLst/>
                  <a:gdLst>
                    <a:gd name="T0" fmla="*/ 9 w 9"/>
                    <a:gd name="T1" fmla="*/ 0 h 2"/>
                    <a:gd name="T2" fmla="*/ 0 w 9"/>
                    <a:gd name="T3" fmla="*/ 2 h 2"/>
                    <a:gd name="T4" fmla="*/ 2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2"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695" name="Freeform 1740"/>
                <p:cNvSpPr>
                  <a:spLocks/>
                </p:cNvSpPr>
                <p:nvPr/>
              </p:nvSpPr>
              <p:spPr bwMode="auto">
                <a:xfrm>
                  <a:off x="10232" y="2804"/>
                  <a:ext cx="8" cy="9"/>
                </a:xfrm>
                <a:custGeom>
                  <a:avLst/>
                  <a:gdLst>
                    <a:gd name="T0" fmla="*/ 7 w 7"/>
                    <a:gd name="T1" fmla="*/ 0 h 5"/>
                    <a:gd name="T2" fmla="*/ 0 w 7"/>
                    <a:gd name="T3" fmla="*/ 5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5"/>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96" name="Freeform 1741"/>
                <p:cNvSpPr>
                  <a:spLocks/>
                </p:cNvSpPr>
                <p:nvPr/>
              </p:nvSpPr>
              <p:spPr bwMode="auto">
                <a:xfrm>
                  <a:off x="10207" y="2743"/>
                  <a:ext cx="17" cy="0"/>
                </a:xfrm>
                <a:custGeom>
                  <a:avLst/>
                  <a:gdLst>
                    <a:gd name="T0" fmla="*/ 7 w 7"/>
                    <a:gd name="T1" fmla="*/ 0 h 2"/>
                    <a:gd name="T2" fmla="*/ 0 w 7"/>
                    <a:gd name="T3" fmla="*/ 2 h 2"/>
                    <a:gd name="T4" fmla="*/ 0 w 7"/>
                    <a:gd name="T5" fmla="*/ 2 h 2"/>
                    <a:gd name="T6" fmla="*/ 7 w 7"/>
                    <a:gd name="T7" fmla="*/ 0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2"/>
                      </a:lnTo>
                      <a:lnTo>
                        <a:pt x="0" y="2"/>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3697" name="Freeform 1742"/>
                <p:cNvSpPr>
                  <a:spLocks/>
                </p:cNvSpPr>
                <p:nvPr/>
              </p:nvSpPr>
              <p:spPr bwMode="auto">
                <a:xfrm>
                  <a:off x="10199" y="2708"/>
                  <a:ext cx="17" cy="9"/>
                </a:xfrm>
                <a:custGeom>
                  <a:avLst/>
                  <a:gdLst>
                    <a:gd name="T0" fmla="*/ 14 w 14"/>
                    <a:gd name="T1" fmla="*/ 0 h 5"/>
                    <a:gd name="T2" fmla="*/ 0 w 14"/>
                    <a:gd name="T3" fmla="*/ 2 h 5"/>
                    <a:gd name="T4" fmla="*/ 3 w 14"/>
                    <a:gd name="T5" fmla="*/ 5 h 5"/>
                    <a:gd name="T6" fmla="*/ 14 w 14"/>
                    <a:gd name="T7" fmla="*/ 2 h 5"/>
                    <a:gd name="T8" fmla="*/ 14 w 14"/>
                    <a:gd name="T9" fmla="*/ 0 h 5"/>
                  </a:gdLst>
                  <a:ahLst/>
                  <a:cxnLst>
                    <a:cxn ang="0">
                      <a:pos x="T0" y="T1"/>
                    </a:cxn>
                    <a:cxn ang="0">
                      <a:pos x="T2" y="T3"/>
                    </a:cxn>
                    <a:cxn ang="0">
                      <a:pos x="T4" y="T5"/>
                    </a:cxn>
                    <a:cxn ang="0">
                      <a:pos x="T6" y="T7"/>
                    </a:cxn>
                    <a:cxn ang="0">
                      <a:pos x="T8" y="T9"/>
                    </a:cxn>
                  </a:cxnLst>
                  <a:rect l="0" t="0" r="r" b="b"/>
                  <a:pathLst>
                    <a:path w="14" h="5">
                      <a:moveTo>
                        <a:pt x="14" y="0"/>
                      </a:moveTo>
                      <a:lnTo>
                        <a:pt x="0" y="2"/>
                      </a:lnTo>
                      <a:lnTo>
                        <a:pt x="3" y="5"/>
                      </a:lnTo>
                      <a:lnTo>
                        <a:pt x="14" y="2"/>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698" name="Freeform 1743"/>
                <p:cNvSpPr>
                  <a:spLocks/>
                </p:cNvSpPr>
                <p:nvPr/>
              </p:nvSpPr>
              <p:spPr bwMode="auto">
                <a:xfrm>
                  <a:off x="10199" y="2700"/>
                  <a:ext cx="17" cy="9"/>
                </a:xfrm>
                <a:custGeom>
                  <a:avLst/>
                  <a:gdLst>
                    <a:gd name="T0" fmla="*/ 16 w 16"/>
                    <a:gd name="T1" fmla="*/ 0 h 5"/>
                    <a:gd name="T2" fmla="*/ 0 w 16"/>
                    <a:gd name="T3" fmla="*/ 2 h 5"/>
                    <a:gd name="T4" fmla="*/ 0 w 16"/>
                    <a:gd name="T5" fmla="*/ 5 h 5"/>
                    <a:gd name="T6" fmla="*/ 16 w 16"/>
                    <a:gd name="T7" fmla="*/ 0 h 5"/>
                    <a:gd name="T8" fmla="*/ 16 w 16"/>
                    <a:gd name="T9" fmla="*/ 0 h 5"/>
                  </a:gdLst>
                  <a:ahLst/>
                  <a:cxnLst>
                    <a:cxn ang="0">
                      <a:pos x="T0" y="T1"/>
                    </a:cxn>
                    <a:cxn ang="0">
                      <a:pos x="T2" y="T3"/>
                    </a:cxn>
                    <a:cxn ang="0">
                      <a:pos x="T4" y="T5"/>
                    </a:cxn>
                    <a:cxn ang="0">
                      <a:pos x="T6" y="T7"/>
                    </a:cxn>
                    <a:cxn ang="0">
                      <a:pos x="T8" y="T9"/>
                    </a:cxn>
                  </a:cxnLst>
                  <a:rect l="0" t="0" r="r" b="b"/>
                  <a:pathLst>
                    <a:path w="16" h="5">
                      <a:moveTo>
                        <a:pt x="16" y="0"/>
                      </a:moveTo>
                      <a:lnTo>
                        <a:pt x="0" y="2"/>
                      </a:lnTo>
                      <a:lnTo>
                        <a:pt x="0" y="5"/>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3699" name="Freeform 1744"/>
                <p:cNvSpPr>
                  <a:spLocks/>
                </p:cNvSpPr>
                <p:nvPr/>
              </p:nvSpPr>
              <p:spPr bwMode="auto">
                <a:xfrm>
                  <a:off x="10199" y="2691"/>
                  <a:ext cx="17" cy="9"/>
                </a:xfrm>
                <a:custGeom>
                  <a:avLst/>
                  <a:gdLst>
                    <a:gd name="T0" fmla="*/ 18 w 18"/>
                    <a:gd name="T1" fmla="*/ 0 h 5"/>
                    <a:gd name="T2" fmla="*/ 0 w 18"/>
                    <a:gd name="T3" fmla="*/ 3 h 5"/>
                    <a:gd name="T4" fmla="*/ 0 w 18"/>
                    <a:gd name="T5" fmla="*/ 5 h 5"/>
                    <a:gd name="T6" fmla="*/ 18 w 18"/>
                    <a:gd name="T7" fmla="*/ 0 h 5"/>
                    <a:gd name="T8" fmla="*/ 18 w 18"/>
                    <a:gd name="T9" fmla="*/ 0 h 5"/>
                  </a:gdLst>
                  <a:ahLst/>
                  <a:cxnLst>
                    <a:cxn ang="0">
                      <a:pos x="T0" y="T1"/>
                    </a:cxn>
                    <a:cxn ang="0">
                      <a:pos x="T2" y="T3"/>
                    </a:cxn>
                    <a:cxn ang="0">
                      <a:pos x="T4" y="T5"/>
                    </a:cxn>
                    <a:cxn ang="0">
                      <a:pos x="T6" y="T7"/>
                    </a:cxn>
                    <a:cxn ang="0">
                      <a:pos x="T8" y="T9"/>
                    </a:cxn>
                  </a:cxnLst>
                  <a:rect l="0" t="0" r="r" b="b"/>
                  <a:pathLst>
                    <a:path w="18" h="5">
                      <a:moveTo>
                        <a:pt x="18" y="0"/>
                      </a:moveTo>
                      <a:lnTo>
                        <a:pt x="0" y="3"/>
                      </a:lnTo>
                      <a:lnTo>
                        <a:pt x="0" y="5"/>
                      </a:lnTo>
                      <a:lnTo>
                        <a:pt x="18" y="0"/>
                      </a:lnTo>
                      <a:lnTo>
                        <a:pt x="18" y="0"/>
                      </a:lnTo>
                      <a:close/>
                    </a:path>
                  </a:pathLst>
                </a:custGeom>
                <a:solidFill>
                  <a:srgbClr val="01AAE5"/>
                </a:solidFill>
                <a:ln>
                  <a:noFill/>
                </a:ln>
                <a:extLst/>
              </p:spPr>
              <p:txBody>
                <a:bodyPr/>
                <a:lstStyle/>
                <a:p>
                  <a:pPr eaLnBrk="1" hangingPunct="1">
                    <a:defRPr/>
                  </a:pPr>
                  <a:endParaRPr lang="zh-CN" altLang="en-US" sz="1050"/>
                </a:p>
              </p:txBody>
            </p:sp>
            <p:sp>
              <p:nvSpPr>
                <p:cNvPr id="3700" name="Freeform 1745"/>
                <p:cNvSpPr>
                  <a:spLocks/>
                </p:cNvSpPr>
                <p:nvPr/>
              </p:nvSpPr>
              <p:spPr bwMode="auto">
                <a:xfrm>
                  <a:off x="10199" y="2708"/>
                  <a:ext cx="17" cy="0"/>
                </a:xfrm>
                <a:custGeom>
                  <a:avLst/>
                  <a:gdLst>
                    <a:gd name="T0" fmla="*/ 11 w 11"/>
                    <a:gd name="T1" fmla="*/ 0 h 4"/>
                    <a:gd name="T2" fmla="*/ 0 w 11"/>
                    <a:gd name="T3" fmla="*/ 2 h 4"/>
                    <a:gd name="T4" fmla="*/ 2 w 11"/>
                    <a:gd name="T5" fmla="*/ 4 h 4"/>
                    <a:gd name="T6" fmla="*/ 11 w 11"/>
                    <a:gd name="T7" fmla="*/ 2 h 4"/>
                    <a:gd name="T8" fmla="*/ 11 w 11"/>
                    <a:gd name="T9" fmla="*/ 0 h 4"/>
                  </a:gdLst>
                  <a:ahLst/>
                  <a:cxnLst>
                    <a:cxn ang="0">
                      <a:pos x="T0" y="T1"/>
                    </a:cxn>
                    <a:cxn ang="0">
                      <a:pos x="T2" y="T3"/>
                    </a:cxn>
                    <a:cxn ang="0">
                      <a:pos x="T4" y="T5"/>
                    </a:cxn>
                    <a:cxn ang="0">
                      <a:pos x="T6" y="T7"/>
                    </a:cxn>
                    <a:cxn ang="0">
                      <a:pos x="T8" y="T9"/>
                    </a:cxn>
                  </a:cxnLst>
                  <a:rect l="0" t="0" r="r" b="b"/>
                  <a:pathLst>
                    <a:path w="11" h="4">
                      <a:moveTo>
                        <a:pt x="11" y="0"/>
                      </a:moveTo>
                      <a:lnTo>
                        <a:pt x="0" y="2"/>
                      </a:lnTo>
                      <a:lnTo>
                        <a:pt x="2" y="4"/>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3701" name="Freeform 1746"/>
                <p:cNvSpPr>
                  <a:spLocks/>
                </p:cNvSpPr>
                <p:nvPr/>
              </p:nvSpPr>
              <p:spPr bwMode="auto">
                <a:xfrm>
                  <a:off x="10199" y="2708"/>
                  <a:ext cx="17" cy="9"/>
                </a:xfrm>
                <a:custGeom>
                  <a:avLst/>
                  <a:gdLst>
                    <a:gd name="T0" fmla="*/ 9 w 9"/>
                    <a:gd name="T1" fmla="*/ 0 h 5"/>
                    <a:gd name="T2" fmla="*/ 0 w 9"/>
                    <a:gd name="T3" fmla="*/ 3 h 5"/>
                    <a:gd name="T4" fmla="*/ 0 w 9"/>
                    <a:gd name="T5" fmla="*/ 5 h 5"/>
                    <a:gd name="T6" fmla="*/ 9 w 9"/>
                    <a:gd name="T7" fmla="*/ 3 h 5"/>
                    <a:gd name="T8" fmla="*/ 9 w 9"/>
                    <a:gd name="T9" fmla="*/ 0 h 5"/>
                  </a:gdLst>
                  <a:ahLst/>
                  <a:cxnLst>
                    <a:cxn ang="0">
                      <a:pos x="T0" y="T1"/>
                    </a:cxn>
                    <a:cxn ang="0">
                      <a:pos x="T2" y="T3"/>
                    </a:cxn>
                    <a:cxn ang="0">
                      <a:pos x="T4" y="T5"/>
                    </a:cxn>
                    <a:cxn ang="0">
                      <a:pos x="T6" y="T7"/>
                    </a:cxn>
                    <a:cxn ang="0">
                      <a:pos x="T8" y="T9"/>
                    </a:cxn>
                  </a:cxnLst>
                  <a:rect l="0" t="0" r="r" b="b"/>
                  <a:pathLst>
                    <a:path w="9" h="5">
                      <a:moveTo>
                        <a:pt x="9" y="0"/>
                      </a:moveTo>
                      <a:lnTo>
                        <a:pt x="0" y="3"/>
                      </a:lnTo>
                      <a:lnTo>
                        <a:pt x="0" y="5"/>
                      </a:lnTo>
                      <a:lnTo>
                        <a:pt x="9"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3702" name="Freeform 1747"/>
                <p:cNvSpPr>
                  <a:spLocks/>
                </p:cNvSpPr>
                <p:nvPr/>
              </p:nvSpPr>
              <p:spPr bwMode="auto">
                <a:xfrm>
                  <a:off x="10190" y="2682"/>
                  <a:ext cx="25" cy="0"/>
                </a:xfrm>
                <a:custGeom>
                  <a:avLst/>
                  <a:gdLst>
                    <a:gd name="T0" fmla="*/ 29 w 29"/>
                    <a:gd name="T1" fmla="*/ 0 h 7"/>
                    <a:gd name="T2" fmla="*/ 0 w 29"/>
                    <a:gd name="T3" fmla="*/ 5 h 7"/>
                    <a:gd name="T4" fmla="*/ 0 w 29"/>
                    <a:gd name="T5" fmla="*/ 7 h 7"/>
                    <a:gd name="T6" fmla="*/ 29 w 29"/>
                    <a:gd name="T7" fmla="*/ 2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lnTo>
                        <a:pt x="0" y="5"/>
                      </a:lnTo>
                      <a:lnTo>
                        <a:pt x="0" y="7"/>
                      </a:lnTo>
                      <a:lnTo>
                        <a:pt x="29" y="2"/>
                      </a:lnTo>
                      <a:lnTo>
                        <a:pt x="29" y="0"/>
                      </a:lnTo>
                      <a:close/>
                    </a:path>
                  </a:pathLst>
                </a:custGeom>
                <a:solidFill>
                  <a:srgbClr val="01AAE5"/>
                </a:solidFill>
                <a:ln>
                  <a:noFill/>
                </a:ln>
                <a:extLst/>
              </p:spPr>
              <p:txBody>
                <a:bodyPr/>
                <a:lstStyle/>
                <a:p>
                  <a:pPr eaLnBrk="1" hangingPunct="1">
                    <a:defRPr/>
                  </a:pPr>
                  <a:endParaRPr lang="zh-CN" altLang="en-US" sz="1050"/>
                </a:p>
              </p:txBody>
            </p:sp>
            <p:sp>
              <p:nvSpPr>
                <p:cNvPr id="3703" name="Freeform 1748"/>
                <p:cNvSpPr>
                  <a:spLocks/>
                </p:cNvSpPr>
                <p:nvPr/>
              </p:nvSpPr>
              <p:spPr bwMode="auto">
                <a:xfrm>
                  <a:off x="10190" y="2682"/>
                  <a:ext cx="25" cy="9"/>
                </a:xfrm>
                <a:custGeom>
                  <a:avLst/>
                  <a:gdLst>
                    <a:gd name="T0" fmla="*/ 21 w 21"/>
                    <a:gd name="T1" fmla="*/ 0 h 7"/>
                    <a:gd name="T2" fmla="*/ 0 w 21"/>
                    <a:gd name="T3" fmla="*/ 5 h 7"/>
                    <a:gd name="T4" fmla="*/ 0 w 21"/>
                    <a:gd name="T5" fmla="*/ 7 h 7"/>
                    <a:gd name="T6" fmla="*/ 21 w 21"/>
                    <a:gd name="T7" fmla="*/ 3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lnTo>
                        <a:pt x="0" y="5"/>
                      </a:lnTo>
                      <a:lnTo>
                        <a:pt x="0" y="7"/>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704" name="Freeform 1749"/>
                <p:cNvSpPr>
                  <a:spLocks/>
                </p:cNvSpPr>
                <p:nvPr/>
              </p:nvSpPr>
              <p:spPr bwMode="auto">
                <a:xfrm>
                  <a:off x="10190" y="2682"/>
                  <a:ext cx="25" cy="9"/>
                </a:xfrm>
                <a:custGeom>
                  <a:avLst/>
                  <a:gdLst>
                    <a:gd name="T0" fmla="*/ 26 w 26"/>
                    <a:gd name="T1" fmla="*/ 0 h 7"/>
                    <a:gd name="T2" fmla="*/ 0 w 26"/>
                    <a:gd name="T3" fmla="*/ 4 h 7"/>
                    <a:gd name="T4" fmla="*/ 0 w 26"/>
                    <a:gd name="T5" fmla="*/ 7 h 7"/>
                    <a:gd name="T6" fmla="*/ 26 w 26"/>
                    <a:gd name="T7" fmla="*/ 2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4"/>
                      </a:lnTo>
                      <a:lnTo>
                        <a:pt x="0" y="7"/>
                      </a:lnTo>
                      <a:lnTo>
                        <a:pt x="26"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705" name="Freeform 1750"/>
                <p:cNvSpPr>
                  <a:spLocks/>
                </p:cNvSpPr>
                <p:nvPr/>
              </p:nvSpPr>
              <p:spPr bwMode="auto">
                <a:xfrm>
                  <a:off x="10207" y="2735"/>
                  <a:ext cx="17" cy="0"/>
                </a:xfrm>
                <a:custGeom>
                  <a:avLst/>
                  <a:gdLst>
                    <a:gd name="T0" fmla="*/ 9 w 9"/>
                    <a:gd name="T1" fmla="*/ 0 h 2"/>
                    <a:gd name="T2" fmla="*/ 0 w 9"/>
                    <a:gd name="T3" fmla="*/ 2 h 2"/>
                    <a:gd name="T4" fmla="*/ 0 w 9"/>
                    <a:gd name="T5" fmla="*/ 2 h 2"/>
                    <a:gd name="T6" fmla="*/ 9 w 9"/>
                    <a:gd name="T7" fmla="*/ 0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lnTo>
                        <a:pt x="0" y="2"/>
                      </a:lnTo>
                      <a:lnTo>
                        <a:pt x="0" y="2"/>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706" name="Freeform 1751"/>
                <p:cNvSpPr>
                  <a:spLocks/>
                </p:cNvSpPr>
                <p:nvPr/>
              </p:nvSpPr>
              <p:spPr bwMode="auto">
                <a:xfrm>
                  <a:off x="10215" y="2752"/>
                  <a:ext cx="8" cy="0"/>
                </a:xfrm>
                <a:custGeom>
                  <a:avLst/>
                  <a:gdLst>
                    <a:gd name="T0" fmla="*/ 10 w 10"/>
                    <a:gd name="T1" fmla="*/ 0 h 4"/>
                    <a:gd name="T2" fmla="*/ 0 w 10"/>
                    <a:gd name="T3" fmla="*/ 2 h 4"/>
                    <a:gd name="T4" fmla="*/ 0 w 10"/>
                    <a:gd name="T5" fmla="*/ 4 h 4"/>
                    <a:gd name="T6" fmla="*/ 10 w 10"/>
                    <a:gd name="T7" fmla="*/ 2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2"/>
                      </a:lnTo>
                      <a:lnTo>
                        <a:pt x="0" y="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707" name="Freeform 1752"/>
                <p:cNvSpPr>
                  <a:spLocks/>
                </p:cNvSpPr>
                <p:nvPr/>
              </p:nvSpPr>
              <p:spPr bwMode="auto">
                <a:xfrm>
                  <a:off x="10215" y="2743"/>
                  <a:ext cx="8" cy="9"/>
                </a:xfrm>
                <a:custGeom>
                  <a:avLst/>
                  <a:gdLst>
                    <a:gd name="T0" fmla="*/ 8 w 8"/>
                    <a:gd name="T1" fmla="*/ 0 h 5"/>
                    <a:gd name="T2" fmla="*/ 0 w 8"/>
                    <a:gd name="T3" fmla="*/ 2 h 5"/>
                    <a:gd name="T4" fmla="*/ 0 w 8"/>
                    <a:gd name="T5" fmla="*/ 5 h 5"/>
                    <a:gd name="T6" fmla="*/ 8 w 8"/>
                    <a:gd name="T7" fmla="*/ 0 h 5"/>
                    <a:gd name="T8" fmla="*/ 8 w 8"/>
                    <a:gd name="T9" fmla="*/ 0 h 5"/>
                  </a:gdLst>
                  <a:ahLst/>
                  <a:cxnLst>
                    <a:cxn ang="0">
                      <a:pos x="T0" y="T1"/>
                    </a:cxn>
                    <a:cxn ang="0">
                      <a:pos x="T2" y="T3"/>
                    </a:cxn>
                    <a:cxn ang="0">
                      <a:pos x="T4" y="T5"/>
                    </a:cxn>
                    <a:cxn ang="0">
                      <a:pos x="T6" y="T7"/>
                    </a:cxn>
                    <a:cxn ang="0">
                      <a:pos x="T8" y="T9"/>
                    </a:cxn>
                  </a:cxnLst>
                  <a:rect l="0" t="0" r="r" b="b"/>
                  <a:pathLst>
                    <a:path w="8" h="5">
                      <a:moveTo>
                        <a:pt x="8" y="0"/>
                      </a:moveTo>
                      <a:lnTo>
                        <a:pt x="0" y="2"/>
                      </a:lnTo>
                      <a:lnTo>
                        <a:pt x="0" y="5"/>
                      </a:lnTo>
                      <a:lnTo>
                        <a:pt x="8" y="0"/>
                      </a:lnTo>
                      <a:lnTo>
                        <a:pt x="8" y="0"/>
                      </a:lnTo>
                      <a:close/>
                    </a:path>
                  </a:pathLst>
                </a:custGeom>
                <a:solidFill>
                  <a:srgbClr val="01AAE5"/>
                </a:solidFill>
                <a:ln>
                  <a:noFill/>
                </a:ln>
                <a:extLst/>
              </p:spPr>
              <p:txBody>
                <a:bodyPr/>
                <a:lstStyle/>
                <a:p>
                  <a:pPr eaLnBrk="1" hangingPunct="1">
                    <a:defRPr/>
                  </a:pPr>
                  <a:endParaRPr lang="zh-CN" altLang="en-US" sz="1050"/>
                </a:p>
              </p:txBody>
            </p:sp>
            <p:sp>
              <p:nvSpPr>
                <p:cNvPr id="3708" name="Freeform 1753"/>
                <p:cNvSpPr>
                  <a:spLocks/>
                </p:cNvSpPr>
                <p:nvPr/>
              </p:nvSpPr>
              <p:spPr bwMode="auto">
                <a:xfrm>
                  <a:off x="10215" y="2752"/>
                  <a:ext cx="17" cy="9"/>
                </a:xfrm>
                <a:custGeom>
                  <a:avLst/>
                  <a:gdLst>
                    <a:gd name="T0" fmla="*/ 7 w 9"/>
                    <a:gd name="T1" fmla="*/ 0 h 5"/>
                    <a:gd name="T2" fmla="*/ 0 w 9"/>
                    <a:gd name="T3" fmla="*/ 3 h 5"/>
                    <a:gd name="T4" fmla="*/ 0 w 9"/>
                    <a:gd name="T5" fmla="*/ 5 h 5"/>
                    <a:gd name="T6" fmla="*/ 9 w 9"/>
                    <a:gd name="T7" fmla="*/ 3 h 5"/>
                    <a:gd name="T8" fmla="*/ 7 w 9"/>
                    <a:gd name="T9" fmla="*/ 0 h 5"/>
                  </a:gdLst>
                  <a:ahLst/>
                  <a:cxnLst>
                    <a:cxn ang="0">
                      <a:pos x="T0" y="T1"/>
                    </a:cxn>
                    <a:cxn ang="0">
                      <a:pos x="T2" y="T3"/>
                    </a:cxn>
                    <a:cxn ang="0">
                      <a:pos x="T4" y="T5"/>
                    </a:cxn>
                    <a:cxn ang="0">
                      <a:pos x="T6" y="T7"/>
                    </a:cxn>
                    <a:cxn ang="0">
                      <a:pos x="T8" y="T9"/>
                    </a:cxn>
                  </a:cxnLst>
                  <a:rect l="0" t="0" r="r" b="b"/>
                  <a:pathLst>
                    <a:path w="9" h="5">
                      <a:moveTo>
                        <a:pt x="7" y="0"/>
                      </a:moveTo>
                      <a:lnTo>
                        <a:pt x="0" y="3"/>
                      </a:lnTo>
                      <a:lnTo>
                        <a:pt x="0" y="5"/>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709" name="Freeform 1754"/>
                <p:cNvSpPr>
                  <a:spLocks/>
                </p:cNvSpPr>
                <p:nvPr/>
              </p:nvSpPr>
              <p:spPr bwMode="auto">
                <a:xfrm>
                  <a:off x="10207" y="2717"/>
                  <a:ext cx="8" cy="9"/>
                </a:xfrm>
                <a:custGeom>
                  <a:avLst/>
                  <a:gdLst>
                    <a:gd name="T0" fmla="*/ 10 w 10"/>
                    <a:gd name="T1" fmla="*/ 0 h 3"/>
                    <a:gd name="T2" fmla="*/ 10 w 10"/>
                    <a:gd name="T3" fmla="*/ 0 h 3"/>
                    <a:gd name="T4" fmla="*/ 0 w 10"/>
                    <a:gd name="T5" fmla="*/ 0 h 3"/>
                    <a:gd name="T6" fmla="*/ 0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10" y="0"/>
                      </a:lnTo>
                      <a:lnTo>
                        <a:pt x="0" y="0"/>
                      </a:lnTo>
                      <a:lnTo>
                        <a:pt x="0" y="3"/>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710" name="Freeform 1755"/>
                <p:cNvSpPr>
                  <a:spLocks/>
                </p:cNvSpPr>
                <p:nvPr/>
              </p:nvSpPr>
              <p:spPr bwMode="auto">
                <a:xfrm>
                  <a:off x="10224" y="2761"/>
                  <a:ext cx="0" cy="9"/>
                </a:xfrm>
                <a:custGeom>
                  <a:avLst/>
                  <a:gdLst>
                    <a:gd name="T0" fmla="*/ 7 w 7"/>
                    <a:gd name="T1" fmla="*/ 0 h 5"/>
                    <a:gd name="T2" fmla="*/ 0 w 7"/>
                    <a:gd name="T3" fmla="*/ 3 h 5"/>
                    <a:gd name="T4" fmla="*/ 0 w 7"/>
                    <a:gd name="T5" fmla="*/ 5 h 5"/>
                    <a:gd name="T6" fmla="*/ 7 w 7"/>
                    <a:gd name="T7" fmla="*/ 3 h 5"/>
                    <a:gd name="T8" fmla="*/ 7 w 7"/>
                    <a:gd name="T9" fmla="*/ 0 h 5"/>
                  </a:gdLst>
                  <a:ahLst/>
                  <a:cxnLst>
                    <a:cxn ang="0">
                      <a:pos x="T0" y="T1"/>
                    </a:cxn>
                    <a:cxn ang="0">
                      <a:pos x="T2" y="T3"/>
                    </a:cxn>
                    <a:cxn ang="0">
                      <a:pos x="T4" y="T5"/>
                    </a:cxn>
                    <a:cxn ang="0">
                      <a:pos x="T6" y="T7"/>
                    </a:cxn>
                    <a:cxn ang="0">
                      <a:pos x="T8" y="T9"/>
                    </a:cxn>
                  </a:cxnLst>
                  <a:rect l="0" t="0" r="r" b="b"/>
                  <a:pathLst>
                    <a:path w="7" h="5">
                      <a:moveTo>
                        <a:pt x="7" y="0"/>
                      </a:moveTo>
                      <a:lnTo>
                        <a:pt x="0" y="3"/>
                      </a:lnTo>
                      <a:lnTo>
                        <a:pt x="0" y="5"/>
                      </a:lnTo>
                      <a:lnTo>
                        <a:pt x="7"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711" name="Freeform 1756"/>
                <p:cNvSpPr>
                  <a:spLocks/>
                </p:cNvSpPr>
                <p:nvPr/>
              </p:nvSpPr>
              <p:spPr bwMode="auto">
                <a:xfrm>
                  <a:off x="10182" y="2674"/>
                  <a:ext cx="33" cy="9"/>
                </a:xfrm>
                <a:custGeom>
                  <a:avLst/>
                  <a:gdLst>
                    <a:gd name="T0" fmla="*/ 31 w 31"/>
                    <a:gd name="T1" fmla="*/ 0 h 7"/>
                    <a:gd name="T2" fmla="*/ 0 w 31"/>
                    <a:gd name="T3" fmla="*/ 5 h 7"/>
                    <a:gd name="T4" fmla="*/ 0 w 31"/>
                    <a:gd name="T5" fmla="*/ 7 h 7"/>
                    <a:gd name="T6" fmla="*/ 31 w 31"/>
                    <a:gd name="T7" fmla="*/ 0 h 7"/>
                    <a:gd name="T8" fmla="*/ 31 w 31"/>
                    <a:gd name="T9" fmla="*/ 0 h 7"/>
                  </a:gdLst>
                  <a:ahLst/>
                  <a:cxnLst>
                    <a:cxn ang="0">
                      <a:pos x="T0" y="T1"/>
                    </a:cxn>
                    <a:cxn ang="0">
                      <a:pos x="T2" y="T3"/>
                    </a:cxn>
                    <a:cxn ang="0">
                      <a:pos x="T4" y="T5"/>
                    </a:cxn>
                    <a:cxn ang="0">
                      <a:pos x="T6" y="T7"/>
                    </a:cxn>
                    <a:cxn ang="0">
                      <a:pos x="T8" y="T9"/>
                    </a:cxn>
                  </a:cxnLst>
                  <a:rect l="0" t="0" r="r" b="b"/>
                  <a:pathLst>
                    <a:path w="31" h="7">
                      <a:moveTo>
                        <a:pt x="31" y="0"/>
                      </a:moveTo>
                      <a:lnTo>
                        <a:pt x="0" y="5"/>
                      </a:lnTo>
                      <a:lnTo>
                        <a:pt x="0" y="7"/>
                      </a:lnTo>
                      <a:lnTo>
                        <a:pt x="31" y="0"/>
                      </a:lnTo>
                      <a:lnTo>
                        <a:pt x="31" y="0"/>
                      </a:lnTo>
                      <a:close/>
                    </a:path>
                  </a:pathLst>
                </a:custGeom>
                <a:solidFill>
                  <a:srgbClr val="01AAE5"/>
                </a:solidFill>
                <a:ln>
                  <a:noFill/>
                </a:ln>
                <a:extLst/>
              </p:spPr>
              <p:txBody>
                <a:bodyPr/>
                <a:lstStyle/>
                <a:p>
                  <a:pPr eaLnBrk="1" hangingPunct="1">
                    <a:defRPr/>
                  </a:pPr>
                  <a:endParaRPr lang="zh-CN" altLang="en-US" sz="1050"/>
                </a:p>
              </p:txBody>
            </p:sp>
            <p:sp>
              <p:nvSpPr>
                <p:cNvPr id="3712" name="Freeform 1757"/>
                <p:cNvSpPr>
                  <a:spLocks/>
                </p:cNvSpPr>
                <p:nvPr/>
              </p:nvSpPr>
              <p:spPr bwMode="auto">
                <a:xfrm>
                  <a:off x="10207" y="2743"/>
                  <a:ext cx="17" cy="0"/>
                </a:xfrm>
                <a:custGeom>
                  <a:avLst/>
                  <a:gdLst>
                    <a:gd name="T0" fmla="*/ 10 w 10"/>
                    <a:gd name="T1" fmla="*/ 0 h 3"/>
                    <a:gd name="T2" fmla="*/ 0 w 10"/>
                    <a:gd name="T3" fmla="*/ 3 h 3"/>
                    <a:gd name="T4" fmla="*/ 0 w 10"/>
                    <a:gd name="T5" fmla="*/ 3 h 3"/>
                    <a:gd name="T6" fmla="*/ 10 w 10"/>
                    <a:gd name="T7" fmla="*/ 0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lnTo>
                        <a:pt x="0" y="3"/>
                      </a:lnTo>
                      <a:lnTo>
                        <a:pt x="0" y="3"/>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713" name="Freeform 1758"/>
                <p:cNvSpPr>
                  <a:spLocks/>
                </p:cNvSpPr>
                <p:nvPr/>
              </p:nvSpPr>
              <p:spPr bwMode="auto">
                <a:xfrm>
                  <a:off x="10182" y="2604"/>
                  <a:ext cx="17" cy="9"/>
                </a:xfrm>
                <a:custGeom>
                  <a:avLst/>
                  <a:gdLst>
                    <a:gd name="T0" fmla="*/ 16 w 16"/>
                    <a:gd name="T1" fmla="*/ 0 h 2"/>
                    <a:gd name="T2" fmla="*/ 0 w 16"/>
                    <a:gd name="T3" fmla="*/ 0 h 2"/>
                    <a:gd name="T4" fmla="*/ 0 w 16"/>
                    <a:gd name="T5" fmla="*/ 2 h 2"/>
                    <a:gd name="T6" fmla="*/ 16 w 16"/>
                    <a:gd name="T7" fmla="*/ 0 h 2"/>
                    <a:gd name="T8" fmla="*/ 16 w 16"/>
                    <a:gd name="T9" fmla="*/ 0 h 2"/>
                  </a:gdLst>
                  <a:ahLst/>
                  <a:cxnLst>
                    <a:cxn ang="0">
                      <a:pos x="T0" y="T1"/>
                    </a:cxn>
                    <a:cxn ang="0">
                      <a:pos x="T2" y="T3"/>
                    </a:cxn>
                    <a:cxn ang="0">
                      <a:pos x="T4" y="T5"/>
                    </a:cxn>
                    <a:cxn ang="0">
                      <a:pos x="T6" y="T7"/>
                    </a:cxn>
                    <a:cxn ang="0">
                      <a:pos x="T8" y="T9"/>
                    </a:cxn>
                  </a:cxnLst>
                  <a:rect l="0" t="0" r="r" b="b"/>
                  <a:pathLst>
                    <a:path w="16" h="2">
                      <a:moveTo>
                        <a:pt x="16" y="0"/>
                      </a:moveTo>
                      <a:lnTo>
                        <a:pt x="0" y="0"/>
                      </a:lnTo>
                      <a:lnTo>
                        <a:pt x="0" y="2"/>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3714" name="Freeform 1759"/>
                <p:cNvSpPr>
                  <a:spLocks/>
                </p:cNvSpPr>
                <p:nvPr/>
              </p:nvSpPr>
              <p:spPr bwMode="auto">
                <a:xfrm>
                  <a:off x="10190" y="2299"/>
                  <a:ext cx="67" cy="26"/>
                </a:xfrm>
                <a:custGeom>
                  <a:avLst/>
                  <a:gdLst>
                    <a:gd name="T0" fmla="*/ 69 w 69"/>
                    <a:gd name="T1" fmla="*/ 24 h 26"/>
                    <a:gd name="T2" fmla="*/ 3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3"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3715" name="Freeform 1760"/>
                <p:cNvSpPr>
                  <a:spLocks/>
                </p:cNvSpPr>
                <p:nvPr/>
              </p:nvSpPr>
              <p:spPr bwMode="auto">
                <a:xfrm>
                  <a:off x="10257" y="2229"/>
                  <a:ext cx="17" cy="17"/>
                </a:xfrm>
                <a:custGeom>
                  <a:avLst/>
                  <a:gdLst>
                    <a:gd name="T0" fmla="*/ 16 w 16"/>
                    <a:gd name="T1" fmla="*/ 9 h 9"/>
                    <a:gd name="T2" fmla="*/ 0 w 16"/>
                    <a:gd name="T3" fmla="*/ 0 h 9"/>
                    <a:gd name="T4" fmla="*/ 0 w 16"/>
                    <a:gd name="T5" fmla="*/ 2 h 9"/>
                    <a:gd name="T6" fmla="*/ 16 w 16"/>
                    <a:gd name="T7" fmla="*/ 9 h 9"/>
                    <a:gd name="T8" fmla="*/ 16 w 16"/>
                    <a:gd name="T9" fmla="*/ 9 h 9"/>
                  </a:gdLst>
                  <a:ahLst/>
                  <a:cxnLst>
                    <a:cxn ang="0">
                      <a:pos x="T0" y="T1"/>
                    </a:cxn>
                    <a:cxn ang="0">
                      <a:pos x="T2" y="T3"/>
                    </a:cxn>
                    <a:cxn ang="0">
                      <a:pos x="T4" y="T5"/>
                    </a:cxn>
                    <a:cxn ang="0">
                      <a:pos x="T6" y="T7"/>
                    </a:cxn>
                    <a:cxn ang="0">
                      <a:pos x="T8" y="T9"/>
                    </a:cxn>
                  </a:cxnLst>
                  <a:rect l="0" t="0" r="r" b="b"/>
                  <a:pathLst>
                    <a:path w="16" h="9">
                      <a:moveTo>
                        <a:pt x="16" y="9"/>
                      </a:moveTo>
                      <a:lnTo>
                        <a:pt x="0" y="0"/>
                      </a:lnTo>
                      <a:lnTo>
                        <a:pt x="0" y="2"/>
                      </a:lnTo>
                      <a:lnTo>
                        <a:pt x="16" y="9"/>
                      </a:lnTo>
                      <a:lnTo>
                        <a:pt x="16" y="9"/>
                      </a:lnTo>
                      <a:close/>
                    </a:path>
                  </a:pathLst>
                </a:custGeom>
                <a:solidFill>
                  <a:srgbClr val="01AAE5"/>
                </a:solidFill>
                <a:ln>
                  <a:noFill/>
                </a:ln>
                <a:extLst/>
              </p:spPr>
              <p:txBody>
                <a:bodyPr/>
                <a:lstStyle/>
                <a:p>
                  <a:pPr eaLnBrk="1" hangingPunct="1">
                    <a:defRPr/>
                  </a:pPr>
                  <a:endParaRPr lang="zh-CN" altLang="en-US" sz="1050"/>
                </a:p>
              </p:txBody>
            </p:sp>
            <p:sp>
              <p:nvSpPr>
                <p:cNvPr id="3716" name="Freeform 1761"/>
                <p:cNvSpPr>
                  <a:spLocks/>
                </p:cNvSpPr>
                <p:nvPr/>
              </p:nvSpPr>
              <p:spPr bwMode="auto">
                <a:xfrm>
                  <a:off x="10232" y="2255"/>
                  <a:ext cx="33" cy="9"/>
                </a:xfrm>
                <a:custGeom>
                  <a:avLst/>
                  <a:gdLst>
                    <a:gd name="T0" fmla="*/ 37 w 37"/>
                    <a:gd name="T1" fmla="*/ 17 h 17"/>
                    <a:gd name="T2" fmla="*/ 2 w 37"/>
                    <a:gd name="T3" fmla="*/ 0 h 17"/>
                    <a:gd name="T4" fmla="*/ 0 w 37"/>
                    <a:gd name="T5" fmla="*/ 3 h 17"/>
                    <a:gd name="T6" fmla="*/ 37 w 37"/>
                    <a:gd name="T7" fmla="*/ 17 h 17"/>
                    <a:gd name="T8" fmla="*/ 37 w 37"/>
                    <a:gd name="T9" fmla="*/ 17 h 17"/>
                  </a:gdLst>
                  <a:ahLst/>
                  <a:cxnLst>
                    <a:cxn ang="0">
                      <a:pos x="T0" y="T1"/>
                    </a:cxn>
                    <a:cxn ang="0">
                      <a:pos x="T2" y="T3"/>
                    </a:cxn>
                    <a:cxn ang="0">
                      <a:pos x="T4" y="T5"/>
                    </a:cxn>
                    <a:cxn ang="0">
                      <a:pos x="T6" y="T7"/>
                    </a:cxn>
                    <a:cxn ang="0">
                      <a:pos x="T8" y="T9"/>
                    </a:cxn>
                  </a:cxnLst>
                  <a:rect l="0" t="0" r="r" b="b"/>
                  <a:pathLst>
                    <a:path w="37" h="17">
                      <a:moveTo>
                        <a:pt x="37" y="17"/>
                      </a:moveTo>
                      <a:lnTo>
                        <a:pt x="2" y="0"/>
                      </a:lnTo>
                      <a:lnTo>
                        <a:pt x="0" y="3"/>
                      </a:lnTo>
                      <a:lnTo>
                        <a:pt x="37" y="17"/>
                      </a:lnTo>
                      <a:lnTo>
                        <a:pt x="37" y="17"/>
                      </a:lnTo>
                      <a:close/>
                    </a:path>
                  </a:pathLst>
                </a:custGeom>
                <a:solidFill>
                  <a:srgbClr val="01AAE5"/>
                </a:solidFill>
                <a:ln>
                  <a:noFill/>
                </a:ln>
                <a:extLst/>
              </p:spPr>
              <p:txBody>
                <a:bodyPr/>
                <a:lstStyle/>
                <a:p>
                  <a:pPr eaLnBrk="1" hangingPunct="1">
                    <a:defRPr/>
                  </a:pPr>
                  <a:endParaRPr lang="zh-CN" altLang="en-US" sz="1050"/>
                </a:p>
              </p:txBody>
            </p:sp>
            <p:sp>
              <p:nvSpPr>
                <p:cNvPr id="3717" name="Freeform 1762"/>
                <p:cNvSpPr>
                  <a:spLocks/>
                </p:cNvSpPr>
                <p:nvPr/>
              </p:nvSpPr>
              <p:spPr bwMode="auto">
                <a:xfrm>
                  <a:off x="10232" y="2255"/>
                  <a:ext cx="33" cy="17"/>
                </a:xfrm>
                <a:custGeom>
                  <a:avLst/>
                  <a:gdLst>
                    <a:gd name="T0" fmla="*/ 38 w 38"/>
                    <a:gd name="T1" fmla="*/ 16 h 16"/>
                    <a:gd name="T2" fmla="*/ 0 w 38"/>
                    <a:gd name="T3" fmla="*/ 0 h 16"/>
                    <a:gd name="T4" fmla="*/ 0 w 38"/>
                    <a:gd name="T5" fmla="*/ 0 h 16"/>
                    <a:gd name="T6" fmla="*/ 38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0" y="0"/>
                      </a:lnTo>
                      <a:lnTo>
                        <a:pt x="0" y="0"/>
                      </a:lnTo>
                      <a:lnTo>
                        <a:pt x="38" y="16"/>
                      </a:lnTo>
                      <a:lnTo>
                        <a:pt x="38" y="16"/>
                      </a:lnTo>
                      <a:close/>
                    </a:path>
                  </a:pathLst>
                </a:custGeom>
                <a:solidFill>
                  <a:srgbClr val="01AAE5"/>
                </a:solidFill>
                <a:ln>
                  <a:noFill/>
                </a:ln>
                <a:extLst/>
              </p:spPr>
              <p:txBody>
                <a:bodyPr/>
                <a:lstStyle/>
                <a:p>
                  <a:pPr eaLnBrk="1" hangingPunct="1">
                    <a:defRPr/>
                  </a:pPr>
                  <a:endParaRPr lang="zh-CN" altLang="en-US" sz="1050"/>
                </a:p>
              </p:txBody>
            </p:sp>
            <p:sp>
              <p:nvSpPr>
                <p:cNvPr id="3718" name="Freeform 1763"/>
                <p:cNvSpPr>
                  <a:spLocks/>
                </p:cNvSpPr>
                <p:nvPr/>
              </p:nvSpPr>
              <p:spPr bwMode="auto">
                <a:xfrm>
                  <a:off x="10249" y="2247"/>
                  <a:ext cx="17" cy="0"/>
                </a:xfrm>
                <a:custGeom>
                  <a:avLst/>
                  <a:gdLst>
                    <a:gd name="T0" fmla="*/ 24 w 24"/>
                    <a:gd name="T1" fmla="*/ 9 h 12"/>
                    <a:gd name="T2" fmla="*/ 3 w 24"/>
                    <a:gd name="T3" fmla="*/ 0 h 12"/>
                    <a:gd name="T4" fmla="*/ 0 w 24"/>
                    <a:gd name="T5" fmla="*/ 0 h 12"/>
                    <a:gd name="T6" fmla="*/ 24 w 24"/>
                    <a:gd name="T7" fmla="*/ 12 h 12"/>
                    <a:gd name="T8" fmla="*/ 24 w 24"/>
                    <a:gd name="T9" fmla="*/ 9 h 12"/>
                  </a:gdLst>
                  <a:ahLst/>
                  <a:cxnLst>
                    <a:cxn ang="0">
                      <a:pos x="T0" y="T1"/>
                    </a:cxn>
                    <a:cxn ang="0">
                      <a:pos x="T2" y="T3"/>
                    </a:cxn>
                    <a:cxn ang="0">
                      <a:pos x="T4" y="T5"/>
                    </a:cxn>
                    <a:cxn ang="0">
                      <a:pos x="T6" y="T7"/>
                    </a:cxn>
                    <a:cxn ang="0">
                      <a:pos x="T8" y="T9"/>
                    </a:cxn>
                  </a:cxnLst>
                  <a:rect l="0" t="0" r="r" b="b"/>
                  <a:pathLst>
                    <a:path w="24" h="12">
                      <a:moveTo>
                        <a:pt x="24" y="9"/>
                      </a:moveTo>
                      <a:lnTo>
                        <a:pt x="3" y="0"/>
                      </a:lnTo>
                      <a:lnTo>
                        <a:pt x="0" y="0"/>
                      </a:lnTo>
                      <a:lnTo>
                        <a:pt x="24" y="12"/>
                      </a:lnTo>
                      <a:lnTo>
                        <a:pt x="24" y="9"/>
                      </a:lnTo>
                      <a:close/>
                    </a:path>
                  </a:pathLst>
                </a:custGeom>
                <a:solidFill>
                  <a:srgbClr val="01AAE5"/>
                </a:solidFill>
                <a:ln>
                  <a:noFill/>
                </a:ln>
                <a:extLst/>
              </p:spPr>
              <p:txBody>
                <a:bodyPr/>
                <a:lstStyle/>
                <a:p>
                  <a:pPr eaLnBrk="1" hangingPunct="1">
                    <a:defRPr/>
                  </a:pPr>
                  <a:endParaRPr lang="zh-CN" altLang="en-US" sz="1050"/>
                </a:p>
              </p:txBody>
            </p:sp>
            <p:sp>
              <p:nvSpPr>
                <p:cNvPr id="3719" name="Freeform 1764"/>
                <p:cNvSpPr>
                  <a:spLocks/>
                </p:cNvSpPr>
                <p:nvPr/>
              </p:nvSpPr>
              <p:spPr bwMode="auto">
                <a:xfrm>
                  <a:off x="10240" y="2247"/>
                  <a:ext cx="25" cy="9"/>
                </a:xfrm>
                <a:custGeom>
                  <a:avLst/>
                  <a:gdLst>
                    <a:gd name="T0" fmla="*/ 26 w 26"/>
                    <a:gd name="T1" fmla="*/ 12 h 15"/>
                    <a:gd name="T2" fmla="*/ 0 w 26"/>
                    <a:gd name="T3" fmla="*/ 0 h 15"/>
                    <a:gd name="T4" fmla="*/ 0 w 26"/>
                    <a:gd name="T5" fmla="*/ 3 h 15"/>
                    <a:gd name="T6" fmla="*/ 26 w 26"/>
                    <a:gd name="T7" fmla="*/ 15 h 15"/>
                    <a:gd name="T8" fmla="*/ 26 w 26"/>
                    <a:gd name="T9" fmla="*/ 12 h 15"/>
                  </a:gdLst>
                  <a:ahLst/>
                  <a:cxnLst>
                    <a:cxn ang="0">
                      <a:pos x="T0" y="T1"/>
                    </a:cxn>
                    <a:cxn ang="0">
                      <a:pos x="T2" y="T3"/>
                    </a:cxn>
                    <a:cxn ang="0">
                      <a:pos x="T4" y="T5"/>
                    </a:cxn>
                    <a:cxn ang="0">
                      <a:pos x="T6" y="T7"/>
                    </a:cxn>
                    <a:cxn ang="0">
                      <a:pos x="T8" y="T9"/>
                    </a:cxn>
                  </a:cxnLst>
                  <a:rect l="0" t="0" r="r" b="b"/>
                  <a:pathLst>
                    <a:path w="26" h="15">
                      <a:moveTo>
                        <a:pt x="26" y="12"/>
                      </a:moveTo>
                      <a:lnTo>
                        <a:pt x="0" y="0"/>
                      </a:lnTo>
                      <a:lnTo>
                        <a:pt x="0" y="3"/>
                      </a:lnTo>
                      <a:lnTo>
                        <a:pt x="26" y="15"/>
                      </a:lnTo>
                      <a:lnTo>
                        <a:pt x="26" y="12"/>
                      </a:lnTo>
                      <a:close/>
                    </a:path>
                  </a:pathLst>
                </a:custGeom>
                <a:solidFill>
                  <a:srgbClr val="01AAE5"/>
                </a:solidFill>
                <a:ln>
                  <a:noFill/>
                </a:ln>
                <a:extLst/>
              </p:spPr>
              <p:txBody>
                <a:bodyPr/>
                <a:lstStyle/>
                <a:p>
                  <a:pPr eaLnBrk="1" hangingPunct="1">
                    <a:defRPr/>
                  </a:pPr>
                  <a:endParaRPr lang="zh-CN" altLang="en-US" sz="1050"/>
                </a:p>
              </p:txBody>
            </p:sp>
            <p:sp>
              <p:nvSpPr>
                <p:cNvPr id="3720" name="Freeform 1765"/>
                <p:cNvSpPr>
                  <a:spLocks/>
                </p:cNvSpPr>
                <p:nvPr/>
              </p:nvSpPr>
              <p:spPr bwMode="auto">
                <a:xfrm>
                  <a:off x="10249" y="2238"/>
                  <a:ext cx="25" cy="9"/>
                </a:xfrm>
                <a:custGeom>
                  <a:avLst/>
                  <a:gdLst>
                    <a:gd name="T0" fmla="*/ 21 w 21"/>
                    <a:gd name="T1" fmla="*/ 10 h 12"/>
                    <a:gd name="T2" fmla="*/ 2 w 21"/>
                    <a:gd name="T3" fmla="*/ 0 h 12"/>
                    <a:gd name="T4" fmla="*/ 0 w 21"/>
                    <a:gd name="T5" fmla="*/ 0 h 12"/>
                    <a:gd name="T6" fmla="*/ 21 w 21"/>
                    <a:gd name="T7" fmla="*/ 12 h 12"/>
                    <a:gd name="T8" fmla="*/ 21 w 21"/>
                    <a:gd name="T9" fmla="*/ 10 h 12"/>
                  </a:gdLst>
                  <a:ahLst/>
                  <a:cxnLst>
                    <a:cxn ang="0">
                      <a:pos x="T0" y="T1"/>
                    </a:cxn>
                    <a:cxn ang="0">
                      <a:pos x="T2" y="T3"/>
                    </a:cxn>
                    <a:cxn ang="0">
                      <a:pos x="T4" y="T5"/>
                    </a:cxn>
                    <a:cxn ang="0">
                      <a:pos x="T6" y="T7"/>
                    </a:cxn>
                    <a:cxn ang="0">
                      <a:pos x="T8" y="T9"/>
                    </a:cxn>
                  </a:cxnLst>
                  <a:rect l="0" t="0" r="r" b="b"/>
                  <a:pathLst>
                    <a:path w="21" h="12">
                      <a:moveTo>
                        <a:pt x="21" y="10"/>
                      </a:moveTo>
                      <a:lnTo>
                        <a:pt x="2" y="0"/>
                      </a:lnTo>
                      <a:lnTo>
                        <a:pt x="0" y="0"/>
                      </a:lnTo>
                      <a:lnTo>
                        <a:pt x="21" y="12"/>
                      </a:lnTo>
                      <a:lnTo>
                        <a:pt x="21" y="10"/>
                      </a:lnTo>
                      <a:close/>
                    </a:path>
                  </a:pathLst>
                </a:custGeom>
                <a:solidFill>
                  <a:srgbClr val="01AAE5"/>
                </a:solidFill>
                <a:ln>
                  <a:noFill/>
                </a:ln>
                <a:extLst/>
              </p:spPr>
              <p:txBody>
                <a:bodyPr/>
                <a:lstStyle/>
                <a:p>
                  <a:pPr eaLnBrk="1" hangingPunct="1">
                    <a:defRPr/>
                  </a:pPr>
                  <a:endParaRPr lang="zh-CN" altLang="en-US" sz="1050"/>
                </a:p>
              </p:txBody>
            </p:sp>
            <p:sp>
              <p:nvSpPr>
                <p:cNvPr id="3721" name="Freeform 1766"/>
                <p:cNvSpPr>
                  <a:spLocks/>
                </p:cNvSpPr>
                <p:nvPr/>
              </p:nvSpPr>
              <p:spPr bwMode="auto">
                <a:xfrm>
                  <a:off x="10224" y="2264"/>
                  <a:ext cx="42" cy="17"/>
                </a:xfrm>
                <a:custGeom>
                  <a:avLst/>
                  <a:gdLst>
                    <a:gd name="T0" fmla="*/ 42 w 42"/>
                    <a:gd name="T1" fmla="*/ 16 h 19"/>
                    <a:gd name="T2" fmla="*/ 0 w 42"/>
                    <a:gd name="T3" fmla="*/ 0 h 19"/>
                    <a:gd name="T4" fmla="*/ 0 w 42"/>
                    <a:gd name="T5" fmla="*/ 0 h 19"/>
                    <a:gd name="T6" fmla="*/ 42 w 42"/>
                    <a:gd name="T7" fmla="*/ 19 h 19"/>
                    <a:gd name="T8" fmla="*/ 42 w 42"/>
                    <a:gd name="T9" fmla="*/ 16 h 19"/>
                  </a:gdLst>
                  <a:ahLst/>
                  <a:cxnLst>
                    <a:cxn ang="0">
                      <a:pos x="T0" y="T1"/>
                    </a:cxn>
                    <a:cxn ang="0">
                      <a:pos x="T2" y="T3"/>
                    </a:cxn>
                    <a:cxn ang="0">
                      <a:pos x="T4" y="T5"/>
                    </a:cxn>
                    <a:cxn ang="0">
                      <a:pos x="T6" y="T7"/>
                    </a:cxn>
                    <a:cxn ang="0">
                      <a:pos x="T8" y="T9"/>
                    </a:cxn>
                  </a:cxnLst>
                  <a:rect l="0" t="0" r="r" b="b"/>
                  <a:pathLst>
                    <a:path w="42" h="19">
                      <a:moveTo>
                        <a:pt x="42" y="16"/>
                      </a:moveTo>
                      <a:lnTo>
                        <a:pt x="0" y="0"/>
                      </a:lnTo>
                      <a:lnTo>
                        <a:pt x="0" y="0"/>
                      </a:lnTo>
                      <a:lnTo>
                        <a:pt x="42" y="19"/>
                      </a:lnTo>
                      <a:lnTo>
                        <a:pt x="42" y="16"/>
                      </a:lnTo>
                      <a:close/>
                    </a:path>
                  </a:pathLst>
                </a:custGeom>
                <a:solidFill>
                  <a:srgbClr val="01AAE5"/>
                </a:solidFill>
                <a:ln>
                  <a:noFill/>
                </a:ln>
                <a:extLst/>
              </p:spPr>
              <p:txBody>
                <a:bodyPr/>
                <a:lstStyle/>
                <a:p>
                  <a:pPr eaLnBrk="1" hangingPunct="1">
                    <a:defRPr/>
                  </a:pPr>
                  <a:endParaRPr lang="zh-CN" altLang="en-US" sz="1050"/>
                </a:p>
              </p:txBody>
            </p:sp>
            <p:sp>
              <p:nvSpPr>
                <p:cNvPr id="3722" name="Freeform 1767"/>
                <p:cNvSpPr>
                  <a:spLocks/>
                </p:cNvSpPr>
                <p:nvPr/>
              </p:nvSpPr>
              <p:spPr bwMode="auto">
                <a:xfrm>
                  <a:off x="10232" y="2247"/>
                  <a:ext cx="33" cy="17"/>
                </a:xfrm>
                <a:custGeom>
                  <a:avLst/>
                  <a:gdLst>
                    <a:gd name="T0" fmla="*/ 33 w 33"/>
                    <a:gd name="T1" fmla="*/ 14 h 14"/>
                    <a:gd name="T2" fmla="*/ 3 w 33"/>
                    <a:gd name="T3" fmla="*/ 0 h 14"/>
                    <a:gd name="T4" fmla="*/ 0 w 33"/>
                    <a:gd name="T5" fmla="*/ 0 h 14"/>
                    <a:gd name="T6" fmla="*/ 33 w 33"/>
                    <a:gd name="T7" fmla="*/ 14 h 14"/>
                    <a:gd name="T8" fmla="*/ 33 w 33"/>
                    <a:gd name="T9" fmla="*/ 14 h 14"/>
                  </a:gdLst>
                  <a:ahLst/>
                  <a:cxnLst>
                    <a:cxn ang="0">
                      <a:pos x="T0" y="T1"/>
                    </a:cxn>
                    <a:cxn ang="0">
                      <a:pos x="T2" y="T3"/>
                    </a:cxn>
                    <a:cxn ang="0">
                      <a:pos x="T4" y="T5"/>
                    </a:cxn>
                    <a:cxn ang="0">
                      <a:pos x="T6" y="T7"/>
                    </a:cxn>
                    <a:cxn ang="0">
                      <a:pos x="T8" y="T9"/>
                    </a:cxn>
                  </a:cxnLst>
                  <a:rect l="0" t="0" r="r" b="b"/>
                  <a:pathLst>
                    <a:path w="33" h="14">
                      <a:moveTo>
                        <a:pt x="33" y="14"/>
                      </a:moveTo>
                      <a:lnTo>
                        <a:pt x="3" y="0"/>
                      </a:lnTo>
                      <a:lnTo>
                        <a:pt x="0" y="0"/>
                      </a:lnTo>
                      <a:lnTo>
                        <a:pt x="33" y="14"/>
                      </a:lnTo>
                      <a:lnTo>
                        <a:pt x="33" y="14"/>
                      </a:lnTo>
                      <a:close/>
                    </a:path>
                  </a:pathLst>
                </a:custGeom>
                <a:solidFill>
                  <a:srgbClr val="01AAE5"/>
                </a:solidFill>
                <a:ln>
                  <a:noFill/>
                </a:ln>
                <a:extLst/>
              </p:spPr>
              <p:txBody>
                <a:bodyPr/>
                <a:lstStyle/>
                <a:p>
                  <a:pPr eaLnBrk="1" hangingPunct="1">
                    <a:defRPr/>
                  </a:pPr>
                  <a:endParaRPr lang="zh-CN" altLang="en-US" sz="1050"/>
                </a:p>
              </p:txBody>
            </p:sp>
            <p:sp>
              <p:nvSpPr>
                <p:cNvPr id="3723" name="Freeform 1768"/>
                <p:cNvSpPr>
                  <a:spLocks/>
                </p:cNvSpPr>
                <p:nvPr/>
              </p:nvSpPr>
              <p:spPr bwMode="auto">
                <a:xfrm>
                  <a:off x="10199" y="2281"/>
                  <a:ext cx="58" cy="17"/>
                </a:xfrm>
                <a:custGeom>
                  <a:avLst/>
                  <a:gdLst>
                    <a:gd name="T0" fmla="*/ 56 w 56"/>
                    <a:gd name="T1" fmla="*/ 23 h 23"/>
                    <a:gd name="T2" fmla="*/ 0 w 56"/>
                    <a:gd name="T3" fmla="*/ 0 h 23"/>
                    <a:gd name="T4" fmla="*/ 0 w 56"/>
                    <a:gd name="T5" fmla="*/ 2 h 23"/>
                    <a:gd name="T6" fmla="*/ 56 w 56"/>
                    <a:gd name="T7" fmla="*/ 23 h 23"/>
                    <a:gd name="T8" fmla="*/ 56 w 56"/>
                    <a:gd name="T9" fmla="*/ 23 h 23"/>
                  </a:gdLst>
                  <a:ahLst/>
                  <a:cxnLst>
                    <a:cxn ang="0">
                      <a:pos x="T0" y="T1"/>
                    </a:cxn>
                    <a:cxn ang="0">
                      <a:pos x="T2" y="T3"/>
                    </a:cxn>
                    <a:cxn ang="0">
                      <a:pos x="T4" y="T5"/>
                    </a:cxn>
                    <a:cxn ang="0">
                      <a:pos x="T6" y="T7"/>
                    </a:cxn>
                    <a:cxn ang="0">
                      <a:pos x="T8" y="T9"/>
                    </a:cxn>
                  </a:cxnLst>
                  <a:rect l="0" t="0" r="r" b="b"/>
                  <a:pathLst>
                    <a:path w="56" h="23">
                      <a:moveTo>
                        <a:pt x="56" y="23"/>
                      </a:moveTo>
                      <a:lnTo>
                        <a:pt x="0" y="0"/>
                      </a:lnTo>
                      <a:lnTo>
                        <a:pt x="0" y="2"/>
                      </a:lnTo>
                      <a:lnTo>
                        <a:pt x="56" y="23"/>
                      </a:lnTo>
                      <a:lnTo>
                        <a:pt x="56" y="23"/>
                      </a:lnTo>
                      <a:close/>
                    </a:path>
                  </a:pathLst>
                </a:custGeom>
                <a:solidFill>
                  <a:srgbClr val="01AAE5"/>
                </a:solidFill>
                <a:ln>
                  <a:noFill/>
                </a:ln>
                <a:extLst/>
              </p:spPr>
              <p:txBody>
                <a:bodyPr/>
                <a:lstStyle/>
                <a:p>
                  <a:pPr eaLnBrk="1" hangingPunct="1">
                    <a:defRPr/>
                  </a:pPr>
                  <a:endParaRPr lang="zh-CN" altLang="en-US" sz="1050"/>
                </a:p>
              </p:txBody>
            </p:sp>
            <p:sp>
              <p:nvSpPr>
                <p:cNvPr id="3724" name="Freeform 1769"/>
                <p:cNvSpPr>
                  <a:spLocks/>
                </p:cNvSpPr>
                <p:nvPr/>
              </p:nvSpPr>
              <p:spPr bwMode="auto">
                <a:xfrm>
                  <a:off x="10215" y="2264"/>
                  <a:ext cx="50" cy="26"/>
                </a:xfrm>
                <a:custGeom>
                  <a:avLst/>
                  <a:gdLst>
                    <a:gd name="T0" fmla="*/ 47 w 47"/>
                    <a:gd name="T1" fmla="*/ 19 h 21"/>
                    <a:gd name="T2" fmla="*/ 2 w 47"/>
                    <a:gd name="T3" fmla="*/ 0 h 21"/>
                    <a:gd name="T4" fmla="*/ 0 w 47"/>
                    <a:gd name="T5" fmla="*/ 2 h 21"/>
                    <a:gd name="T6" fmla="*/ 47 w 47"/>
                    <a:gd name="T7" fmla="*/ 21 h 21"/>
                    <a:gd name="T8" fmla="*/ 47 w 47"/>
                    <a:gd name="T9" fmla="*/ 19 h 21"/>
                  </a:gdLst>
                  <a:ahLst/>
                  <a:cxnLst>
                    <a:cxn ang="0">
                      <a:pos x="T0" y="T1"/>
                    </a:cxn>
                    <a:cxn ang="0">
                      <a:pos x="T2" y="T3"/>
                    </a:cxn>
                    <a:cxn ang="0">
                      <a:pos x="T4" y="T5"/>
                    </a:cxn>
                    <a:cxn ang="0">
                      <a:pos x="T6" y="T7"/>
                    </a:cxn>
                    <a:cxn ang="0">
                      <a:pos x="T8" y="T9"/>
                    </a:cxn>
                  </a:cxnLst>
                  <a:rect l="0" t="0" r="r" b="b"/>
                  <a:pathLst>
                    <a:path w="47" h="21">
                      <a:moveTo>
                        <a:pt x="47" y="19"/>
                      </a:moveTo>
                      <a:lnTo>
                        <a:pt x="2" y="0"/>
                      </a:lnTo>
                      <a:lnTo>
                        <a:pt x="0" y="2"/>
                      </a:lnTo>
                      <a:lnTo>
                        <a:pt x="47" y="21"/>
                      </a:lnTo>
                      <a:lnTo>
                        <a:pt x="47" y="19"/>
                      </a:lnTo>
                      <a:close/>
                    </a:path>
                  </a:pathLst>
                </a:custGeom>
                <a:solidFill>
                  <a:srgbClr val="01AAE5"/>
                </a:solidFill>
                <a:ln>
                  <a:noFill/>
                </a:ln>
                <a:extLst/>
              </p:spPr>
              <p:txBody>
                <a:bodyPr/>
                <a:lstStyle/>
                <a:p>
                  <a:pPr eaLnBrk="1" hangingPunct="1">
                    <a:defRPr/>
                  </a:pPr>
                  <a:endParaRPr lang="zh-CN" altLang="en-US" sz="1050"/>
                </a:p>
              </p:txBody>
            </p:sp>
            <p:sp>
              <p:nvSpPr>
                <p:cNvPr id="3725" name="Freeform 1770"/>
                <p:cNvSpPr>
                  <a:spLocks/>
                </p:cNvSpPr>
                <p:nvPr/>
              </p:nvSpPr>
              <p:spPr bwMode="auto">
                <a:xfrm>
                  <a:off x="10199" y="2290"/>
                  <a:ext cx="58" cy="17"/>
                </a:xfrm>
                <a:custGeom>
                  <a:avLst/>
                  <a:gdLst>
                    <a:gd name="T0" fmla="*/ 61 w 61"/>
                    <a:gd name="T1" fmla="*/ 24 h 24"/>
                    <a:gd name="T2" fmla="*/ 2 w 61"/>
                    <a:gd name="T3" fmla="*/ 0 h 24"/>
                    <a:gd name="T4" fmla="*/ 0 w 61"/>
                    <a:gd name="T5" fmla="*/ 3 h 24"/>
                    <a:gd name="T6" fmla="*/ 61 w 61"/>
                    <a:gd name="T7" fmla="*/ 24 h 24"/>
                    <a:gd name="T8" fmla="*/ 61 w 61"/>
                    <a:gd name="T9" fmla="*/ 24 h 24"/>
                  </a:gdLst>
                  <a:ahLst/>
                  <a:cxnLst>
                    <a:cxn ang="0">
                      <a:pos x="T0" y="T1"/>
                    </a:cxn>
                    <a:cxn ang="0">
                      <a:pos x="T2" y="T3"/>
                    </a:cxn>
                    <a:cxn ang="0">
                      <a:pos x="T4" y="T5"/>
                    </a:cxn>
                    <a:cxn ang="0">
                      <a:pos x="T6" y="T7"/>
                    </a:cxn>
                    <a:cxn ang="0">
                      <a:pos x="T8" y="T9"/>
                    </a:cxn>
                  </a:cxnLst>
                  <a:rect l="0" t="0" r="r" b="b"/>
                  <a:pathLst>
                    <a:path w="61" h="24">
                      <a:moveTo>
                        <a:pt x="61" y="24"/>
                      </a:moveTo>
                      <a:lnTo>
                        <a:pt x="2" y="0"/>
                      </a:lnTo>
                      <a:lnTo>
                        <a:pt x="0" y="3"/>
                      </a:lnTo>
                      <a:lnTo>
                        <a:pt x="61" y="24"/>
                      </a:lnTo>
                      <a:lnTo>
                        <a:pt x="61" y="24"/>
                      </a:lnTo>
                      <a:close/>
                    </a:path>
                  </a:pathLst>
                </a:custGeom>
                <a:solidFill>
                  <a:srgbClr val="01AAE5"/>
                </a:solidFill>
                <a:ln>
                  <a:noFill/>
                </a:ln>
                <a:extLst/>
              </p:spPr>
              <p:txBody>
                <a:bodyPr/>
                <a:lstStyle/>
                <a:p>
                  <a:pPr eaLnBrk="1" hangingPunct="1">
                    <a:defRPr/>
                  </a:pPr>
                  <a:endParaRPr lang="zh-CN" altLang="en-US" sz="1050"/>
                </a:p>
              </p:txBody>
            </p:sp>
            <p:sp>
              <p:nvSpPr>
                <p:cNvPr id="3726" name="Freeform 1771"/>
                <p:cNvSpPr>
                  <a:spLocks/>
                </p:cNvSpPr>
                <p:nvPr/>
              </p:nvSpPr>
              <p:spPr bwMode="auto">
                <a:xfrm>
                  <a:off x="10190" y="2299"/>
                  <a:ext cx="67" cy="26"/>
                </a:xfrm>
                <a:custGeom>
                  <a:avLst/>
                  <a:gdLst>
                    <a:gd name="T0" fmla="*/ 64 w 64"/>
                    <a:gd name="T1" fmla="*/ 23 h 26"/>
                    <a:gd name="T2" fmla="*/ 0 w 64"/>
                    <a:gd name="T3" fmla="*/ 0 h 26"/>
                    <a:gd name="T4" fmla="*/ 0 w 64"/>
                    <a:gd name="T5" fmla="*/ 2 h 26"/>
                    <a:gd name="T6" fmla="*/ 64 w 64"/>
                    <a:gd name="T7" fmla="*/ 26 h 26"/>
                    <a:gd name="T8" fmla="*/ 64 w 64"/>
                    <a:gd name="T9" fmla="*/ 23 h 26"/>
                  </a:gdLst>
                  <a:ahLst/>
                  <a:cxnLst>
                    <a:cxn ang="0">
                      <a:pos x="T0" y="T1"/>
                    </a:cxn>
                    <a:cxn ang="0">
                      <a:pos x="T2" y="T3"/>
                    </a:cxn>
                    <a:cxn ang="0">
                      <a:pos x="T4" y="T5"/>
                    </a:cxn>
                    <a:cxn ang="0">
                      <a:pos x="T6" y="T7"/>
                    </a:cxn>
                    <a:cxn ang="0">
                      <a:pos x="T8" y="T9"/>
                    </a:cxn>
                  </a:cxnLst>
                  <a:rect l="0" t="0" r="r" b="b"/>
                  <a:pathLst>
                    <a:path w="64" h="26">
                      <a:moveTo>
                        <a:pt x="64" y="23"/>
                      </a:moveTo>
                      <a:lnTo>
                        <a:pt x="0" y="0"/>
                      </a:lnTo>
                      <a:lnTo>
                        <a:pt x="0" y="2"/>
                      </a:lnTo>
                      <a:lnTo>
                        <a:pt x="64" y="26"/>
                      </a:lnTo>
                      <a:lnTo>
                        <a:pt x="64" y="23"/>
                      </a:lnTo>
                      <a:close/>
                    </a:path>
                  </a:pathLst>
                </a:custGeom>
                <a:solidFill>
                  <a:srgbClr val="01AAE5"/>
                </a:solidFill>
                <a:ln>
                  <a:noFill/>
                </a:ln>
                <a:extLst/>
              </p:spPr>
              <p:txBody>
                <a:bodyPr/>
                <a:lstStyle/>
                <a:p>
                  <a:pPr eaLnBrk="1" hangingPunct="1">
                    <a:defRPr/>
                  </a:pPr>
                  <a:endParaRPr lang="zh-CN" altLang="en-US" sz="1050"/>
                </a:p>
              </p:txBody>
            </p:sp>
            <p:sp>
              <p:nvSpPr>
                <p:cNvPr id="3727" name="Freeform 1772"/>
                <p:cNvSpPr>
                  <a:spLocks/>
                </p:cNvSpPr>
                <p:nvPr/>
              </p:nvSpPr>
              <p:spPr bwMode="auto">
                <a:xfrm>
                  <a:off x="10199" y="2290"/>
                  <a:ext cx="58" cy="26"/>
                </a:xfrm>
                <a:custGeom>
                  <a:avLst/>
                  <a:gdLst>
                    <a:gd name="T0" fmla="*/ 63 w 63"/>
                    <a:gd name="T1" fmla="*/ 24 h 24"/>
                    <a:gd name="T2" fmla="*/ 0 w 63"/>
                    <a:gd name="T3" fmla="*/ 0 h 24"/>
                    <a:gd name="T4" fmla="*/ 0 w 63"/>
                    <a:gd name="T5" fmla="*/ 2 h 24"/>
                    <a:gd name="T6" fmla="*/ 63 w 63"/>
                    <a:gd name="T7" fmla="*/ 24 h 24"/>
                    <a:gd name="T8" fmla="*/ 63 w 63"/>
                    <a:gd name="T9" fmla="*/ 24 h 24"/>
                  </a:gdLst>
                  <a:ahLst/>
                  <a:cxnLst>
                    <a:cxn ang="0">
                      <a:pos x="T0" y="T1"/>
                    </a:cxn>
                    <a:cxn ang="0">
                      <a:pos x="T2" y="T3"/>
                    </a:cxn>
                    <a:cxn ang="0">
                      <a:pos x="T4" y="T5"/>
                    </a:cxn>
                    <a:cxn ang="0">
                      <a:pos x="T6" y="T7"/>
                    </a:cxn>
                    <a:cxn ang="0">
                      <a:pos x="T8" y="T9"/>
                    </a:cxn>
                  </a:cxnLst>
                  <a:rect l="0" t="0" r="r" b="b"/>
                  <a:pathLst>
                    <a:path w="63" h="24">
                      <a:moveTo>
                        <a:pt x="63" y="24"/>
                      </a:moveTo>
                      <a:lnTo>
                        <a:pt x="0" y="0"/>
                      </a:lnTo>
                      <a:lnTo>
                        <a:pt x="0" y="2"/>
                      </a:lnTo>
                      <a:lnTo>
                        <a:pt x="63" y="24"/>
                      </a:lnTo>
                      <a:lnTo>
                        <a:pt x="63" y="24"/>
                      </a:lnTo>
                      <a:close/>
                    </a:path>
                  </a:pathLst>
                </a:custGeom>
                <a:solidFill>
                  <a:srgbClr val="01AAE5"/>
                </a:solidFill>
                <a:ln>
                  <a:noFill/>
                </a:ln>
                <a:extLst/>
              </p:spPr>
              <p:txBody>
                <a:bodyPr/>
                <a:lstStyle/>
                <a:p>
                  <a:pPr eaLnBrk="1" hangingPunct="1">
                    <a:defRPr/>
                  </a:pPr>
                  <a:endParaRPr lang="zh-CN" altLang="en-US" sz="1050"/>
                </a:p>
              </p:txBody>
            </p:sp>
            <p:sp>
              <p:nvSpPr>
                <p:cNvPr id="3728" name="Freeform 1773"/>
                <p:cNvSpPr>
                  <a:spLocks/>
                </p:cNvSpPr>
                <p:nvPr/>
              </p:nvSpPr>
              <p:spPr bwMode="auto">
                <a:xfrm>
                  <a:off x="10199" y="2273"/>
                  <a:ext cx="58" cy="26"/>
                </a:xfrm>
                <a:custGeom>
                  <a:avLst/>
                  <a:gdLst>
                    <a:gd name="T0" fmla="*/ 57 w 57"/>
                    <a:gd name="T1" fmla="*/ 21 h 21"/>
                    <a:gd name="T2" fmla="*/ 2 w 57"/>
                    <a:gd name="T3" fmla="*/ 0 h 21"/>
                    <a:gd name="T4" fmla="*/ 0 w 57"/>
                    <a:gd name="T5" fmla="*/ 0 h 21"/>
                    <a:gd name="T6" fmla="*/ 57 w 57"/>
                    <a:gd name="T7" fmla="*/ 21 h 21"/>
                    <a:gd name="T8" fmla="*/ 57 w 57"/>
                    <a:gd name="T9" fmla="*/ 21 h 21"/>
                  </a:gdLst>
                  <a:ahLst/>
                  <a:cxnLst>
                    <a:cxn ang="0">
                      <a:pos x="T0" y="T1"/>
                    </a:cxn>
                    <a:cxn ang="0">
                      <a:pos x="T2" y="T3"/>
                    </a:cxn>
                    <a:cxn ang="0">
                      <a:pos x="T4" y="T5"/>
                    </a:cxn>
                    <a:cxn ang="0">
                      <a:pos x="T6" y="T7"/>
                    </a:cxn>
                    <a:cxn ang="0">
                      <a:pos x="T8" y="T9"/>
                    </a:cxn>
                  </a:cxnLst>
                  <a:rect l="0" t="0" r="r" b="b"/>
                  <a:pathLst>
                    <a:path w="57" h="21">
                      <a:moveTo>
                        <a:pt x="57" y="21"/>
                      </a:moveTo>
                      <a:lnTo>
                        <a:pt x="2" y="0"/>
                      </a:lnTo>
                      <a:lnTo>
                        <a:pt x="0" y="0"/>
                      </a:lnTo>
                      <a:lnTo>
                        <a:pt x="57" y="21"/>
                      </a:lnTo>
                      <a:lnTo>
                        <a:pt x="57" y="21"/>
                      </a:lnTo>
                      <a:close/>
                    </a:path>
                  </a:pathLst>
                </a:custGeom>
                <a:solidFill>
                  <a:srgbClr val="01AAE5"/>
                </a:solidFill>
                <a:ln>
                  <a:noFill/>
                </a:ln>
                <a:extLst/>
              </p:spPr>
              <p:txBody>
                <a:bodyPr/>
                <a:lstStyle/>
                <a:p>
                  <a:pPr eaLnBrk="1" hangingPunct="1">
                    <a:defRPr/>
                  </a:pPr>
                  <a:endParaRPr lang="zh-CN" altLang="en-US" sz="1050"/>
                </a:p>
              </p:txBody>
            </p:sp>
            <p:sp>
              <p:nvSpPr>
                <p:cNvPr id="3729" name="Freeform 1774"/>
                <p:cNvSpPr>
                  <a:spLocks/>
                </p:cNvSpPr>
                <p:nvPr/>
              </p:nvSpPr>
              <p:spPr bwMode="auto">
                <a:xfrm>
                  <a:off x="10215" y="2273"/>
                  <a:ext cx="42" cy="17"/>
                </a:xfrm>
                <a:custGeom>
                  <a:avLst/>
                  <a:gdLst>
                    <a:gd name="T0" fmla="*/ 48 w 48"/>
                    <a:gd name="T1" fmla="*/ 19 h 21"/>
                    <a:gd name="T2" fmla="*/ 0 w 48"/>
                    <a:gd name="T3" fmla="*/ 0 h 21"/>
                    <a:gd name="T4" fmla="*/ 0 w 48"/>
                    <a:gd name="T5" fmla="*/ 2 h 21"/>
                    <a:gd name="T6" fmla="*/ 48 w 48"/>
                    <a:gd name="T7" fmla="*/ 21 h 21"/>
                    <a:gd name="T8" fmla="*/ 48 w 48"/>
                    <a:gd name="T9" fmla="*/ 19 h 21"/>
                  </a:gdLst>
                  <a:ahLst/>
                  <a:cxnLst>
                    <a:cxn ang="0">
                      <a:pos x="T0" y="T1"/>
                    </a:cxn>
                    <a:cxn ang="0">
                      <a:pos x="T2" y="T3"/>
                    </a:cxn>
                    <a:cxn ang="0">
                      <a:pos x="T4" y="T5"/>
                    </a:cxn>
                    <a:cxn ang="0">
                      <a:pos x="T6" y="T7"/>
                    </a:cxn>
                    <a:cxn ang="0">
                      <a:pos x="T8" y="T9"/>
                    </a:cxn>
                  </a:cxnLst>
                  <a:rect l="0" t="0" r="r" b="b"/>
                  <a:pathLst>
                    <a:path w="48" h="21">
                      <a:moveTo>
                        <a:pt x="48" y="19"/>
                      </a:moveTo>
                      <a:lnTo>
                        <a:pt x="0" y="0"/>
                      </a:lnTo>
                      <a:lnTo>
                        <a:pt x="0" y="2"/>
                      </a:lnTo>
                      <a:lnTo>
                        <a:pt x="48" y="21"/>
                      </a:lnTo>
                      <a:lnTo>
                        <a:pt x="48" y="19"/>
                      </a:lnTo>
                      <a:close/>
                    </a:path>
                  </a:pathLst>
                </a:custGeom>
                <a:solidFill>
                  <a:srgbClr val="01AAE5"/>
                </a:solidFill>
                <a:ln>
                  <a:noFill/>
                </a:ln>
                <a:extLst/>
              </p:spPr>
              <p:txBody>
                <a:bodyPr/>
                <a:lstStyle/>
                <a:p>
                  <a:pPr eaLnBrk="1" hangingPunct="1">
                    <a:defRPr/>
                  </a:pPr>
                  <a:endParaRPr lang="zh-CN" altLang="en-US" sz="1050"/>
                </a:p>
              </p:txBody>
            </p:sp>
            <p:sp>
              <p:nvSpPr>
                <p:cNvPr id="3730" name="Freeform 1775"/>
                <p:cNvSpPr>
                  <a:spLocks/>
                </p:cNvSpPr>
                <p:nvPr/>
              </p:nvSpPr>
              <p:spPr bwMode="auto">
                <a:xfrm>
                  <a:off x="10207" y="2273"/>
                  <a:ext cx="50" cy="26"/>
                </a:xfrm>
                <a:custGeom>
                  <a:avLst/>
                  <a:gdLst>
                    <a:gd name="T0" fmla="*/ 52 w 52"/>
                    <a:gd name="T1" fmla="*/ 22 h 22"/>
                    <a:gd name="T2" fmla="*/ 0 w 52"/>
                    <a:gd name="T3" fmla="*/ 0 h 22"/>
                    <a:gd name="T4" fmla="*/ 0 w 52"/>
                    <a:gd name="T5" fmla="*/ 0 h 22"/>
                    <a:gd name="T6" fmla="*/ 52 w 52"/>
                    <a:gd name="T7" fmla="*/ 22 h 22"/>
                    <a:gd name="T8" fmla="*/ 52 w 52"/>
                    <a:gd name="T9" fmla="*/ 22 h 22"/>
                  </a:gdLst>
                  <a:ahLst/>
                  <a:cxnLst>
                    <a:cxn ang="0">
                      <a:pos x="T0" y="T1"/>
                    </a:cxn>
                    <a:cxn ang="0">
                      <a:pos x="T2" y="T3"/>
                    </a:cxn>
                    <a:cxn ang="0">
                      <a:pos x="T4" y="T5"/>
                    </a:cxn>
                    <a:cxn ang="0">
                      <a:pos x="T6" y="T7"/>
                    </a:cxn>
                    <a:cxn ang="0">
                      <a:pos x="T8" y="T9"/>
                    </a:cxn>
                  </a:cxnLst>
                  <a:rect l="0" t="0" r="r" b="b"/>
                  <a:pathLst>
                    <a:path w="52" h="22">
                      <a:moveTo>
                        <a:pt x="52" y="22"/>
                      </a:moveTo>
                      <a:lnTo>
                        <a:pt x="0" y="0"/>
                      </a:lnTo>
                      <a:lnTo>
                        <a:pt x="0" y="0"/>
                      </a:lnTo>
                      <a:lnTo>
                        <a:pt x="52" y="22"/>
                      </a:lnTo>
                      <a:lnTo>
                        <a:pt x="52" y="22"/>
                      </a:lnTo>
                      <a:close/>
                    </a:path>
                  </a:pathLst>
                </a:custGeom>
                <a:solidFill>
                  <a:srgbClr val="01AAE5"/>
                </a:solidFill>
                <a:ln>
                  <a:noFill/>
                </a:ln>
                <a:extLst/>
              </p:spPr>
              <p:txBody>
                <a:bodyPr/>
                <a:lstStyle/>
                <a:p>
                  <a:pPr eaLnBrk="1" hangingPunct="1">
                    <a:defRPr/>
                  </a:pPr>
                  <a:endParaRPr lang="zh-CN" altLang="en-US" sz="1050"/>
                </a:p>
              </p:txBody>
            </p:sp>
            <p:sp>
              <p:nvSpPr>
                <p:cNvPr id="3731" name="Freeform 1776"/>
                <p:cNvSpPr>
                  <a:spLocks/>
                </p:cNvSpPr>
                <p:nvPr/>
              </p:nvSpPr>
              <p:spPr bwMode="auto">
                <a:xfrm>
                  <a:off x="10232" y="2247"/>
                  <a:ext cx="33" cy="17"/>
                </a:xfrm>
                <a:custGeom>
                  <a:avLst/>
                  <a:gdLst>
                    <a:gd name="T0" fmla="*/ 28 w 28"/>
                    <a:gd name="T1" fmla="*/ 12 h 14"/>
                    <a:gd name="T2" fmla="*/ 0 w 28"/>
                    <a:gd name="T3" fmla="*/ 0 h 14"/>
                    <a:gd name="T4" fmla="*/ 0 w 28"/>
                    <a:gd name="T5" fmla="*/ 0 h 14"/>
                    <a:gd name="T6" fmla="*/ 28 w 28"/>
                    <a:gd name="T7" fmla="*/ 14 h 14"/>
                    <a:gd name="T8" fmla="*/ 28 w 28"/>
                    <a:gd name="T9" fmla="*/ 12 h 14"/>
                  </a:gdLst>
                  <a:ahLst/>
                  <a:cxnLst>
                    <a:cxn ang="0">
                      <a:pos x="T0" y="T1"/>
                    </a:cxn>
                    <a:cxn ang="0">
                      <a:pos x="T2" y="T3"/>
                    </a:cxn>
                    <a:cxn ang="0">
                      <a:pos x="T4" y="T5"/>
                    </a:cxn>
                    <a:cxn ang="0">
                      <a:pos x="T6" y="T7"/>
                    </a:cxn>
                    <a:cxn ang="0">
                      <a:pos x="T8" y="T9"/>
                    </a:cxn>
                  </a:cxnLst>
                  <a:rect l="0" t="0" r="r" b="b"/>
                  <a:pathLst>
                    <a:path w="28" h="14">
                      <a:moveTo>
                        <a:pt x="28" y="12"/>
                      </a:moveTo>
                      <a:lnTo>
                        <a:pt x="0" y="0"/>
                      </a:lnTo>
                      <a:lnTo>
                        <a:pt x="0" y="0"/>
                      </a:lnTo>
                      <a:lnTo>
                        <a:pt x="28" y="14"/>
                      </a:lnTo>
                      <a:lnTo>
                        <a:pt x="28" y="12"/>
                      </a:lnTo>
                      <a:close/>
                    </a:path>
                  </a:pathLst>
                </a:custGeom>
                <a:solidFill>
                  <a:srgbClr val="01AAE5"/>
                </a:solidFill>
                <a:ln>
                  <a:noFill/>
                </a:ln>
                <a:extLst/>
              </p:spPr>
              <p:txBody>
                <a:bodyPr/>
                <a:lstStyle/>
                <a:p>
                  <a:pPr eaLnBrk="1" hangingPunct="1">
                    <a:defRPr/>
                  </a:pPr>
                  <a:endParaRPr lang="zh-CN" altLang="en-US" sz="1050"/>
                </a:p>
              </p:txBody>
            </p:sp>
            <p:sp>
              <p:nvSpPr>
                <p:cNvPr id="3732" name="Freeform 1777"/>
                <p:cNvSpPr>
                  <a:spLocks/>
                </p:cNvSpPr>
                <p:nvPr/>
              </p:nvSpPr>
              <p:spPr bwMode="auto">
                <a:xfrm>
                  <a:off x="10290" y="2186"/>
                  <a:ext cx="8" cy="0"/>
                </a:xfrm>
                <a:custGeom>
                  <a:avLst/>
                  <a:gdLst>
                    <a:gd name="T0" fmla="*/ 7 w 7"/>
                    <a:gd name="T1" fmla="*/ 5 h 5"/>
                    <a:gd name="T2" fmla="*/ 0 w 7"/>
                    <a:gd name="T3" fmla="*/ 0 h 5"/>
                    <a:gd name="T4" fmla="*/ 0 w 7"/>
                    <a:gd name="T5" fmla="*/ 0 h 5"/>
                    <a:gd name="T6" fmla="*/ 7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0" y="0"/>
                      </a:lnTo>
                      <a:lnTo>
                        <a:pt x="0" y="0"/>
                      </a:lnTo>
                      <a:lnTo>
                        <a:pt x="7" y="5"/>
                      </a:lnTo>
                      <a:lnTo>
                        <a:pt x="7" y="5"/>
                      </a:lnTo>
                      <a:close/>
                    </a:path>
                  </a:pathLst>
                </a:custGeom>
                <a:solidFill>
                  <a:srgbClr val="01AAE5"/>
                </a:solidFill>
                <a:ln>
                  <a:noFill/>
                </a:ln>
                <a:extLst/>
              </p:spPr>
              <p:txBody>
                <a:bodyPr/>
                <a:lstStyle/>
                <a:p>
                  <a:pPr eaLnBrk="1" hangingPunct="1">
                    <a:defRPr/>
                  </a:pPr>
                  <a:endParaRPr lang="zh-CN" altLang="en-US" sz="1050"/>
                </a:p>
              </p:txBody>
            </p:sp>
            <p:sp>
              <p:nvSpPr>
                <p:cNvPr id="3733" name="Freeform 1778"/>
                <p:cNvSpPr>
                  <a:spLocks/>
                </p:cNvSpPr>
                <p:nvPr/>
              </p:nvSpPr>
              <p:spPr bwMode="auto">
                <a:xfrm>
                  <a:off x="10282" y="2186"/>
                  <a:ext cx="8" cy="0"/>
                </a:xfrm>
                <a:custGeom>
                  <a:avLst/>
                  <a:gdLst>
                    <a:gd name="T0" fmla="*/ 7 w 7"/>
                    <a:gd name="T1" fmla="*/ 2 h 4"/>
                    <a:gd name="T2" fmla="*/ 0 w 7"/>
                    <a:gd name="T3" fmla="*/ 0 h 4"/>
                    <a:gd name="T4" fmla="*/ 0 w 7"/>
                    <a:gd name="T5" fmla="*/ 0 h 4"/>
                    <a:gd name="T6" fmla="*/ 7 w 7"/>
                    <a:gd name="T7" fmla="*/ 4 h 4"/>
                    <a:gd name="T8" fmla="*/ 7 w 7"/>
                    <a:gd name="T9" fmla="*/ 2 h 4"/>
                  </a:gdLst>
                  <a:ahLst/>
                  <a:cxnLst>
                    <a:cxn ang="0">
                      <a:pos x="T0" y="T1"/>
                    </a:cxn>
                    <a:cxn ang="0">
                      <a:pos x="T2" y="T3"/>
                    </a:cxn>
                    <a:cxn ang="0">
                      <a:pos x="T4" y="T5"/>
                    </a:cxn>
                    <a:cxn ang="0">
                      <a:pos x="T6" y="T7"/>
                    </a:cxn>
                    <a:cxn ang="0">
                      <a:pos x="T8" y="T9"/>
                    </a:cxn>
                  </a:cxnLst>
                  <a:rect l="0" t="0" r="r" b="b"/>
                  <a:pathLst>
                    <a:path w="7" h="4">
                      <a:moveTo>
                        <a:pt x="7" y="2"/>
                      </a:moveTo>
                      <a:lnTo>
                        <a:pt x="0" y="0"/>
                      </a:lnTo>
                      <a:lnTo>
                        <a:pt x="0" y="0"/>
                      </a:lnTo>
                      <a:lnTo>
                        <a:pt x="7" y="4"/>
                      </a:lnTo>
                      <a:lnTo>
                        <a:pt x="7" y="2"/>
                      </a:lnTo>
                      <a:close/>
                    </a:path>
                  </a:pathLst>
                </a:custGeom>
                <a:solidFill>
                  <a:srgbClr val="01AAE5"/>
                </a:solidFill>
                <a:ln>
                  <a:noFill/>
                </a:ln>
                <a:extLst/>
              </p:spPr>
              <p:txBody>
                <a:bodyPr/>
                <a:lstStyle/>
                <a:p>
                  <a:pPr eaLnBrk="1" hangingPunct="1">
                    <a:defRPr/>
                  </a:pPr>
                  <a:endParaRPr lang="zh-CN" altLang="en-US" sz="1050"/>
                </a:p>
              </p:txBody>
            </p:sp>
            <p:sp>
              <p:nvSpPr>
                <p:cNvPr id="3734" name="Freeform 1779"/>
                <p:cNvSpPr>
                  <a:spLocks/>
                </p:cNvSpPr>
                <p:nvPr/>
              </p:nvSpPr>
              <p:spPr bwMode="auto">
                <a:xfrm>
                  <a:off x="10290" y="2177"/>
                  <a:ext cx="8" cy="9"/>
                </a:xfrm>
                <a:custGeom>
                  <a:avLst/>
                  <a:gdLst>
                    <a:gd name="T0" fmla="*/ 10 w 10"/>
                    <a:gd name="T1" fmla="*/ 5 h 5"/>
                    <a:gd name="T2" fmla="*/ 0 w 10"/>
                    <a:gd name="T3" fmla="*/ 0 h 5"/>
                    <a:gd name="T4" fmla="*/ 0 w 10"/>
                    <a:gd name="T5" fmla="*/ 0 h 5"/>
                    <a:gd name="T6" fmla="*/ 8 w 10"/>
                    <a:gd name="T7" fmla="*/ 5 h 5"/>
                    <a:gd name="T8" fmla="*/ 10 w 10"/>
                    <a:gd name="T9" fmla="*/ 5 h 5"/>
                  </a:gdLst>
                  <a:ahLst/>
                  <a:cxnLst>
                    <a:cxn ang="0">
                      <a:pos x="T0" y="T1"/>
                    </a:cxn>
                    <a:cxn ang="0">
                      <a:pos x="T2" y="T3"/>
                    </a:cxn>
                    <a:cxn ang="0">
                      <a:pos x="T4" y="T5"/>
                    </a:cxn>
                    <a:cxn ang="0">
                      <a:pos x="T6" y="T7"/>
                    </a:cxn>
                    <a:cxn ang="0">
                      <a:pos x="T8" y="T9"/>
                    </a:cxn>
                  </a:cxnLst>
                  <a:rect l="0" t="0" r="r" b="b"/>
                  <a:pathLst>
                    <a:path w="10" h="5">
                      <a:moveTo>
                        <a:pt x="10" y="5"/>
                      </a:moveTo>
                      <a:lnTo>
                        <a:pt x="0" y="0"/>
                      </a:lnTo>
                      <a:lnTo>
                        <a:pt x="0" y="0"/>
                      </a:lnTo>
                      <a:lnTo>
                        <a:pt x="8" y="5"/>
                      </a:lnTo>
                      <a:lnTo>
                        <a:pt x="10" y="5"/>
                      </a:lnTo>
                      <a:close/>
                    </a:path>
                  </a:pathLst>
                </a:custGeom>
                <a:solidFill>
                  <a:srgbClr val="01AAE5"/>
                </a:solidFill>
                <a:ln>
                  <a:noFill/>
                </a:ln>
                <a:extLst/>
              </p:spPr>
              <p:txBody>
                <a:bodyPr/>
                <a:lstStyle/>
                <a:p>
                  <a:pPr eaLnBrk="1" hangingPunct="1">
                    <a:defRPr/>
                  </a:pPr>
                  <a:endParaRPr lang="zh-CN" altLang="en-US" sz="1050"/>
                </a:p>
              </p:txBody>
            </p:sp>
            <p:sp>
              <p:nvSpPr>
                <p:cNvPr id="3735" name="Freeform 1780"/>
                <p:cNvSpPr>
                  <a:spLocks/>
                </p:cNvSpPr>
                <p:nvPr/>
              </p:nvSpPr>
              <p:spPr bwMode="auto">
                <a:xfrm>
                  <a:off x="10282" y="2194"/>
                  <a:ext cx="8" cy="9"/>
                </a:xfrm>
                <a:custGeom>
                  <a:avLst/>
                  <a:gdLst>
                    <a:gd name="T0" fmla="*/ 7 w 7"/>
                    <a:gd name="T1" fmla="*/ 4 h 7"/>
                    <a:gd name="T2" fmla="*/ 0 w 7"/>
                    <a:gd name="T3" fmla="*/ 0 h 7"/>
                    <a:gd name="T4" fmla="*/ 0 w 7"/>
                    <a:gd name="T5" fmla="*/ 2 h 7"/>
                    <a:gd name="T6" fmla="*/ 7 w 7"/>
                    <a:gd name="T7" fmla="*/ 7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lnTo>
                        <a:pt x="0" y="0"/>
                      </a:lnTo>
                      <a:lnTo>
                        <a:pt x="0" y="2"/>
                      </a:lnTo>
                      <a:lnTo>
                        <a:pt x="7" y="7"/>
                      </a:lnTo>
                      <a:lnTo>
                        <a:pt x="7" y="4"/>
                      </a:lnTo>
                      <a:close/>
                    </a:path>
                  </a:pathLst>
                </a:custGeom>
                <a:solidFill>
                  <a:srgbClr val="01AAE5"/>
                </a:solidFill>
                <a:ln>
                  <a:noFill/>
                </a:ln>
                <a:extLst/>
              </p:spPr>
              <p:txBody>
                <a:bodyPr/>
                <a:lstStyle/>
                <a:p>
                  <a:pPr eaLnBrk="1" hangingPunct="1">
                    <a:defRPr/>
                  </a:pPr>
                  <a:endParaRPr lang="zh-CN" altLang="en-US" sz="1050"/>
                </a:p>
              </p:txBody>
            </p:sp>
            <p:sp>
              <p:nvSpPr>
                <p:cNvPr id="3736" name="Freeform 1781"/>
                <p:cNvSpPr>
                  <a:spLocks/>
                </p:cNvSpPr>
                <p:nvPr/>
              </p:nvSpPr>
              <p:spPr bwMode="auto">
                <a:xfrm>
                  <a:off x="10282" y="2186"/>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3737" name="Freeform 1782"/>
                <p:cNvSpPr>
                  <a:spLocks/>
                </p:cNvSpPr>
                <p:nvPr/>
              </p:nvSpPr>
              <p:spPr bwMode="auto">
                <a:xfrm>
                  <a:off x="10257" y="2229"/>
                  <a:ext cx="17" cy="9"/>
                </a:xfrm>
                <a:custGeom>
                  <a:avLst/>
                  <a:gdLst>
                    <a:gd name="T0" fmla="*/ 17 w 17"/>
                    <a:gd name="T1" fmla="*/ 7 h 7"/>
                    <a:gd name="T2" fmla="*/ 2 w 17"/>
                    <a:gd name="T3" fmla="*/ 0 h 7"/>
                    <a:gd name="T4" fmla="*/ 0 w 17"/>
                    <a:gd name="T5" fmla="*/ 0 h 7"/>
                    <a:gd name="T6" fmla="*/ 17 w 17"/>
                    <a:gd name="T7" fmla="*/ 7 h 7"/>
                    <a:gd name="T8" fmla="*/ 17 w 17"/>
                    <a:gd name="T9" fmla="*/ 7 h 7"/>
                  </a:gdLst>
                  <a:ahLst/>
                  <a:cxnLst>
                    <a:cxn ang="0">
                      <a:pos x="T0" y="T1"/>
                    </a:cxn>
                    <a:cxn ang="0">
                      <a:pos x="T2" y="T3"/>
                    </a:cxn>
                    <a:cxn ang="0">
                      <a:pos x="T4" y="T5"/>
                    </a:cxn>
                    <a:cxn ang="0">
                      <a:pos x="T6" y="T7"/>
                    </a:cxn>
                    <a:cxn ang="0">
                      <a:pos x="T8" y="T9"/>
                    </a:cxn>
                  </a:cxnLst>
                  <a:rect l="0" t="0" r="r" b="b"/>
                  <a:pathLst>
                    <a:path w="17" h="7">
                      <a:moveTo>
                        <a:pt x="17" y="7"/>
                      </a:moveTo>
                      <a:lnTo>
                        <a:pt x="2" y="0"/>
                      </a:lnTo>
                      <a:lnTo>
                        <a:pt x="0" y="0"/>
                      </a:lnTo>
                      <a:lnTo>
                        <a:pt x="17" y="7"/>
                      </a:lnTo>
                      <a:lnTo>
                        <a:pt x="17" y="7"/>
                      </a:lnTo>
                      <a:close/>
                    </a:path>
                  </a:pathLst>
                </a:custGeom>
                <a:solidFill>
                  <a:srgbClr val="01AAE5"/>
                </a:solidFill>
                <a:ln>
                  <a:noFill/>
                </a:ln>
                <a:extLst/>
              </p:spPr>
              <p:txBody>
                <a:bodyPr/>
                <a:lstStyle/>
                <a:p>
                  <a:pPr eaLnBrk="1" hangingPunct="1">
                    <a:defRPr/>
                  </a:pPr>
                  <a:endParaRPr lang="zh-CN" altLang="en-US" sz="1050"/>
                </a:p>
              </p:txBody>
            </p:sp>
            <p:sp>
              <p:nvSpPr>
                <p:cNvPr id="3738" name="Freeform 1783"/>
                <p:cNvSpPr>
                  <a:spLocks/>
                </p:cNvSpPr>
                <p:nvPr/>
              </p:nvSpPr>
              <p:spPr bwMode="auto">
                <a:xfrm>
                  <a:off x="10290" y="2168"/>
                  <a:ext cx="17" cy="9"/>
                </a:xfrm>
                <a:custGeom>
                  <a:avLst/>
                  <a:gdLst>
                    <a:gd name="T0" fmla="*/ 9 w 9"/>
                    <a:gd name="T1" fmla="*/ 5 h 5"/>
                    <a:gd name="T2" fmla="*/ 2 w 9"/>
                    <a:gd name="T3" fmla="*/ 0 h 5"/>
                    <a:gd name="T4" fmla="*/ 0 w 9"/>
                    <a:gd name="T5" fmla="*/ 0 h 5"/>
                    <a:gd name="T6" fmla="*/ 7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7"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3739" name="Freeform 1784"/>
                <p:cNvSpPr>
                  <a:spLocks/>
                </p:cNvSpPr>
                <p:nvPr/>
              </p:nvSpPr>
              <p:spPr bwMode="auto">
                <a:xfrm>
                  <a:off x="10299" y="2168"/>
                  <a:ext cx="8" cy="9"/>
                </a:xfrm>
                <a:custGeom>
                  <a:avLst/>
                  <a:gdLst>
                    <a:gd name="T0" fmla="*/ 10 w 10"/>
                    <a:gd name="T1" fmla="*/ 4 h 7"/>
                    <a:gd name="T2" fmla="*/ 3 w 10"/>
                    <a:gd name="T3" fmla="*/ 0 h 7"/>
                    <a:gd name="T4" fmla="*/ 0 w 10"/>
                    <a:gd name="T5" fmla="*/ 2 h 7"/>
                    <a:gd name="T6" fmla="*/ 10 w 10"/>
                    <a:gd name="T7" fmla="*/ 7 h 7"/>
                    <a:gd name="T8" fmla="*/ 10 w 10"/>
                    <a:gd name="T9" fmla="*/ 4 h 7"/>
                  </a:gdLst>
                  <a:ahLst/>
                  <a:cxnLst>
                    <a:cxn ang="0">
                      <a:pos x="T0" y="T1"/>
                    </a:cxn>
                    <a:cxn ang="0">
                      <a:pos x="T2" y="T3"/>
                    </a:cxn>
                    <a:cxn ang="0">
                      <a:pos x="T4" y="T5"/>
                    </a:cxn>
                    <a:cxn ang="0">
                      <a:pos x="T6" y="T7"/>
                    </a:cxn>
                    <a:cxn ang="0">
                      <a:pos x="T8" y="T9"/>
                    </a:cxn>
                  </a:cxnLst>
                  <a:rect l="0" t="0" r="r" b="b"/>
                  <a:pathLst>
                    <a:path w="10" h="7">
                      <a:moveTo>
                        <a:pt x="10" y="4"/>
                      </a:moveTo>
                      <a:lnTo>
                        <a:pt x="3" y="0"/>
                      </a:lnTo>
                      <a:lnTo>
                        <a:pt x="0" y="2"/>
                      </a:lnTo>
                      <a:lnTo>
                        <a:pt x="10" y="7"/>
                      </a:lnTo>
                      <a:lnTo>
                        <a:pt x="10" y="4"/>
                      </a:lnTo>
                      <a:close/>
                    </a:path>
                  </a:pathLst>
                </a:custGeom>
                <a:solidFill>
                  <a:srgbClr val="01AAE5"/>
                </a:solidFill>
                <a:ln>
                  <a:noFill/>
                </a:ln>
                <a:extLst/>
              </p:spPr>
              <p:txBody>
                <a:bodyPr/>
                <a:lstStyle/>
                <a:p>
                  <a:pPr eaLnBrk="1" hangingPunct="1">
                    <a:defRPr/>
                  </a:pPr>
                  <a:endParaRPr lang="zh-CN" altLang="en-US" sz="1050"/>
                </a:p>
              </p:txBody>
            </p:sp>
            <p:sp>
              <p:nvSpPr>
                <p:cNvPr id="3740" name="Freeform 1785"/>
                <p:cNvSpPr>
                  <a:spLocks/>
                </p:cNvSpPr>
                <p:nvPr/>
              </p:nvSpPr>
              <p:spPr bwMode="auto">
                <a:xfrm>
                  <a:off x="10299" y="2159"/>
                  <a:ext cx="8" cy="9"/>
                </a:xfrm>
                <a:custGeom>
                  <a:avLst/>
                  <a:gdLst>
                    <a:gd name="T0" fmla="*/ 7 w 7"/>
                    <a:gd name="T1" fmla="*/ 5 h 7"/>
                    <a:gd name="T2" fmla="*/ 0 w 7"/>
                    <a:gd name="T3" fmla="*/ 0 h 7"/>
                    <a:gd name="T4" fmla="*/ 0 w 7"/>
                    <a:gd name="T5" fmla="*/ 2 h 7"/>
                    <a:gd name="T6" fmla="*/ 7 w 7"/>
                    <a:gd name="T7" fmla="*/ 7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lnTo>
                        <a:pt x="0" y="0"/>
                      </a:lnTo>
                      <a:lnTo>
                        <a:pt x="0" y="2"/>
                      </a:lnTo>
                      <a:lnTo>
                        <a:pt x="7" y="7"/>
                      </a:lnTo>
                      <a:lnTo>
                        <a:pt x="7" y="5"/>
                      </a:lnTo>
                      <a:close/>
                    </a:path>
                  </a:pathLst>
                </a:custGeom>
                <a:solidFill>
                  <a:srgbClr val="01AAE5"/>
                </a:solidFill>
                <a:ln>
                  <a:noFill/>
                </a:ln>
                <a:extLst/>
              </p:spPr>
              <p:txBody>
                <a:bodyPr/>
                <a:lstStyle/>
                <a:p>
                  <a:pPr eaLnBrk="1" hangingPunct="1">
                    <a:defRPr/>
                  </a:pPr>
                  <a:endParaRPr lang="zh-CN" altLang="en-US" sz="1050"/>
                </a:p>
              </p:txBody>
            </p:sp>
            <p:sp>
              <p:nvSpPr>
                <p:cNvPr id="3741" name="Freeform 1786"/>
                <p:cNvSpPr>
                  <a:spLocks/>
                </p:cNvSpPr>
                <p:nvPr/>
              </p:nvSpPr>
              <p:spPr bwMode="auto">
                <a:xfrm>
                  <a:off x="10265" y="2212"/>
                  <a:ext cx="8" cy="9"/>
                </a:xfrm>
                <a:custGeom>
                  <a:avLst/>
                  <a:gdLst>
                    <a:gd name="T0" fmla="*/ 12 w 12"/>
                    <a:gd name="T1" fmla="*/ 7 h 7"/>
                    <a:gd name="T2" fmla="*/ 2 w 12"/>
                    <a:gd name="T3" fmla="*/ 0 h 7"/>
                    <a:gd name="T4" fmla="*/ 0 w 12"/>
                    <a:gd name="T5" fmla="*/ 2 h 7"/>
                    <a:gd name="T6" fmla="*/ 12 w 12"/>
                    <a:gd name="T7" fmla="*/ 7 h 7"/>
                    <a:gd name="T8" fmla="*/ 12 w 12"/>
                    <a:gd name="T9" fmla="*/ 7 h 7"/>
                  </a:gdLst>
                  <a:ahLst/>
                  <a:cxnLst>
                    <a:cxn ang="0">
                      <a:pos x="T0" y="T1"/>
                    </a:cxn>
                    <a:cxn ang="0">
                      <a:pos x="T2" y="T3"/>
                    </a:cxn>
                    <a:cxn ang="0">
                      <a:pos x="T4" y="T5"/>
                    </a:cxn>
                    <a:cxn ang="0">
                      <a:pos x="T6" y="T7"/>
                    </a:cxn>
                    <a:cxn ang="0">
                      <a:pos x="T8" y="T9"/>
                    </a:cxn>
                  </a:cxnLst>
                  <a:rect l="0" t="0" r="r" b="b"/>
                  <a:pathLst>
                    <a:path w="12" h="7">
                      <a:moveTo>
                        <a:pt x="12" y="7"/>
                      </a:moveTo>
                      <a:lnTo>
                        <a:pt x="2" y="0"/>
                      </a:lnTo>
                      <a:lnTo>
                        <a:pt x="0" y="2"/>
                      </a:lnTo>
                      <a:lnTo>
                        <a:pt x="12" y="7"/>
                      </a:lnTo>
                      <a:lnTo>
                        <a:pt x="12" y="7"/>
                      </a:lnTo>
                      <a:close/>
                    </a:path>
                  </a:pathLst>
                </a:custGeom>
                <a:solidFill>
                  <a:srgbClr val="01AAE5"/>
                </a:solidFill>
                <a:ln>
                  <a:noFill/>
                </a:ln>
                <a:extLst/>
              </p:spPr>
              <p:txBody>
                <a:bodyPr/>
                <a:lstStyle/>
                <a:p>
                  <a:pPr eaLnBrk="1" hangingPunct="1">
                    <a:defRPr/>
                  </a:pPr>
                  <a:endParaRPr lang="zh-CN" altLang="en-US" sz="1050"/>
                </a:p>
              </p:txBody>
            </p:sp>
            <p:sp>
              <p:nvSpPr>
                <p:cNvPr id="3742" name="Freeform 1787"/>
                <p:cNvSpPr>
                  <a:spLocks/>
                </p:cNvSpPr>
                <p:nvPr/>
              </p:nvSpPr>
              <p:spPr bwMode="auto">
                <a:xfrm>
                  <a:off x="10265" y="2212"/>
                  <a:ext cx="17" cy="9"/>
                </a:xfrm>
                <a:custGeom>
                  <a:avLst/>
                  <a:gdLst>
                    <a:gd name="T0" fmla="*/ 9 w 9"/>
                    <a:gd name="T1" fmla="*/ 5 h 5"/>
                    <a:gd name="T2" fmla="*/ 0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0"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3743" name="Freeform 1788"/>
                <p:cNvSpPr>
                  <a:spLocks/>
                </p:cNvSpPr>
                <p:nvPr/>
              </p:nvSpPr>
              <p:spPr bwMode="auto">
                <a:xfrm>
                  <a:off x="10282" y="2194"/>
                  <a:ext cx="0" cy="9"/>
                </a:xfrm>
                <a:custGeom>
                  <a:avLst/>
                  <a:gdLst>
                    <a:gd name="T0" fmla="*/ 7 w 7"/>
                    <a:gd name="T1" fmla="*/ 5 h 8"/>
                    <a:gd name="T2" fmla="*/ 0 w 7"/>
                    <a:gd name="T3" fmla="*/ 0 h 8"/>
                    <a:gd name="T4" fmla="*/ 0 w 7"/>
                    <a:gd name="T5" fmla="*/ 3 h 8"/>
                    <a:gd name="T6" fmla="*/ 7 w 7"/>
                    <a:gd name="T7" fmla="*/ 8 h 8"/>
                    <a:gd name="T8" fmla="*/ 7 w 7"/>
                    <a:gd name="T9" fmla="*/ 5 h 8"/>
                  </a:gdLst>
                  <a:ahLst/>
                  <a:cxnLst>
                    <a:cxn ang="0">
                      <a:pos x="T0" y="T1"/>
                    </a:cxn>
                    <a:cxn ang="0">
                      <a:pos x="T2" y="T3"/>
                    </a:cxn>
                    <a:cxn ang="0">
                      <a:pos x="T4" y="T5"/>
                    </a:cxn>
                    <a:cxn ang="0">
                      <a:pos x="T6" y="T7"/>
                    </a:cxn>
                    <a:cxn ang="0">
                      <a:pos x="T8" y="T9"/>
                    </a:cxn>
                  </a:cxnLst>
                  <a:rect l="0" t="0" r="r" b="b"/>
                  <a:pathLst>
                    <a:path w="7" h="8">
                      <a:moveTo>
                        <a:pt x="7" y="5"/>
                      </a:moveTo>
                      <a:lnTo>
                        <a:pt x="0" y="0"/>
                      </a:lnTo>
                      <a:lnTo>
                        <a:pt x="0" y="3"/>
                      </a:lnTo>
                      <a:lnTo>
                        <a:pt x="7" y="8"/>
                      </a:lnTo>
                      <a:lnTo>
                        <a:pt x="7" y="5"/>
                      </a:lnTo>
                      <a:close/>
                    </a:path>
                  </a:pathLst>
                </a:custGeom>
                <a:solidFill>
                  <a:srgbClr val="01AAE5"/>
                </a:solidFill>
                <a:ln>
                  <a:noFill/>
                </a:ln>
                <a:extLst/>
              </p:spPr>
              <p:txBody>
                <a:bodyPr/>
                <a:lstStyle/>
                <a:p>
                  <a:pPr eaLnBrk="1" hangingPunct="1">
                    <a:defRPr/>
                  </a:pPr>
                  <a:endParaRPr lang="zh-CN" altLang="en-US" sz="1050"/>
                </a:p>
              </p:txBody>
            </p:sp>
            <p:sp>
              <p:nvSpPr>
                <p:cNvPr id="3744" name="Freeform 1789"/>
                <p:cNvSpPr>
                  <a:spLocks/>
                </p:cNvSpPr>
                <p:nvPr/>
              </p:nvSpPr>
              <p:spPr bwMode="auto">
                <a:xfrm>
                  <a:off x="10257" y="2220"/>
                  <a:ext cx="17" cy="9"/>
                </a:xfrm>
                <a:custGeom>
                  <a:avLst/>
                  <a:gdLst>
                    <a:gd name="T0" fmla="*/ 14 w 14"/>
                    <a:gd name="T1" fmla="*/ 8 h 8"/>
                    <a:gd name="T2" fmla="*/ 0 w 14"/>
                    <a:gd name="T3" fmla="*/ 0 h 8"/>
                    <a:gd name="T4" fmla="*/ 0 w 14"/>
                    <a:gd name="T5" fmla="*/ 0 h 8"/>
                    <a:gd name="T6" fmla="*/ 14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lnTo>
                        <a:pt x="0" y="0"/>
                      </a:lnTo>
                      <a:lnTo>
                        <a:pt x="0" y="0"/>
                      </a:lnTo>
                      <a:lnTo>
                        <a:pt x="14" y="8"/>
                      </a:lnTo>
                      <a:lnTo>
                        <a:pt x="14" y="8"/>
                      </a:lnTo>
                      <a:close/>
                    </a:path>
                  </a:pathLst>
                </a:custGeom>
                <a:solidFill>
                  <a:srgbClr val="01AAE5"/>
                </a:solidFill>
                <a:ln>
                  <a:noFill/>
                </a:ln>
                <a:extLst/>
              </p:spPr>
              <p:txBody>
                <a:bodyPr/>
                <a:lstStyle/>
                <a:p>
                  <a:pPr eaLnBrk="1" hangingPunct="1">
                    <a:defRPr/>
                  </a:pPr>
                  <a:endParaRPr lang="zh-CN" altLang="en-US" sz="1050"/>
                </a:p>
              </p:txBody>
            </p:sp>
            <p:sp>
              <p:nvSpPr>
                <p:cNvPr id="3745" name="Freeform 1790"/>
                <p:cNvSpPr>
                  <a:spLocks/>
                </p:cNvSpPr>
                <p:nvPr/>
              </p:nvSpPr>
              <p:spPr bwMode="auto">
                <a:xfrm>
                  <a:off x="10274" y="2212"/>
                  <a:ext cx="8" cy="0"/>
                </a:xfrm>
                <a:custGeom>
                  <a:avLst/>
                  <a:gdLst>
                    <a:gd name="T0" fmla="*/ 10 w 10"/>
                    <a:gd name="T1" fmla="*/ 4 h 4"/>
                    <a:gd name="T2" fmla="*/ 0 w 10"/>
                    <a:gd name="T3" fmla="*/ 0 h 4"/>
                    <a:gd name="T4" fmla="*/ 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0"/>
                      </a:lnTo>
                      <a:lnTo>
                        <a:pt x="0" y="0"/>
                      </a:lnTo>
                      <a:lnTo>
                        <a:pt x="10" y="4"/>
                      </a:lnTo>
                      <a:lnTo>
                        <a:pt x="10" y="4"/>
                      </a:lnTo>
                      <a:close/>
                    </a:path>
                  </a:pathLst>
                </a:custGeom>
                <a:solidFill>
                  <a:srgbClr val="01AAE5"/>
                </a:solidFill>
                <a:ln>
                  <a:noFill/>
                </a:ln>
                <a:extLst/>
              </p:spPr>
              <p:txBody>
                <a:bodyPr/>
                <a:lstStyle/>
                <a:p>
                  <a:pPr eaLnBrk="1" hangingPunct="1">
                    <a:defRPr/>
                  </a:pPr>
                  <a:endParaRPr lang="zh-CN" altLang="en-US" sz="1050"/>
                </a:p>
              </p:txBody>
            </p:sp>
            <p:sp>
              <p:nvSpPr>
                <p:cNvPr id="3746" name="Freeform 1791"/>
                <p:cNvSpPr>
                  <a:spLocks/>
                </p:cNvSpPr>
                <p:nvPr/>
              </p:nvSpPr>
              <p:spPr bwMode="auto">
                <a:xfrm>
                  <a:off x="10274" y="2203"/>
                  <a:ext cx="17" cy="9"/>
                </a:xfrm>
                <a:custGeom>
                  <a:avLst/>
                  <a:gdLst>
                    <a:gd name="T0" fmla="*/ 9 w 9"/>
                    <a:gd name="T1" fmla="*/ 5 h 5"/>
                    <a:gd name="T2" fmla="*/ 9 w 9"/>
                    <a:gd name="T3" fmla="*/ 5 h 5"/>
                    <a:gd name="T4" fmla="*/ 2 w 9"/>
                    <a:gd name="T5" fmla="*/ 0 h 5"/>
                    <a:gd name="T6" fmla="*/ 0 w 9"/>
                    <a:gd name="T7" fmla="*/ 3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9" y="5"/>
                      </a:lnTo>
                      <a:lnTo>
                        <a:pt x="2" y="0"/>
                      </a:lnTo>
                      <a:lnTo>
                        <a:pt x="0" y="3"/>
                      </a:lnTo>
                      <a:lnTo>
                        <a:pt x="9" y="5"/>
                      </a:lnTo>
                      <a:close/>
                    </a:path>
                  </a:pathLst>
                </a:custGeom>
                <a:solidFill>
                  <a:srgbClr val="01AAE5"/>
                </a:solidFill>
                <a:ln>
                  <a:noFill/>
                </a:ln>
                <a:extLst/>
              </p:spPr>
              <p:txBody>
                <a:bodyPr/>
                <a:lstStyle/>
                <a:p>
                  <a:pPr eaLnBrk="1" hangingPunct="1">
                    <a:defRPr/>
                  </a:pPr>
                  <a:endParaRPr lang="zh-CN" altLang="en-US" sz="1050"/>
                </a:p>
              </p:txBody>
            </p:sp>
            <p:sp>
              <p:nvSpPr>
                <p:cNvPr id="3747" name="Freeform 1792"/>
                <p:cNvSpPr>
                  <a:spLocks/>
                </p:cNvSpPr>
                <p:nvPr/>
              </p:nvSpPr>
              <p:spPr bwMode="auto">
                <a:xfrm>
                  <a:off x="10274" y="2212"/>
                  <a:ext cx="8" cy="0"/>
                </a:xfrm>
                <a:custGeom>
                  <a:avLst/>
                  <a:gdLst>
                    <a:gd name="T0" fmla="*/ 9 w 9"/>
                    <a:gd name="T1" fmla="*/ 5 h 5"/>
                    <a:gd name="T2" fmla="*/ 2 w 9"/>
                    <a:gd name="T3" fmla="*/ 0 h 5"/>
                    <a:gd name="T4" fmla="*/ 0 w 9"/>
                    <a:gd name="T5" fmla="*/ 0 h 5"/>
                    <a:gd name="T6" fmla="*/ 9 w 9"/>
                    <a:gd name="T7" fmla="*/ 5 h 5"/>
                    <a:gd name="T8" fmla="*/ 9 w 9"/>
                    <a:gd name="T9" fmla="*/ 5 h 5"/>
                  </a:gdLst>
                  <a:ahLst/>
                  <a:cxnLst>
                    <a:cxn ang="0">
                      <a:pos x="T0" y="T1"/>
                    </a:cxn>
                    <a:cxn ang="0">
                      <a:pos x="T2" y="T3"/>
                    </a:cxn>
                    <a:cxn ang="0">
                      <a:pos x="T4" y="T5"/>
                    </a:cxn>
                    <a:cxn ang="0">
                      <a:pos x="T6" y="T7"/>
                    </a:cxn>
                    <a:cxn ang="0">
                      <a:pos x="T8" y="T9"/>
                    </a:cxn>
                  </a:cxnLst>
                  <a:rect l="0" t="0" r="r" b="b"/>
                  <a:pathLst>
                    <a:path w="9" h="5">
                      <a:moveTo>
                        <a:pt x="9" y="5"/>
                      </a:moveTo>
                      <a:lnTo>
                        <a:pt x="2" y="0"/>
                      </a:lnTo>
                      <a:lnTo>
                        <a:pt x="0" y="0"/>
                      </a:lnTo>
                      <a:lnTo>
                        <a:pt x="9" y="5"/>
                      </a:lnTo>
                      <a:lnTo>
                        <a:pt x="9" y="5"/>
                      </a:lnTo>
                      <a:close/>
                    </a:path>
                  </a:pathLst>
                </a:custGeom>
                <a:solidFill>
                  <a:srgbClr val="01AAE5"/>
                </a:solidFill>
                <a:ln>
                  <a:noFill/>
                </a:ln>
                <a:extLst/>
              </p:spPr>
              <p:txBody>
                <a:bodyPr/>
                <a:lstStyle/>
                <a:p>
                  <a:pPr eaLnBrk="1" hangingPunct="1">
                    <a:defRPr/>
                  </a:pPr>
                  <a:endParaRPr lang="zh-CN" altLang="en-US" sz="1050"/>
                </a:p>
              </p:txBody>
            </p:sp>
            <p:sp>
              <p:nvSpPr>
                <p:cNvPr id="3748" name="Freeform 1793"/>
                <p:cNvSpPr>
                  <a:spLocks/>
                </p:cNvSpPr>
                <p:nvPr/>
              </p:nvSpPr>
              <p:spPr bwMode="auto">
                <a:xfrm>
                  <a:off x="10182" y="2421"/>
                  <a:ext cx="25" cy="9"/>
                </a:xfrm>
                <a:custGeom>
                  <a:avLst/>
                  <a:gdLst>
                    <a:gd name="T0" fmla="*/ 26 w 26"/>
                    <a:gd name="T1" fmla="*/ 4 h 7"/>
                    <a:gd name="T2" fmla="*/ 0 w 26"/>
                    <a:gd name="T3" fmla="*/ 0 h 7"/>
                    <a:gd name="T4" fmla="*/ 0 w 26"/>
                    <a:gd name="T5" fmla="*/ 2 h 7"/>
                    <a:gd name="T6" fmla="*/ 26 w 26"/>
                    <a:gd name="T7" fmla="*/ 7 h 7"/>
                    <a:gd name="T8" fmla="*/ 26 w 26"/>
                    <a:gd name="T9" fmla="*/ 4 h 7"/>
                  </a:gdLst>
                  <a:ahLst/>
                  <a:cxnLst>
                    <a:cxn ang="0">
                      <a:pos x="T0" y="T1"/>
                    </a:cxn>
                    <a:cxn ang="0">
                      <a:pos x="T2" y="T3"/>
                    </a:cxn>
                    <a:cxn ang="0">
                      <a:pos x="T4" y="T5"/>
                    </a:cxn>
                    <a:cxn ang="0">
                      <a:pos x="T6" y="T7"/>
                    </a:cxn>
                    <a:cxn ang="0">
                      <a:pos x="T8" y="T9"/>
                    </a:cxn>
                  </a:cxnLst>
                  <a:rect l="0" t="0" r="r" b="b"/>
                  <a:pathLst>
                    <a:path w="26" h="7">
                      <a:moveTo>
                        <a:pt x="26" y="4"/>
                      </a:moveTo>
                      <a:lnTo>
                        <a:pt x="0" y="0"/>
                      </a:lnTo>
                      <a:lnTo>
                        <a:pt x="0" y="2"/>
                      </a:lnTo>
                      <a:lnTo>
                        <a:pt x="26" y="7"/>
                      </a:lnTo>
                      <a:lnTo>
                        <a:pt x="26" y="4"/>
                      </a:lnTo>
                      <a:close/>
                    </a:path>
                  </a:pathLst>
                </a:custGeom>
                <a:solidFill>
                  <a:srgbClr val="01AAE5"/>
                </a:solidFill>
                <a:ln>
                  <a:noFill/>
                </a:ln>
                <a:extLst/>
              </p:spPr>
              <p:txBody>
                <a:bodyPr/>
                <a:lstStyle/>
                <a:p>
                  <a:pPr eaLnBrk="1" hangingPunct="1">
                    <a:defRPr/>
                  </a:pPr>
                  <a:endParaRPr lang="zh-CN" altLang="en-US" sz="1050"/>
                </a:p>
              </p:txBody>
            </p:sp>
            <p:sp>
              <p:nvSpPr>
                <p:cNvPr id="3749" name="Freeform 1794"/>
                <p:cNvSpPr>
                  <a:spLocks/>
                </p:cNvSpPr>
                <p:nvPr/>
              </p:nvSpPr>
              <p:spPr bwMode="auto">
                <a:xfrm>
                  <a:off x="10190" y="2430"/>
                  <a:ext cx="17" cy="9"/>
                </a:xfrm>
                <a:custGeom>
                  <a:avLst/>
                  <a:gdLst>
                    <a:gd name="T0" fmla="*/ 22 w 22"/>
                    <a:gd name="T1" fmla="*/ 2 h 4"/>
                    <a:gd name="T2" fmla="*/ 0 w 22"/>
                    <a:gd name="T3" fmla="*/ 0 h 4"/>
                    <a:gd name="T4" fmla="*/ 0 w 22"/>
                    <a:gd name="T5" fmla="*/ 0 h 4"/>
                    <a:gd name="T6" fmla="*/ 22 w 22"/>
                    <a:gd name="T7" fmla="*/ 4 h 4"/>
                    <a:gd name="T8" fmla="*/ 22 w 22"/>
                    <a:gd name="T9" fmla="*/ 2 h 4"/>
                  </a:gdLst>
                  <a:ahLst/>
                  <a:cxnLst>
                    <a:cxn ang="0">
                      <a:pos x="T0" y="T1"/>
                    </a:cxn>
                    <a:cxn ang="0">
                      <a:pos x="T2" y="T3"/>
                    </a:cxn>
                    <a:cxn ang="0">
                      <a:pos x="T4" y="T5"/>
                    </a:cxn>
                    <a:cxn ang="0">
                      <a:pos x="T6" y="T7"/>
                    </a:cxn>
                    <a:cxn ang="0">
                      <a:pos x="T8" y="T9"/>
                    </a:cxn>
                  </a:cxnLst>
                  <a:rect l="0" t="0" r="r" b="b"/>
                  <a:pathLst>
                    <a:path w="22" h="4">
                      <a:moveTo>
                        <a:pt x="22" y="2"/>
                      </a:moveTo>
                      <a:lnTo>
                        <a:pt x="0" y="0"/>
                      </a:lnTo>
                      <a:lnTo>
                        <a:pt x="0" y="0"/>
                      </a:lnTo>
                      <a:lnTo>
                        <a:pt x="22" y="4"/>
                      </a:lnTo>
                      <a:lnTo>
                        <a:pt x="22" y="2"/>
                      </a:lnTo>
                      <a:close/>
                    </a:path>
                  </a:pathLst>
                </a:custGeom>
                <a:solidFill>
                  <a:srgbClr val="01AAE5"/>
                </a:solidFill>
                <a:ln>
                  <a:noFill/>
                </a:ln>
                <a:extLst/>
              </p:spPr>
              <p:txBody>
                <a:bodyPr/>
                <a:lstStyle/>
                <a:p>
                  <a:pPr eaLnBrk="1" hangingPunct="1">
                    <a:defRPr/>
                  </a:pPr>
                  <a:endParaRPr lang="zh-CN" altLang="en-US" sz="1050"/>
                </a:p>
              </p:txBody>
            </p:sp>
            <p:sp>
              <p:nvSpPr>
                <p:cNvPr id="3750" name="Rectangle 1795"/>
                <p:cNvSpPr>
                  <a:spLocks noChangeArrowheads="1"/>
                </p:cNvSpPr>
                <p:nvPr/>
              </p:nvSpPr>
              <p:spPr bwMode="auto">
                <a:xfrm>
                  <a:off x="10190" y="2491"/>
                  <a:ext cx="8" cy="9"/>
                </a:xfrm>
                <a:prstGeom prst="rect">
                  <a:avLst/>
                </a:prstGeom>
                <a:solidFill>
                  <a:srgbClr val="01AAE5"/>
                </a:solidFill>
                <a:ln>
                  <a:noFill/>
                </a:ln>
                <a:extLst/>
              </p:spPr>
              <p:txBody>
                <a:bodyPr/>
                <a:lstStyle/>
                <a:p>
                  <a:pPr eaLnBrk="1" hangingPunct="1">
                    <a:defRPr/>
                  </a:pPr>
                  <a:endParaRPr lang="zh-CN" altLang="en-US" sz="1050"/>
                </a:p>
              </p:txBody>
            </p:sp>
            <p:sp>
              <p:nvSpPr>
                <p:cNvPr id="3751" name="Freeform 1796"/>
                <p:cNvSpPr>
                  <a:spLocks/>
                </p:cNvSpPr>
                <p:nvPr/>
              </p:nvSpPr>
              <p:spPr bwMode="auto">
                <a:xfrm>
                  <a:off x="10190" y="2438"/>
                  <a:ext cx="17" cy="9"/>
                </a:xfrm>
                <a:custGeom>
                  <a:avLst/>
                  <a:gdLst>
                    <a:gd name="T0" fmla="*/ 19 w 19"/>
                    <a:gd name="T1" fmla="*/ 3 h 5"/>
                    <a:gd name="T2" fmla="*/ 0 w 19"/>
                    <a:gd name="T3" fmla="*/ 0 h 5"/>
                    <a:gd name="T4" fmla="*/ 0 w 19"/>
                    <a:gd name="T5" fmla="*/ 3 h 5"/>
                    <a:gd name="T6" fmla="*/ 19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0" y="3"/>
                      </a:lnTo>
                      <a:lnTo>
                        <a:pt x="19"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3752" name="Freeform 1797"/>
                <p:cNvSpPr>
                  <a:spLocks/>
                </p:cNvSpPr>
                <p:nvPr/>
              </p:nvSpPr>
              <p:spPr bwMode="auto">
                <a:xfrm>
                  <a:off x="10190" y="2447"/>
                  <a:ext cx="17" cy="0"/>
                </a:xfrm>
                <a:custGeom>
                  <a:avLst/>
                  <a:gdLst>
                    <a:gd name="T0" fmla="*/ 19 w 19"/>
                    <a:gd name="T1" fmla="*/ 3 h 5"/>
                    <a:gd name="T2" fmla="*/ 0 w 19"/>
                    <a:gd name="T3" fmla="*/ 0 h 5"/>
                    <a:gd name="T4" fmla="*/ 3 w 19"/>
                    <a:gd name="T5" fmla="*/ 3 h 5"/>
                    <a:gd name="T6" fmla="*/ 17 w 19"/>
                    <a:gd name="T7" fmla="*/ 5 h 5"/>
                    <a:gd name="T8" fmla="*/ 19 w 19"/>
                    <a:gd name="T9" fmla="*/ 3 h 5"/>
                  </a:gdLst>
                  <a:ahLst/>
                  <a:cxnLst>
                    <a:cxn ang="0">
                      <a:pos x="T0" y="T1"/>
                    </a:cxn>
                    <a:cxn ang="0">
                      <a:pos x="T2" y="T3"/>
                    </a:cxn>
                    <a:cxn ang="0">
                      <a:pos x="T4" y="T5"/>
                    </a:cxn>
                    <a:cxn ang="0">
                      <a:pos x="T6" y="T7"/>
                    </a:cxn>
                    <a:cxn ang="0">
                      <a:pos x="T8" y="T9"/>
                    </a:cxn>
                  </a:cxnLst>
                  <a:rect l="0" t="0" r="r" b="b"/>
                  <a:pathLst>
                    <a:path w="19" h="5">
                      <a:moveTo>
                        <a:pt x="19" y="3"/>
                      </a:moveTo>
                      <a:lnTo>
                        <a:pt x="0" y="0"/>
                      </a:lnTo>
                      <a:lnTo>
                        <a:pt x="3" y="3"/>
                      </a:lnTo>
                      <a:lnTo>
                        <a:pt x="17" y="5"/>
                      </a:lnTo>
                      <a:lnTo>
                        <a:pt x="19" y="3"/>
                      </a:lnTo>
                      <a:close/>
                    </a:path>
                  </a:pathLst>
                </a:custGeom>
                <a:solidFill>
                  <a:srgbClr val="01AAE5"/>
                </a:solidFill>
                <a:ln>
                  <a:noFill/>
                </a:ln>
                <a:extLst/>
              </p:spPr>
              <p:txBody>
                <a:bodyPr/>
                <a:lstStyle/>
                <a:p>
                  <a:pPr eaLnBrk="1" hangingPunct="1">
                    <a:defRPr/>
                  </a:pPr>
                  <a:endParaRPr lang="zh-CN" altLang="en-US" sz="1050"/>
                </a:p>
              </p:txBody>
            </p:sp>
            <p:sp>
              <p:nvSpPr>
                <p:cNvPr id="3753" name="Freeform 1798"/>
                <p:cNvSpPr>
                  <a:spLocks/>
                </p:cNvSpPr>
                <p:nvPr/>
              </p:nvSpPr>
              <p:spPr bwMode="auto">
                <a:xfrm>
                  <a:off x="10182" y="2412"/>
                  <a:ext cx="42" cy="9"/>
                </a:xfrm>
                <a:custGeom>
                  <a:avLst/>
                  <a:gdLst>
                    <a:gd name="T0" fmla="*/ 35 w 35"/>
                    <a:gd name="T1" fmla="*/ 7 h 10"/>
                    <a:gd name="T2" fmla="*/ 0 w 35"/>
                    <a:gd name="T3" fmla="*/ 0 h 10"/>
                    <a:gd name="T4" fmla="*/ 0 w 35"/>
                    <a:gd name="T5" fmla="*/ 2 h 10"/>
                    <a:gd name="T6" fmla="*/ 33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2"/>
                      </a:lnTo>
                      <a:lnTo>
                        <a:pt x="33"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3754" name="Freeform 1799"/>
                <p:cNvSpPr>
                  <a:spLocks/>
                </p:cNvSpPr>
                <p:nvPr/>
              </p:nvSpPr>
              <p:spPr bwMode="auto">
                <a:xfrm>
                  <a:off x="10190" y="2447"/>
                  <a:ext cx="8" cy="0"/>
                </a:xfrm>
                <a:custGeom>
                  <a:avLst/>
                  <a:gdLst>
                    <a:gd name="T0" fmla="*/ 14 w 14"/>
                    <a:gd name="T1" fmla="*/ 2 h 5"/>
                    <a:gd name="T2" fmla="*/ 0 w 14"/>
                    <a:gd name="T3" fmla="*/ 0 h 5"/>
                    <a:gd name="T4" fmla="*/ 0 w 14"/>
                    <a:gd name="T5" fmla="*/ 2 h 5"/>
                    <a:gd name="T6" fmla="*/ 14 w 14"/>
                    <a:gd name="T7" fmla="*/ 5 h 5"/>
                    <a:gd name="T8" fmla="*/ 14 w 14"/>
                    <a:gd name="T9" fmla="*/ 2 h 5"/>
                  </a:gdLst>
                  <a:ahLst/>
                  <a:cxnLst>
                    <a:cxn ang="0">
                      <a:pos x="T0" y="T1"/>
                    </a:cxn>
                    <a:cxn ang="0">
                      <a:pos x="T2" y="T3"/>
                    </a:cxn>
                    <a:cxn ang="0">
                      <a:pos x="T4" y="T5"/>
                    </a:cxn>
                    <a:cxn ang="0">
                      <a:pos x="T6" y="T7"/>
                    </a:cxn>
                    <a:cxn ang="0">
                      <a:pos x="T8" y="T9"/>
                    </a:cxn>
                  </a:cxnLst>
                  <a:rect l="0" t="0" r="r" b="b"/>
                  <a:pathLst>
                    <a:path w="14" h="5">
                      <a:moveTo>
                        <a:pt x="14" y="2"/>
                      </a:moveTo>
                      <a:lnTo>
                        <a:pt x="0" y="0"/>
                      </a:lnTo>
                      <a:lnTo>
                        <a:pt x="0" y="2"/>
                      </a:lnTo>
                      <a:lnTo>
                        <a:pt x="14" y="5"/>
                      </a:lnTo>
                      <a:lnTo>
                        <a:pt x="14" y="2"/>
                      </a:lnTo>
                      <a:close/>
                    </a:path>
                  </a:pathLst>
                </a:custGeom>
                <a:solidFill>
                  <a:srgbClr val="01AAE5"/>
                </a:solidFill>
                <a:ln>
                  <a:noFill/>
                </a:ln>
                <a:extLst/>
              </p:spPr>
              <p:txBody>
                <a:bodyPr/>
                <a:lstStyle/>
                <a:p>
                  <a:pPr eaLnBrk="1" hangingPunct="1">
                    <a:defRPr/>
                  </a:pPr>
                  <a:endParaRPr lang="zh-CN" altLang="en-US" sz="1050"/>
                </a:p>
              </p:txBody>
            </p:sp>
            <p:sp>
              <p:nvSpPr>
                <p:cNvPr id="3755" name="Freeform 1800"/>
                <p:cNvSpPr>
                  <a:spLocks/>
                </p:cNvSpPr>
                <p:nvPr/>
              </p:nvSpPr>
              <p:spPr bwMode="auto">
                <a:xfrm>
                  <a:off x="10182" y="2421"/>
                  <a:ext cx="33" cy="9"/>
                </a:xfrm>
                <a:custGeom>
                  <a:avLst/>
                  <a:gdLst>
                    <a:gd name="T0" fmla="*/ 28 w 28"/>
                    <a:gd name="T1" fmla="*/ 5 h 7"/>
                    <a:gd name="T2" fmla="*/ 0 w 28"/>
                    <a:gd name="T3" fmla="*/ 0 h 7"/>
                    <a:gd name="T4" fmla="*/ 0 w 28"/>
                    <a:gd name="T5" fmla="*/ 2 h 7"/>
                    <a:gd name="T6" fmla="*/ 28 w 28"/>
                    <a:gd name="T7" fmla="*/ 7 h 7"/>
                    <a:gd name="T8" fmla="*/ 28 w 28"/>
                    <a:gd name="T9" fmla="*/ 5 h 7"/>
                  </a:gdLst>
                  <a:ahLst/>
                  <a:cxnLst>
                    <a:cxn ang="0">
                      <a:pos x="T0" y="T1"/>
                    </a:cxn>
                    <a:cxn ang="0">
                      <a:pos x="T2" y="T3"/>
                    </a:cxn>
                    <a:cxn ang="0">
                      <a:pos x="T4" y="T5"/>
                    </a:cxn>
                    <a:cxn ang="0">
                      <a:pos x="T6" y="T7"/>
                    </a:cxn>
                    <a:cxn ang="0">
                      <a:pos x="T8" y="T9"/>
                    </a:cxn>
                  </a:cxnLst>
                  <a:rect l="0" t="0" r="r" b="b"/>
                  <a:pathLst>
                    <a:path w="28" h="7">
                      <a:moveTo>
                        <a:pt x="28" y="5"/>
                      </a:moveTo>
                      <a:lnTo>
                        <a:pt x="0" y="0"/>
                      </a:lnTo>
                      <a:lnTo>
                        <a:pt x="0" y="2"/>
                      </a:lnTo>
                      <a:lnTo>
                        <a:pt x="28" y="7"/>
                      </a:lnTo>
                      <a:lnTo>
                        <a:pt x="28" y="5"/>
                      </a:lnTo>
                      <a:close/>
                    </a:path>
                  </a:pathLst>
                </a:custGeom>
                <a:solidFill>
                  <a:srgbClr val="01AAE5"/>
                </a:solidFill>
                <a:ln>
                  <a:noFill/>
                </a:ln>
                <a:extLst/>
              </p:spPr>
              <p:txBody>
                <a:bodyPr/>
                <a:lstStyle/>
                <a:p>
                  <a:pPr eaLnBrk="1" hangingPunct="1">
                    <a:defRPr/>
                  </a:pPr>
                  <a:endParaRPr lang="zh-CN" altLang="en-US" sz="1050"/>
                </a:p>
              </p:txBody>
            </p:sp>
            <p:sp>
              <p:nvSpPr>
                <p:cNvPr id="3756" name="Freeform 1801"/>
                <p:cNvSpPr>
                  <a:spLocks/>
                </p:cNvSpPr>
                <p:nvPr/>
              </p:nvSpPr>
              <p:spPr bwMode="auto">
                <a:xfrm>
                  <a:off x="10182" y="2421"/>
                  <a:ext cx="33" cy="0"/>
                </a:xfrm>
                <a:custGeom>
                  <a:avLst/>
                  <a:gdLst>
                    <a:gd name="T0" fmla="*/ 33 w 33"/>
                    <a:gd name="T1" fmla="*/ 5 h 7"/>
                    <a:gd name="T2" fmla="*/ 0 w 33"/>
                    <a:gd name="T3" fmla="*/ 0 h 7"/>
                    <a:gd name="T4" fmla="*/ 2 w 33"/>
                    <a:gd name="T5" fmla="*/ 0 h 7"/>
                    <a:gd name="T6" fmla="*/ 30 w 33"/>
                    <a:gd name="T7" fmla="*/ 7 h 7"/>
                    <a:gd name="T8" fmla="*/ 33 w 33"/>
                    <a:gd name="T9" fmla="*/ 5 h 7"/>
                  </a:gdLst>
                  <a:ahLst/>
                  <a:cxnLst>
                    <a:cxn ang="0">
                      <a:pos x="T0" y="T1"/>
                    </a:cxn>
                    <a:cxn ang="0">
                      <a:pos x="T2" y="T3"/>
                    </a:cxn>
                    <a:cxn ang="0">
                      <a:pos x="T4" y="T5"/>
                    </a:cxn>
                    <a:cxn ang="0">
                      <a:pos x="T6" y="T7"/>
                    </a:cxn>
                    <a:cxn ang="0">
                      <a:pos x="T8" y="T9"/>
                    </a:cxn>
                  </a:cxnLst>
                  <a:rect l="0" t="0" r="r" b="b"/>
                  <a:pathLst>
                    <a:path w="33" h="7">
                      <a:moveTo>
                        <a:pt x="33" y="5"/>
                      </a:moveTo>
                      <a:lnTo>
                        <a:pt x="0" y="0"/>
                      </a:lnTo>
                      <a:lnTo>
                        <a:pt x="2" y="0"/>
                      </a:lnTo>
                      <a:lnTo>
                        <a:pt x="30" y="7"/>
                      </a:lnTo>
                      <a:lnTo>
                        <a:pt x="33" y="5"/>
                      </a:lnTo>
                      <a:close/>
                    </a:path>
                  </a:pathLst>
                </a:custGeom>
                <a:solidFill>
                  <a:srgbClr val="01AAE5"/>
                </a:solidFill>
                <a:ln>
                  <a:noFill/>
                </a:ln>
                <a:extLst/>
              </p:spPr>
              <p:txBody>
                <a:bodyPr/>
                <a:lstStyle/>
                <a:p>
                  <a:pPr eaLnBrk="1" hangingPunct="1">
                    <a:defRPr/>
                  </a:pPr>
                  <a:endParaRPr lang="zh-CN" altLang="en-US" sz="1050"/>
                </a:p>
              </p:txBody>
            </p:sp>
            <p:sp>
              <p:nvSpPr>
                <p:cNvPr id="3757" name="Rectangle 1802"/>
                <p:cNvSpPr>
                  <a:spLocks noChangeArrowheads="1"/>
                </p:cNvSpPr>
                <p:nvPr/>
              </p:nvSpPr>
              <p:spPr bwMode="auto">
                <a:xfrm>
                  <a:off x="10190" y="2482"/>
                  <a:ext cx="8" cy="0"/>
                </a:xfrm>
                <a:prstGeom prst="rect">
                  <a:avLst/>
                </a:prstGeom>
                <a:solidFill>
                  <a:srgbClr val="01AAE5"/>
                </a:solidFill>
                <a:ln>
                  <a:noFill/>
                </a:ln>
                <a:extLst/>
              </p:spPr>
              <p:txBody>
                <a:bodyPr/>
                <a:lstStyle/>
                <a:p>
                  <a:pPr eaLnBrk="1" hangingPunct="1">
                    <a:defRPr/>
                  </a:pPr>
                  <a:endParaRPr lang="zh-CN" altLang="en-US" sz="1050"/>
                </a:p>
              </p:txBody>
            </p:sp>
            <p:sp>
              <p:nvSpPr>
                <p:cNvPr id="3758" name="Freeform 1803"/>
                <p:cNvSpPr>
                  <a:spLocks/>
                </p:cNvSpPr>
                <p:nvPr/>
              </p:nvSpPr>
              <p:spPr bwMode="auto">
                <a:xfrm>
                  <a:off x="10182" y="2403"/>
                  <a:ext cx="42" cy="9"/>
                </a:xfrm>
                <a:custGeom>
                  <a:avLst/>
                  <a:gdLst>
                    <a:gd name="T0" fmla="*/ 35 w 35"/>
                    <a:gd name="T1" fmla="*/ 7 h 10"/>
                    <a:gd name="T2" fmla="*/ 0 w 35"/>
                    <a:gd name="T3" fmla="*/ 0 h 10"/>
                    <a:gd name="T4" fmla="*/ 0 w 35"/>
                    <a:gd name="T5" fmla="*/ 3 h 10"/>
                    <a:gd name="T6" fmla="*/ 35 w 35"/>
                    <a:gd name="T7" fmla="*/ 10 h 10"/>
                    <a:gd name="T8" fmla="*/ 35 w 35"/>
                    <a:gd name="T9" fmla="*/ 7 h 10"/>
                  </a:gdLst>
                  <a:ahLst/>
                  <a:cxnLst>
                    <a:cxn ang="0">
                      <a:pos x="T0" y="T1"/>
                    </a:cxn>
                    <a:cxn ang="0">
                      <a:pos x="T2" y="T3"/>
                    </a:cxn>
                    <a:cxn ang="0">
                      <a:pos x="T4" y="T5"/>
                    </a:cxn>
                    <a:cxn ang="0">
                      <a:pos x="T6" y="T7"/>
                    </a:cxn>
                    <a:cxn ang="0">
                      <a:pos x="T8" y="T9"/>
                    </a:cxn>
                  </a:cxnLst>
                  <a:rect l="0" t="0" r="r" b="b"/>
                  <a:pathLst>
                    <a:path w="35" h="10">
                      <a:moveTo>
                        <a:pt x="35" y="7"/>
                      </a:moveTo>
                      <a:lnTo>
                        <a:pt x="0" y="0"/>
                      </a:lnTo>
                      <a:lnTo>
                        <a:pt x="0" y="3"/>
                      </a:lnTo>
                      <a:lnTo>
                        <a:pt x="35" y="10"/>
                      </a:lnTo>
                      <a:lnTo>
                        <a:pt x="35" y="7"/>
                      </a:lnTo>
                      <a:close/>
                    </a:path>
                  </a:pathLst>
                </a:custGeom>
                <a:solidFill>
                  <a:srgbClr val="01AAE5"/>
                </a:solidFill>
                <a:ln>
                  <a:noFill/>
                </a:ln>
                <a:extLst/>
              </p:spPr>
              <p:txBody>
                <a:bodyPr/>
                <a:lstStyle/>
                <a:p>
                  <a:pPr eaLnBrk="1" hangingPunct="1">
                    <a:defRPr/>
                  </a:pPr>
                  <a:endParaRPr lang="zh-CN" altLang="en-US" sz="1050"/>
                </a:p>
              </p:txBody>
            </p:sp>
            <p:sp>
              <p:nvSpPr>
                <p:cNvPr id="3759" name="Freeform 1804"/>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760" name="Freeform 1805"/>
                <p:cNvSpPr>
                  <a:spLocks/>
                </p:cNvSpPr>
                <p:nvPr/>
              </p:nvSpPr>
              <p:spPr bwMode="auto">
                <a:xfrm>
                  <a:off x="10182" y="2299"/>
                  <a:ext cx="75" cy="35"/>
                </a:xfrm>
                <a:custGeom>
                  <a:avLst/>
                  <a:gdLst>
                    <a:gd name="T0" fmla="*/ 69 w 69"/>
                    <a:gd name="T1" fmla="*/ 24 h 26"/>
                    <a:gd name="T2" fmla="*/ 2 w 69"/>
                    <a:gd name="T3" fmla="*/ 0 h 26"/>
                    <a:gd name="T4" fmla="*/ 0 w 69"/>
                    <a:gd name="T5" fmla="*/ 3 h 26"/>
                    <a:gd name="T6" fmla="*/ 69 w 69"/>
                    <a:gd name="T7" fmla="*/ 26 h 26"/>
                    <a:gd name="T8" fmla="*/ 69 w 69"/>
                    <a:gd name="T9" fmla="*/ 24 h 26"/>
                  </a:gdLst>
                  <a:ahLst/>
                  <a:cxnLst>
                    <a:cxn ang="0">
                      <a:pos x="T0" y="T1"/>
                    </a:cxn>
                    <a:cxn ang="0">
                      <a:pos x="T2" y="T3"/>
                    </a:cxn>
                    <a:cxn ang="0">
                      <a:pos x="T4" y="T5"/>
                    </a:cxn>
                    <a:cxn ang="0">
                      <a:pos x="T6" y="T7"/>
                    </a:cxn>
                    <a:cxn ang="0">
                      <a:pos x="T8" y="T9"/>
                    </a:cxn>
                  </a:cxnLst>
                  <a:rect l="0" t="0" r="r" b="b"/>
                  <a:pathLst>
                    <a:path w="69" h="26">
                      <a:moveTo>
                        <a:pt x="69" y="24"/>
                      </a:moveTo>
                      <a:lnTo>
                        <a:pt x="2" y="0"/>
                      </a:lnTo>
                      <a:lnTo>
                        <a:pt x="0" y="3"/>
                      </a:lnTo>
                      <a:lnTo>
                        <a:pt x="69" y="26"/>
                      </a:lnTo>
                      <a:lnTo>
                        <a:pt x="69" y="24"/>
                      </a:lnTo>
                      <a:close/>
                    </a:path>
                  </a:pathLst>
                </a:custGeom>
                <a:solidFill>
                  <a:srgbClr val="01AAE5"/>
                </a:solidFill>
                <a:ln>
                  <a:noFill/>
                </a:ln>
                <a:extLst/>
              </p:spPr>
              <p:txBody>
                <a:bodyPr/>
                <a:lstStyle/>
                <a:p>
                  <a:pPr eaLnBrk="1" hangingPunct="1">
                    <a:defRPr/>
                  </a:pPr>
                  <a:endParaRPr lang="zh-CN" altLang="en-US" sz="1050"/>
                </a:p>
              </p:txBody>
            </p:sp>
            <p:sp>
              <p:nvSpPr>
                <p:cNvPr id="3761" name="Rectangle 1806"/>
                <p:cNvSpPr>
                  <a:spLocks noChangeArrowheads="1"/>
                </p:cNvSpPr>
                <p:nvPr/>
              </p:nvSpPr>
              <p:spPr bwMode="auto">
                <a:xfrm>
                  <a:off x="10190" y="2491"/>
                  <a:ext cx="8" cy="0"/>
                </a:xfrm>
                <a:prstGeom prst="rect">
                  <a:avLst/>
                </a:prstGeom>
                <a:solidFill>
                  <a:srgbClr val="01AAE5"/>
                </a:solidFill>
                <a:ln>
                  <a:noFill/>
                </a:ln>
                <a:extLst/>
              </p:spPr>
              <p:txBody>
                <a:bodyPr/>
                <a:lstStyle/>
                <a:p>
                  <a:pPr eaLnBrk="1" hangingPunct="1">
                    <a:defRPr/>
                  </a:pPr>
                  <a:endParaRPr lang="zh-CN" altLang="en-US" sz="1050"/>
                </a:p>
              </p:txBody>
            </p:sp>
            <p:sp>
              <p:nvSpPr>
                <p:cNvPr id="3762" name="Freeform 1807"/>
                <p:cNvSpPr>
                  <a:spLocks/>
                </p:cNvSpPr>
                <p:nvPr/>
              </p:nvSpPr>
              <p:spPr bwMode="auto">
                <a:xfrm>
                  <a:off x="10190" y="2464"/>
                  <a:ext cx="8" cy="0"/>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3763" name="Freeform 1808"/>
                <p:cNvSpPr>
                  <a:spLocks/>
                </p:cNvSpPr>
                <p:nvPr/>
              </p:nvSpPr>
              <p:spPr bwMode="auto">
                <a:xfrm>
                  <a:off x="10190" y="2456"/>
                  <a:ext cx="8" cy="0"/>
                </a:xfrm>
                <a:custGeom>
                  <a:avLst/>
                  <a:gdLst>
                    <a:gd name="T0" fmla="*/ 12 w 12"/>
                    <a:gd name="T1" fmla="*/ 2 h 2"/>
                    <a:gd name="T2" fmla="*/ 0 w 12"/>
                    <a:gd name="T3" fmla="*/ 0 h 2"/>
                    <a:gd name="T4" fmla="*/ 0 w 12"/>
                    <a:gd name="T5" fmla="*/ 0 h 2"/>
                    <a:gd name="T6" fmla="*/ 12 w 12"/>
                    <a:gd name="T7" fmla="*/ 2 h 2"/>
                    <a:gd name="T8" fmla="*/ 12 w 12"/>
                    <a:gd name="T9" fmla="*/ 2 h 2"/>
                  </a:gdLst>
                  <a:ahLst/>
                  <a:cxnLst>
                    <a:cxn ang="0">
                      <a:pos x="T0" y="T1"/>
                    </a:cxn>
                    <a:cxn ang="0">
                      <a:pos x="T2" y="T3"/>
                    </a:cxn>
                    <a:cxn ang="0">
                      <a:pos x="T4" y="T5"/>
                    </a:cxn>
                    <a:cxn ang="0">
                      <a:pos x="T6" y="T7"/>
                    </a:cxn>
                    <a:cxn ang="0">
                      <a:pos x="T8" y="T9"/>
                    </a:cxn>
                  </a:cxnLst>
                  <a:rect l="0" t="0" r="r" b="b"/>
                  <a:pathLst>
                    <a:path w="12" h="2">
                      <a:moveTo>
                        <a:pt x="12" y="2"/>
                      </a:moveTo>
                      <a:lnTo>
                        <a:pt x="0" y="0"/>
                      </a:lnTo>
                      <a:lnTo>
                        <a:pt x="0" y="0"/>
                      </a:lnTo>
                      <a:lnTo>
                        <a:pt x="12" y="2"/>
                      </a:lnTo>
                      <a:lnTo>
                        <a:pt x="12" y="2"/>
                      </a:lnTo>
                      <a:close/>
                    </a:path>
                  </a:pathLst>
                </a:custGeom>
                <a:solidFill>
                  <a:srgbClr val="01AAE5"/>
                </a:solidFill>
                <a:ln>
                  <a:noFill/>
                </a:ln>
                <a:extLst/>
              </p:spPr>
              <p:txBody>
                <a:bodyPr/>
                <a:lstStyle/>
                <a:p>
                  <a:pPr eaLnBrk="1" hangingPunct="1">
                    <a:defRPr/>
                  </a:pPr>
                  <a:endParaRPr lang="zh-CN" altLang="en-US" sz="1050"/>
                </a:p>
              </p:txBody>
            </p:sp>
            <p:sp>
              <p:nvSpPr>
                <p:cNvPr id="3764" name="Freeform 1809"/>
                <p:cNvSpPr>
                  <a:spLocks/>
                </p:cNvSpPr>
                <p:nvPr/>
              </p:nvSpPr>
              <p:spPr bwMode="auto">
                <a:xfrm>
                  <a:off x="10190" y="2464"/>
                  <a:ext cx="8" cy="9"/>
                </a:xfrm>
                <a:custGeom>
                  <a:avLst/>
                  <a:gdLst>
                    <a:gd name="T0" fmla="*/ 9 w 9"/>
                    <a:gd name="T1" fmla="*/ 3 h 3"/>
                    <a:gd name="T2" fmla="*/ 0 w 9"/>
                    <a:gd name="T3" fmla="*/ 0 h 3"/>
                    <a:gd name="T4" fmla="*/ 0 w 9"/>
                    <a:gd name="T5" fmla="*/ 3 h 3"/>
                    <a:gd name="T6" fmla="*/ 9 w 9"/>
                    <a:gd name="T7" fmla="*/ 3 h 3"/>
                    <a:gd name="T8" fmla="*/ 9 w 9"/>
                    <a:gd name="T9" fmla="*/ 3 h 3"/>
                  </a:gdLst>
                  <a:ahLst/>
                  <a:cxnLst>
                    <a:cxn ang="0">
                      <a:pos x="T0" y="T1"/>
                    </a:cxn>
                    <a:cxn ang="0">
                      <a:pos x="T2" y="T3"/>
                    </a:cxn>
                    <a:cxn ang="0">
                      <a:pos x="T4" y="T5"/>
                    </a:cxn>
                    <a:cxn ang="0">
                      <a:pos x="T6" y="T7"/>
                    </a:cxn>
                    <a:cxn ang="0">
                      <a:pos x="T8" y="T9"/>
                    </a:cxn>
                  </a:cxnLst>
                  <a:rect l="0" t="0" r="r" b="b"/>
                  <a:pathLst>
                    <a:path w="9" h="3">
                      <a:moveTo>
                        <a:pt x="9" y="3"/>
                      </a:moveTo>
                      <a:lnTo>
                        <a:pt x="0" y="0"/>
                      </a:lnTo>
                      <a:lnTo>
                        <a:pt x="0" y="3"/>
                      </a:lnTo>
                      <a:lnTo>
                        <a:pt x="9" y="3"/>
                      </a:lnTo>
                      <a:lnTo>
                        <a:pt x="9" y="3"/>
                      </a:lnTo>
                      <a:close/>
                    </a:path>
                  </a:pathLst>
                </a:custGeom>
                <a:solidFill>
                  <a:srgbClr val="01AAE5"/>
                </a:solidFill>
                <a:ln>
                  <a:noFill/>
                </a:ln>
                <a:extLst/>
              </p:spPr>
              <p:txBody>
                <a:bodyPr/>
                <a:lstStyle/>
                <a:p>
                  <a:pPr eaLnBrk="1" hangingPunct="1">
                    <a:defRPr/>
                  </a:pPr>
                  <a:endParaRPr lang="zh-CN" altLang="en-US" sz="1050"/>
                </a:p>
              </p:txBody>
            </p:sp>
            <p:sp>
              <p:nvSpPr>
                <p:cNvPr id="3765" name="Freeform 1810"/>
                <p:cNvSpPr>
                  <a:spLocks/>
                </p:cNvSpPr>
                <p:nvPr/>
              </p:nvSpPr>
              <p:spPr bwMode="auto">
                <a:xfrm>
                  <a:off x="10190" y="2447"/>
                  <a:ext cx="8" cy="9"/>
                </a:xfrm>
                <a:custGeom>
                  <a:avLst/>
                  <a:gdLst>
                    <a:gd name="T0" fmla="*/ 12 w 12"/>
                    <a:gd name="T1" fmla="*/ 0 h 2"/>
                    <a:gd name="T2" fmla="*/ 0 w 12"/>
                    <a:gd name="T3" fmla="*/ 0 h 2"/>
                    <a:gd name="T4" fmla="*/ 0 w 12"/>
                    <a:gd name="T5" fmla="*/ 0 h 2"/>
                    <a:gd name="T6" fmla="*/ 12 w 12"/>
                    <a:gd name="T7" fmla="*/ 2 h 2"/>
                    <a:gd name="T8" fmla="*/ 12 w 12"/>
                    <a:gd name="T9" fmla="*/ 0 h 2"/>
                  </a:gdLst>
                  <a:ahLst/>
                  <a:cxnLst>
                    <a:cxn ang="0">
                      <a:pos x="T0" y="T1"/>
                    </a:cxn>
                    <a:cxn ang="0">
                      <a:pos x="T2" y="T3"/>
                    </a:cxn>
                    <a:cxn ang="0">
                      <a:pos x="T4" y="T5"/>
                    </a:cxn>
                    <a:cxn ang="0">
                      <a:pos x="T6" y="T7"/>
                    </a:cxn>
                    <a:cxn ang="0">
                      <a:pos x="T8" y="T9"/>
                    </a:cxn>
                  </a:cxnLst>
                  <a:rect l="0" t="0" r="r" b="b"/>
                  <a:pathLst>
                    <a:path w="12" h="2">
                      <a:moveTo>
                        <a:pt x="12" y="0"/>
                      </a:moveTo>
                      <a:lnTo>
                        <a:pt x="0" y="0"/>
                      </a:lnTo>
                      <a:lnTo>
                        <a:pt x="0" y="0"/>
                      </a:lnTo>
                      <a:lnTo>
                        <a:pt x="12"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766" name="Freeform 1811"/>
                <p:cNvSpPr>
                  <a:spLocks/>
                </p:cNvSpPr>
                <p:nvPr/>
              </p:nvSpPr>
              <p:spPr bwMode="auto">
                <a:xfrm>
                  <a:off x="10190" y="2482"/>
                  <a:ext cx="8" cy="0"/>
                </a:xfrm>
                <a:custGeom>
                  <a:avLst/>
                  <a:gdLst>
                    <a:gd name="T0" fmla="*/ 7 w 7"/>
                    <a:gd name="T1" fmla="*/ 0 h 2"/>
                    <a:gd name="T2" fmla="*/ 0 w 7"/>
                    <a:gd name="T3" fmla="*/ 0 h 2"/>
                    <a:gd name="T4" fmla="*/ 0 w 7"/>
                    <a:gd name="T5" fmla="*/ 0 h 2"/>
                    <a:gd name="T6" fmla="*/ 7 w 7"/>
                    <a:gd name="T7" fmla="*/ 2 h 2"/>
                    <a:gd name="T8" fmla="*/ 7 w 7"/>
                    <a:gd name="T9" fmla="*/ 0 h 2"/>
                  </a:gdLst>
                  <a:ahLst/>
                  <a:cxnLst>
                    <a:cxn ang="0">
                      <a:pos x="T0" y="T1"/>
                    </a:cxn>
                    <a:cxn ang="0">
                      <a:pos x="T2" y="T3"/>
                    </a:cxn>
                    <a:cxn ang="0">
                      <a:pos x="T4" y="T5"/>
                    </a:cxn>
                    <a:cxn ang="0">
                      <a:pos x="T6" y="T7"/>
                    </a:cxn>
                    <a:cxn ang="0">
                      <a:pos x="T8" y="T9"/>
                    </a:cxn>
                  </a:cxnLst>
                  <a:rect l="0" t="0" r="r" b="b"/>
                  <a:pathLst>
                    <a:path w="7" h="2">
                      <a:moveTo>
                        <a:pt x="7" y="0"/>
                      </a:moveTo>
                      <a:lnTo>
                        <a:pt x="0" y="0"/>
                      </a:lnTo>
                      <a:lnTo>
                        <a:pt x="0" y="0"/>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767" name="Freeform 1812"/>
                <p:cNvSpPr>
                  <a:spLocks/>
                </p:cNvSpPr>
                <p:nvPr/>
              </p:nvSpPr>
              <p:spPr bwMode="auto">
                <a:xfrm>
                  <a:off x="10174" y="2342"/>
                  <a:ext cx="75" cy="17"/>
                </a:xfrm>
                <a:custGeom>
                  <a:avLst/>
                  <a:gdLst>
                    <a:gd name="T0" fmla="*/ 68 w 68"/>
                    <a:gd name="T1" fmla="*/ 19 h 19"/>
                    <a:gd name="T2" fmla="*/ 0 w 68"/>
                    <a:gd name="T3" fmla="*/ 0 h 19"/>
                    <a:gd name="T4" fmla="*/ 0 w 68"/>
                    <a:gd name="T5" fmla="*/ 0 h 19"/>
                    <a:gd name="T6" fmla="*/ 68 w 68"/>
                    <a:gd name="T7" fmla="*/ 19 h 19"/>
                    <a:gd name="T8" fmla="*/ 68 w 68"/>
                    <a:gd name="T9" fmla="*/ 19 h 19"/>
                  </a:gdLst>
                  <a:ahLst/>
                  <a:cxnLst>
                    <a:cxn ang="0">
                      <a:pos x="T0" y="T1"/>
                    </a:cxn>
                    <a:cxn ang="0">
                      <a:pos x="T2" y="T3"/>
                    </a:cxn>
                    <a:cxn ang="0">
                      <a:pos x="T4" y="T5"/>
                    </a:cxn>
                    <a:cxn ang="0">
                      <a:pos x="T6" y="T7"/>
                    </a:cxn>
                    <a:cxn ang="0">
                      <a:pos x="T8" y="T9"/>
                    </a:cxn>
                  </a:cxnLst>
                  <a:rect l="0" t="0" r="r" b="b"/>
                  <a:pathLst>
                    <a:path w="68" h="19">
                      <a:moveTo>
                        <a:pt x="68" y="19"/>
                      </a:moveTo>
                      <a:lnTo>
                        <a:pt x="0" y="0"/>
                      </a:lnTo>
                      <a:lnTo>
                        <a:pt x="0" y="0"/>
                      </a:lnTo>
                      <a:lnTo>
                        <a:pt x="68" y="19"/>
                      </a:lnTo>
                      <a:lnTo>
                        <a:pt x="68" y="19"/>
                      </a:lnTo>
                      <a:close/>
                    </a:path>
                  </a:pathLst>
                </a:custGeom>
                <a:solidFill>
                  <a:srgbClr val="01AAE5"/>
                </a:solidFill>
                <a:ln>
                  <a:noFill/>
                </a:ln>
                <a:extLst/>
              </p:spPr>
              <p:txBody>
                <a:bodyPr/>
                <a:lstStyle/>
                <a:p>
                  <a:pPr eaLnBrk="1" hangingPunct="1">
                    <a:defRPr/>
                  </a:pPr>
                  <a:endParaRPr lang="zh-CN" altLang="en-US" sz="1050"/>
                </a:p>
              </p:txBody>
            </p:sp>
            <p:sp>
              <p:nvSpPr>
                <p:cNvPr id="3768" name="Freeform 1813"/>
                <p:cNvSpPr>
                  <a:spLocks/>
                </p:cNvSpPr>
                <p:nvPr/>
              </p:nvSpPr>
              <p:spPr bwMode="auto">
                <a:xfrm>
                  <a:off x="10174" y="2334"/>
                  <a:ext cx="75" cy="26"/>
                </a:xfrm>
                <a:custGeom>
                  <a:avLst/>
                  <a:gdLst>
                    <a:gd name="T0" fmla="*/ 71 w 71"/>
                    <a:gd name="T1" fmla="*/ 21 h 23"/>
                    <a:gd name="T2" fmla="*/ 0 w 71"/>
                    <a:gd name="T3" fmla="*/ 0 h 23"/>
                    <a:gd name="T4" fmla="*/ 0 w 71"/>
                    <a:gd name="T5" fmla="*/ 2 h 23"/>
                    <a:gd name="T6" fmla="*/ 68 w 71"/>
                    <a:gd name="T7" fmla="*/ 23 h 23"/>
                    <a:gd name="T8" fmla="*/ 71 w 71"/>
                    <a:gd name="T9" fmla="*/ 21 h 23"/>
                  </a:gdLst>
                  <a:ahLst/>
                  <a:cxnLst>
                    <a:cxn ang="0">
                      <a:pos x="T0" y="T1"/>
                    </a:cxn>
                    <a:cxn ang="0">
                      <a:pos x="T2" y="T3"/>
                    </a:cxn>
                    <a:cxn ang="0">
                      <a:pos x="T4" y="T5"/>
                    </a:cxn>
                    <a:cxn ang="0">
                      <a:pos x="T6" y="T7"/>
                    </a:cxn>
                    <a:cxn ang="0">
                      <a:pos x="T8" y="T9"/>
                    </a:cxn>
                  </a:cxnLst>
                  <a:rect l="0" t="0" r="r" b="b"/>
                  <a:pathLst>
                    <a:path w="71" h="23">
                      <a:moveTo>
                        <a:pt x="71" y="21"/>
                      </a:moveTo>
                      <a:lnTo>
                        <a:pt x="0" y="0"/>
                      </a:lnTo>
                      <a:lnTo>
                        <a:pt x="0" y="2"/>
                      </a:lnTo>
                      <a:lnTo>
                        <a:pt x="68" y="23"/>
                      </a:lnTo>
                      <a:lnTo>
                        <a:pt x="71" y="21"/>
                      </a:lnTo>
                      <a:close/>
                    </a:path>
                  </a:pathLst>
                </a:custGeom>
                <a:solidFill>
                  <a:srgbClr val="01AAE5"/>
                </a:solidFill>
                <a:ln>
                  <a:noFill/>
                </a:ln>
                <a:extLst/>
              </p:spPr>
              <p:txBody>
                <a:bodyPr/>
                <a:lstStyle/>
                <a:p>
                  <a:pPr eaLnBrk="1" hangingPunct="1">
                    <a:defRPr/>
                  </a:pPr>
                  <a:endParaRPr lang="zh-CN" altLang="en-US" sz="1050"/>
                </a:p>
              </p:txBody>
            </p:sp>
            <p:sp>
              <p:nvSpPr>
                <p:cNvPr id="3769" name="Freeform 1814"/>
                <p:cNvSpPr>
                  <a:spLocks/>
                </p:cNvSpPr>
                <p:nvPr/>
              </p:nvSpPr>
              <p:spPr bwMode="auto">
                <a:xfrm>
                  <a:off x="10174" y="2351"/>
                  <a:ext cx="67" cy="17"/>
                </a:xfrm>
                <a:custGeom>
                  <a:avLst/>
                  <a:gdLst>
                    <a:gd name="T0" fmla="*/ 66 w 66"/>
                    <a:gd name="T1" fmla="*/ 19 h 19"/>
                    <a:gd name="T2" fmla="*/ 0 w 66"/>
                    <a:gd name="T3" fmla="*/ 0 h 19"/>
                    <a:gd name="T4" fmla="*/ 0 w 66"/>
                    <a:gd name="T5" fmla="*/ 2 h 19"/>
                    <a:gd name="T6" fmla="*/ 66 w 66"/>
                    <a:gd name="T7" fmla="*/ 19 h 19"/>
                    <a:gd name="T8" fmla="*/ 66 w 66"/>
                    <a:gd name="T9" fmla="*/ 19 h 19"/>
                  </a:gdLst>
                  <a:ahLst/>
                  <a:cxnLst>
                    <a:cxn ang="0">
                      <a:pos x="T0" y="T1"/>
                    </a:cxn>
                    <a:cxn ang="0">
                      <a:pos x="T2" y="T3"/>
                    </a:cxn>
                    <a:cxn ang="0">
                      <a:pos x="T4" y="T5"/>
                    </a:cxn>
                    <a:cxn ang="0">
                      <a:pos x="T6" y="T7"/>
                    </a:cxn>
                    <a:cxn ang="0">
                      <a:pos x="T8" y="T9"/>
                    </a:cxn>
                  </a:cxnLst>
                  <a:rect l="0" t="0" r="r" b="b"/>
                  <a:pathLst>
                    <a:path w="66" h="19">
                      <a:moveTo>
                        <a:pt x="66" y="19"/>
                      </a:moveTo>
                      <a:lnTo>
                        <a:pt x="0" y="0"/>
                      </a:lnTo>
                      <a:lnTo>
                        <a:pt x="0" y="2"/>
                      </a:lnTo>
                      <a:lnTo>
                        <a:pt x="66" y="19"/>
                      </a:lnTo>
                      <a:lnTo>
                        <a:pt x="66" y="19"/>
                      </a:lnTo>
                      <a:close/>
                    </a:path>
                  </a:pathLst>
                </a:custGeom>
                <a:solidFill>
                  <a:srgbClr val="01AAE5"/>
                </a:solidFill>
                <a:ln>
                  <a:noFill/>
                </a:ln>
                <a:extLst/>
              </p:spPr>
              <p:txBody>
                <a:bodyPr/>
                <a:lstStyle/>
                <a:p>
                  <a:pPr eaLnBrk="1" hangingPunct="1">
                    <a:defRPr/>
                  </a:pPr>
                  <a:endParaRPr lang="zh-CN" altLang="en-US" sz="1050"/>
                </a:p>
              </p:txBody>
            </p:sp>
            <p:sp>
              <p:nvSpPr>
                <p:cNvPr id="3770" name="Freeform 1815"/>
                <p:cNvSpPr>
                  <a:spLocks/>
                </p:cNvSpPr>
                <p:nvPr/>
              </p:nvSpPr>
              <p:spPr bwMode="auto">
                <a:xfrm>
                  <a:off x="10174" y="2334"/>
                  <a:ext cx="75" cy="26"/>
                </a:xfrm>
                <a:custGeom>
                  <a:avLst/>
                  <a:gdLst>
                    <a:gd name="T0" fmla="*/ 69 w 69"/>
                    <a:gd name="T1" fmla="*/ 21 h 24"/>
                    <a:gd name="T2" fmla="*/ 0 w 69"/>
                    <a:gd name="T3" fmla="*/ 0 h 24"/>
                    <a:gd name="T4" fmla="*/ 0 w 69"/>
                    <a:gd name="T5" fmla="*/ 2 h 24"/>
                    <a:gd name="T6" fmla="*/ 69 w 69"/>
                    <a:gd name="T7" fmla="*/ 24 h 24"/>
                    <a:gd name="T8" fmla="*/ 69 w 69"/>
                    <a:gd name="T9" fmla="*/ 21 h 24"/>
                  </a:gdLst>
                  <a:ahLst/>
                  <a:cxnLst>
                    <a:cxn ang="0">
                      <a:pos x="T0" y="T1"/>
                    </a:cxn>
                    <a:cxn ang="0">
                      <a:pos x="T2" y="T3"/>
                    </a:cxn>
                    <a:cxn ang="0">
                      <a:pos x="T4" y="T5"/>
                    </a:cxn>
                    <a:cxn ang="0">
                      <a:pos x="T6" y="T7"/>
                    </a:cxn>
                    <a:cxn ang="0">
                      <a:pos x="T8" y="T9"/>
                    </a:cxn>
                  </a:cxnLst>
                  <a:rect l="0" t="0" r="r" b="b"/>
                  <a:pathLst>
                    <a:path w="69" h="24">
                      <a:moveTo>
                        <a:pt x="69" y="21"/>
                      </a:moveTo>
                      <a:lnTo>
                        <a:pt x="0" y="0"/>
                      </a:lnTo>
                      <a:lnTo>
                        <a:pt x="0" y="2"/>
                      </a:lnTo>
                      <a:lnTo>
                        <a:pt x="69" y="24"/>
                      </a:lnTo>
                      <a:lnTo>
                        <a:pt x="69" y="21"/>
                      </a:lnTo>
                      <a:close/>
                    </a:path>
                  </a:pathLst>
                </a:custGeom>
                <a:solidFill>
                  <a:srgbClr val="01AAE5"/>
                </a:solidFill>
                <a:ln>
                  <a:noFill/>
                </a:ln>
                <a:extLst/>
              </p:spPr>
              <p:txBody>
                <a:bodyPr/>
                <a:lstStyle/>
                <a:p>
                  <a:pPr eaLnBrk="1" hangingPunct="1">
                    <a:defRPr/>
                  </a:pPr>
                  <a:endParaRPr lang="zh-CN" altLang="en-US" sz="1050"/>
                </a:p>
              </p:txBody>
            </p:sp>
            <p:sp>
              <p:nvSpPr>
                <p:cNvPr id="3771" name="Freeform 1816"/>
                <p:cNvSpPr>
                  <a:spLocks/>
                </p:cNvSpPr>
                <p:nvPr/>
              </p:nvSpPr>
              <p:spPr bwMode="auto">
                <a:xfrm>
                  <a:off x="10182" y="2308"/>
                  <a:ext cx="75" cy="26"/>
                </a:xfrm>
                <a:custGeom>
                  <a:avLst/>
                  <a:gdLst>
                    <a:gd name="T0" fmla="*/ 71 w 71"/>
                    <a:gd name="T1" fmla="*/ 23 h 26"/>
                    <a:gd name="T2" fmla="*/ 2 w 71"/>
                    <a:gd name="T3" fmla="*/ 0 h 26"/>
                    <a:gd name="T4" fmla="*/ 0 w 71"/>
                    <a:gd name="T5" fmla="*/ 2 h 26"/>
                    <a:gd name="T6" fmla="*/ 71 w 71"/>
                    <a:gd name="T7" fmla="*/ 26 h 26"/>
                    <a:gd name="T8" fmla="*/ 71 w 71"/>
                    <a:gd name="T9" fmla="*/ 23 h 26"/>
                  </a:gdLst>
                  <a:ahLst/>
                  <a:cxnLst>
                    <a:cxn ang="0">
                      <a:pos x="T0" y="T1"/>
                    </a:cxn>
                    <a:cxn ang="0">
                      <a:pos x="T2" y="T3"/>
                    </a:cxn>
                    <a:cxn ang="0">
                      <a:pos x="T4" y="T5"/>
                    </a:cxn>
                    <a:cxn ang="0">
                      <a:pos x="T6" y="T7"/>
                    </a:cxn>
                    <a:cxn ang="0">
                      <a:pos x="T8" y="T9"/>
                    </a:cxn>
                  </a:cxnLst>
                  <a:rect l="0" t="0" r="r" b="b"/>
                  <a:pathLst>
                    <a:path w="71" h="26">
                      <a:moveTo>
                        <a:pt x="71" y="23"/>
                      </a:moveTo>
                      <a:lnTo>
                        <a:pt x="2" y="0"/>
                      </a:lnTo>
                      <a:lnTo>
                        <a:pt x="0" y="2"/>
                      </a:lnTo>
                      <a:lnTo>
                        <a:pt x="71" y="26"/>
                      </a:lnTo>
                      <a:lnTo>
                        <a:pt x="71" y="23"/>
                      </a:lnTo>
                      <a:close/>
                    </a:path>
                  </a:pathLst>
                </a:custGeom>
                <a:solidFill>
                  <a:srgbClr val="01AAE5"/>
                </a:solidFill>
                <a:ln>
                  <a:noFill/>
                </a:ln>
                <a:extLst/>
              </p:spPr>
              <p:txBody>
                <a:bodyPr/>
                <a:lstStyle/>
                <a:p>
                  <a:pPr eaLnBrk="1" hangingPunct="1">
                    <a:defRPr/>
                  </a:pPr>
                  <a:endParaRPr lang="zh-CN" altLang="en-US" sz="1050"/>
                </a:p>
              </p:txBody>
            </p:sp>
            <p:sp>
              <p:nvSpPr>
                <p:cNvPr id="3772" name="Freeform 1817"/>
                <p:cNvSpPr>
                  <a:spLocks/>
                </p:cNvSpPr>
                <p:nvPr/>
              </p:nvSpPr>
              <p:spPr bwMode="auto">
                <a:xfrm>
                  <a:off x="10174" y="2351"/>
                  <a:ext cx="67" cy="17"/>
                </a:xfrm>
                <a:custGeom>
                  <a:avLst/>
                  <a:gdLst>
                    <a:gd name="T0" fmla="*/ 63 w 63"/>
                    <a:gd name="T1" fmla="*/ 19 h 19"/>
                    <a:gd name="T2" fmla="*/ 0 w 63"/>
                    <a:gd name="T3" fmla="*/ 0 h 19"/>
                    <a:gd name="T4" fmla="*/ 0 w 63"/>
                    <a:gd name="T5" fmla="*/ 3 h 19"/>
                    <a:gd name="T6" fmla="*/ 63 w 63"/>
                    <a:gd name="T7" fmla="*/ 19 h 19"/>
                    <a:gd name="T8" fmla="*/ 63 w 63"/>
                    <a:gd name="T9" fmla="*/ 19 h 19"/>
                  </a:gdLst>
                  <a:ahLst/>
                  <a:cxnLst>
                    <a:cxn ang="0">
                      <a:pos x="T0" y="T1"/>
                    </a:cxn>
                    <a:cxn ang="0">
                      <a:pos x="T2" y="T3"/>
                    </a:cxn>
                    <a:cxn ang="0">
                      <a:pos x="T4" y="T5"/>
                    </a:cxn>
                    <a:cxn ang="0">
                      <a:pos x="T6" y="T7"/>
                    </a:cxn>
                    <a:cxn ang="0">
                      <a:pos x="T8" y="T9"/>
                    </a:cxn>
                  </a:cxnLst>
                  <a:rect l="0" t="0" r="r" b="b"/>
                  <a:pathLst>
                    <a:path w="63" h="19">
                      <a:moveTo>
                        <a:pt x="63" y="19"/>
                      </a:moveTo>
                      <a:lnTo>
                        <a:pt x="0" y="0"/>
                      </a:lnTo>
                      <a:lnTo>
                        <a:pt x="0" y="3"/>
                      </a:lnTo>
                      <a:lnTo>
                        <a:pt x="63" y="19"/>
                      </a:lnTo>
                      <a:lnTo>
                        <a:pt x="63" y="19"/>
                      </a:lnTo>
                      <a:close/>
                    </a:path>
                  </a:pathLst>
                </a:custGeom>
                <a:solidFill>
                  <a:srgbClr val="01AAE5"/>
                </a:solidFill>
                <a:ln>
                  <a:noFill/>
                </a:ln>
                <a:extLst/>
              </p:spPr>
              <p:txBody>
                <a:bodyPr/>
                <a:lstStyle/>
                <a:p>
                  <a:pPr eaLnBrk="1" hangingPunct="1">
                    <a:defRPr/>
                  </a:pPr>
                  <a:endParaRPr lang="zh-CN" altLang="en-US" sz="1050"/>
                </a:p>
              </p:txBody>
            </p:sp>
            <p:sp>
              <p:nvSpPr>
                <p:cNvPr id="3773" name="Freeform 1818"/>
                <p:cNvSpPr>
                  <a:spLocks/>
                </p:cNvSpPr>
                <p:nvPr/>
              </p:nvSpPr>
              <p:spPr bwMode="auto">
                <a:xfrm>
                  <a:off x="10182" y="2316"/>
                  <a:ext cx="75" cy="26"/>
                </a:xfrm>
                <a:custGeom>
                  <a:avLst/>
                  <a:gdLst>
                    <a:gd name="T0" fmla="*/ 68 w 68"/>
                    <a:gd name="T1" fmla="*/ 23 h 26"/>
                    <a:gd name="T2" fmla="*/ 0 w 68"/>
                    <a:gd name="T3" fmla="*/ 0 h 26"/>
                    <a:gd name="T4" fmla="*/ 0 w 68"/>
                    <a:gd name="T5" fmla="*/ 2 h 26"/>
                    <a:gd name="T6" fmla="*/ 68 w 68"/>
                    <a:gd name="T7" fmla="*/ 26 h 26"/>
                    <a:gd name="T8" fmla="*/ 68 w 68"/>
                    <a:gd name="T9" fmla="*/ 23 h 26"/>
                  </a:gdLst>
                  <a:ahLst/>
                  <a:cxnLst>
                    <a:cxn ang="0">
                      <a:pos x="T0" y="T1"/>
                    </a:cxn>
                    <a:cxn ang="0">
                      <a:pos x="T2" y="T3"/>
                    </a:cxn>
                    <a:cxn ang="0">
                      <a:pos x="T4" y="T5"/>
                    </a:cxn>
                    <a:cxn ang="0">
                      <a:pos x="T6" y="T7"/>
                    </a:cxn>
                    <a:cxn ang="0">
                      <a:pos x="T8" y="T9"/>
                    </a:cxn>
                  </a:cxnLst>
                  <a:rect l="0" t="0" r="r" b="b"/>
                  <a:pathLst>
                    <a:path w="68" h="26">
                      <a:moveTo>
                        <a:pt x="68" y="23"/>
                      </a:moveTo>
                      <a:lnTo>
                        <a:pt x="0" y="0"/>
                      </a:lnTo>
                      <a:lnTo>
                        <a:pt x="0" y="2"/>
                      </a:lnTo>
                      <a:lnTo>
                        <a:pt x="68" y="26"/>
                      </a:lnTo>
                      <a:lnTo>
                        <a:pt x="68" y="23"/>
                      </a:lnTo>
                      <a:close/>
                    </a:path>
                  </a:pathLst>
                </a:custGeom>
                <a:solidFill>
                  <a:srgbClr val="01AAE5"/>
                </a:solidFill>
                <a:ln>
                  <a:noFill/>
                </a:ln>
                <a:extLst/>
              </p:spPr>
              <p:txBody>
                <a:bodyPr/>
                <a:lstStyle/>
                <a:p>
                  <a:pPr eaLnBrk="1" hangingPunct="1">
                    <a:defRPr/>
                  </a:pPr>
                  <a:endParaRPr lang="zh-CN" altLang="en-US" sz="1050"/>
                </a:p>
              </p:txBody>
            </p:sp>
            <p:sp>
              <p:nvSpPr>
                <p:cNvPr id="3774" name="Freeform 1819"/>
                <p:cNvSpPr>
                  <a:spLocks/>
                </p:cNvSpPr>
                <p:nvPr/>
              </p:nvSpPr>
              <p:spPr bwMode="auto">
                <a:xfrm>
                  <a:off x="10182" y="2395"/>
                  <a:ext cx="42" cy="17"/>
                </a:xfrm>
                <a:custGeom>
                  <a:avLst/>
                  <a:gdLst>
                    <a:gd name="T0" fmla="*/ 41 w 41"/>
                    <a:gd name="T1" fmla="*/ 7 h 9"/>
                    <a:gd name="T2" fmla="*/ 0 w 41"/>
                    <a:gd name="T3" fmla="*/ 0 h 9"/>
                    <a:gd name="T4" fmla="*/ 0 w 41"/>
                    <a:gd name="T5" fmla="*/ 0 h 9"/>
                    <a:gd name="T6" fmla="*/ 41 w 41"/>
                    <a:gd name="T7" fmla="*/ 9 h 9"/>
                    <a:gd name="T8" fmla="*/ 41 w 41"/>
                    <a:gd name="T9" fmla="*/ 7 h 9"/>
                  </a:gdLst>
                  <a:ahLst/>
                  <a:cxnLst>
                    <a:cxn ang="0">
                      <a:pos x="T0" y="T1"/>
                    </a:cxn>
                    <a:cxn ang="0">
                      <a:pos x="T2" y="T3"/>
                    </a:cxn>
                    <a:cxn ang="0">
                      <a:pos x="T4" y="T5"/>
                    </a:cxn>
                    <a:cxn ang="0">
                      <a:pos x="T6" y="T7"/>
                    </a:cxn>
                    <a:cxn ang="0">
                      <a:pos x="T8" y="T9"/>
                    </a:cxn>
                  </a:cxnLst>
                  <a:rect l="0" t="0" r="r" b="b"/>
                  <a:pathLst>
                    <a:path w="41" h="9">
                      <a:moveTo>
                        <a:pt x="41" y="7"/>
                      </a:moveTo>
                      <a:lnTo>
                        <a:pt x="0" y="0"/>
                      </a:lnTo>
                      <a:lnTo>
                        <a:pt x="0" y="0"/>
                      </a:lnTo>
                      <a:lnTo>
                        <a:pt x="41" y="9"/>
                      </a:lnTo>
                      <a:lnTo>
                        <a:pt x="41" y="7"/>
                      </a:lnTo>
                      <a:close/>
                    </a:path>
                  </a:pathLst>
                </a:custGeom>
                <a:solidFill>
                  <a:srgbClr val="01AAE5"/>
                </a:solidFill>
                <a:ln>
                  <a:noFill/>
                </a:ln>
                <a:extLst/>
              </p:spPr>
              <p:txBody>
                <a:bodyPr/>
                <a:lstStyle/>
                <a:p>
                  <a:pPr eaLnBrk="1" hangingPunct="1">
                    <a:defRPr/>
                  </a:pPr>
                  <a:endParaRPr lang="zh-CN" altLang="en-US" sz="1050"/>
                </a:p>
              </p:txBody>
            </p:sp>
            <p:sp>
              <p:nvSpPr>
                <p:cNvPr id="3775" name="Freeform 1820"/>
                <p:cNvSpPr>
                  <a:spLocks/>
                </p:cNvSpPr>
                <p:nvPr/>
              </p:nvSpPr>
              <p:spPr bwMode="auto">
                <a:xfrm>
                  <a:off x="10174" y="2325"/>
                  <a:ext cx="75" cy="26"/>
                </a:xfrm>
                <a:custGeom>
                  <a:avLst/>
                  <a:gdLst>
                    <a:gd name="T0" fmla="*/ 71 w 71"/>
                    <a:gd name="T1" fmla="*/ 22 h 24"/>
                    <a:gd name="T2" fmla="*/ 0 w 71"/>
                    <a:gd name="T3" fmla="*/ 0 h 24"/>
                    <a:gd name="T4" fmla="*/ 0 w 71"/>
                    <a:gd name="T5" fmla="*/ 0 h 24"/>
                    <a:gd name="T6" fmla="*/ 71 w 71"/>
                    <a:gd name="T7" fmla="*/ 24 h 24"/>
                    <a:gd name="T8" fmla="*/ 71 w 71"/>
                    <a:gd name="T9" fmla="*/ 22 h 24"/>
                  </a:gdLst>
                  <a:ahLst/>
                  <a:cxnLst>
                    <a:cxn ang="0">
                      <a:pos x="T0" y="T1"/>
                    </a:cxn>
                    <a:cxn ang="0">
                      <a:pos x="T2" y="T3"/>
                    </a:cxn>
                    <a:cxn ang="0">
                      <a:pos x="T4" y="T5"/>
                    </a:cxn>
                    <a:cxn ang="0">
                      <a:pos x="T6" y="T7"/>
                    </a:cxn>
                    <a:cxn ang="0">
                      <a:pos x="T8" y="T9"/>
                    </a:cxn>
                  </a:cxnLst>
                  <a:rect l="0" t="0" r="r" b="b"/>
                  <a:pathLst>
                    <a:path w="71" h="24">
                      <a:moveTo>
                        <a:pt x="71" y="22"/>
                      </a:moveTo>
                      <a:lnTo>
                        <a:pt x="0" y="0"/>
                      </a:lnTo>
                      <a:lnTo>
                        <a:pt x="0" y="0"/>
                      </a:lnTo>
                      <a:lnTo>
                        <a:pt x="71" y="24"/>
                      </a:lnTo>
                      <a:lnTo>
                        <a:pt x="71" y="22"/>
                      </a:lnTo>
                      <a:close/>
                    </a:path>
                  </a:pathLst>
                </a:custGeom>
                <a:solidFill>
                  <a:srgbClr val="01AAE5"/>
                </a:solidFill>
                <a:ln>
                  <a:noFill/>
                </a:ln>
                <a:extLst/>
              </p:spPr>
              <p:txBody>
                <a:bodyPr/>
                <a:lstStyle/>
                <a:p>
                  <a:pPr eaLnBrk="1" hangingPunct="1">
                    <a:defRPr/>
                  </a:pPr>
                  <a:endParaRPr lang="zh-CN" altLang="en-US" sz="1050"/>
                </a:p>
              </p:txBody>
            </p:sp>
            <p:sp>
              <p:nvSpPr>
                <p:cNvPr id="3776" name="Freeform 1821"/>
                <p:cNvSpPr>
                  <a:spLocks/>
                </p:cNvSpPr>
                <p:nvPr/>
              </p:nvSpPr>
              <p:spPr bwMode="auto">
                <a:xfrm>
                  <a:off x="10174" y="2386"/>
                  <a:ext cx="50" cy="9"/>
                </a:xfrm>
                <a:custGeom>
                  <a:avLst/>
                  <a:gdLst>
                    <a:gd name="T0" fmla="*/ 50 w 50"/>
                    <a:gd name="T1" fmla="*/ 12 h 14"/>
                    <a:gd name="T2" fmla="*/ 0 w 50"/>
                    <a:gd name="T3" fmla="*/ 0 h 14"/>
                    <a:gd name="T4" fmla="*/ 0 w 50"/>
                    <a:gd name="T5" fmla="*/ 2 h 14"/>
                    <a:gd name="T6" fmla="*/ 50 w 50"/>
                    <a:gd name="T7" fmla="*/ 14 h 14"/>
                    <a:gd name="T8" fmla="*/ 50 w 50"/>
                    <a:gd name="T9" fmla="*/ 12 h 14"/>
                  </a:gdLst>
                  <a:ahLst/>
                  <a:cxnLst>
                    <a:cxn ang="0">
                      <a:pos x="T0" y="T1"/>
                    </a:cxn>
                    <a:cxn ang="0">
                      <a:pos x="T2" y="T3"/>
                    </a:cxn>
                    <a:cxn ang="0">
                      <a:pos x="T4" y="T5"/>
                    </a:cxn>
                    <a:cxn ang="0">
                      <a:pos x="T6" y="T7"/>
                    </a:cxn>
                    <a:cxn ang="0">
                      <a:pos x="T8" y="T9"/>
                    </a:cxn>
                  </a:cxnLst>
                  <a:rect l="0" t="0" r="r" b="b"/>
                  <a:pathLst>
                    <a:path w="50" h="14">
                      <a:moveTo>
                        <a:pt x="50" y="12"/>
                      </a:moveTo>
                      <a:lnTo>
                        <a:pt x="0" y="0"/>
                      </a:lnTo>
                      <a:lnTo>
                        <a:pt x="0" y="2"/>
                      </a:lnTo>
                      <a:lnTo>
                        <a:pt x="50" y="14"/>
                      </a:lnTo>
                      <a:lnTo>
                        <a:pt x="50" y="12"/>
                      </a:lnTo>
                      <a:close/>
                    </a:path>
                  </a:pathLst>
                </a:custGeom>
                <a:solidFill>
                  <a:srgbClr val="01AAE5"/>
                </a:solidFill>
                <a:ln>
                  <a:noFill/>
                </a:ln>
                <a:extLst/>
              </p:spPr>
              <p:txBody>
                <a:bodyPr/>
                <a:lstStyle/>
                <a:p>
                  <a:pPr eaLnBrk="1" hangingPunct="1">
                    <a:defRPr/>
                  </a:pPr>
                  <a:endParaRPr lang="zh-CN" altLang="en-US" sz="1050"/>
                </a:p>
              </p:txBody>
            </p:sp>
            <p:sp>
              <p:nvSpPr>
                <p:cNvPr id="3777" name="Freeform 1822"/>
                <p:cNvSpPr>
                  <a:spLocks/>
                </p:cNvSpPr>
                <p:nvPr/>
              </p:nvSpPr>
              <p:spPr bwMode="auto">
                <a:xfrm>
                  <a:off x="10174" y="2386"/>
                  <a:ext cx="50" cy="9"/>
                </a:xfrm>
                <a:custGeom>
                  <a:avLst/>
                  <a:gdLst>
                    <a:gd name="T0" fmla="*/ 47 w 47"/>
                    <a:gd name="T1" fmla="*/ 9 h 12"/>
                    <a:gd name="T2" fmla="*/ 0 w 47"/>
                    <a:gd name="T3" fmla="*/ 0 h 12"/>
                    <a:gd name="T4" fmla="*/ 0 w 47"/>
                    <a:gd name="T5" fmla="*/ 0 h 12"/>
                    <a:gd name="T6" fmla="*/ 47 w 47"/>
                    <a:gd name="T7" fmla="*/ 12 h 12"/>
                    <a:gd name="T8" fmla="*/ 47 w 47"/>
                    <a:gd name="T9" fmla="*/ 9 h 12"/>
                  </a:gdLst>
                  <a:ahLst/>
                  <a:cxnLst>
                    <a:cxn ang="0">
                      <a:pos x="T0" y="T1"/>
                    </a:cxn>
                    <a:cxn ang="0">
                      <a:pos x="T2" y="T3"/>
                    </a:cxn>
                    <a:cxn ang="0">
                      <a:pos x="T4" y="T5"/>
                    </a:cxn>
                    <a:cxn ang="0">
                      <a:pos x="T6" y="T7"/>
                    </a:cxn>
                    <a:cxn ang="0">
                      <a:pos x="T8" y="T9"/>
                    </a:cxn>
                  </a:cxnLst>
                  <a:rect l="0" t="0" r="r" b="b"/>
                  <a:pathLst>
                    <a:path w="47" h="12">
                      <a:moveTo>
                        <a:pt x="47" y="9"/>
                      </a:moveTo>
                      <a:lnTo>
                        <a:pt x="0" y="0"/>
                      </a:lnTo>
                      <a:lnTo>
                        <a:pt x="0" y="0"/>
                      </a:lnTo>
                      <a:lnTo>
                        <a:pt x="47" y="12"/>
                      </a:lnTo>
                      <a:lnTo>
                        <a:pt x="47" y="9"/>
                      </a:lnTo>
                      <a:close/>
                    </a:path>
                  </a:pathLst>
                </a:custGeom>
                <a:solidFill>
                  <a:srgbClr val="01AAE5"/>
                </a:solidFill>
                <a:ln>
                  <a:noFill/>
                </a:ln>
                <a:extLst/>
              </p:spPr>
              <p:txBody>
                <a:bodyPr/>
                <a:lstStyle/>
                <a:p>
                  <a:pPr eaLnBrk="1" hangingPunct="1">
                    <a:defRPr/>
                  </a:pPr>
                  <a:endParaRPr lang="zh-CN" altLang="en-US" sz="1050"/>
                </a:p>
              </p:txBody>
            </p:sp>
            <p:sp>
              <p:nvSpPr>
                <p:cNvPr id="3778" name="Freeform 1823"/>
                <p:cNvSpPr>
                  <a:spLocks/>
                </p:cNvSpPr>
                <p:nvPr/>
              </p:nvSpPr>
              <p:spPr bwMode="auto">
                <a:xfrm>
                  <a:off x="10182" y="2386"/>
                  <a:ext cx="42" cy="17"/>
                </a:xfrm>
                <a:custGeom>
                  <a:avLst/>
                  <a:gdLst>
                    <a:gd name="T0" fmla="*/ 43 w 43"/>
                    <a:gd name="T1" fmla="*/ 9 h 11"/>
                    <a:gd name="T2" fmla="*/ 0 w 43"/>
                    <a:gd name="T3" fmla="*/ 0 h 11"/>
                    <a:gd name="T4" fmla="*/ 0 w 43"/>
                    <a:gd name="T5" fmla="*/ 2 h 11"/>
                    <a:gd name="T6" fmla="*/ 43 w 43"/>
                    <a:gd name="T7" fmla="*/ 11 h 11"/>
                    <a:gd name="T8" fmla="*/ 43 w 43"/>
                    <a:gd name="T9" fmla="*/ 9 h 11"/>
                  </a:gdLst>
                  <a:ahLst/>
                  <a:cxnLst>
                    <a:cxn ang="0">
                      <a:pos x="T0" y="T1"/>
                    </a:cxn>
                    <a:cxn ang="0">
                      <a:pos x="T2" y="T3"/>
                    </a:cxn>
                    <a:cxn ang="0">
                      <a:pos x="T4" y="T5"/>
                    </a:cxn>
                    <a:cxn ang="0">
                      <a:pos x="T6" y="T7"/>
                    </a:cxn>
                    <a:cxn ang="0">
                      <a:pos x="T8" y="T9"/>
                    </a:cxn>
                  </a:cxnLst>
                  <a:rect l="0" t="0" r="r" b="b"/>
                  <a:pathLst>
                    <a:path w="43" h="11">
                      <a:moveTo>
                        <a:pt x="43" y="9"/>
                      </a:moveTo>
                      <a:lnTo>
                        <a:pt x="0" y="0"/>
                      </a:lnTo>
                      <a:lnTo>
                        <a:pt x="0" y="2"/>
                      </a:lnTo>
                      <a:lnTo>
                        <a:pt x="43" y="11"/>
                      </a:lnTo>
                      <a:lnTo>
                        <a:pt x="43" y="9"/>
                      </a:lnTo>
                      <a:close/>
                    </a:path>
                  </a:pathLst>
                </a:custGeom>
                <a:solidFill>
                  <a:srgbClr val="01AAE5"/>
                </a:solidFill>
                <a:ln>
                  <a:noFill/>
                </a:ln>
                <a:extLst/>
              </p:spPr>
              <p:txBody>
                <a:bodyPr/>
                <a:lstStyle/>
                <a:p>
                  <a:pPr eaLnBrk="1" hangingPunct="1">
                    <a:defRPr/>
                  </a:pPr>
                  <a:endParaRPr lang="zh-CN" altLang="en-US" sz="1050"/>
                </a:p>
              </p:txBody>
            </p:sp>
            <p:sp>
              <p:nvSpPr>
                <p:cNvPr id="3779" name="Freeform 1824"/>
                <p:cNvSpPr>
                  <a:spLocks/>
                </p:cNvSpPr>
                <p:nvPr/>
              </p:nvSpPr>
              <p:spPr bwMode="auto">
                <a:xfrm>
                  <a:off x="10174" y="2360"/>
                  <a:ext cx="58" cy="17"/>
                </a:xfrm>
                <a:custGeom>
                  <a:avLst/>
                  <a:gdLst>
                    <a:gd name="T0" fmla="*/ 61 w 61"/>
                    <a:gd name="T1" fmla="*/ 17 h 17"/>
                    <a:gd name="T2" fmla="*/ 0 w 61"/>
                    <a:gd name="T3" fmla="*/ 0 h 17"/>
                    <a:gd name="T4" fmla="*/ 0 w 61"/>
                    <a:gd name="T5" fmla="*/ 0 h 17"/>
                    <a:gd name="T6" fmla="*/ 61 w 61"/>
                    <a:gd name="T7" fmla="*/ 17 h 17"/>
                    <a:gd name="T8" fmla="*/ 61 w 61"/>
                    <a:gd name="T9" fmla="*/ 17 h 17"/>
                  </a:gdLst>
                  <a:ahLst/>
                  <a:cxnLst>
                    <a:cxn ang="0">
                      <a:pos x="T0" y="T1"/>
                    </a:cxn>
                    <a:cxn ang="0">
                      <a:pos x="T2" y="T3"/>
                    </a:cxn>
                    <a:cxn ang="0">
                      <a:pos x="T4" y="T5"/>
                    </a:cxn>
                    <a:cxn ang="0">
                      <a:pos x="T6" y="T7"/>
                    </a:cxn>
                    <a:cxn ang="0">
                      <a:pos x="T8" y="T9"/>
                    </a:cxn>
                  </a:cxnLst>
                  <a:rect l="0" t="0" r="r" b="b"/>
                  <a:pathLst>
                    <a:path w="61" h="17">
                      <a:moveTo>
                        <a:pt x="61" y="17"/>
                      </a:moveTo>
                      <a:lnTo>
                        <a:pt x="0" y="0"/>
                      </a:lnTo>
                      <a:lnTo>
                        <a:pt x="0" y="0"/>
                      </a:lnTo>
                      <a:lnTo>
                        <a:pt x="61" y="17"/>
                      </a:lnTo>
                      <a:lnTo>
                        <a:pt x="61" y="17"/>
                      </a:lnTo>
                      <a:close/>
                    </a:path>
                  </a:pathLst>
                </a:custGeom>
                <a:solidFill>
                  <a:srgbClr val="01AAE5"/>
                </a:solidFill>
                <a:ln>
                  <a:noFill/>
                </a:ln>
                <a:extLst/>
              </p:spPr>
              <p:txBody>
                <a:bodyPr/>
                <a:lstStyle/>
                <a:p>
                  <a:pPr eaLnBrk="1" hangingPunct="1">
                    <a:defRPr/>
                  </a:pPr>
                  <a:endParaRPr lang="zh-CN" altLang="en-US" sz="1050"/>
                </a:p>
              </p:txBody>
            </p:sp>
            <p:sp>
              <p:nvSpPr>
                <p:cNvPr id="3780" name="Freeform 1825"/>
                <p:cNvSpPr>
                  <a:spLocks/>
                </p:cNvSpPr>
                <p:nvPr/>
              </p:nvSpPr>
              <p:spPr bwMode="auto">
                <a:xfrm>
                  <a:off x="10174" y="2360"/>
                  <a:ext cx="58" cy="26"/>
                </a:xfrm>
                <a:custGeom>
                  <a:avLst/>
                  <a:gdLst>
                    <a:gd name="T0" fmla="*/ 59 w 59"/>
                    <a:gd name="T1" fmla="*/ 17 h 17"/>
                    <a:gd name="T2" fmla="*/ 0 w 59"/>
                    <a:gd name="T3" fmla="*/ 0 h 17"/>
                    <a:gd name="T4" fmla="*/ 0 w 59"/>
                    <a:gd name="T5" fmla="*/ 3 h 17"/>
                    <a:gd name="T6" fmla="*/ 59 w 59"/>
                    <a:gd name="T7" fmla="*/ 17 h 17"/>
                    <a:gd name="T8" fmla="*/ 59 w 59"/>
                    <a:gd name="T9" fmla="*/ 17 h 17"/>
                  </a:gdLst>
                  <a:ahLst/>
                  <a:cxnLst>
                    <a:cxn ang="0">
                      <a:pos x="T0" y="T1"/>
                    </a:cxn>
                    <a:cxn ang="0">
                      <a:pos x="T2" y="T3"/>
                    </a:cxn>
                    <a:cxn ang="0">
                      <a:pos x="T4" y="T5"/>
                    </a:cxn>
                    <a:cxn ang="0">
                      <a:pos x="T6" y="T7"/>
                    </a:cxn>
                    <a:cxn ang="0">
                      <a:pos x="T8" y="T9"/>
                    </a:cxn>
                  </a:cxnLst>
                  <a:rect l="0" t="0" r="r" b="b"/>
                  <a:pathLst>
                    <a:path w="59" h="17">
                      <a:moveTo>
                        <a:pt x="59" y="17"/>
                      </a:moveTo>
                      <a:lnTo>
                        <a:pt x="0" y="0"/>
                      </a:lnTo>
                      <a:lnTo>
                        <a:pt x="0" y="3"/>
                      </a:lnTo>
                      <a:lnTo>
                        <a:pt x="59" y="17"/>
                      </a:lnTo>
                      <a:lnTo>
                        <a:pt x="59" y="17"/>
                      </a:lnTo>
                      <a:close/>
                    </a:path>
                  </a:pathLst>
                </a:custGeom>
                <a:solidFill>
                  <a:srgbClr val="01AAE5"/>
                </a:solidFill>
                <a:ln>
                  <a:noFill/>
                </a:ln>
                <a:extLst/>
              </p:spPr>
              <p:txBody>
                <a:bodyPr/>
                <a:lstStyle/>
                <a:p>
                  <a:pPr eaLnBrk="1" hangingPunct="1">
                    <a:defRPr/>
                  </a:pPr>
                  <a:endParaRPr lang="zh-CN" altLang="en-US" sz="1050"/>
                </a:p>
              </p:txBody>
            </p:sp>
            <p:sp>
              <p:nvSpPr>
                <p:cNvPr id="3781" name="Freeform 1826"/>
                <p:cNvSpPr>
                  <a:spLocks/>
                </p:cNvSpPr>
                <p:nvPr/>
              </p:nvSpPr>
              <p:spPr bwMode="auto">
                <a:xfrm>
                  <a:off x="10174" y="2377"/>
                  <a:ext cx="50" cy="9"/>
                </a:xfrm>
                <a:custGeom>
                  <a:avLst/>
                  <a:gdLst>
                    <a:gd name="T0" fmla="*/ 52 w 52"/>
                    <a:gd name="T1" fmla="*/ 12 h 14"/>
                    <a:gd name="T2" fmla="*/ 0 w 52"/>
                    <a:gd name="T3" fmla="*/ 0 h 14"/>
                    <a:gd name="T4" fmla="*/ 0 w 52"/>
                    <a:gd name="T5" fmla="*/ 2 h 14"/>
                    <a:gd name="T6" fmla="*/ 52 w 52"/>
                    <a:gd name="T7" fmla="*/ 14 h 14"/>
                    <a:gd name="T8" fmla="*/ 52 w 52"/>
                    <a:gd name="T9" fmla="*/ 12 h 14"/>
                  </a:gdLst>
                  <a:ahLst/>
                  <a:cxnLst>
                    <a:cxn ang="0">
                      <a:pos x="T0" y="T1"/>
                    </a:cxn>
                    <a:cxn ang="0">
                      <a:pos x="T2" y="T3"/>
                    </a:cxn>
                    <a:cxn ang="0">
                      <a:pos x="T4" y="T5"/>
                    </a:cxn>
                    <a:cxn ang="0">
                      <a:pos x="T6" y="T7"/>
                    </a:cxn>
                    <a:cxn ang="0">
                      <a:pos x="T8" y="T9"/>
                    </a:cxn>
                  </a:cxnLst>
                  <a:rect l="0" t="0" r="r" b="b"/>
                  <a:pathLst>
                    <a:path w="52" h="14">
                      <a:moveTo>
                        <a:pt x="52" y="12"/>
                      </a:moveTo>
                      <a:lnTo>
                        <a:pt x="0" y="0"/>
                      </a:lnTo>
                      <a:lnTo>
                        <a:pt x="0" y="2"/>
                      </a:lnTo>
                      <a:lnTo>
                        <a:pt x="52" y="14"/>
                      </a:lnTo>
                      <a:lnTo>
                        <a:pt x="52" y="12"/>
                      </a:lnTo>
                      <a:close/>
                    </a:path>
                  </a:pathLst>
                </a:custGeom>
                <a:solidFill>
                  <a:srgbClr val="01AAE5"/>
                </a:solidFill>
                <a:ln>
                  <a:noFill/>
                </a:ln>
                <a:extLst/>
              </p:spPr>
              <p:txBody>
                <a:bodyPr/>
                <a:lstStyle/>
                <a:p>
                  <a:pPr eaLnBrk="1" hangingPunct="1">
                    <a:defRPr/>
                  </a:pPr>
                  <a:endParaRPr lang="zh-CN" altLang="en-US" sz="1050"/>
                </a:p>
              </p:txBody>
            </p:sp>
            <p:sp>
              <p:nvSpPr>
                <p:cNvPr id="3782" name="Freeform 1827"/>
                <p:cNvSpPr>
                  <a:spLocks/>
                </p:cNvSpPr>
                <p:nvPr/>
              </p:nvSpPr>
              <p:spPr bwMode="auto">
                <a:xfrm>
                  <a:off x="10174" y="2369"/>
                  <a:ext cx="58" cy="17"/>
                </a:xfrm>
                <a:custGeom>
                  <a:avLst/>
                  <a:gdLst>
                    <a:gd name="T0" fmla="*/ 56 w 56"/>
                    <a:gd name="T1" fmla="*/ 14 h 14"/>
                    <a:gd name="T2" fmla="*/ 0 w 56"/>
                    <a:gd name="T3" fmla="*/ 0 h 14"/>
                    <a:gd name="T4" fmla="*/ 0 w 56"/>
                    <a:gd name="T5" fmla="*/ 0 h 14"/>
                    <a:gd name="T6" fmla="*/ 56 w 56"/>
                    <a:gd name="T7" fmla="*/ 14 h 14"/>
                    <a:gd name="T8" fmla="*/ 56 w 56"/>
                    <a:gd name="T9" fmla="*/ 14 h 14"/>
                  </a:gdLst>
                  <a:ahLst/>
                  <a:cxnLst>
                    <a:cxn ang="0">
                      <a:pos x="T0" y="T1"/>
                    </a:cxn>
                    <a:cxn ang="0">
                      <a:pos x="T2" y="T3"/>
                    </a:cxn>
                    <a:cxn ang="0">
                      <a:pos x="T4" y="T5"/>
                    </a:cxn>
                    <a:cxn ang="0">
                      <a:pos x="T6" y="T7"/>
                    </a:cxn>
                    <a:cxn ang="0">
                      <a:pos x="T8" y="T9"/>
                    </a:cxn>
                  </a:cxnLst>
                  <a:rect l="0" t="0" r="r" b="b"/>
                  <a:pathLst>
                    <a:path w="56" h="14">
                      <a:moveTo>
                        <a:pt x="56" y="14"/>
                      </a:moveTo>
                      <a:lnTo>
                        <a:pt x="0" y="0"/>
                      </a:lnTo>
                      <a:lnTo>
                        <a:pt x="0" y="0"/>
                      </a:lnTo>
                      <a:lnTo>
                        <a:pt x="56" y="14"/>
                      </a:lnTo>
                      <a:lnTo>
                        <a:pt x="56" y="14"/>
                      </a:lnTo>
                      <a:close/>
                    </a:path>
                  </a:pathLst>
                </a:custGeom>
                <a:solidFill>
                  <a:srgbClr val="01AAE5"/>
                </a:solidFill>
                <a:ln>
                  <a:noFill/>
                </a:ln>
                <a:extLst/>
              </p:spPr>
              <p:txBody>
                <a:bodyPr/>
                <a:lstStyle/>
                <a:p>
                  <a:pPr eaLnBrk="1" hangingPunct="1">
                    <a:defRPr/>
                  </a:pPr>
                  <a:endParaRPr lang="zh-CN" altLang="en-US" sz="1050"/>
                </a:p>
              </p:txBody>
            </p:sp>
            <p:sp>
              <p:nvSpPr>
                <p:cNvPr id="3783" name="Freeform 1828"/>
                <p:cNvSpPr>
                  <a:spLocks/>
                </p:cNvSpPr>
                <p:nvPr/>
              </p:nvSpPr>
              <p:spPr bwMode="auto">
                <a:xfrm>
                  <a:off x="10748"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84" name="Freeform 1829"/>
                <p:cNvSpPr>
                  <a:spLocks/>
                </p:cNvSpPr>
                <p:nvPr/>
              </p:nvSpPr>
              <p:spPr bwMode="auto">
                <a:xfrm>
                  <a:off x="10781" y="3240"/>
                  <a:ext cx="0" cy="17"/>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85" name="Freeform 1830"/>
                <p:cNvSpPr>
                  <a:spLocks/>
                </p:cNvSpPr>
                <p:nvPr/>
              </p:nvSpPr>
              <p:spPr bwMode="auto">
                <a:xfrm>
                  <a:off x="10756" y="3240"/>
                  <a:ext cx="8" cy="9"/>
                </a:xfrm>
                <a:custGeom>
                  <a:avLst/>
                  <a:gdLst>
                    <a:gd name="T0" fmla="*/ 3 w 5"/>
                    <a:gd name="T1" fmla="*/ 0 h 11"/>
                    <a:gd name="T2" fmla="*/ 0 w 5"/>
                    <a:gd name="T3" fmla="*/ 11 h 11"/>
                    <a:gd name="T4" fmla="*/ 3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lnTo>
                        <a:pt x="0" y="11"/>
                      </a:lnTo>
                      <a:lnTo>
                        <a:pt x="3" y="11"/>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86" name="Freeform 1831"/>
                <p:cNvSpPr>
                  <a:spLocks/>
                </p:cNvSpPr>
                <p:nvPr/>
              </p:nvSpPr>
              <p:spPr bwMode="auto">
                <a:xfrm>
                  <a:off x="10723" y="3240"/>
                  <a:ext cx="8" cy="0"/>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87" name="Freeform 1832"/>
                <p:cNvSpPr>
                  <a:spLocks/>
                </p:cNvSpPr>
                <p:nvPr/>
              </p:nvSpPr>
              <p:spPr bwMode="auto">
                <a:xfrm>
                  <a:off x="10781" y="3240"/>
                  <a:ext cx="0" cy="17"/>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3788" name="Freeform 1833"/>
                <p:cNvSpPr>
                  <a:spLocks/>
                </p:cNvSpPr>
                <p:nvPr/>
              </p:nvSpPr>
              <p:spPr bwMode="auto">
                <a:xfrm>
                  <a:off x="10731" y="3240"/>
                  <a:ext cx="8" cy="9"/>
                </a:xfrm>
                <a:custGeom>
                  <a:avLst/>
                  <a:gdLst>
                    <a:gd name="T0" fmla="*/ 3 w 3"/>
                    <a:gd name="T1" fmla="*/ 0 h 12"/>
                    <a:gd name="T2" fmla="*/ 0 w 3"/>
                    <a:gd name="T3" fmla="*/ 12 h 12"/>
                    <a:gd name="T4" fmla="*/ 0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0"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89" name="Freeform 1834"/>
                <p:cNvSpPr>
                  <a:spLocks/>
                </p:cNvSpPr>
                <p:nvPr/>
              </p:nvSpPr>
              <p:spPr bwMode="auto">
                <a:xfrm>
                  <a:off x="10739" y="3240"/>
                  <a:ext cx="8" cy="9"/>
                </a:xfrm>
                <a:custGeom>
                  <a:avLst/>
                  <a:gdLst>
                    <a:gd name="T0" fmla="*/ 5 w 5"/>
                    <a:gd name="T1" fmla="*/ 0 h 12"/>
                    <a:gd name="T2" fmla="*/ 0 w 5"/>
                    <a:gd name="T3" fmla="*/ 12 h 12"/>
                    <a:gd name="T4" fmla="*/ 2 w 5"/>
                    <a:gd name="T5" fmla="*/ 12 h 12"/>
                    <a:gd name="T6" fmla="*/ 5 w 5"/>
                    <a:gd name="T7" fmla="*/ 2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2"/>
                      </a:lnTo>
                      <a:lnTo>
                        <a:pt x="2" y="12"/>
                      </a:lnTo>
                      <a:lnTo>
                        <a:pt x="5" y="2"/>
                      </a:lnTo>
                      <a:lnTo>
                        <a:pt x="5" y="0"/>
                      </a:lnTo>
                      <a:close/>
                    </a:path>
                  </a:pathLst>
                </a:custGeom>
                <a:solidFill>
                  <a:srgbClr val="01AAE5"/>
                </a:solidFill>
                <a:ln>
                  <a:noFill/>
                </a:ln>
                <a:extLst/>
              </p:spPr>
              <p:txBody>
                <a:bodyPr/>
                <a:lstStyle/>
                <a:p>
                  <a:pPr eaLnBrk="1" hangingPunct="1">
                    <a:defRPr/>
                  </a:pPr>
                  <a:endParaRPr lang="zh-CN" altLang="en-US" sz="1050"/>
                </a:p>
              </p:txBody>
            </p:sp>
            <p:sp>
              <p:nvSpPr>
                <p:cNvPr id="3790" name="Rectangle 1835"/>
                <p:cNvSpPr>
                  <a:spLocks noChangeArrowheads="1"/>
                </p:cNvSpPr>
                <p:nvPr/>
              </p:nvSpPr>
              <p:spPr bwMode="auto">
                <a:xfrm>
                  <a:off x="10839"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3791" name="Freeform 1836"/>
                <p:cNvSpPr>
                  <a:spLocks/>
                </p:cNvSpPr>
                <p:nvPr/>
              </p:nvSpPr>
              <p:spPr bwMode="auto">
                <a:xfrm>
                  <a:off x="10839" y="3249"/>
                  <a:ext cx="0" cy="17"/>
                </a:xfrm>
                <a:custGeom>
                  <a:avLst/>
                  <a:gdLst>
                    <a:gd name="T0" fmla="*/ 3 w 3"/>
                    <a:gd name="T1" fmla="*/ 0 h 12"/>
                    <a:gd name="T2" fmla="*/ 0 w 3"/>
                    <a:gd name="T3" fmla="*/ 12 h 12"/>
                    <a:gd name="T4" fmla="*/ 3 w 3"/>
                    <a:gd name="T5" fmla="*/ 12 h 12"/>
                    <a:gd name="T6" fmla="*/ 3 w 3"/>
                    <a:gd name="T7" fmla="*/ 0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lnTo>
                        <a:pt x="0" y="12"/>
                      </a:lnTo>
                      <a:lnTo>
                        <a:pt x="3" y="12"/>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2" name="Freeform 1837"/>
                <p:cNvSpPr>
                  <a:spLocks/>
                </p:cNvSpPr>
                <p:nvPr/>
              </p:nvSpPr>
              <p:spPr bwMode="auto">
                <a:xfrm>
                  <a:off x="10839" y="3249"/>
                  <a:ext cx="0" cy="17"/>
                </a:xfrm>
                <a:custGeom>
                  <a:avLst/>
                  <a:gdLst>
                    <a:gd name="T0" fmla="*/ 3 w 5"/>
                    <a:gd name="T1" fmla="*/ 0 h 12"/>
                    <a:gd name="T2" fmla="*/ 0 w 5"/>
                    <a:gd name="T3" fmla="*/ 12 h 12"/>
                    <a:gd name="T4" fmla="*/ 3 w 5"/>
                    <a:gd name="T5" fmla="*/ 12 h 12"/>
                    <a:gd name="T6" fmla="*/ 5 w 5"/>
                    <a:gd name="T7" fmla="*/ 2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3" name="Freeform 1838"/>
                <p:cNvSpPr>
                  <a:spLocks/>
                </p:cNvSpPr>
                <p:nvPr/>
              </p:nvSpPr>
              <p:spPr bwMode="auto">
                <a:xfrm>
                  <a:off x="10814" y="3249"/>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4" name="Freeform 1839"/>
                <p:cNvSpPr>
                  <a:spLocks/>
                </p:cNvSpPr>
                <p:nvPr/>
              </p:nvSpPr>
              <p:spPr bwMode="auto">
                <a:xfrm>
                  <a:off x="10806" y="3249"/>
                  <a:ext cx="0" cy="17"/>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795" name="Freeform 1840"/>
                <p:cNvSpPr>
                  <a:spLocks/>
                </p:cNvSpPr>
                <p:nvPr/>
              </p:nvSpPr>
              <p:spPr bwMode="auto">
                <a:xfrm>
                  <a:off x="10839" y="3249"/>
                  <a:ext cx="0" cy="17"/>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3796" name="Freeform 1841"/>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7" name="Freeform 1842"/>
                <p:cNvSpPr>
                  <a:spLocks/>
                </p:cNvSpPr>
                <p:nvPr/>
              </p:nvSpPr>
              <p:spPr bwMode="auto">
                <a:xfrm>
                  <a:off x="10789" y="3240"/>
                  <a:ext cx="0" cy="17"/>
                </a:xfrm>
                <a:custGeom>
                  <a:avLst/>
                  <a:gdLst>
                    <a:gd name="T0" fmla="*/ 3 w 5"/>
                    <a:gd name="T1" fmla="*/ 0 h 12"/>
                    <a:gd name="T2" fmla="*/ 0 w 5"/>
                    <a:gd name="T3" fmla="*/ 12 h 12"/>
                    <a:gd name="T4" fmla="*/ 3 w 5"/>
                    <a:gd name="T5" fmla="*/ 12 h 12"/>
                    <a:gd name="T6" fmla="*/ 5 w 5"/>
                    <a:gd name="T7" fmla="*/ 3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3"/>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8" name="Freeform 1843"/>
                <p:cNvSpPr>
                  <a:spLocks/>
                </p:cNvSpPr>
                <p:nvPr/>
              </p:nvSpPr>
              <p:spPr bwMode="auto">
                <a:xfrm>
                  <a:off x="10781" y="3240"/>
                  <a:ext cx="0" cy="17"/>
                </a:xfrm>
                <a:custGeom>
                  <a:avLst/>
                  <a:gdLst>
                    <a:gd name="T0" fmla="*/ 3 w 5"/>
                    <a:gd name="T1" fmla="*/ 0 h 12"/>
                    <a:gd name="T2" fmla="*/ 0 w 5"/>
                    <a:gd name="T3" fmla="*/ 12 h 12"/>
                    <a:gd name="T4" fmla="*/ 3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3"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799" name="Freeform 1844"/>
                <p:cNvSpPr>
                  <a:spLocks/>
                </p:cNvSpPr>
                <p:nvPr/>
              </p:nvSpPr>
              <p:spPr bwMode="auto">
                <a:xfrm>
                  <a:off x="10806" y="3249"/>
                  <a:ext cx="0" cy="9"/>
                </a:xfrm>
                <a:custGeom>
                  <a:avLst/>
                  <a:gdLst>
                    <a:gd name="T0" fmla="*/ 3 w 3"/>
                    <a:gd name="T1" fmla="*/ 0 h 11"/>
                    <a:gd name="T2" fmla="*/ 0 w 3"/>
                    <a:gd name="T3" fmla="*/ 11 h 11"/>
                    <a:gd name="T4" fmla="*/ 3 w 3"/>
                    <a:gd name="T5" fmla="*/ 11 h 11"/>
                    <a:gd name="T6" fmla="*/ 3 w 3"/>
                    <a:gd name="T7" fmla="*/ 0 h 11"/>
                    <a:gd name="T8" fmla="*/ 3 w 3"/>
                    <a:gd name="T9" fmla="*/ 0 h 11"/>
                  </a:gdLst>
                  <a:ahLst/>
                  <a:cxnLst>
                    <a:cxn ang="0">
                      <a:pos x="T0" y="T1"/>
                    </a:cxn>
                    <a:cxn ang="0">
                      <a:pos x="T2" y="T3"/>
                    </a:cxn>
                    <a:cxn ang="0">
                      <a:pos x="T4" y="T5"/>
                    </a:cxn>
                    <a:cxn ang="0">
                      <a:pos x="T6" y="T7"/>
                    </a:cxn>
                    <a:cxn ang="0">
                      <a:pos x="T8" y="T9"/>
                    </a:cxn>
                  </a:cxnLst>
                  <a:rect l="0" t="0" r="r" b="b"/>
                  <a:pathLst>
                    <a:path w="3" h="11">
                      <a:moveTo>
                        <a:pt x="3" y="0"/>
                      </a:moveTo>
                      <a:lnTo>
                        <a:pt x="0" y="11"/>
                      </a:lnTo>
                      <a:lnTo>
                        <a:pt x="3" y="11"/>
                      </a:lnTo>
                      <a:lnTo>
                        <a:pt x="3"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800" name="Freeform 1845"/>
                <p:cNvSpPr>
                  <a:spLocks/>
                </p:cNvSpPr>
                <p:nvPr/>
              </p:nvSpPr>
              <p:spPr bwMode="auto">
                <a:xfrm>
                  <a:off x="10748" y="3240"/>
                  <a:ext cx="0" cy="9"/>
                </a:xfrm>
                <a:custGeom>
                  <a:avLst/>
                  <a:gdLst>
                    <a:gd name="T0" fmla="*/ 2 w 5"/>
                    <a:gd name="T1" fmla="*/ 0 h 12"/>
                    <a:gd name="T2" fmla="*/ 0 w 5"/>
                    <a:gd name="T3" fmla="*/ 12 h 12"/>
                    <a:gd name="T4" fmla="*/ 2 w 5"/>
                    <a:gd name="T5" fmla="*/ 12 h 12"/>
                    <a:gd name="T6" fmla="*/ 5 w 5"/>
                    <a:gd name="T7" fmla="*/ 0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3801" name="Freeform 1846"/>
                <p:cNvSpPr>
                  <a:spLocks/>
                </p:cNvSpPr>
                <p:nvPr/>
              </p:nvSpPr>
              <p:spPr bwMode="auto">
                <a:xfrm>
                  <a:off x="10631" y="3196"/>
                  <a:ext cx="17" cy="44"/>
                </a:xfrm>
                <a:custGeom>
                  <a:avLst/>
                  <a:gdLst>
                    <a:gd name="T0" fmla="*/ 19 w 19"/>
                    <a:gd name="T1" fmla="*/ 0 h 43"/>
                    <a:gd name="T2" fmla="*/ 0 w 19"/>
                    <a:gd name="T3" fmla="*/ 43 h 43"/>
                    <a:gd name="T4" fmla="*/ 2 w 19"/>
                    <a:gd name="T5" fmla="*/ 43 h 43"/>
                    <a:gd name="T6" fmla="*/ 19 w 19"/>
                    <a:gd name="T7" fmla="*/ 0 h 43"/>
                    <a:gd name="T8" fmla="*/ 19 w 19"/>
                    <a:gd name="T9" fmla="*/ 0 h 43"/>
                  </a:gdLst>
                  <a:ahLst/>
                  <a:cxnLst>
                    <a:cxn ang="0">
                      <a:pos x="T0" y="T1"/>
                    </a:cxn>
                    <a:cxn ang="0">
                      <a:pos x="T2" y="T3"/>
                    </a:cxn>
                    <a:cxn ang="0">
                      <a:pos x="T4" y="T5"/>
                    </a:cxn>
                    <a:cxn ang="0">
                      <a:pos x="T6" y="T7"/>
                    </a:cxn>
                    <a:cxn ang="0">
                      <a:pos x="T8" y="T9"/>
                    </a:cxn>
                  </a:cxnLst>
                  <a:rect l="0" t="0" r="r" b="b"/>
                  <a:pathLst>
                    <a:path w="19" h="43">
                      <a:moveTo>
                        <a:pt x="19" y="0"/>
                      </a:moveTo>
                      <a:lnTo>
                        <a:pt x="0" y="43"/>
                      </a:lnTo>
                      <a:lnTo>
                        <a:pt x="2" y="43"/>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802" name="Freeform 1847"/>
                <p:cNvSpPr>
                  <a:spLocks/>
                </p:cNvSpPr>
                <p:nvPr/>
              </p:nvSpPr>
              <p:spPr bwMode="auto">
                <a:xfrm>
                  <a:off x="10640" y="3205"/>
                  <a:ext cx="17" cy="35"/>
                </a:xfrm>
                <a:custGeom>
                  <a:avLst/>
                  <a:gdLst>
                    <a:gd name="T0" fmla="*/ 14 w 17"/>
                    <a:gd name="T1" fmla="*/ 0 h 36"/>
                    <a:gd name="T2" fmla="*/ 0 w 17"/>
                    <a:gd name="T3" fmla="*/ 36 h 36"/>
                    <a:gd name="T4" fmla="*/ 3 w 17"/>
                    <a:gd name="T5" fmla="*/ 36 h 36"/>
                    <a:gd name="T6" fmla="*/ 17 w 17"/>
                    <a:gd name="T7" fmla="*/ 0 h 36"/>
                    <a:gd name="T8" fmla="*/ 14 w 17"/>
                    <a:gd name="T9" fmla="*/ 0 h 36"/>
                  </a:gdLst>
                  <a:ahLst/>
                  <a:cxnLst>
                    <a:cxn ang="0">
                      <a:pos x="T0" y="T1"/>
                    </a:cxn>
                    <a:cxn ang="0">
                      <a:pos x="T2" y="T3"/>
                    </a:cxn>
                    <a:cxn ang="0">
                      <a:pos x="T4" y="T5"/>
                    </a:cxn>
                    <a:cxn ang="0">
                      <a:pos x="T6" y="T7"/>
                    </a:cxn>
                    <a:cxn ang="0">
                      <a:pos x="T8" y="T9"/>
                    </a:cxn>
                  </a:cxnLst>
                  <a:rect l="0" t="0" r="r" b="b"/>
                  <a:pathLst>
                    <a:path w="17" h="36">
                      <a:moveTo>
                        <a:pt x="14" y="0"/>
                      </a:moveTo>
                      <a:lnTo>
                        <a:pt x="0" y="36"/>
                      </a:lnTo>
                      <a:lnTo>
                        <a:pt x="3" y="36"/>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803" name="Freeform 1848"/>
                <p:cNvSpPr>
                  <a:spLocks/>
                </p:cNvSpPr>
                <p:nvPr/>
              </p:nvSpPr>
              <p:spPr bwMode="auto">
                <a:xfrm>
                  <a:off x="10631" y="3196"/>
                  <a:ext cx="25" cy="44"/>
                </a:xfrm>
                <a:custGeom>
                  <a:avLst/>
                  <a:gdLst>
                    <a:gd name="T0" fmla="*/ 17 w 19"/>
                    <a:gd name="T1" fmla="*/ 0 h 40"/>
                    <a:gd name="T2" fmla="*/ 0 w 19"/>
                    <a:gd name="T3" fmla="*/ 40 h 40"/>
                    <a:gd name="T4" fmla="*/ 2 w 19"/>
                    <a:gd name="T5" fmla="*/ 40 h 40"/>
                    <a:gd name="T6" fmla="*/ 19 w 19"/>
                    <a:gd name="T7" fmla="*/ 2 h 40"/>
                    <a:gd name="T8" fmla="*/ 17 w 19"/>
                    <a:gd name="T9" fmla="*/ 0 h 40"/>
                  </a:gdLst>
                  <a:ahLst/>
                  <a:cxnLst>
                    <a:cxn ang="0">
                      <a:pos x="T0" y="T1"/>
                    </a:cxn>
                    <a:cxn ang="0">
                      <a:pos x="T2" y="T3"/>
                    </a:cxn>
                    <a:cxn ang="0">
                      <a:pos x="T4" y="T5"/>
                    </a:cxn>
                    <a:cxn ang="0">
                      <a:pos x="T6" y="T7"/>
                    </a:cxn>
                    <a:cxn ang="0">
                      <a:pos x="T8" y="T9"/>
                    </a:cxn>
                  </a:cxnLst>
                  <a:rect l="0" t="0" r="r" b="b"/>
                  <a:pathLst>
                    <a:path w="19" h="40">
                      <a:moveTo>
                        <a:pt x="17" y="0"/>
                      </a:moveTo>
                      <a:lnTo>
                        <a:pt x="0" y="40"/>
                      </a:lnTo>
                      <a:lnTo>
                        <a:pt x="2" y="40"/>
                      </a:lnTo>
                      <a:lnTo>
                        <a:pt x="19" y="2"/>
                      </a:lnTo>
                      <a:lnTo>
                        <a:pt x="17" y="0"/>
                      </a:lnTo>
                      <a:close/>
                    </a:path>
                  </a:pathLst>
                </a:custGeom>
                <a:solidFill>
                  <a:srgbClr val="01AAE5"/>
                </a:solidFill>
                <a:ln>
                  <a:noFill/>
                </a:ln>
                <a:extLst/>
              </p:spPr>
              <p:txBody>
                <a:bodyPr/>
                <a:lstStyle/>
                <a:p>
                  <a:pPr eaLnBrk="1" hangingPunct="1">
                    <a:defRPr/>
                  </a:pPr>
                  <a:endParaRPr lang="zh-CN" altLang="en-US" sz="1050"/>
                </a:p>
              </p:txBody>
            </p:sp>
            <p:sp>
              <p:nvSpPr>
                <p:cNvPr id="3804" name="Freeform 1849"/>
                <p:cNvSpPr>
                  <a:spLocks/>
                </p:cNvSpPr>
                <p:nvPr/>
              </p:nvSpPr>
              <p:spPr bwMode="auto">
                <a:xfrm>
                  <a:off x="10656" y="3205"/>
                  <a:ext cx="0" cy="35"/>
                </a:xfrm>
                <a:custGeom>
                  <a:avLst/>
                  <a:gdLst>
                    <a:gd name="T0" fmla="*/ 11 w 11"/>
                    <a:gd name="T1" fmla="*/ 0 h 33"/>
                    <a:gd name="T2" fmla="*/ 0 w 11"/>
                    <a:gd name="T3" fmla="*/ 33 h 33"/>
                    <a:gd name="T4" fmla="*/ 0 w 11"/>
                    <a:gd name="T5" fmla="*/ 33 h 33"/>
                    <a:gd name="T6" fmla="*/ 11 w 11"/>
                    <a:gd name="T7" fmla="*/ 2 h 33"/>
                    <a:gd name="T8" fmla="*/ 11 w 11"/>
                    <a:gd name="T9" fmla="*/ 0 h 33"/>
                  </a:gdLst>
                  <a:ahLst/>
                  <a:cxnLst>
                    <a:cxn ang="0">
                      <a:pos x="T0" y="T1"/>
                    </a:cxn>
                    <a:cxn ang="0">
                      <a:pos x="T2" y="T3"/>
                    </a:cxn>
                    <a:cxn ang="0">
                      <a:pos x="T4" y="T5"/>
                    </a:cxn>
                    <a:cxn ang="0">
                      <a:pos x="T6" y="T7"/>
                    </a:cxn>
                    <a:cxn ang="0">
                      <a:pos x="T8" y="T9"/>
                    </a:cxn>
                  </a:cxnLst>
                  <a:rect l="0" t="0" r="r" b="b"/>
                  <a:pathLst>
                    <a:path w="11" h="33">
                      <a:moveTo>
                        <a:pt x="11" y="0"/>
                      </a:moveTo>
                      <a:lnTo>
                        <a:pt x="0" y="33"/>
                      </a:lnTo>
                      <a:lnTo>
                        <a:pt x="0" y="33"/>
                      </a:lnTo>
                      <a:lnTo>
                        <a:pt x="11"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3805" name="Freeform 1850"/>
                <p:cNvSpPr>
                  <a:spLocks/>
                </p:cNvSpPr>
                <p:nvPr/>
              </p:nvSpPr>
              <p:spPr bwMode="auto">
                <a:xfrm>
                  <a:off x="10615" y="3179"/>
                  <a:ext cx="17" cy="61"/>
                </a:xfrm>
                <a:custGeom>
                  <a:avLst/>
                  <a:gdLst>
                    <a:gd name="T0" fmla="*/ 21 w 21"/>
                    <a:gd name="T1" fmla="*/ 0 h 52"/>
                    <a:gd name="T2" fmla="*/ 0 w 21"/>
                    <a:gd name="T3" fmla="*/ 49 h 52"/>
                    <a:gd name="T4" fmla="*/ 2 w 21"/>
                    <a:gd name="T5" fmla="*/ 52 h 52"/>
                    <a:gd name="T6" fmla="*/ 21 w 21"/>
                    <a:gd name="T7" fmla="*/ 2 h 52"/>
                    <a:gd name="T8" fmla="*/ 21 w 21"/>
                    <a:gd name="T9" fmla="*/ 0 h 52"/>
                  </a:gdLst>
                  <a:ahLst/>
                  <a:cxnLst>
                    <a:cxn ang="0">
                      <a:pos x="T0" y="T1"/>
                    </a:cxn>
                    <a:cxn ang="0">
                      <a:pos x="T2" y="T3"/>
                    </a:cxn>
                    <a:cxn ang="0">
                      <a:pos x="T4" y="T5"/>
                    </a:cxn>
                    <a:cxn ang="0">
                      <a:pos x="T6" y="T7"/>
                    </a:cxn>
                    <a:cxn ang="0">
                      <a:pos x="T8" y="T9"/>
                    </a:cxn>
                  </a:cxnLst>
                  <a:rect l="0" t="0" r="r" b="b"/>
                  <a:pathLst>
                    <a:path w="21" h="52">
                      <a:moveTo>
                        <a:pt x="21" y="0"/>
                      </a:moveTo>
                      <a:lnTo>
                        <a:pt x="0" y="49"/>
                      </a:lnTo>
                      <a:lnTo>
                        <a:pt x="2" y="52"/>
                      </a:lnTo>
                      <a:lnTo>
                        <a:pt x="21"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806" name="Freeform 1851"/>
                <p:cNvSpPr>
                  <a:spLocks/>
                </p:cNvSpPr>
                <p:nvPr/>
              </p:nvSpPr>
              <p:spPr bwMode="auto">
                <a:xfrm>
                  <a:off x="10606" y="3179"/>
                  <a:ext cx="25" cy="61"/>
                </a:xfrm>
                <a:custGeom>
                  <a:avLst/>
                  <a:gdLst>
                    <a:gd name="T0" fmla="*/ 23 w 23"/>
                    <a:gd name="T1" fmla="*/ 0 h 52"/>
                    <a:gd name="T2" fmla="*/ 0 w 23"/>
                    <a:gd name="T3" fmla="*/ 52 h 52"/>
                    <a:gd name="T4" fmla="*/ 2 w 23"/>
                    <a:gd name="T5" fmla="*/ 52 h 52"/>
                    <a:gd name="T6" fmla="*/ 23 w 23"/>
                    <a:gd name="T7" fmla="*/ 0 h 52"/>
                    <a:gd name="T8" fmla="*/ 23 w 23"/>
                    <a:gd name="T9" fmla="*/ 0 h 52"/>
                  </a:gdLst>
                  <a:ahLst/>
                  <a:cxnLst>
                    <a:cxn ang="0">
                      <a:pos x="T0" y="T1"/>
                    </a:cxn>
                    <a:cxn ang="0">
                      <a:pos x="T2" y="T3"/>
                    </a:cxn>
                    <a:cxn ang="0">
                      <a:pos x="T4" y="T5"/>
                    </a:cxn>
                    <a:cxn ang="0">
                      <a:pos x="T6" y="T7"/>
                    </a:cxn>
                    <a:cxn ang="0">
                      <a:pos x="T8" y="T9"/>
                    </a:cxn>
                  </a:cxnLst>
                  <a:rect l="0" t="0" r="r" b="b"/>
                  <a:pathLst>
                    <a:path w="23" h="52">
                      <a:moveTo>
                        <a:pt x="23" y="0"/>
                      </a:moveTo>
                      <a:lnTo>
                        <a:pt x="0" y="52"/>
                      </a:lnTo>
                      <a:lnTo>
                        <a:pt x="2" y="52"/>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3807" name="Freeform 1852"/>
                <p:cNvSpPr>
                  <a:spLocks/>
                </p:cNvSpPr>
                <p:nvPr/>
              </p:nvSpPr>
              <p:spPr bwMode="auto">
                <a:xfrm>
                  <a:off x="10623" y="3188"/>
                  <a:ext cx="17" cy="52"/>
                </a:xfrm>
                <a:custGeom>
                  <a:avLst/>
                  <a:gdLst>
                    <a:gd name="T0" fmla="*/ 19 w 21"/>
                    <a:gd name="T1" fmla="*/ 0 h 47"/>
                    <a:gd name="T2" fmla="*/ 0 w 21"/>
                    <a:gd name="T3" fmla="*/ 47 h 47"/>
                    <a:gd name="T4" fmla="*/ 2 w 21"/>
                    <a:gd name="T5" fmla="*/ 47 h 47"/>
                    <a:gd name="T6" fmla="*/ 21 w 21"/>
                    <a:gd name="T7" fmla="*/ 0 h 47"/>
                    <a:gd name="T8" fmla="*/ 19 w 21"/>
                    <a:gd name="T9" fmla="*/ 0 h 47"/>
                  </a:gdLst>
                  <a:ahLst/>
                  <a:cxnLst>
                    <a:cxn ang="0">
                      <a:pos x="T0" y="T1"/>
                    </a:cxn>
                    <a:cxn ang="0">
                      <a:pos x="T2" y="T3"/>
                    </a:cxn>
                    <a:cxn ang="0">
                      <a:pos x="T4" y="T5"/>
                    </a:cxn>
                    <a:cxn ang="0">
                      <a:pos x="T6" y="T7"/>
                    </a:cxn>
                    <a:cxn ang="0">
                      <a:pos x="T8" y="T9"/>
                    </a:cxn>
                  </a:cxnLst>
                  <a:rect l="0" t="0" r="r" b="b"/>
                  <a:pathLst>
                    <a:path w="21" h="47">
                      <a:moveTo>
                        <a:pt x="19" y="0"/>
                      </a:moveTo>
                      <a:lnTo>
                        <a:pt x="0" y="47"/>
                      </a:lnTo>
                      <a:lnTo>
                        <a:pt x="2" y="47"/>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808" name="Freeform 1853"/>
                <p:cNvSpPr>
                  <a:spLocks/>
                </p:cNvSpPr>
                <p:nvPr/>
              </p:nvSpPr>
              <p:spPr bwMode="auto">
                <a:xfrm>
                  <a:off x="10656" y="3214"/>
                  <a:ext cx="17" cy="26"/>
                </a:xfrm>
                <a:custGeom>
                  <a:avLst/>
                  <a:gdLst>
                    <a:gd name="T0" fmla="*/ 9 w 12"/>
                    <a:gd name="T1" fmla="*/ 0 h 29"/>
                    <a:gd name="T2" fmla="*/ 0 w 12"/>
                    <a:gd name="T3" fmla="*/ 29 h 29"/>
                    <a:gd name="T4" fmla="*/ 0 w 12"/>
                    <a:gd name="T5" fmla="*/ 29 h 29"/>
                    <a:gd name="T6" fmla="*/ 12 w 12"/>
                    <a:gd name="T7" fmla="*/ 0 h 29"/>
                    <a:gd name="T8" fmla="*/ 9 w 12"/>
                    <a:gd name="T9" fmla="*/ 0 h 29"/>
                  </a:gdLst>
                  <a:ahLst/>
                  <a:cxnLst>
                    <a:cxn ang="0">
                      <a:pos x="T0" y="T1"/>
                    </a:cxn>
                    <a:cxn ang="0">
                      <a:pos x="T2" y="T3"/>
                    </a:cxn>
                    <a:cxn ang="0">
                      <a:pos x="T4" y="T5"/>
                    </a:cxn>
                    <a:cxn ang="0">
                      <a:pos x="T6" y="T7"/>
                    </a:cxn>
                    <a:cxn ang="0">
                      <a:pos x="T8" y="T9"/>
                    </a:cxn>
                  </a:cxnLst>
                  <a:rect l="0" t="0" r="r" b="b"/>
                  <a:pathLst>
                    <a:path w="12" h="29">
                      <a:moveTo>
                        <a:pt x="9" y="0"/>
                      </a:moveTo>
                      <a:lnTo>
                        <a:pt x="0" y="29"/>
                      </a:lnTo>
                      <a:lnTo>
                        <a:pt x="0" y="29"/>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809" name="Freeform 1854"/>
                <p:cNvSpPr>
                  <a:spLocks/>
                </p:cNvSpPr>
                <p:nvPr/>
              </p:nvSpPr>
              <p:spPr bwMode="auto">
                <a:xfrm>
                  <a:off x="10673" y="3214"/>
                  <a:ext cx="8" cy="26"/>
                </a:xfrm>
                <a:custGeom>
                  <a:avLst/>
                  <a:gdLst>
                    <a:gd name="T0" fmla="*/ 7 w 9"/>
                    <a:gd name="T1" fmla="*/ 0 h 21"/>
                    <a:gd name="T2" fmla="*/ 0 w 9"/>
                    <a:gd name="T3" fmla="*/ 21 h 21"/>
                    <a:gd name="T4" fmla="*/ 2 w 9"/>
                    <a:gd name="T5" fmla="*/ 21 h 21"/>
                    <a:gd name="T6" fmla="*/ 9 w 9"/>
                    <a:gd name="T7" fmla="*/ 0 h 21"/>
                    <a:gd name="T8" fmla="*/ 7 w 9"/>
                    <a:gd name="T9" fmla="*/ 0 h 21"/>
                  </a:gdLst>
                  <a:ahLst/>
                  <a:cxnLst>
                    <a:cxn ang="0">
                      <a:pos x="T0" y="T1"/>
                    </a:cxn>
                    <a:cxn ang="0">
                      <a:pos x="T2" y="T3"/>
                    </a:cxn>
                    <a:cxn ang="0">
                      <a:pos x="T4" y="T5"/>
                    </a:cxn>
                    <a:cxn ang="0">
                      <a:pos x="T6" y="T7"/>
                    </a:cxn>
                    <a:cxn ang="0">
                      <a:pos x="T8" y="T9"/>
                    </a:cxn>
                  </a:cxnLst>
                  <a:rect l="0" t="0" r="r" b="b"/>
                  <a:pathLst>
                    <a:path w="9" h="21">
                      <a:moveTo>
                        <a:pt x="7" y="0"/>
                      </a:moveTo>
                      <a:lnTo>
                        <a:pt x="0" y="21"/>
                      </a:lnTo>
                      <a:lnTo>
                        <a:pt x="2" y="21"/>
                      </a:lnTo>
                      <a:lnTo>
                        <a:pt x="9"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3810" name="Freeform 1855"/>
                <p:cNvSpPr>
                  <a:spLocks/>
                </p:cNvSpPr>
                <p:nvPr/>
              </p:nvSpPr>
              <p:spPr bwMode="auto">
                <a:xfrm>
                  <a:off x="10606" y="3179"/>
                  <a:ext cx="25" cy="61"/>
                </a:xfrm>
                <a:custGeom>
                  <a:avLst/>
                  <a:gdLst>
                    <a:gd name="T0" fmla="*/ 23 w 26"/>
                    <a:gd name="T1" fmla="*/ 0 h 56"/>
                    <a:gd name="T2" fmla="*/ 0 w 26"/>
                    <a:gd name="T3" fmla="*/ 54 h 56"/>
                    <a:gd name="T4" fmla="*/ 2 w 26"/>
                    <a:gd name="T5" fmla="*/ 56 h 56"/>
                    <a:gd name="T6" fmla="*/ 26 w 26"/>
                    <a:gd name="T7" fmla="*/ 2 h 56"/>
                    <a:gd name="T8" fmla="*/ 23 w 26"/>
                    <a:gd name="T9" fmla="*/ 0 h 56"/>
                  </a:gdLst>
                  <a:ahLst/>
                  <a:cxnLst>
                    <a:cxn ang="0">
                      <a:pos x="T0" y="T1"/>
                    </a:cxn>
                    <a:cxn ang="0">
                      <a:pos x="T2" y="T3"/>
                    </a:cxn>
                    <a:cxn ang="0">
                      <a:pos x="T4" y="T5"/>
                    </a:cxn>
                    <a:cxn ang="0">
                      <a:pos x="T6" y="T7"/>
                    </a:cxn>
                    <a:cxn ang="0">
                      <a:pos x="T8" y="T9"/>
                    </a:cxn>
                  </a:cxnLst>
                  <a:rect l="0" t="0" r="r" b="b"/>
                  <a:pathLst>
                    <a:path w="26" h="56">
                      <a:moveTo>
                        <a:pt x="23" y="0"/>
                      </a:moveTo>
                      <a:lnTo>
                        <a:pt x="0" y="54"/>
                      </a:lnTo>
                      <a:lnTo>
                        <a:pt x="2" y="56"/>
                      </a:lnTo>
                      <a:lnTo>
                        <a:pt x="26" y="2"/>
                      </a:lnTo>
                      <a:lnTo>
                        <a:pt x="23" y="0"/>
                      </a:lnTo>
                      <a:close/>
                    </a:path>
                  </a:pathLst>
                </a:custGeom>
                <a:solidFill>
                  <a:srgbClr val="01AAE5"/>
                </a:solidFill>
                <a:ln>
                  <a:noFill/>
                </a:ln>
                <a:extLst/>
              </p:spPr>
              <p:txBody>
                <a:bodyPr/>
                <a:lstStyle/>
                <a:p>
                  <a:pPr eaLnBrk="1" hangingPunct="1">
                    <a:defRPr/>
                  </a:pPr>
                  <a:endParaRPr lang="zh-CN" altLang="en-US" sz="1050"/>
                </a:p>
              </p:txBody>
            </p:sp>
            <p:sp>
              <p:nvSpPr>
                <p:cNvPr id="3811" name="Freeform 1856"/>
                <p:cNvSpPr>
                  <a:spLocks/>
                </p:cNvSpPr>
                <p:nvPr/>
              </p:nvSpPr>
              <p:spPr bwMode="auto">
                <a:xfrm>
                  <a:off x="10665" y="3214"/>
                  <a:ext cx="8" cy="26"/>
                </a:xfrm>
                <a:custGeom>
                  <a:avLst/>
                  <a:gdLst>
                    <a:gd name="T0" fmla="*/ 9 w 9"/>
                    <a:gd name="T1" fmla="*/ 0 h 26"/>
                    <a:gd name="T2" fmla="*/ 0 w 9"/>
                    <a:gd name="T3" fmla="*/ 26 h 26"/>
                    <a:gd name="T4" fmla="*/ 0 w 9"/>
                    <a:gd name="T5" fmla="*/ 26 h 26"/>
                    <a:gd name="T6" fmla="*/ 9 w 9"/>
                    <a:gd name="T7" fmla="*/ 2 h 26"/>
                    <a:gd name="T8" fmla="*/ 9 w 9"/>
                    <a:gd name="T9" fmla="*/ 0 h 26"/>
                  </a:gdLst>
                  <a:ahLst/>
                  <a:cxnLst>
                    <a:cxn ang="0">
                      <a:pos x="T0" y="T1"/>
                    </a:cxn>
                    <a:cxn ang="0">
                      <a:pos x="T2" y="T3"/>
                    </a:cxn>
                    <a:cxn ang="0">
                      <a:pos x="T4" y="T5"/>
                    </a:cxn>
                    <a:cxn ang="0">
                      <a:pos x="T6" y="T7"/>
                    </a:cxn>
                    <a:cxn ang="0">
                      <a:pos x="T8" y="T9"/>
                    </a:cxn>
                  </a:cxnLst>
                  <a:rect l="0" t="0" r="r" b="b"/>
                  <a:pathLst>
                    <a:path w="9" h="26">
                      <a:moveTo>
                        <a:pt x="9" y="0"/>
                      </a:moveTo>
                      <a:lnTo>
                        <a:pt x="0" y="26"/>
                      </a:lnTo>
                      <a:lnTo>
                        <a:pt x="0" y="26"/>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812" name="Freeform 1857"/>
                <p:cNvSpPr>
                  <a:spLocks/>
                </p:cNvSpPr>
                <p:nvPr/>
              </p:nvSpPr>
              <p:spPr bwMode="auto">
                <a:xfrm>
                  <a:off x="10698"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813" name="Freeform 1858"/>
                <p:cNvSpPr>
                  <a:spLocks/>
                </p:cNvSpPr>
                <p:nvPr/>
              </p:nvSpPr>
              <p:spPr bwMode="auto">
                <a:xfrm>
                  <a:off x="10714" y="3231"/>
                  <a:ext cx="0" cy="9"/>
                </a:xfrm>
                <a:custGeom>
                  <a:avLst/>
                  <a:gdLst>
                    <a:gd name="T0" fmla="*/ 5 w 5"/>
                    <a:gd name="T1" fmla="*/ 0 h 12"/>
                    <a:gd name="T2" fmla="*/ 0 w 5"/>
                    <a:gd name="T3" fmla="*/ 10 h 12"/>
                    <a:gd name="T4" fmla="*/ 2 w 5"/>
                    <a:gd name="T5" fmla="*/ 12 h 12"/>
                    <a:gd name="T6" fmla="*/ 5 w 5"/>
                    <a:gd name="T7" fmla="*/ 0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lnTo>
                        <a:pt x="0" y="10"/>
                      </a:lnTo>
                      <a:lnTo>
                        <a:pt x="2" y="12"/>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3814" name="Freeform 1859"/>
                <p:cNvSpPr>
                  <a:spLocks/>
                </p:cNvSpPr>
                <p:nvPr/>
              </p:nvSpPr>
              <p:spPr bwMode="auto">
                <a:xfrm>
                  <a:off x="10706" y="3231"/>
                  <a:ext cx="8" cy="9"/>
                </a:xfrm>
                <a:custGeom>
                  <a:avLst/>
                  <a:gdLst>
                    <a:gd name="T0" fmla="*/ 3 w 5"/>
                    <a:gd name="T1" fmla="*/ 0 h 12"/>
                    <a:gd name="T2" fmla="*/ 0 w 5"/>
                    <a:gd name="T3" fmla="*/ 12 h 12"/>
                    <a:gd name="T4" fmla="*/ 0 w 5"/>
                    <a:gd name="T5" fmla="*/ 12 h 12"/>
                    <a:gd name="T6" fmla="*/ 5 w 5"/>
                    <a:gd name="T7" fmla="*/ 0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lnTo>
                        <a:pt x="0" y="12"/>
                      </a:lnTo>
                      <a:lnTo>
                        <a:pt x="0" y="12"/>
                      </a:lnTo>
                      <a:lnTo>
                        <a:pt x="5" y="0"/>
                      </a:lnTo>
                      <a:lnTo>
                        <a:pt x="3" y="0"/>
                      </a:lnTo>
                      <a:close/>
                    </a:path>
                  </a:pathLst>
                </a:custGeom>
                <a:solidFill>
                  <a:srgbClr val="01AAE5"/>
                </a:solidFill>
                <a:ln>
                  <a:noFill/>
                </a:ln>
                <a:extLst/>
              </p:spPr>
              <p:txBody>
                <a:bodyPr/>
                <a:lstStyle/>
                <a:p>
                  <a:pPr eaLnBrk="1" hangingPunct="1">
                    <a:defRPr/>
                  </a:pPr>
                  <a:endParaRPr lang="zh-CN" altLang="en-US" sz="1050"/>
                </a:p>
              </p:txBody>
            </p:sp>
            <p:sp>
              <p:nvSpPr>
                <p:cNvPr id="3815" name="Freeform 1860"/>
                <p:cNvSpPr>
                  <a:spLocks/>
                </p:cNvSpPr>
                <p:nvPr/>
              </p:nvSpPr>
              <p:spPr bwMode="auto">
                <a:xfrm>
                  <a:off x="10690" y="3222"/>
                  <a:ext cx="0" cy="17"/>
                </a:xfrm>
                <a:custGeom>
                  <a:avLst/>
                  <a:gdLst>
                    <a:gd name="T0" fmla="*/ 5 w 7"/>
                    <a:gd name="T1" fmla="*/ 0 h 16"/>
                    <a:gd name="T2" fmla="*/ 0 w 7"/>
                    <a:gd name="T3" fmla="*/ 14 h 16"/>
                    <a:gd name="T4" fmla="*/ 2 w 7"/>
                    <a:gd name="T5" fmla="*/ 16 h 16"/>
                    <a:gd name="T6" fmla="*/ 7 w 7"/>
                    <a:gd name="T7" fmla="*/ 0 h 16"/>
                    <a:gd name="T8" fmla="*/ 5 w 7"/>
                    <a:gd name="T9" fmla="*/ 0 h 16"/>
                  </a:gdLst>
                  <a:ahLst/>
                  <a:cxnLst>
                    <a:cxn ang="0">
                      <a:pos x="T0" y="T1"/>
                    </a:cxn>
                    <a:cxn ang="0">
                      <a:pos x="T2" y="T3"/>
                    </a:cxn>
                    <a:cxn ang="0">
                      <a:pos x="T4" y="T5"/>
                    </a:cxn>
                    <a:cxn ang="0">
                      <a:pos x="T6" y="T7"/>
                    </a:cxn>
                    <a:cxn ang="0">
                      <a:pos x="T8" y="T9"/>
                    </a:cxn>
                  </a:cxnLst>
                  <a:rect l="0" t="0" r="r" b="b"/>
                  <a:pathLst>
                    <a:path w="7" h="16">
                      <a:moveTo>
                        <a:pt x="5" y="0"/>
                      </a:moveTo>
                      <a:lnTo>
                        <a:pt x="0" y="14"/>
                      </a:lnTo>
                      <a:lnTo>
                        <a:pt x="2" y="16"/>
                      </a:lnTo>
                      <a:lnTo>
                        <a:pt x="7"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3816" name="Freeform 1861"/>
                <p:cNvSpPr>
                  <a:spLocks/>
                </p:cNvSpPr>
                <p:nvPr/>
              </p:nvSpPr>
              <p:spPr bwMode="auto">
                <a:xfrm>
                  <a:off x="10714" y="3231"/>
                  <a:ext cx="8" cy="9"/>
                </a:xfrm>
                <a:custGeom>
                  <a:avLst/>
                  <a:gdLst>
                    <a:gd name="T0" fmla="*/ 2 w 5"/>
                    <a:gd name="T1" fmla="*/ 0 h 12"/>
                    <a:gd name="T2" fmla="*/ 0 w 5"/>
                    <a:gd name="T3" fmla="*/ 12 h 12"/>
                    <a:gd name="T4" fmla="*/ 2 w 5"/>
                    <a:gd name="T5" fmla="*/ 12 h 12"/>
                    <a:gd name="T6" fmla="*/ 5 w 5"/>
                    <a:gd name="T7" fmla="*/ 2 h 12"/>
                    <a:gd name="T8" fmla="*/ 2 w 5"/>
                    <a:gd name="T9" fmla="*/ 0 h 12"/>
                  </a:gdLst>
                  <a:ahLst/>
                  <a:cxnLst>
                    <a:cxn ang="0">
                      <a:pos x="T0" y="T1"/>
                    </a:cxn>
                    <a:cxn ang="0">
                      <a:pos x="T2" y="T3"/>
                    </a:cxn>
                    <a:cxn ang="0">
                      <a:pos x="T4" y="T5"/>
                    </a:cxn>
                    <a:cxn ang="0">
                      <a:pos x="T6" y="T7"/>
                    </a:cxn>
                    <a:cxn ang="0">
                      <a:pos x="T8" y="T9"/>
                    </a:cxn>
                  </a:cxnLst>
                  <a:rect l="0" t="0" r="r" b="b"/>
                  <a:pathLst>
                    <a:path w="5" h="12">
                      <a:moveTo>
                        <a:pt x="2" y="0"/>
                      </a:moveTo>
                      <a:lnTo>
                        <a:pt x="0" y="12"/>
                      </a:lnTo>
                      <a:lnTo>
                        <a:pt x="2" y="12"/>
                      </a:lnTo>
                      <a:lnTo>
                        <a:pt x="5" y="2"/>
                      </a:lnTo>
                      <a:lnTo>
                        <a:pt x="2" y="0"/>
                      </a:lnTo>
                      <a:close/>
                    </a:path>
                  </a:pathLst>
                </a:custGeom>
                <a:solidFill>
                  <a:srgbClr val="01AAE5"/>
                </a:solidFill>
                <a:ln>
                  <a:noFill/>
                </a:ln>
                <a:extLst/>
              </p:spPr>
              <p:txBody>
                <a:bodyPr/>
                <a:lstStyle/>
                <a:p>
                  <a:pPr eaLnBrk="1" hangingPunct="1">
                    <a:defRPr/>
                  </a:pPr>
                  <a:endParaRPr lang="zh-CN" altLang="en-US" sz="1050"/>
                </a:p>
              </p:txBody>
            </p:sp>
            <p:sp>
              <p:nvSpPr>
                <p:cNvPr id="3817" name="Freeform 1862"/>
                <p:cNvSpPr>
                  <a:spLocks/>
                </p:cNvSpPr>
                <p:nvPr/>
              </p:nvSpPr>
              <p:spPr bwMode="auto">
                <a:xfrm>
                  <a:off x="10681" y="3214"/>
                  <a:ext cx="8" cy="26"/>
                </a:xfrm>
                <a:custGeom>
                  <a:avLst/>
                  <a:gdLst>
                    <a:gd name="T0" fmla="*/ 7 w 7"/>
                    <a:gd name="T1" fmla="*/ 0 h 19"/>
                    <a:gd name="T2" fmla="*/ 0 w 7"/>
                    <a:gd name="T3" fmla="*/ 19 h 19"/>
                    <a:gd name="T4" fmla="*/ 2 w 7"/>
                    <a:gd name="T5" fmla="*/ 19 h 19"/>
                    <a:gd name="T6" fmla="*/ 7 w 7"/>
                    <a:gd name="T7" fmla="*/ 2 h 19"/>
                    <a:gd name="T8" fmla="*/ 7 w 7"/>
                    <a:gd name="T9" fmla="*/ 0 h 19"/>
                  </a:gdLst>
                  <a:ahLst/>
                  <a:cxnLst>
                    <a:cxn ang="0">
                      <a:pos x="T0" y="T1"/>
                    </a:cxn>
                    <a:cxn ang="0">
                      <a:pos x="T2" y="T3"/>
                    </a:cxn>
                    <a:cxn ang="0">
                      <a:pos x="T4" y="T5"/>
                    </a:cxn>
                    <a:cxn ang="0">
                      <a:pos x="T6" y="T7"/>
                    </a:cxn>
                    <a:cxn ang="0">
                      <a:pos x="T8" y="T9"/>
                    </a:cxn>
                  </a:cxnLst>
                  <a:rect l="0" t="0" r="r" b="b"/>
                  <a:pathLst>
                    <a:path w="7" h="19">
                      <a:moveTo>
                        <a:pt x="7" y="0"/>
                      </a:moveTo>
                      <a:lnTo>
                        <a:pt x="0" y="19"/>
                      </a:lnTo>
                      <a:lnTo>
                        <a:pt x="2" y="19"/>
                      </a:lnTo>
                      <a:lnTo>
                        <a:pt x="7"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818" name="Freeform 1863"/>
                <p:cNvSpPr>
                  <a:spLocks/>
                </p:cNvSpPr>
                <p:nvPr/>
              </p:nvSpPr>
              <p:spPr bwMode="auto">
                <a:xfrm>
                  <a:off x="10690" y="3222"/>
                  <a:ext cx="8" cy="17"/>
                </a:xfrm>
                <a:custGeom>
                  <a:avLst/>
                  <a:gdLst>
                    <a:gd name="T0" fmla="*/ 5 w 5"/>
                    <a:gd name="T1" fmla="*/ 0 h 14"/>
                    <a:gd name="T2" fmla="*/ 0 w 5"/>
                    <a:gd name="T3" fmla="*/ 14 h 14"/>
                    <a:gd name="T4" fmla="*/ 2 w 5"/>
                    <a:gd name="T5" fmla="*/ 14 h 14"/>
                    <a:gd name="T6" fmla="*/ 5 w 5"/>
                    <a:gd name="T7" fmla="*/ 0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lnTo>
                        <a:pt x="0" y="14"/>
                      </a:lnTo>
                      <a:lnTo>
                        <a:pt x="2" y="14"/>
                      </a:lnTo>
                      <a:lnTo>
                        <a:pt x="5" y="0"/>
                      </a:lnTo>
                      <a:lnTo>
                        <a:pt x="5" y="0"/>
                      </a:lnTo>
                      <a:close/>
                    </a:path>
                  </a:pathLst>
                </a:custGeom>
                <a:solidFill>
                  <a:srgbClr val="01AAE5"/>
                </a:solidFill>
                <a:ln>
                  <a:noFill/>
                </a:ln>
                <a:extLst/>
              </p:spPr>
              <p:txBody>
                <a:bodyPr/>
                <a:lstStyle/>
                <a:p>
                  <a:pPr eaLnBrk="1" hangingPunct="1">
                    <a:defRPr/>
                  </a:pPr>
                  <a:endParaRPr lang="zh-CN" altLang="en-US" sz="1050"/>
                </a:p>
              </p:txBody>
            </p:sp>
            <p:sp>
              <p:nvSpPr>
                <p:cNvPr id="3819" name="Freeform 1864"/>
                <p:cNvSpPr>
                  <a:spLocks/>
                </p:cNvSpPr>
                <p:nvPr/>
              </p:nvSpPr>
              <p:spPr bwMode="auto">
                <a:xfrm>
                  <a:off x="11031" y="3249"/>
                  <a:ext cx="8" cy="17"/>
                </a:xfrm>
                <a:custGeom>
                  <a:avLst/>
                  <a:gdLst>
                    <a:gd name="T0" fmla="*/ 0 w 5"/>
                    <a:gd name="T1" fmla="*/ 0 h 19"/>
                    <a:gd name="T2" fmla="*/ 3 w 5"/>
                    <a:gd name="T3" fmla="*/ 19 h 19"/>
                    <a:gd name="T4" fmla="*/ 5 w 5"/>
                    <a:gd name="T5" fmla="*/ 19 h 19"/>
                    <a:gd name="T6" fmla="*/ 3 w 5"/>
                    <a:gd name="T7" fmla="*/ 0 h 19"/>
                    <a:gd name="T8" fmla="*/ 0 w 5"/>
                    <a:gd name="T9" fmla="*/ 0 h 19"/>
                  </a:gdLst>
                  <a:ahLst/>
                  <a:cxnLst>
                    <a:cxn ang="0">
                      <a:pos x="T0" y="T1"/>
                    </a:cxn>
                    <a:cxn ang="0">
                      <a:pos x="T2" y="T3"/>
                    </a:cxn>
                    <a:cxn ang="0">
                      <a:pos x="T4" y="T5"/>
                    </a:cxn>
                    <a:cxn ang="0">
                      <a:pos x="T6" y="T7"/>
                    </a:cxn>
                    <a:cxn ang="0">
                      <a:pos x="T8" y="T9"/>
                    </a:cxn>
                  </a:cxnLst>
                  <a:rect l="0" t="0" r="r" b="b"/>
                  <a:pathLst>
                    <a:path w="5" h="19">
                      <a:moveTo>
                        <a:pt x="0" y="0"/>
                      </a:moveTo>
                      <a:lnTo>
                        <a:pt x="3" y="19"/>
                      </a:lnTo>
                      <a:lnTo>
                        <a:pt x="5" y="19"/>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0" name="Freeform 1865"/>
                <p:cNvSpPr>
                  <a:spLocks/>
                </p:cNvSpPr>
                <p:nvPr/>
              </p:nvSpPr>
              <p:spPr bwMode="auto">
                <a:xfrm>
                  <a:off x="11039" y="3249"/>
                  <a:ext cx="0" cy="17"/>
                </a:xfrm>
                <a:custGeom>
                  <a:avLst/>
                  <a:gdLst>
                    <a:gd name="T0" fmla="*/ 0 w 5"/>
                    <a:gd name="T1" fmla="*/ 0 h 16"/>
                    <a:gd name="T2" fmla="*/ 3 w 5"/>
                    <a:gd name="T3" fmla="*/ 16 h 16"/>
                    <a:gd name="T4" fmla="*/ 5 w 5"/>
                    <a:gd name="T5" fmla="*/ 16 h 16"/>
                    <a:gd name="T6" fmla="*/ 3 w 5"/>
                    <a:gd name="T7" fmla="*/ 0 h 16"/>
                    <a:gd name="T8" fmla="*/ 0 w 5"/>
                    <a:gd name="T9" fmla="*/ 0 h 16"/>
                  </a:gdLst>
                  <a:ahLst/>
                  <a:cxnLst>
                    <a:cxn ang="0">
                      <a:pos x="T0" y="T1"/>
                    </a:cxn>
                    <a:cxn ang="0">
                      <a:pos x="T2" y="T3"/>
                    </a:cxn>
                    <a:cxn ang="0">
                      <a:pos x="T4" y="T5"/>
                    </a:cxn>
                    <a:cxn ang="0">
                      <a:pos x="T6" y="T7"/>
                    </a:cxn>
                    <a:cxn ang="0">
                      <a:pos x="T8" y="T9"/>
                    </a:cxn>
                  </a:cxnLst>
                  <a:rect l="0" t="0" r="r" b="b"/>
                  <a:pathLst>
                    <a:path w="5" h="16">
                      <a:moveTo>
                        <a:pt x="0" y="0"/>
                      </a:moveTo>
                      <a:lnTo>
                        <a:pt x="3" y="16"/>
                      </a:lnTo>
                      <a:lnTo>
                        <a:pt x="5" y="1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1" name="Freeform 1866"/>
                <p:cNvSpPr>
                  <a:spLocks/>
                </p:cNvSpPr>
                <p:nvPr/>
              </p:nvSpPr>
              <p:spPr bwMode="auto">
                <a:xfrm>
                  <a:off x="11047" y="3249"/>
                  <a:ext cx="0" cy="17"/>
                </a:xfrm>
                <a:custGeom>
                  <a:avLst/>
                  <a:gdLst>
                    <a:gd name="T0" fmla="*/ 0 w 3"/>
                    <a:gd name="T1" fmla="*/ 0 h 14"/>
                    <a:gd name="T2" fmla="*/ 3 w 3"/>
                    <a:gd name="T3" fmla="*/ 14 h 14"/>
                    <a:gd name="T4" fmla="*/ 3 w 3"/>
                    <a:gd name="T5" fmla="*/ 14 h 14"/>
                    <a:gd name="T6" fmla="*/ 3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2" name="Freeform 1867"/>
                <p:cNvSpPr>
                  <a:spLocks/>
                </p:cNvSpPr>
                <p:nvPr/>
              </p:nvSpPr>
              <p:spPr bwMode="auto">
                <a:xfrm>
                  <a:off x="11022" y="3240"/>
                  <a:ext cx="0" cy="26"/>
                </a:xfrm>
                <a:custGeom>
                  <a:avLst/>
                  <a:gdLst>
                    <a:gd name="T0" fmla="*/ 0 w 5"/>
                    <a:gd name="T1" fmla="*/ 0 h 26"/>
                    <a:gd name="T2" fmla="*/ 2 w 5"/>
                    <a:gd name="T3" fmla="*/ 26 h 26"/>
                    <a:gd name="T4" fmla="*/ 5 w 5"/>
                    <a:gd name="T5" fmla="*/ 24 h 26"/>
                    <a:gd name="T6" fmla="*/ 2 w 5"/>
                    <a:gd name="T7" fmla="*/ 0 h 26"/>
                    <a:gd name="T8" fmla="*/ 0 w 5"/>
                    <a:gd name="T9" fmla="*/ 0 h 26"/>
                  </a:gdLst>
                  <a:ahLst/>
                  <a:cxnLst>
                    <a:cxn ang="0">
                      <a:pos x="T0" y="T1"/>
                    </a:cxn>
                    <a:cxn ang="0">
                      <a:pos x="T2" y="T3"/>
                    </a:cxn>
                    <a:cxn ang="0">
                      <a:pos x="T4" y="T5"/>
                    </a:cxn>
                    <a:cxn ang="0">
                      <a:pos x="T6" y="T7"/>
                    </a:cxn>
                    <a:cxn ang="0">
                      <a:pos x="T8" y="T9"/>
                    </a:cxn>
                  </a:cxnLst>
                  <a:rect l="0" t="0" r="r" b="b"/>
                  <a:pathLst>
                    <a:path w="5" h="26">
                      <a:moveTo>
                        <a:pt x="0" y="0"/>
                      </a:moveTo>
                      <a:lnTo>
                        <a:pt x="2" y="26"/>
                      </a:lnTo>
                      <a:lnTo>
                        <a:pt x="5"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3" name="Freeform 1868"/>
                <p:cNvSpPr>
                  <a:spLocks/>
                </p:cNvSpPr>
                <p:nvPr/>
              </p:nvSpPr>
              <p:spPr bwMode="auto">
                <a:xfrm>
                  <a:off x="11014" y="3240"/>
                  <a:ext cx="0" cy="35"/>
                </a:xfrm>
                <a:custGeom>
                  <a:avLst/>
                  <a:gdLst>
                    <a:gd name="T0" fmla="*/ 0 w 5"/>
                    <a:gd name="T1" fmla="*/ 0 h 29"/>
                    <a:gd name="T2" fmla="*/ 5 w 5"/>
                    <a:gd name="T3" fmla="*/ 29 h 29"/>
                    <a:gd name="T4" fmla="*/ 5 w 5"/>
                    <a:gd name="T5" fmla="*/ 26 h 29"/>
                    <a:gd name="T6" fmla="*/ 2 w 5"/>
                    <a:gd name="T7" fmla="*/ 0 h 29"/>
                    <a:gd name="T8" fmla="*/ 0 w 5"/>
                    <a:gd name="T9" fmla="*/ 0 h 29"/>
                  </a:gdLst>
                  <a:ahLst/>
                  <a:cxnLst>
                    <a:cxn ang="0">
                      <a:pos x="T0" y="T1"/>
                    </a:cxn>
                    <a:cxn ang="0">
                      <a:pos x="T2" y="T3"/>
                    </a:cxn>
                    <a:cxn ang="0">
                      <a:pos x="T4" y="T5"/>
                    </a:cxn>
                    <a:cxn ang="0">
                      <a:pos x="T6" y="T7"/>
                    </a:cxn>
                    <a:cxn ang="0">
                      <a:pos x="T8" y="T9"/>
                    </a:cxn>
                  </a:cxnLst>
                  <a:rect l="0" t="0" r="r" b="b"/>
                  <a:pathLst>
                    <a:path w="5" h="29">
                      <a:moveTo>
                        <a:pt x="0" y="0"/>
                      </a:moveTo>
                      <a:lnTo>
                        <a:pt x="5" y="29"/>
                      </a:lnTo>
                      <a:lnTo>
                        <a:pt x="5"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4" name="Freeform 1869"/>
                <p:cNvSpPr>
                  <a:spLocks/>
                </p:cNvSpPr>
                <p:nvPr/>
              </p:nvSpPr>
              <p:spPr bwMode="auto">
                <a:xfrm>
                  <a:off x="11006" y="3240"/>
                  <a:ext cx="8" cy="35"/>
                </a:xfrm>
                <a:custGeom>
                  <a:avLst/>
                  <a:gdLst>
                    <a:gd name="T0" fmla="*/ 0 w 5"/>
                    <a:gd name="T1" fmla="*/ 0 h 35"/>
                    <a:gd name="T2" fmla="*/ 3 w 5"/>
                    <a:gd name="T3" fmla="*/ 35 h 35"/>
                    <a:gd name="T4" fmla="*/ 5 w 5"/>
                    <a:gd name="T5" fmla="*/ 33 h 35"/>
                    <a:gd name="T6" fmla="*/ 0 w 5"/>
                    <a:gd name="T7" fmla="*/ 0 h 35"/>
                    <a:gd name="T8" fmla="*/ 0 w 5"/>
                    <a:gd name="T9" fmla="*/ 0 h 35"/>
                  </a:gdLst>
                  <a:ahLst/>
                  <a:cxnLst>
                    <a:cxn ang="0">
                      <a:pos x="T0" y="T1"/>
                    </a:cxn>
                    <a:cxn ang="0">
                      <a:pos x="T2" y="T3"/>
                    </a:cxn>
                    <a:cxn ang="0">
                      <a:pos x="T4" y="T5"/>
                    </a:cxn>
                    <a:cxn ang="0">
                      <a:pos x="T6" y="T7"/>
                    </a:cxn>
                    <a:cxn ang="0">
                      <a:pos x="T8" y="T9"/>
                    </a:cxn>
                  </a:cxnLst>
                  <a:rect l="0" t="0" r="r" b="b"/>
                  <a:pathLst>
                    <a:path w="5" h="35">
                      <a:moveTo>
                        <a:pt x="0" y="0"/>
                      </a:moveTo>
                      <a:lnTo>
                        <a:pt x="3" y="35"/>
                      </a:lnTo>
                      <a:lnTo>
                        <a:pt x="5" y="3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5" name="Freeform 1870"/>
                <p:cNvSpPr>
                  <a:spLocks/>
                </p:cNvSpPr>
                <p:nvPr/>
              </p:nvSpPr>
              <p:spPr bwMode="auto">
                <a:xfrm>
                  <a:off x="11014" y="3240"/>
                  <a:ext cx="0" cy="35"/>
                </a:xfrm>
                <a:custGeom>
                  <a:avLst/>
                  <a:gdLst>
                    <a:gd name="T0" fmla="*/ 0 w 3"/>
                    <a:gd name="T1" fmla="*/ 0 h 31"/>
                    <a:gd name="T2" fmla="*/ 3 w 3"/>
                    <a:gd name="T3" fmla="*/ 31 h 31"/>
                    <a:gd name="T4" fmla="*/ 3 w 3"/>
                    <a:gd name="T5" fmla="*/ 29 h 31"/>
                    <a:gd name="T6" fmla="*/ 0 w 3"/>
                    <a:gd name="T7" fmla="*/ 0 h 31"/>
                    <a:gd name="T8" fmla="*/ 0 w 3"/>
                    <a:gd name="T9" fmla="*/ 0 h 31"/>
                  </a:gdLst>
                  <a:ahLst/>
                  <a:cxnLst>
                    <a:cxn ang="0">
                      <a:pos x="T0" y="T1"/>
                    </a:cxn>
                    <a:cxn ang="0">
                      <a:pos x="T2" y="T3"/>
                    </a:cxn>
                    <a:cxn ang="0">
                      <a:pos x="T4" y="T5"/>
                    </a:cxn>
                    <a:cxn ang="0">
                      <a:pos x="T6" y="T7"/>
                    </a:cxn>
                    <a:cxn ang="0">
                      <a:pos x="T8" y="T9"/>
                    </a:cxn>
                  </a:cxnLst>
                  <a:rect l="0" t="0" r="r" b="b"/>
                  <a:pathLst>
                    <a:path w="3" h="31">
                      <a:moveTo>
                        <a:pt x="0" y="0"/>
                      </a:moveTo>
                      <a:lnTo>
                        <a:pt x="3" y="31"/>
                      </a:lnTo>
                      <a:lnTo>
                        <a:pt x="3" y="2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6" name="Freeform 1871"/>
                <p:cNvSpPr>
                  <a:spLocks/>
                </p:cNvSpPr>
                <p:nvPr/>
              </p:nvSpPr>
              <p:spPr bwMode="auto">
                <a:xfrm>
                  <a:off x="11047" y="3249"/>
                  <a:ext cx="8" cy="17"/>
                </a:xfrm>
                <a:custGeom>
                  <a:avLst/>
                  <a:gdLst>
                    <a:gd name="T0" fmla="*/ 0 w 3"/>
                    <a:gd name="T1" fmla="*/ 0 h 14"/>
                    <a:gd name="T2" fmla="*/ 3 w 3"/>
                    <a:gd name="T3" fmla="*/ 14 h 14"/>
                    <a:gd name="T4" fmla="*/ 3 w 3"/>
                    <a:gd name="T5" fmla="*/ 11 h 14"/>
                    <a:gd name="T6" fmla="*/ 0 w 3"/>
                    <a:gd name="T7" fmla="*/ 0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lnTo>
                        <a:pt x="3" y="14"/>
                      </a:lnTo>
                      <a:lnTo>
                        <a:pt x="3"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7" name="Freeform 1872"/>
                <p:cNvSpPr>
                  <a:spLocks/>
                </p:cNvSpPr>
                <p:nvPr/>
              </p:nvSpPr>
              <p:spPr bwMode="auto">
                <a:xfrm>
                  <a:off x="11064"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8" name="Freeform 1873"/>
                <p:cNvSpPr>
                  <a:spLocks/>
                </p:cNvSpPr>
                <p:nvPr/>
              </p:nvSpPr>
              <p:spPr bwMode="auto">
                <a:xfrm>
                  <a:off x="11081" y="3240"/>
                  <a:ext cx="8" cy="17"/>
                </a:xfrm>
                <a:custGeom>
                  <a:avLst/>
                  <a:gdLst>
                    <a:gd name="T0" fmla="*/ 0 w 2"/>
                    <a:gd name="T1" fmla="*/ 0 h 12"/>
                    <a:gd name="T2" fmla="*/ 2 w 2"/>
                    <a:gd name="T3" fmla="*/ 12 h 12"/>
                    <a:gd name="T4" fmla="*/ 2 w 2"/>
                    <a:gd name="T5" fmla="*/ 9 h 12"/>
                    <a:gd name="T6" fmla="*/ 0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2" y="12"/>
                      </a:lnTo>
                      <a:lnTo>
                        <a:pt x="2" y="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29" name="Freeform 1874"/>
                <p:cNvSpPr>
                  <a:spLocks/>
                </p:cNvSpPr>
                <p:nvPr/>
              </p:nvSpPr>
              <p:spPr bwMode="auto">
                <a:xfrm>
                  <a:off x="11097" y="3240"/>
                  <a:ext cx="0" cy="9"/>
                </a:xfrm>
                <a:custGeom>
                  <a:avLst/>
                  <a:gdLst>
                    <a:gd name="T0" fmla="*/ 0 w 5"/>
                    <a:gd name="T1" fmla="*/ 3 h 12"/>
                    <a:gd name="T2" fmla="*/ 3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3"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830" name="Freeform 1875"/>
                <p:cNvSpPr>
                  <a:spLocks/>
                </p:cNvSpPr>
                <p:nvPr/>
              </p:nvSpPr>
              <p:spPr bwMode="auto">
                <a:xfrm>
                  <a:off x="11089" y="3240"/>
                  <a:ext cx="8" cy="9"/>
                </a:xfrm>
                <a:custGeom>
                  <a:avLst/>
                  <a:gdLst>
                    <a:gd name="T0" fmla="*/ 0 w 5"/>
                    <a:gd name="T1" fmla="*/ 0 h 11"/>
                    <a:gd name="T2" fmla="*/ 3 w 5"/>
                    <a:gd name="T3" fmla="*/ 11 h 11"/>
                    <a:gd name="T4" fmla="*/ 5 w 5"/>
                    <a:gd name="T5" fmla="*/ 11 h 11"/>
                    <a:gd name="T6" fmla="*/ 3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3" y="11"/>
                      </a:lnTo>
                      <a:lnTo>
                        <a:pt x="5"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1" name="Freeform 1876"/>
                <p:cNvSpPr>
                  <a:spLocks/>
                </p:cNvSpPr>
                <p:nvPr/>
              </p:nvSpPr>
              <p:spPr bwMode="auto">
                <a:xfrm>
                  <a:off x="11105" y="3240"/>
                  <a:ext cx="0"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2" name="Freeform 1877"/>
                <p:cNvSpPr>
                  <a:spLocks/>
                </p:cNvSpPr>
                <p:nvPr/>
              </p:nvSpPr>
              <p:spPr bwMode="auto">
                <a:xfrm>
                  <a:off x="11072" y="3240"/>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3" name="Freeform 1878"/>
                <p:cNvSpPr>
                  <a:spLocks/>
                </p:cNvSpPr>
                <p:nvPr/>
              </p:nvSpPr>
              <p:spPr bwMode="auto">
                <a:xfrm>
                  <a:off x="11056" y="3249"/>
                  <a:ext cx="8" cy="9"/>
                </a:xfrm>
                <a:custGeom>
                  <a:avLst/>
                  <a:gdLst>
                    <a:gd name="T0" fmla="*/ 0 w 2"/>
                    <a:gd name="T1" fmla="*/ 0 h 11"/>
                    <a:gd name="T2" fmla="*/ 0 w 2"/>
                    <a:gd name="T3" fmla="*/ 11 h 11"/>
                    <a:gd name="T4" fmla="*/ 2 w 2"/>
                    <a:gd name="T5" fmla="*/ 11 h 11"/>
                    <a:gd name="T6" fmla="*/ 0 w 2"/>
                    <a:gd name="T7" fmla="*/ 0 h 11"/>
                    <a:gd name="T8" fmla="*/ 0 w 2"/>
                    <a:gd name="T9" fmla="*/ 0 h 11"/>
                  </a:gdLst>
                  <a:ahLst/>
                  <a:cxnLst>
                    <a:cxn ang="0">
                      <a:pos x="T0" y="T1"/>
                    </a:cxn>
                    <a:cxn ang="0">
                      <a:pos x="T2" y="T3"/>
                    </a:cxn>
                    <a:cxn ang="0">
                      <a:pos x="T4" y="T5"/>
                    </a:cxn>
                    <a:cxn ang="0">
                      <a:pos x="T6" y="T7"/>
                    </a:cxn>
                    <a:cxn ang="0">
                      <a:pos x="T8" y="T9"/>
                    </a:cxn>
                  </a:cxnLst>
                  <a:rect l="0" t="0" r="r" b="b"/>
                  <a:pathLst>
                    <a:path w="2" h="11">
                      <a:moveTo>
                        <a:pt x="0" y="0"/>
                      </a:moveTo>
                      <a:lnTo>
                        <a:pt x="0" y="11"/>
                      </a:lnTo>
                      <a:lnTo>
                        <a:pt x="2"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4" name="Freeform 1879"/>
                <p:cNvSpPr>
                  <a:spLocks/>
                </p:cNvSpPr>
                <p:nvPr/>
              </p:nvSpPr>
              <p:spPr bwMode="auto">
                <a:xfrm>
                  <a:off x="10997" y="3240"/>
                  <a:ext cx="0" cy="44"/>
                </a:xfrm>
                <a:custGeom>
                  <a:avLst/>
                  <a:gdLst>
                    <a:gd name="T0" fmla="*/ 0 w 5"/>
                    <a:gd name="T1" fmla="*/ 0 h 38"/>
                    <a:gd name="T2" fmla="*/ 2 w 5"/>
                    <a:gd name="T3" fmla="*/ 38 h 38"/>
                    <a:gd name="T4" fmla="*/ 5 w 5"/>
                    <a:gd name="T5" fmla="*/ 35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5" name="Freeform 1880"/>
                <p:cNvSpPr>
                  <a:spLocks/>
                </p:cNvSpPr>
                <p:nvPr/>
              </p:nvSpPr>
              <p:spPr bwMode="auto">
                <a:xfrm>
                  <a:off x="11072" y="3240"/>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36" name="Rectangle 1881"/>
                <p:cNvSpPr>
                  <a:spLocks noChangeArrowheads="1"/>
                </p:cNvSpPr>
                <p:nvPr/>
              </p:nvSpPr>
              <p:spPr bwMode="auto">
                <a:xfrm>
                  <a:off x="10956"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3837" name="Rectangle 1882"/>
                <p:cNvSpPr>
                  <a:spLocks noChangeArrowheads="1"/>
                </p:cNvSpPr>
                <p:nvPr/>
              </p:nvSpPr>
              <p:spPr bwMode="auto">
                <a:xfrm>
                  <a:off x="10897" y="3257"/>
                  <a:ext cx="0" cy="9"/>
                </a:xfrm>
                <a:prstGeom prst="rect">
                  <a:avLst/>
                </a:prstGeom>
                <a:solidFill>
                  <a:srgbClr val="01AAE5"/>
                </a:solidFill>
                <a:ln>
                  <a:noFill/>
                </a:ln>
                <a:extLst/>
              </p:spPr>
              <p:txBody>
                <a:bodyPr/>
                <a:lstStyle/>
                <a:p>
                  <a:pPr eaLnBrk="1" hangingPunct="1">
                    <a:defRPr/>
                  </a:pPr>
                  <a:endParaRPr lang="zh-CN" altLang="en-US" sz="1050"/>
                </a:p>
              </p:txBody>
            </p:sp>
            <p:sp>
              <p:nvSpPr>
                <p:cNvPr id="3838" name="Freeform 1883"/>
                <p:cNvSpPr>
                  <a:spLocks/>
                </p:cNvSpPr>
                <p:nvPr/>
              </p:nvSpPr>
              <p:spPr bwMode="auto">
                <a:xfrm>
                  <a:off x="10897" y="3257"/>
                  <a:ext cx="0" cy="9"/>
                </a:xfrm>
                <a:custGeom>
                  <a:avLst/>
                  <a:gdLst>
                    <a:gd name="T0" fmla="*/ 2 w 2"/>
                    <a:gd name="T1" fmla="*/ 0 h 14"/>
                    <a:gd name="T2" fmla="*/ 0 w 2"/>
                    <a:gd name="T3" fmla="*/ 12 h 14"/>
                    <a:gd name="T4" fmla="*/ 2 w 2"/>
                    <a:gd name="T5" fmla="*/ 14 h 14"/>
                    <a:gd name="T6" fmla="*/ 2 w 2"/>
                    <a:gd name="T7" fmla="*/ 0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lnTo>
                        <a:pt x="0" y="12"/>
                      </a:lnTo>
                      <a:lnTo>
                        <a:pt x="2" y="14"/>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3839" name="Freeform 1884"/>
                <p:cNvSpPr>
                  <a:spLocks/>
                </p:cNvSpPr>
                <p:nvPr/>
              </p:nvSpPr>
              <p:spPr bwMode="auto">
                <a:xfrm>
                  <a:off x="10989" y="3240"/>
                  <a:ext cx="0" cy="44"/>
                </a:xfrm>
                <a:custGeom>
                  <a:avLst/>
                  <a:gdLst>
                    <a:gd name="T0" fmla="*/ 0 w 5"/>
                    <a:gd name="T1" fmla="*/ 0 h 38"/>
                    <a:gd name="T2" fmla="*/ 2 w 5"/>
                    <a:gd name="T3" fmla="*/ 38 h 38"/>
                    <a:gd name="T4" fmla="*/ 5 w 5"/>
                    <a:gd name="T5" fmla="*/ 38 h 38"/>
                    <a:gd name="T6" fmla="*/ 2 w 5"/>
                    <a:gd name="T7" fmla="*/ 0 h 38"/>
                    <a:gd name="T8" fmla="*/ 0 w 5"/>
                    <a:gd name="T9" fmla="*/ 0 h 38"/>
                  </a:gdLst>
                  <a:ahLst/>
                  <a:cxnLst>
                    <a:cxn ang="0">
                      <a:pos x="T0" y="T1"/>
                    </a:cxn>
                    <a:cxn ang="0">
                      <a:pos x="T2" y="T3"/>
                    </a:cxn>
                    <a:cxn ang="0">
                      <a:pos x="T4" y="T5"/>
                    </a:cxn>
                    <a:cxn ang="0">
                      <a:pos x="T6" y="T7"/>
                    </a:cxn>
                    <a:cxn ang="0">
                      <a:pos x="T8" y="T9"/>
                    </a:cxn>
                  </a:cxnLst>
                  <a:rect l="0" t="0" r="r" b="b"/>
                  <a:pathLst>
                    <a:path w="5" h="38">
                      <a:moveTo>
                        <a:pt x="0" y="0"/>
                      </a:moveTo>
                      <a:lnTo>
                        <a:pt x="2" y="38"/>
                      </a:lnTo>
                      <a:lnTo>
                        <a:pt x="5"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0" name="Rectangle 1885"/>
                <p:cNvSpPr>
                  <a:spLocks noChangeArrowheads="1"/>
                </p:cNvSpPr>
                <p:nvPr/>
              </p:nvSpPr>
              <p:spPr bwMode="auto">
                <a:xfrm>
                  <a:off x="1089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3841" name="Freeform 1886"/>
                <p:cNvSpPr>
                  <a:spLocks/>
                </p:cNvSpPr>
                <p:nvPr/>
              </p:nvSpPr>
              <p:spPr bwMode="auto">
                <a:xfrm>
                  <a:off x="10889"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2" name="Freeform 1887"/>
                <p:cNvSpPr>
                  <a:spLocks/>
                </p:cNvSpPr>
                <p:nvPr/>
              </p:nvSpPr>
              <p:spPr bwMode="auto">
                <a:xfrm>
                  <a:off x="10897" y="3257"/>
                  <a:ext cx="0" cy="9"/>
                </a:xfrm>
                <a:custGeom>
                  <a:avLst/>
                  <a:gdLst>
                    <a:gd name="T0" fmla="*/ 2 w 2"/>
                    <a:gd name="T1" fmla="*/ 0 h 12"/>
                    <a:gd name="T2" fmla="*/ 0 w 2"/>
                    <a:gd name="T3" fmla="*/ 12 h 12"/>
                    <a:gd name="T4" fmla="*/ 2 w 2"/>
                    <a:gd name="T5" fmla="*/ 12 h 12"/>
                    <a:gd name="T6" fmla="*/ 2 w 2"/>
                    <a:gd name="T7" fmla="*/ 0 h 12"/>
                    <a:gd name="T8" fmla="*/ 2 w 2"/>
                    <a:gd name="T9" fmla="*/ 0 h 12"/>
                  </a:gdLst>
                  <a:ahLst/>
                  <a:cxnLst>
                    <a:cxn ang="0">
                      <a:pos x="T0" y="T1"/>
                    </a:cxn>
                    <a:cxn ang="0">
                      <a:pos x="T2" y="T3"/>
                    </a:cxn>
                    <a:cxn ang="0">
                      <a:pos x="T4" y="T5"/>
                    </a:cxn>
                    <a:cxn ang="0">
                      <a:pos x="T6" y="T7"/>
                    </a:cxn>
                    <a:cxn ang="0">
                      <a:pos x="T8" y="T9"/>
                    </a:cxn>
                  </a:cxnLst>
                  <a:rect l="0" t="0" r="r" b="b"/>
                  <a:pathLst>
                    <a:path w="2" h="12">
                      <a:moveTo>
                        <a:pt x="2" y="0"/>
                      </a:moveTo>
                      <a:lnTo>
                        <a:pt x="0" y="12"/>
                      </a:lnTo>
                      <a:lnTo>
                        <a:pt x="2" y="12"/>
                      </a:lnTo>
                      <a:lnTo>
                        <a:pt x="2" y="0"/>
                      </a:lnTo>
                      <a:lnTo>
                        <a:pt x="2" y="0"/>
                      </a:lnTo>
                      <a:close/>
                    </a:path>
                  </a:pathLst>
                </a:custGeom>
                <a:solidFill>
                  <a:srgbClr val="01AAE5"/>
                </a:solidFill>
                <a:ln>
                  <a:noFill/>
                </a:ln>
                <a:extLst/>
              </p:spPr>
              <p:txBody>
                <a:bodyPr/>
                <a:lstStyle/>
                <a:p>
                  <a:pPr eaLnBrk="1" hangingPunct="1">
                    <a:defRPr/>
                  </a:pPr>
                  <a:endParaRPr lang="zh-CN" altLang="en-US" sz="1050"/>
                </a:p>
              </p:txBody>
            </p:sp>
            <p:sp>
              <p:nvSpPr>
                <p:cNvPr id="3843" name="Freeform 1888"/>
                <p:cNvSpPr>
                  <a:spLocks/>
                </p:cNvSpPr>
                <p:nvPr/>
              </p:nvSpPr>
              <p:spPr bwMode="auto">
                <a:xfrm>
                  <a:off x="10939" y="3249"/>
                  <a:ext cx="0" cy="26"/>
                </a:xfrm>
                <a:custGeom>
                  <a:avLst/>
                  <a:gdLst>
                    <a:gd name="T0" fmla="*/ 0 w 2"/>
                    <a:gd name="T1" fmla="*/ 0 h 26"/>
                    <a:gd name="T2" fmla="*/ 0 w 2"/>
                    <a:gd name="T3" fmla="*/ 26 h 26"/>
                    <a:gd name="T4" fmla="*/ 0 w 2"/>
                    <a:gd name="T5" fmla="*/ 26 h 26"/>
                    <a:gd name="T6" fmla="*/ 2 w 2"/>
                    <a:gd name="T7" fmla="*/ 0 h 26"/>
                    <a:gd name="T8" fmla="*/ 0 w 2"/>
                    <a:gd name="T9" fmla="*/ 0 h 26"/>
                  </a:gdLst>
                  <a:ahLst/>
                  <a:cxnLst>
                    <a:cxn ang="0">
                      <a:pos x="T0" y="T1"/>
                    </a:cxn>
                    <a:cxn ang="0">
                      <a:pos x="T2" y="T3"/>
                    </a:cxn>
                    <a:cxn ang="0">
                      <a:pos x="T4" y="T5"/>
                    </a:cxn>
                    <a:cxn ang="0">
                      <a:pos x="T6" y="T7"/>
                    </a:cxn>
                    <a:cxn ang="0">
                      <a:pos x="T8" y="T9"/>
                    </a:cxn>
                  </a:cxnLst>
                  <a:rect l="0" t="0" r="r" b="b"/>
                  <a:pathLst>
                    <a:path w="2" h="26">
                      <a:moveTo>
                        <a:pt x="0" y="0"/>
                      </a:moveTo>
                      <a:lnTo>
                        <a:pt x="0" y="26"/>
                      </a:lnTo>
                      <a:lnTo>
                        <a:pt x="0"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4" name="Freeform 1889"/>
                <p:cNvSpPr>
                  <a:spLocks/>
                </p:cNvSpPr>
                <p:nvPr/>
              </p:nvSpPr>
              <p:spPr bwMode="auto">
                <a:xfrm>
                  <a:off x="10897" y="3257"/>
                  <a:ext cx="0" cy="9"/>
                </a:xfrm>
                <a:custGeom>
                  <a:avLst/>
                  <a:gdLst>
                    <a:gd name="T0" fmla="*/ 0 w 2"/>
                    <a:gd name="T1" fmla="*/ 0 h 12"/>
                    <a:gd name="T2" fmla="*/ 0 w 2"/>
                    <a:gd name="T3" fmla="*/ 12 h 12"/>
                    <a:gd name="T4" fmla="*/ 0 w 2"/>
                    <a:gd name="T5" fmla="*/ 12 h 12"/>
                    <a:gd name="T6" fmla="*/ 2 w 2"/>
                    <a:gd name="T7" fmla="*/ 0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0" y="12"/>
                      </a:lnTo>
                      <a:lnTo>
                        <a:pt x="0" y="1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5" name="Rectangle 1890"/>
                <p:cNvSpPr>
                  <a:spLocks noChangeArrowheads="1"/>
                </p:cNvSpPr>
                <p:nvPr/>
              </p:nvSpPr>
              <p:spPr bwMode="auto">
                <a:xfrm>
                  <a:off x="10897" y="3249"/>
                  <a:ext cx="0" cy="17"/>
                </a:xfrm>
                <a:prstGeom prst="rect">
                  <a:avLst/>
                </a:prstGeom>
                <a:solidFill>
                  <a:srgbClr val="01AAE5"/>
                </a:solidFill>
                <a:ln>
                  <a:noFill/>
                </a:ln>
                <a:extLst/>
              </p:spPr>
              <p:txBody>
                <a:bodyPr/>
                <a:lstStyle/>
                <a:p>
                  <a:pPr eaLnBrk="1" hangingPunct="1">
                    <a:defRPr/>
                  </a:pPr>
                  <a:endParaRPr lang="zh-CN" altLang="en-US" sz="1050"/>
                </a:p>
              </p:txBody>
            </p:sp>
            <p:sp>
              <p:nvSpPr>
                <p:cNvPr id="3846" name="Freeform 1891"/>
                <p:cNvSpPr>
                  <a:spLocks/>
                </p:cNvSpPr>
                <p:nvPr/>
              </p:nvSpPr>
              <p:spPr bwMode="auto">
                <a:xfrm>
                  <a:off x="10981" y="3240"/>
                  <a:ext cx="0" cy="44"/>
                </a:xfrm>
                <a:custGeom>
                  <a:avLst/>
                  <a:gdLst>
                    <a:gd name="T0" fmla="*/ 0 w 3"/>
                    <a:gd name="T1" fmla="*/ 0 h 40"/>
                    <a:gd name="T2" fmla="*/ 0 w 3"/>
                    <a:gd name="T3" fmla="*/ 40 h 40"/>
                    <a:gd name="T4" fmla="*/ 3 w 3"/>
                    <a:gd name="T5" fmla="*/ 40 h 40"/>
                    <a:gd name="T6" fmla="*/ 0 w 3"/>
                    <a:gd name="T7" fmla="*/ 0 h 40"/>
                    <a:gd name="T8" fmla="*/ 0 w 3"/>
                    <a:gd name="T9" fmla="*/ 0 h 40"/>
                  </a:gdLst>
                  <a:ahLst/>
                  <a:cxnLst>
                    <a:cxn ang="0">
                      <a:pos x="T0" y="T1"/>
                    </a:cxn>
                    <a:cxn ang="0">
                      <a:pos x="T2" y="T3"/>
                    </a:cxn>
                    <a:cxn ang="0">
                      <a:pos x="T4" y="T5"/>
                    </a:cxn>
                    <a:cxn ang="0">
                      <a:pos x="T6" y="T7"/>
                    </a:cxn>
                    <a:cxn ang="0">
                      <a:pos x="T8" y="T9"/>
                    </a:cxn>
                  </a:cxnLst>
                  <a:rect l="0" t="0" r="r" b="b"/>
                  <a:pathLst>
                    <a:path w="3" h="40">
                      <a:moveTo>
                        <a:pt x="0" y="0"/>
                      </a:moveTo>
                      <a:lnTo>
                        <a:pt x="0" y="40"/>
                      </a:lnTo>
                      <a:lnTo>
                        <a:pt x="3"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7" name="Freeform 1892"/>
                <p:cNvSpPr>
                  <a:spLocks/>
                </p:cNvSpPr>
                <p:nvPr/>
              </p:nvSpPr>
              <p:spPr bwMode="auto">
                <a:xfrm>
                  <a:off x="10972" y="3240"/>
                  <a:ext cx="0" cy="44"/>
                </a:xfrm>
                <a:custGeom>
                  <a:avLst/>
                  <a:gdLst>
                    <a:gd name="T0" fmla="*/ 0 w 2"/>
                    <a:gd name="T1" fmla="*/ 0 h 40"/>
                    <a:gd name="T2" fmla="*/ 0 w 2"/>
                    <a:gd name="T3" fmla="*/ 40 h 40"/>
                    <a:gd name="T4" fmla="*/ 2 w 2"/>
                    <a:gd name="T5" fmla="*/ 40 h 40"/>
                    <a:gd name="T6" fmla="*/ 0 w 2"/>
                    <a:gd name="T7" fmla="*/ 0 h 40"/>
                    <a:gd name="T8" fmla="*/ 0 w 2"/>
                    <a:gd name="T9" fmla="*/ 0 h 40"/>
                  </a:gdLst>
                  <a:ahLst/>
                  <a:cxnLst>
                    <a:cxn ang="0">
                      <a:pos x="T0" y="T1"/>
                    </a:cxn>
                    <a:cxn ang="0">
                      <a:pos x="T2" y="T3"/>
                    </a:cxn>
                    <a:cxn ang="0">
                      <a:pos x="T4" y="T5"/>
                    </a:cxn>
                    <a:cxn ang="0">
                      <a:pos x="T6" y="T7"/>
                    </a:cxn>
                    <a:cxn ang="0">
                      <a:pos x="T8" y="T9"/>
                    </a:cxn>
                  </a:cxnLst>
                  <a:rect l="0" t="0" r="r" b="b"/>
                  <a:pathLst>
                    <a:path w="2" h="40">
                      <a:moveTo>
                        <a:pt x="0" y="0"/>
                      </a:moveTo>
                      <a:lnTo>
                        <a:pt x="0" y="40"/>
                      </a:lnTo>
                      <a:lnTo>
                        <a:pt x="2" y="4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8" name="Freeform 1893"/>
                <p:cNvSpPr>
                  <a:spLocks/>
                </p:cNvSpPr>
                <p:nvPr/>
              </p:nvSpPr>
              <p:spPr bwMode="auto">
                <a:xfrm>
                  <a:off x="11105" y="3240"/>
                  <a:ext cx="8"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49" name="Rectangle 1894"/>
                <p:cNvSpPr>
                  <a:spLocks noChangeArrowheads="1"/>
                </p:cNvSpPr>
                <p:nvPr/>
              </p:nvSpPr>
              <p:spPr bwMode="auto">
                <a:xfrm>
                  <a:off x="10947" y="3249"/>
                  <a:ext cx="0" cy="26"/>
                </a:xfrm>
                <a:prstGeom prst="rect">
                  <a:avLst/>
                </a:prstGeom>
                <a:solidFill>
                  <a:srgbClr val="01AAE5"/>
                </a:solidFill>
                <a:ln>
                  <a:noFill/>
                </a:ln>
                <a:extLst/>
              </p:spPr>
              <p:txBody>
                <a:bodyPr/>
                <a:lstStyle/>
                <a:p>
                  <a:pPr eaLnBrk="1" hangingPunct="1">
                    <a:defRPr/>
                  </a:pPr>
                  <a:endParaRPr lang="zh-CN" altLang="en-US" sz="1050"/>
                </a:p>
              </p:txBody>
            </p:sp>
            <p:sp>
              <p:nvSpPr>
                <p:cNvPr id="3850" name="Freeform 1895"/>
                <p:cNvSpPr>
                  <a:spLocks/>
                </p:cNvSpPr>
                <p:nvPr/>
              </p:nvSpPr>
              <p:spPr bwMode="auto">
                <a:xfrm>
                  <a:off x="10947" y="3249"/>
                  <a:ext cx="0" cy="35"/>
                </a:xfrm>
                <a:custGeom>
                  <a:avLst/>
                  <a:gdLst>
                    <a:gd name="T0" fmla="*/ 0 w 2"/>
                    <a:gd name="T1" fmla="*/ 0 h 33"/>
                    <a:gd name="T2" fmla="*/ 2 w 2"/>
                    <a:gd name="T3" fmla="*/ 30 h 33"/>
                    <a:gd name="T4" fmla="*/ 2 w 2"/>
                    <a:gd name="T5" fmla="*/ 33 h 33"/>
                    <a:gd name="T6" fmla="*/ 2 w 2"/>
                    <a:gd name="T7" fmla="*/ 0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2" y="30"/>
                      </a:lnTo>
                      <a:lnTo>
                        <a:pt x="2"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51" name="Rectangle 1896"/>
                <p:cNvSpPr>
                  <a:spLocks noChangeArrowheads="1"/>
                </p:cNvSpPr>
                <p:nvPr/>
              </p:nvSpPr>
              <p:spPr bwMode="auto">
                <a:xfrm>
                  <a:off x="10881" y="3257"/>
                  <a:ext cx="0" cy="9"/>
                </a:xfrm>
                <a:prstGeom prst="rect">
                  <a:avLst/>
                </a:prstGeom>
                <a:solidFill>
                  <a:srgbClr val="01AAE5"/>
                </a:solidFill>
                <a:ln>
                  <a:noFill/>
                </a:ln>
                <a:extLst/>
              </p:spPr>
              <p:txBody>
                <a:bodyPr/>
                <a:lstStyle/>
                <a:p>
                  <a:pPr eaLnBrk="1" hangingPunct="1">
                    <a:defRPr/>
                  </a:pPr>
                  <a:endParaRPr lang="zh-CN" altLang="en-US" sz="1050"/>
                </a:p>
              </p:txBody>
            </p:sp>
            <p:sp>
              <p:nvSpPr>
                <p:cNvPr id="3852" name="Rectangle 1897"/>
                <p:cNvSpPr>
                  <a:spLocks noChangeArrowheads="1"/>
                </p:cNvSpPr>
                <p:nvPr/>
              </p:nvSpPr>
              <p:spPr bwMode="auto">
                <a:xfrm>
                  <a:off x="10964" y="3240"/>
                  <a:ext cx="0" cy="44"/>
                </a:xfrm>
                <a:prstGeom prst="rect">
                  <a:avLst/>
                </a:prstGeom>
                <a:solidFill>
                  <a:srgbClr val="01AAE5"/>
                </a:solidFill>
                <a:ln>
                  <a:noFill/>
                </a:ln>
                <a:extLst/>
              </p:spPr>
              <p:txBody>
                <a:bodyPr/>
                <a:lstStyle/>
                <a:p>
                  <a:pPr eaLnBrk="1" hangingPunct="1">
                    <a:defRPr/>
                  </a:pPr>
                  <a:endParaRPr lang="zh-CN" altLang="en-US" sz="1050"/>
                </a:p>
              </p:txBody>
            </p:sp>
            <p:sp>
              <p:nvSpPr>
                <p:cNvPr id="3853" name="Freeform 1898"/>
                <p:cNvSpPr>
                  <a:spLocks/>
                </p:cNvSpPr>
                <p:nvPr/>
              </p:nvSpPr>
              <p:spPr bwMode="auto">
                <a:xfrm>
                  <a:off x="10989" y="3240"/>
                  <a:ext cx="0" cy="44"/>
                </a:xfrm>
                <a:custGeom>
                  <a:avLst/>
                  <a:gdLst>
                    <a:gd name="T0" fmla="*/ 0 w 5"/>
                    <a:gd name="T1" fmla="*/ 0 h 40"/>
                    <a:gd name="T2" fmla="*/ 2 w 5"/>
                    <a:gd name="T3" fmla="*/ 40 h 40"/>
                    <a:gd name="T4" fmla="*/ 5 w 5"/>
                    <a:gd name="T5" fmla="*/ 40 h 40"/>
                    <a:gd name="T6" fmla="*/ 2 w 5"/>
                    <a:gd name="T7" fmla="*/ 0 h 40"/>
                    <a:gd name="T8" fmla="*/ 0 w 5"/>
                    <a:gd name="T9" fmla="*/ 0 h 40"/>
                  </a:gdLst>
                  <a:ahLst/>
                  <a:cxnLst>
                    <a:cxn ang="0">
                      <a:pos x="T0" y="T1"/>
                    </a:cxn>
                    <a:cxn ang="0">
                      <a:pos x="T2" y="T3"/>
                    </a:cxn>
                    <a:cxn ang="0">
                      <a:pos x="T4" y="T5"/>
                    </a:cxn>
                    <a:cxn ang="0">
                      <a:pos x="T6" y="T7"/>
                    </a:cxn>
                    <a:cxn ang="0">
                      <a:pos x="T8" y="T9"/>
                    </a:cxn>
                  </a:cxnLst>
                  <a:rect l="0" t="0" r="r" b="b"/>
                  <a:pathLst>
                    <a:path w="5" h="40">
                      <a:moveTo>
                        <a:pt x="0" y="0"/>
                      </a:moveTo>
                      <a:lnTo>
                        <a:pt x="2" y="40"/>
                      </a:lnTo>
                      <a:lnTo>
                        <a:pt x="5" y="4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854" name="Freeform 1899"/>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3855" name="Freeform 1900"/>
                <p:cNvSpPr>
                  <a:spLocks/>
                </p:cNvSpPr>
                <p:nvPr/>
              </p:nvSpPr>
              <p:spPr bwMode="auto">
                <a:xfrm>
                  <a:off x="10340" y="2996"/>
                  <a:ext cx="33" cy="17"/>
                </a:xfrm>
                <a:custGeom>
                  <a:avLst/>
                  <a:gdLst>
                    <a:gd name="T0" fmla="*/ 23 w 26"/>
                    <a:gd name="T1" fmla="*/ 0 h 21"/>
                    <a:gd name="T2" fmla="*/ 0 w 26"/>
                    <a:gd name="T3" fmla="*/ 19 h 21"/>
                    <a:gd name="T4" fmla="*/ 2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19"/>
                      </a:lnTo>
                      <a:lnTo>
                        <a:pt x="2" y="21"/>
                      </a:lnTo>
                      <a:lnTo>
                        <a:pt x="26" y="0"/>
                      </a:lnTo>
                      <a:lnTo>
                        <a:pt x="23" y="0"/>
                      </a:lnTo>
                    </a:path>
                  </a:pathLst>
                </a:custGeom>
                <a:noFill/>
                <a:ln>
                  <a:noFill/>
                </a:ln>
                <a:extLst/>
              </p:spPr>
              <p:txBody>
                <a:bodyPr/>
                <a:lstStyle/>
                <a:p>
                  <a:pPr eaLnBrk="1" hangingPunct="1">
                    <a:defRPr/>
                  </a:pPr>
                  <a:endParaRPr lang="zh-CN" altLang="en-US" sz="1050"/>
                </a:p>
              </p:txBody>
            </p:sp>
            <p:sp>
              <p:nvSpPr>
                <p:cNvPr id="3856" name="Freeform 1901"/>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3857" name="Freeform 1902"/>
                <p:cNvSpPr>
                  <a:spLocks/>
                </p:cNvSpPr>
                <p:nvPr/>
              </p:nvSpPr>
              <p:spPr bwMode="auto">
                <a:xfrm>
                  <a:off x="10348" y="3005"/>
                  <a:ext cx="25" cy="17"/>
                </a:xfrm>
                <a:custGeom>
                  <a:avLst/>
                  <a:gdLst>
                    <a:gd name="T0" fmla="*/ 23 w 26"/>
                    <a:gd name="T1" fmla="*/ 0 h 21"/>
                    <a:gd name="T2" fmla="*/ 0 w 26"/>
                    <a:gd name="T3" fmla="*/ 21 h 21"/>
                    <a:gd name="T4" fmla="*/ 0 w 26"/>
                    <a:gd name="T5" fmla="*/ 21 h 21"/>
                    <a:gd name="T6" fmla="*/ 26 w 26"/>
                    <a:gd name="T7" fmla="*/ 0 h 21"/>
                    <a:gd name="T8" fmla="*/ 23 w 26"/>
                    <a:gd name="T9" fmla="*/ 0 h 21"/>
                  </a:gdLst>
                  <a:ahLst/>
                  <a:cxnLst>
                    <a:cxn ang="0">
                      <a:pos x="T0" y="T1"/>
                    </a:cxn>
                    <a:cxn ang="0">
                      <a:pos x="T2" y="T3"/>
                    </a:cxn>
                    <a:cxn ang="0">
                      <a:pos x="T4" y="T5"/>
                    </a:cxn>
                    <a:cxn ang="0">
                      <a:pos x="T6" y="T7"/>
                    </a:cxn>
                    <a:cxn ang="0">
                      <a:pos x="T8" y="T9"/>
                    </a:cxn>
                  </a:cxnLst>
                  <a:rect l="0" t="0" r="r" b="b"/>
                  <a:pathLst>
                    <a:path w="26" h="21">
                      <a:moveTo>
                        <a:pt x="23" y="0"/>
                      </a:moveTo>
                      <a:lnTo>
                        <a:pt x="0" y="21"/>
                      </a:lnTo>
                      <a:lnTo>
                        <a:pt x="0" y="21"/>
                      </a:lnTo>
                      <a:lnTo>
                        <a:pt x="26" y="0"/>
                      </a:lnTo>
                      <a:lnTo>
                        <a:pt x="23" y="0"/>
                      </a:lnTo>
                    </a:path>
                  </a:pathLst>
                </a:custGeom>
                <a:noFill/>
                <a:ln>
                  <a:noFill/>
                </a:ln>
                <a:extLst/>
              </p:spPr>
              <p:txBody>
                <a:bodyPr/>
                <a:lstStyle/>
                <a:p>
                  <a:pPr eaLnBrk="1" hangingPunct="1">
                    <a:defRPr/>
                  </a:pPr>
                  <a:endParaRPr lang="zh-CN" altLang="en-US" sz="1050"/>
                </a:p>
              </p:txBody>
            </p:sp>
            <p:sp>
              <p:nvSpPr>
                <p:cNvPr id="3858" name="Freeform 1903"/>
                <p:cNvSpPr>
                  <a:spLocks/>
                </p:cNvSpPr>
                <p:nvPr/>
              </p:nvSpPr>
              <p:spPr bwMode="auto">
                <a:xfrm>
                  <a:off x="10340" y="2996"/>
                  <a:ext cx="33" cy="9"/>
                </a:xfrm>
                <a:custGeom>
                  <a:avLst/>
                  <a:gdLst>
                    <a:gd name="T0" fmla="*/ 22 w 24"/>
                    <a:gd name="T1" fmla="*/ 0 h 19"/>
                    <a:gd name="T2" fmla="*/ 0 w 24"/>
                    <a:gd name="T3" fmla="*/ 19 h 19"/>
                    <a:gd name="T4" fmla="*/ 0 w 24"/>
                    <a:gd name="T5" fmla="*/ 19 h 19"/>
                    <a:gd name="T6" fmla="*/ 24 w 24"/>
                    <a:gd name="T7" fmla="*/ 2 h 19"/>
                    <a:gd name="T8" fmla="*/ 22 w 24"/>
                    <a:gd name="T9" fmla="*/ 0 h 19"/>
                  </a:gdLst>
                  <a:ahLst/>
                  <a:cxnLst>
                    <a:cxn ang="0">
                      <a:pos x="T0" y="T1"/>
                    </a:cxn>
                    <a:cxn ang="0">
                      <a:pos x="T2" y="T3"/>
                    </a:cxn>
                    <a:cxn ang="0">
                      <a:pos x="T4" y="T5"/>
                    </a:cxn>
                    <a:cxn ang="0">
                      <a:pos x="T6" y="T7"/>
                    </a:cxn>
                    <a:cxn ang="0">
                      <a:pos x="T8" y="T9"/>
                    </a:cxn>
                  </a:cxnLst>
                  <a:rect l="0" t="0" r="r" b="b"/>
                  <a:pathLst>
                    <a:path w="24" h="19">
                      <a:moveTo>
                        <a:pt x="22" y="0"/>
                      </a:moveTo>
                      <a:lnTo>
                        <a:pt x="0" y="19"/>
                      </a:lnTo>
                      <a:lnTo>
                        <a:pt x="0" y="19"/>
                      </a:lnTo>
                      <a:lnTo>
                        <a:pt x="24" y="2"/>
                      </a:lnTo>
                      <a:lnTo>
                        <a:pt x="22" y="0"/>
                      </a:lnTo>
                      <a:close/>
                    </a:path>
                  </a:pathLst>
                </a:custGeom>
                <a:solidFill>
                  <a:srgbClr val="01AAE5"/>
                </a:solidFill>
                <a:ln>
                  <a:noFill/>
                </a:ln>
                <a:extLst/>
              </p:spPr>
              <p:txBody>
                <a:bodyPr/>
                <a:lstStyle/>
                <a:p>
                  <a:pPr eaLnBrk="1" hangingPunct="1">
                    <a:defRPr/>
                  </a:pPr>
                  <a:endParaRPr lang="zh-CN" altLang="en-US" sz="1050"/>
                </a:p>
              </p:txBody>
            </p:sp>
            <p:sp>
              <p:nvSpPr>
                <p:cNvPr id="3859" name="Freeform 1904"/>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860" name="Freeform 1905"/>
                <p:cNvSpPr>
                  <a:spLocks/>
                </p:cNvSpPr>
                <p:nvPr/>
              </p:nvSpPr>
              <p:spPr bwMode="auto">
                <a:xfrm>
                  <a:off x="10348" y="3005"/>
                  <a:ext cx="33" cy="26"/>
                </a:xfrm>
                <a:custGeom>
                  <a:avLst/>
                  <a:gdLst>
                    <a:gd name="T0" fmla="*/ 28 w 28"/>
                    <a:gd name="T1" fmla="*/ 0 h 24"/>
                    <a:gd name="T2" fmla="*/ 0 w 28"/>
                    <a:gd name="T3" fmla="*/ 22 h 24"/>
                    <a:gd name="T4" fmla="*/ 2 w 28"/>
                    <a:gd name="T5" fmla="*/ 24 h 24"/>
                    <a:gd name="T6" fmla="*/ 28 w 28"/>
                    <a:gd name="T7" fmla="*/ 0 h 24"/>
                    <a:gd name="T8" fmla="*/ 28 w 28"/>
                    <a:gd name="T9" fmla="*/ 0 h 24"/>
                  </a:gdLst>
                  <a:ahLst/>
                  <a:cxnLst>
                    <a:cxn ang="0">
                      <a:pos x="T0" y="T1"/>
                    </a:cxn>
                    <a:cxn ang="0">
                      <a:pos x="T2" y="T3"/>
                    </a:cxn>
                    <a:cxn ang="0">
                      <a:pos x="T4" y="T5"/>
                    </a:cxn>
                    <a:cxn ang="0">
                      <a:pos x="T6" y="T7"/>
                    </a:cxn>
                    <a:cxn ang="0">
                      <a:pos x="T8" y="T9"/>
                    </a:cxn>
                  </a:cxnLst>
                  <a:rect l="0" t="0" r="r" b="b"/>
                  <a:pathLst>
                    <a:path w="28" h="24">
                      <a:moveTo>
                        <a:pt x="28" y="0"/>
                      </a:moveTo>
                      <a:lnTo>
                        <a:pt x="0" y="22"/>
                      </a:lnTo>
                      <a:lnTo>
                        <a:pt x="2" y="24"/>
                      </a:lnTo>
                      <a:lnTo>
                        <a:pt x="28" y="0"/>
                      </a:lnTo>
                      <a:lnTo>
                        <a:pt x="28" y="0"/>
                      </a:lnTo>
                    </a:path>
                  </a:pathLst>
                </a:custGeom>
                <a:noFill/>
                <a:ln>
                  <a:noFill/>
                </a:ln>
                <a:extLst/>
              </p:spPr>
              <p:txBody>
                <a:bodyPr/>
                <a:lstStyle/>
                <a:p>
                  <a:pPr eaLnBrk="1" hangingPunct="1">
                    <a:defRPr/>
                  </a:pPr>
                  <a:endParaRPr lang="zh-CN" altLang="en-US" sz="1050"/>
                </a:p>
              </p:txBody>
            </p:sp>
            <p:sp>
              <p:nvSpPr>
                <p:cNvPr id="3861" name="Freeform 1906"/>
                <p:cNvSpPr>
                  <a:spLocks/>
                </p:cNvSpPr>
                <p:nvPr/>
              </p:nvSpPr>
              <p:spPr bwMode="auto">
                <a:xfrm>
                  <a:off x="10340" y="2987"/>
                  <a:ext cx="25" cy="17"/>
                </a:xfrm>
                <a:custGeom>
                  <a:avLst/>
                  <a:gdLst>
                    <a:gd name="T0" fmla="*/ 21 w 21"/>
                    <a:gd name="T1" fmla="*/ 0 h 19"/>
                    <a:gd name="T2" fmla="*/ 0 w 21"/>
                    <a:gd name="T3" fmla="*/ 17 h 19"/>
                    <a:gd name="T4" fmla="*/ 2 w 21"/>
                    <a:gd name="T5" fmla="*/ 19 h 19"/>
                    <a:gd name="T6" fmla="*/ 21 w 21"/>
                    <a:gd name="T7" fmla="*/ 3 h 19"/>
                    <a:gd name="T8" fmla="*/ 21 w 21"/>
                    <a:gd name="T9" fmla="*/ 0 h 19"/>
                  </a:gdLst>
                  <a:ahLst/>
                  <a:cxnLst>
                    <a:cxn ang="0">
                      <a:pos x="T0" y="T1"/>
                    </a:cxn>
                    <a:cxn ang="0">
                      <a:pos x="T2" y="T3"/>
                    </a:cxn>
                    <a:cxn ang="0">
                      <a:pos x="T4" y="T5"/>
                    </a:cxn>
                    <a:cxn ang="0">
                      <a:pos x="T6" y="T7"/>
                    </a:cxn>
                    <a:cxn ang="0">
                      <a:pos x="T8" y="T9"/>
                    </a:cxn>
                  </a:cxnLst>
                  <a:rect l="0" t="0" r="r" b="b"/>
                  <a:pathLst>
                    <a:path w="21" h="19">
                      <a:moveTo>
                        <a:pt x="21" y="0"/>
                      </a:moveTo>
                      <a:lnTo>
                        <a:pt x="0" y="17"/>
                      </a:lnTo>
                      <a:lnTo>
                        <a:pt x="2" y="19"/>
                      </a:lnTo>
                      <a:lnTo>
                        <a:pt x="21" y="3"/>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862" name="Freeform 1907"/>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863" name="Freeform 1908"/>
                <p:cNvSpPr>
                  <a:spLocks/>
                </p:cNvSpPr>
                <p:nvPr/>
              </p:nvSpPr>
              <p:spPr bwMode="auto">
                <a:xfrm>
                  <a:off x="10357" y="3005"/>
                  <a:ext cx="33" cy="26"/>
                </a:xfrm>
                <a:custGeom>
                  <a:avLst/>
                  <a:gdLst>
                    <a:gd name="T0" fmla="*/ 28 w 28"/>
                    <a:gd name="T1" fmla="*/ 0 h 26"/>
                    <a:gd name="T2" fmla="*/ 0 w 28"/>
                    <a:gd name="T3" fmla="*/ 26 h 26"/>
                    <a:gd name="T4" fmla="*/ 2 w 28"/>
                    <a:gd name="T5" fmla="*/ 26 h 26"/>
                    <a:gd name="T6" fmla="*/ 28 w 28"/>
                    <a:gd name="T7" fmla="*/ 2 h 26"/>
                    <a:gd name="T8" fmla="*/ 28 w 28"/>
                    <a:gd name="T9" fmla="*/ 0 h 26"/>
                  </a:gdLst>
                  <a:ahLst/>
                  <a:cxnLst>
                    <a:cxn ang="0">
                      <a:pos x="T0" y="T1"/>
                    </a:cxn>
                    <a:cxn ang="0">
                      <a:pos x="T2" y="T3"/>
                    </a:cxn>
                    <a:cxn ang="0">
                      <a:pos x="T4" y="T5"/>
                    </a:cxn>
                    <a:cxn ang="0">
                      <a:pos x="T6" y="T7"/>
                    </a:cxn>
                    <a:cxn ang="0">
                      <a:pos x="T8" y="T9"/>
                    </a:cxn>
                  </a:cxnLst>
                  <a:rect l="0" t="0" r="r" b="b"/>
                  <a:pathLst>
                    <a:path w="28" h="26">
                      <a:moveTo>
                        <a:pt x="28" y="0"/>
                      </a:moveTo>
                      <a:lnTo>
                        <a:pt x="0" y="26"/>
                      </a:lnTo>
                      <a:lnTo>
                        <a:pt x="2" y="26"/>
                      </a:lnTo>
                      <a:lnTo>
                        <a:pt x="28" y="2"/>
                      </a:lnTo>
                      <a:lnTo>
                        <a:pt x="28" y="0"/>
                      </a:lnTo>
                    </a:path>
                  </a:pathLst>
                </a:custGeom>
                <a:noFill/>
                <a:ln>
                  <a:noFill/>
                </a:ln>
                <a:extLst/>
              </p:spPr>
              <p:txBody>
                <a:bodyPr/>
                <a:lstStyle/>
                <a:p>
                  <a:pPr eaLnBrk="1" hangingPunct="1">
                    <a:defRPr/>
                  </a:pPr>
                  <a:endParaRPr lang="zh-CN" altLang="en-US" sz="1050"/>
                </a:p>
              </p:txBody>
            </p:sp>
            <p:sp>
              <p:nvSpPr>
                <p:cNvPr id="3864" name="Freeform 1909"/>
                <p:cNvSpPr>
                  <a:spLocks/>
                </p:cNvSpPr>
                <p:nvPr/>
              </p:nvSpPr>
              <p:spPr bwMode="auto">
                <a:xfrm>
                  <a:off x="10340" y="2979"/>
                  <a:ext cx="8" cy="17"/>
                </a:xfrm>
                <a:custGeom>
                  <a:avLst/>
                  <a:gdLst>
                    <a:gd name="T0" fmla="*/ 17 w 17"/>
                    <a:gd name="T1" fmla="*/ 0 h 12"/>
                    <a:gd name="T2" fmla="*/ 0 w 17"/>
                    <a:gd name="T3" fmla="*/ 12 h 12"/>
                    <a:gd name="T4" fmla="*/ 0 w 17"/>
                    <a:gd name="T5" fmla="*/ 12 h 12"/>
                    <a:gd name="T6" fmla="*/ 17 w 17"/>
                    <a:gd name="T7" fmla="*/ 0 h 12"/>
                    <a:gd name="T8" fmla="*/ 17 w 17"/>
                    <a:gd name="T9" fmla="*/ 0 h 12"/>
                  </a:gdLst>
                  <a:ahLst/>
                  <a:cxnLst>
                    <a:cxn ang="0">
                      <a:pos x="T0" y="T1"/>
                    </a:cxn>
                    <a:cxn ang="0">
                      <a:pos x="T2" y="T3"/>
                    </a:cxn>
                    <a:cxn ang="0">
                      <a:pos x="T4" y="T5"/>
                    </a:cxn>
                    <a:cxn ang="0">
                      <a:pos x="T6" y="T7"/>
                    </a:cxn>
                    <a:cxn ang="0">
                      <a:pos x="T8" y="T9"/>
                    </a:cxn>
                  </a:cxnLst>
                  <a:rect l="0" t="0" r="r" b="b"/>
                  <a:pathLst>
                    <a:path w="17" h="12">
                      <a:moveTo>
                        <a:pt x="17" y="0"/>
                      </a:moveTo>
                      <a:lnTo>
                        <a:pt x="0" y="12"/>
                      </a:lnTo>
                      <a:lnTo>
                        <a:pt x="0" y="12"/>
                      </a:lnTo>
                      <a:lnTo>
                        <a:pt x="17" y="0"/>
                      </a:lnTo>
                      <a:lnTo>
                        <a:pt x="17" y="0"/>
                      </a:lnTo>
                      <a:close/>
                    </a:path>
                  </a:pathLst>
                </a:custGeom>
                <a:solidFill>
                  <a:srgbClr val="01AAE5"/>
                </a:solidFill>
                <a:ln>
                  <a:noFill/>
                </a:ln>
                <a:extLst/>
              </p:spPr>
              <p:txBody>
                <a:bodyPr/>
                <a:lstStyle/>
                <a:p>
                  <a:pPr eaLnBrk="1" hangingPunct="1">
                    <a:defRPr/>
                  </a:pPr>
                  <a:endParaRPr lang="zh-CN" altLang="en-US" sz="1050"/>
                </a:p>
              </p:txBody>
            </p:sp>
            <p:sp>
              <p:nvSpPr>
                <p:cNvPr id="3865" name="Freeform 1910"/>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866" name="Freeform 1911"/>
                <p:cNvSpPr>
                  <a:spLocks/>
                </p:cNvSpPr>
                <p:nvPr/>
              </p:nvSpPr>
              <p:spPr bwMode="auto">
                <a:xfrm>
                  <a:off x="10340" y="2979"/>
                  <a:ext cx="17" cy="26"/>
                </a:xfrm>
                <a:custGeom>
                  <a:avLst/>
                  <a:gdLst>
                    <a:gd name="T0" fmla="*/ 19 w 19"/>
                    <a:gd name="T1" fmla="*/ 0 h 16"/>
                    <a:gd name="T2" fmla="*/ 0 w 19"/>
                    <a:gd name="T3" fmla="*/ 14 h 16"/>
                    <a:gd name="T4" fmla="*/ 0 w 19"/>
                    <a:gd name="T5" fmla="*/ 16 h 16"/>
                    <a:gd name="T6" fmla="*/ 19 w 19"/>
                    <a:gd name="T7" fmla="*/ 2 h 16"/>
                    <a:gd name="T8" fmla="*/ 19 w 19"/>
                    <a:gd name="T9" fmla="*/ 0 h 16"/>
                  </a:gdLst>
                  <a:ahLst/>
                  <a:cxnLst>
                    <a:cxn ang="0">
                      <a:pos x="T0" y="T1"/>
                    </a:cxn>
                    <a:cxn ang="0">
                      <a:pos x="T2" y="T3"/>
                    </a:cxn>
                    <a:cxn ang="0">
                      <a:pos x="T4" y="T5"/>
                    </a:cxn>
                    <a:cxn ang="0">
                      <a:pos x="T6" y="T7"/>
                    </a:cxn>
                    <a:cxn ang="0">
                      <a:pos x="T8" y="T9"/>
                    </a:cxn>
                  </a:cxnLst>
                  <a:rect l="0" t="0" r="r" b="b"/>
                  <a:pathLst>
                    <a:path w="19" h="16">
                      <a:moveTo>
                        <a:pt x="19" y="0"/>
                      </a:moveTo>
                      <a:lnTo>
                        <a:pt x="0" y="14"/>
                      </a:lnTo>
                      <a:lnTo>
                        <a:pt x="0" y="16"/>
                      </a:lnTo>
                      <a:lnTo>
                        <a:pt x="19" y="2"/>
                      </a:lnTo>
                      <a:lnTo>
                        <a:pt x="19" y="0"/>
                      </a:lnTo>
                    </a:path>
                  </a:pathLst>
                </a:custGeom>
                <a:noFill/>
                <a:ln>
                  <a:noFill/>
                </a:ln>
                <a:extLst/>
              </p:spPr>
              <p:txBody>
                <a:bodyPr/>
                <a:lstStyle/>
                <a:p>
                  <a:pPr eaLnBrk="1" hangingPunct="1">
                    <a:defRPr/>
                  </a:pPr>
                  <a:endParaRPr lang="zh-CN" altLang="en-US" sz="1050"/>
                </a:p>
              </p:txBody>
            </p:sp>
            <p:sp>
              <p:nvSpPr>
                <p:cNvPr id="3867" name="Freeform 1912"/>
                <p:cNvSpPr>
                  <a:spLocks/>
                </p:cNvSpPr>
                <p:nvPr/>
              </p:nvSpPr>
              <p:spPr bwMode="auto">
                <a:xfrm>
                  <a:off x="10398" y="3048"/>
                  <a:ext cx="25" cy="26"/>
                </a:xfrm>
                <a:custGeom>
                  <a:avLst/>
                  <a:gdLst>
                    <a:gd name="T0" fmla="*/ 26 w 26"/>
                    <a:gd name="T1" fmla="*/ 0 h 26"/>
                    <a:gd name="T2" fmla="*/ 0 w 26"/>
                    <a:gd name="T3" fmla="*/ 23 h 26"/>
                    <a:gd name="T4" fmla="*/ 3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3"/>
                      </a:lnTo>
                      <a:lnTo>
                        <a:pt x="3"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grpSp>
          <p:grpSp>
            <p:nvGrpSpPr>
              <p:cNvPr id="46" name="Group 2114"/>
              <p:cNvGrpSpPr>
                <a:grpSpLocks/>
              </p:cNvGrpSpPr>
              <p:nvPr/>
            </p:nvGrpSpPr>
            <p:grpSpPr bwMode="auto">
              <a:xfrm>
                <a:off x="16309976" y="4051300"/>
                <a:ext cx="2141538" cy="1106488"/>
                <a:chOff x="10274" y="2552"/>
                <a:chExt cx="1349" cy="697"/>
              </a:xfrm>
            </p:grpSpPr>
            <p:sp>
              <p:nvSpPr>
                <p:cNvPr id="3468" name="Freeform 1914"/>
                <p:cNvSpPr>
                  <a:spLocks/>
                </p:cNvSpPr>
                <p:nvPr/>
              </p:nvSpPr>
              <p:spPr bwMode="auto">
                <a:xfrm>
                  <a:off x="10415" y="3039"/>
                  <a:ext cx="33" cy="35"/>
                </a:xfrm>
                <a:custGeom>
                  <a:avLst/>
                  <a:gdLst>
                    <a:gd name="T0" fmla="*/ 26 w 26"/>
                    <a:gd name="T1" fmla="*/ 0 h 26"/>
                    <a:gd name="T2" fmla="*/ 0 w 26"/>
                    <a:gd name="T3" fmla="*/ 26 h 26"/>
                    <a:gd name="T4" fmla="*/ 2 w 26"/>
                    <a:gd name="T5" fmla="*/ 26 h 26"/>
                    <a:gd name="T6" fmla="*/ 26 w 26"/>
                    <a:gd name="T7" fmla="*/ 0 h 26"/>
                    <a:gd name="T8" fmla="*/ 26 w 26"/>
                    <a:gd name="T9" fmla="*/ 0 h 26"/>
                  </a:gdLst>
                  <a:ahLst/>
                  <a:cxnLst>
                    <a:cxn ang="0">
                      <a:pos x="T0" y="T1"/>
                    </a:cxn>
                    <a:cxn ang="0">
                      <a:pos x="T2" y="T3"/>
                    </a:cxn>
                    <a:cxn ang="0">
                      <a:pos x="T4" y="T5"/>
                    </a:cxn>
                    <a:cxn ang="0">
                      <a:pos x="T6" y="T7"/>
                    </a:cxn>
                    <a:cxn ang="0">
                      <a:pos x="T8" y="T9"/>
                    </a:cxn>
                  </a:cxnLst>
                  <a:rect l="0" t="0" r="r" b="b"/>
                  <a:pathLst>
                    <a:path w="26" h="26">
                      <a:moveTo>
                        <a:pt x="26" y="0"/>
                      </a:moveTo>
                      <a:lnTo>
                        <a:pt x="0" y="26"/>
                      </a:lnTo>
                      <a:lnTo>
                        <a:pt x="2" y="26"/>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469" name="Freeform 1915"/>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470" name="Freeform 1916"/>
                <p:cNvSpPr>
                  <a:spLocks/>
                </p:cNvSpPr>
                <p:nvPr/>
              </p:nvSpPr>
              <p:spPr bwMode="auto">
                <a:xfrm>
                  <a:off x="10415" y="3039"/>
                  <a:ext cx="33" cy="26"/>
                </a:xfrm>
                <a:custGeom>
                  <a:avLst/>
                  <a:gdLst>
                    <a:gd name="T0" fmla="*/ 26 w 28"/>
                    <a:gd name="T1" fmla="*/ 0 h 28"/>
                    <a:gd name="T2" fmla="*/ 0 w 28"/>
                    <a:gd name="T3" fmla="*/ 28 h 28"/>
                    <a:gd name="T4" fmla="*/ 0 w 28"/>
                    <a:gd name="T5" fmla="*/ 28 h 28"/>
                    <a:gd name="T6" fmla="*/ 28 w 28"/>
                    <a:gd name="T7" fmla="*/ 2 h 28"/>
                    <a:gd name="T8" fmla="*/ 26 w 28"/>
                    <a:gd name="T9" fmla="*/ 0 h 28"/>
                  </a:gdLst>
                  <a:ahLst/>
                  <a:cxnLst>
                    <a:cxn ang="0">
                      <a:pos x="T0" y="T1"/>
                    </a:cxn>
                    <a:cxn ang="0">
                      <a:pos x="T2" y="T3"/>
                    </a:cxn>
                    <a:cxn ang="0">
                      <a:pos x="T4" y="T5"/>
                    </a:cxn>
                    <a:cxn ang="0">
                      <a:pos x="T6" y="T7"/>
                    </a:cxn>
                    <a:cxn ang="0">
                      <a:pos x="T8" y="T9"/>
                    </a:cxn>
                  </a:cxnLst>
                  <a:rect l="0" t="0" r="r" b="b"/>
                  <a:pathLst>
                    <a:path w="28" h="28">
                      <a:moveTo>
                        <a:pt x="26" y="0"/>
                      </a:moveTo>
                      <a:lnTo>
                        <a:pt x="0" y="28"/>
                      </a:lnTo>
                      <a:lnTo>
                        <a:pt x="0" y="28"/>
                      </a:lnTo>
                      <a:lnTo>
                        <a:pt x="28" y="2"/>
                      </a:lnTo>
                      <a:lnTo>
                        <a:pt x="26" y="0"/>
                      </a:lnTo>
                    </a:path>
                  </a:pathLst>
                </a:custGeom>
                <a:noFill/>
                <a:ln>
                  <a:noFill/>
                </a:ln>
                <a:extLst/>
              </p:spPr>
              <p:txBody>
                <a:bodyPr/>
                <a:lstStyle/>
                <a:p>
                  <a:pPr eaLnBrk="1" hangingPunct="1">
                    <a:defRPr/>
                  </a:pPr>
                  <a:endParaRPr lang="zh-CN" altLang="en-US" sz="1050"/>
                </a:p>
              </p:txBody>
            </p:sp>
            <p:sp>
              <p:nvSpPr>
                <p:cNvPr id="3471" name="Freeform 1917"/>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472" name="Freeform 1918"/>
                <p:cNvSpPr>
                  <a:spLocks/>
                </p:cNvSpPr>
                <p:nvPr/>
              </p:nvSpPr>
              <p:spPr bwMode="auto">
                <a:xfrm>
                  <a:off x="10415" y="3031"/>
                  <a:ext cx="25" cy="35"/>
                </a:xfrm>
                <a:custGeom>
                  <a:avLst/>
                  <a:gdLst>
                    <a:gd name="T0" fmla="*/ 26 w 29"/>
                    <a:gd name="T1" fmla="*/ 0 h 29"/>
                    <a:gd name="T2" fmla="*/ 0 w 29"/>
                    <a:gd name="T3" fmla="*/ 29 h 29"/>
                    <a:gd name="T4" fmla="*/ 0 w 29"/>
                    <a:gd name="T5" fmla="*/ 29 h 29"/>
                    <a:gd name="T6" fmla="*/ 29 w 29"/>
                    <a:gd name="T7" fmla="*/ 3 h 29"/>
                    <a:gd name="T8" fmla="*/ 26 w 29"/>
                    <a:gd name="T9" fmla="*/ 0 h 29"/>
                  </a:gdLst>
                  <a:ahLst/>
                  <a:cxnLst>
                    <a:cxn ang="0">
                      <a:pos x="T0" y="T1"/>
                    </a:cxn>
                    <a:cxn ang="0">
                      <a:pos x="T2" y="T3"/>
                    </a:cxn>
                    <a:cxn ang="0">
                      <a:pos x="T4" y="T5"/>
                    </a:cxn>
                    <a:cxn ang="0">
                      <a:pos x="T6" y="T7"/>
                    </a:cxn>
                    <a:cxn ang="0">
                      <a:pos x="T8" y="T9"/>
                    </a:cxn>
                  </a:cxnLst>
                  <a:rect l="0" t="0" r="r" b="b"/>
                  <a:pathLst>
                    <a:path w="29" h="29">
                      <a:moveTo>
                        <a:pt x="26" y="0"/>
                      </a:moveTo>
                      <a:lnTo>
                        <a:pt x="0" y="29"/>
                      </a:lnTo>
                      <a:lnTo>
                        <a:pt x="0" y="29"/>
                      </a:lnTo>
                      <a:lnTo>
                        <a:pt x="29" y="3"/>
                      </a:lnTo>
                      <a:lnTo>
                        <a:pt x="26" y="0"/>
                      </a:lnTo>
                    </a:path>
                  </a:pathLst>
                </a:custGeom>
                <a:noFill/>
                <a:ln>
                  <a:noFill/>
                </a:ln>
                <a:extLst/>
              </p:spPr>
              <p:txBody>
                <a:bodyPr/>
                <a:lstStyle/>
                <a:p>
                  <a:pPr eaLnBrk="1" hangingPunct="1">
                    <a:defRPr/>
                  </a:pPr>
                  <a:endParaRPr lang="zh-CN" altLang="en-US" sz="1050"/>
                </a:p>
              </p:txBody>
            </p:sp>
            <p:sp>
              <p:nvSpPr>
                <p:cNvPr id="3473" name="Freeform 1919"/>
                <p:cNvSpPr>
                  <a:spLocks/>
                </p:cNvSpPr>
                <p:nvPr/>
              </p:nvSpPr>
              <p:spPr bwMode="auto">
                <a:xfrm>
                  <a:off x="10365" y="2979"/>
                  <a:ext cx="8" cy="9"/>
                </a:xfrm>
                <a:custGeom>
                  <a:avLst/>
                  <a:gdLst>
                    <a:gd name="T0" fmla="*/ 14 w 17"/>
                    <a:gd name="T1" fmla="*/ 0 h 11"/>
                    <a:gd name="T2" fmla="*/ 0 w 17"/>
                    <a:gd name="T3" fmla="*/ 9 h 11"/>
                    <a:gd name="T4" fmla="*/ 3 w 17"/>
                    <a:gd name="T5" fmla="*/ 11 h 11"/>
                    <a:gd name="T6" fmla="*/ 17 w 17"/>
                    <a:gd name="T7" fmla="*/ 0 h 11"/>
                    <a:gd name="T8" fmla="*/ 14 w 17"/>
                    <a:gd name="T9" fmla="*/ 0 h 11"/>
                  </a:gdLst>
                  <a:ahLst/>
                  <a:cxnLst>
                    <a:cxn ang="0">
                      <a:pos x="T0" y="T1"/>
                    </a:cxn>
                    <a:cxn ang="0">
                      <a:pos x="T2" y="T3"/>
                    </a:cxn>
                    <a:cxn ang="0">
                      <a:pos x="T4" y="T5"/>
                    </a:cxn>
                    <a:cxn ang="0">
                      <a:pos x="T6" y="T7"/>
                    </a:cxn>
                    <a:cxn ang="0">
                      <a:pos x="T8" y="T9"/>
                    </a:cxn>
                  </a:cxnLst>
                  <a:rect l="0" t="0" r="r" b="b"/>
                  <a:pathLst>
                    <a:path w="17" h="11">
                      <a:moveTo>
                        <a:pt x="14" y="0"/>
                      </a:moveTo>
                      <a:lnTo>
                        <a:pt x="0" y="9"/>
                      </a:lnTo>
                      <a:lnTo>
                        <a:pt x="3" y="11"/>
                      </a:lnTo>
                      <a:lnTo>
                        <a:pt x="17"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474" name="Freeform 1920"/>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close/>
                    </a:path>
                  </a:pathLst>
                </a:custGeom>
                <a:solidFill>
                  <a:srgbClr val="01AAE5"/>
                </a:solidFill>
                <a:ln>
                  <a:noFill/>
                </a:ln>
                <a:extLst/>
              </p:spPr>
              <p:txBody>
                <a:bodyPr/>
                <a:lstStyle/>
                <a:p>
                  <a:pPr eaLnBrk="1" hangingPunct="1">
                    <a:defRPr/>
                  </a:pPr>
                  <a:endParaRPr lang="zh-CN" altLang="en-US" sz="1050"/>
                </a:p>
              </p:txBody>
            </p:sp>
            <p:sp>
              <p:nvSpPr>
                <p:cNvPr id="3475" name="Freeform 1921"/>
                <p:cNvSpPr>
                  <a:spLocks/>
                </p:cNvSpPr>
                <p:nvPr/>
              </p:nvSpPr>
              <p:spPr bwMode="auto">
                <a:xfrm>
                  <a:off x="10373" y="3013"/>
                  <a:ext cx="33" cy="35"/>
                </a:xfrm>
                <a:custGeom>
                  <a:avLst/>
                  <a:gdLst>
                    <a:gd name="T0" fmla="*/ 29 w 29"/>
                    <a:gd name="T1" fmla="*/ 0 h 29"/>
                    <a:gd name="T2" fmla="*/ 0 w 29"/>
                    <a:gd name="T3" fmla="*/ 26 h 29"/>
                    <a:gd name="T4" fmla="*/ 0 w 29"/>
                    <a:gd name="T5" fmla="*/ 29 h 29"/>
                    <a:gd name="T6" fmla="*/ 29 w 29"/>
                    <a:gd name="T7" fmla="*/ 3 h 29"/>
                    <a:gd name="T8" fmla="*/ 29 w 29"/>
                    <a:gd name="T9" fmla="*/ 0 h 29"/>
                  </a:gdLst>
                  <a:ahLst/>
                  <a:cxnLst>
                    <a:cxn ang="0">
                      <a:pos x="T0" y="T1"/>
                    </a:cxn>
                    <a:cxn ang="0">
                      <a:pos x="T2" y="T3"/>
                    </a:cxn>
                    <a:cxn ang="0">
                      <a:pos x="T4" y="T5"/>
                    </a:cxn>
                    <a:cxn ang="0">
                      <a:pos x="T6" y="T7"/>
                    </a:cxn>
                    <a:cxn ang="0">
                      <a:pos x="T8" y="T9"/>
                    </a:cxn>
                  </a:cxnLst>
                  <a:rect l="0" t="0" r="r" b="b"/>
                  <a:pathLst>
                    <a:path w="29" h="29">
                      <a:moveTo>
                        <a:pt x="29" y="0"/>
                      </a:moveTo>
                      <a:lnTo>
                        <a:pt x="0" y="26"/>
                      </a:lnTo>
                      <a:lnTo>
                        <a:pt x="0" y="29"/>
                      </a:lnTo>
                      <a:lnTo>
                        <a:pt x="29" y="3"/>
                      </a:lnTo>
                      <a:lnTo>
                        <a:pt x="29" y="0"/>
                      </a:lnTo>
                    </a:path>
                  </a:pathLst>
                </a:custGeom>
                <a:noFill/>
                <a:ln>
                  <a:noFill/>
                </a:ln>
                <a:extLst/>
              </p:spPr>
              <p:txBody>
                <a:bodyPr/>
                <a:lstStyle/>
                <a:p>
                  <a:pPr eaLnBrk="1" hangingPunct="1">
                    <a:defRPr/>
                  </a:pPr>
                  <a:endParaRPr lang="zh-CN" altLang="en-US" sz="1050"/>
                </a:p>
              </p:txBody>
            </p:sp>
            <p:sp>
              <p:nvSpPr>
                <p:cNvPr id="3476" name="Freeform 1922"/>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477" name="Freeform 1923"/>
                <p:cNvSpPr>
                  <a:spLocks/>
                </p:cNvSpPr>
                <p:nvPr/>
              </p:nvSpPr>
              <p:spPr bwMode="auto">
                <a:xfrm>
                  <a:off x="10373" y="3013"/>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3478" name="Freeform 1924"/>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479" name="Freeform 1925"/>
                <p:cNvSpPr>
                  <a:spLocks/>
                </p:cNvSpPr>
                <p:nvPr/>
              </p:nvSpPr>
              <p:spPr bwMode="auto">
                <a:xfrm>
                  <a:off x="10373" y="3031"/>
                  <a:ext cx="33" cy="26"/>
                </a:xfrm>
                <a:custGeom>
                  <a:avLst/>
                  <a:gdLst>
                    <a:gd name="T0" fmla="*/ 28 w 28"/>
                    <a:gd name="T1" fmla="*/ 0 h 28"/>
                    <a:gd name="T2" fmla="*/ 0 w 28"/>
                    <a:gd name="T3" fmla="*/ 28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8"/>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3480" name="Freeform 1926"/>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481" name="Freeform 1927"/>
                <p:cNvSpPr>
                  <a:spLocks/>
                </p:cNvSpPr>
                <p:nvPr/>
              </p:nvSpPr>
              <p:spPr bwMode="auto">
                <a:xfrm>
                  <a:off x="10373" y="3022"/>
                  <a:ext cx="33" cy="26"/>
                </a:xfrm>
                <a:custGeom>
                  <a:avLst/>
                  <a:gdLst>
                    <a:gd name="T0" fmla="*/ 28 w 28"/>
                    <a:gd name="T1" fmla="*/ 0 h 28"/>
                    <a:gd name="T2" fmla="*/ 0 w 28"/>
                    <a:gd name="T3" fmla="*/ 26 h 28"/>
                    <a:gd name="T4" fmla="*/ 0 w 28"/>
                    <a:gd name="T5" fmla="*/ 28 h 28"/>
                    <a:gd name="T6" fmla="*/ 28 w 28"/>
                    <a:gd name="T7" fmla="*/ 2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0" y="26"/>
                      </a:lnTo>
                      <a:lnTo>
                        <a:pt x="0" y="28"/>
                      </a:lnTo>
                      <a:lnTo>
                        <a:pt x="28" y="2"/>
                      </a:lnTo>
                      <a:lnTo>
                        <a:pt x="28" y="0"/>
                      </a:lnTo>
                    </a:path>
                  </a:pathLst>
                </a:custGeom>
                <a:noFill/>
                <a:ln>
                  <a:noFill/>
                </a:ln>
                <a:extLst/>
              </p:spPr>
              <p:txBody>
                <a:bodyPr/>
                <a:lstStyle/>
                <a:p>
                  <a:pPr eaLnBrk="1" hangingPunct="1">
                    <a:defRPr/>
                  </a:pPr>
                  <a:endParaRPr lang="zh-CN" altLang="en-US" sz="1050"/>
                </a:p>
              </p:txBody>
            </p:sp>
            <p:sp>
              <p:nvSpPr>
                <p:cNvPr id="3482" name="Freeform 1928"/>
                <p:cNvSpPr>
                  <a:spLocks/>
                </p:cNvSpPr>
                <p:nvPr/>
              </p:nvSpPr>
              <p:spPr bwMode="auto">
                <a:xfrm>
                  <a:off x="10332" y="2926"/>
                  <a:ext cx="0" cy="0"/>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83" name="Freeform 1929"/>
                <p:cNvSpPr>
                  <a:spLocks/>
                </p:cNvSpPr>
                <p:nvPr/>
              </p:nvSpPr>
              <p:spPr bwMode="auto">
                <a:xfrm>
                  <a:off x="10365" y="2970"/>
                  <a:ext cx="8" cy="9"/>
                </a:xfrm>
                <a:custGeom>
                  <a:avLst/>
                  <a:gdLst>
                    <a:gd name="T0" fmla="*/ 12 w 14"/>
                    <a:gd name="T1" fmla="*/ 0 h 9"/>
                    <a:gd name="T2" fmla="*/ 0 w 14"/>
                    <a:gd name="T3" fmla="*/ 9 h 9"/>
                    <a:gd name="T4" fmla="*/ 0 w 14"/>
                    <a:gd name="T5" fmla="*/ 9 h 9"/>
                    <a:gd name="T6" fmla="*/ 14 w 14"/>
                    <a:gd name="T7" fmla="*/ 0 h 9"/>
                    <a:gd name="T8" fmla="*/ 12 w 14"/>
                    <a:gd name="T9" fmla="*/ 0 h 9"/>
                  </a:gdLst>
                  <a:ahLst/>
                  <a:cxnLst>
                    <a:cxn ang="0">
                      <a:pos x="T0" y="T1"/>
                    </a:cxn>
                    <a:cxn ang="0">
                      <a:pos x="T2" y="T3"/>
                    </a:cxn>
                    <a:cxn ang="0">
                      <a:pos x="T4" y="T5"/>
                    </a:cxn>
                    <a:cxn ang="0">
                      <a:pos x="T6" y="T7"/>
                    </a:cxn>
                    <a:cxn ang="0">
                      <a:pos x="T8" y="T9"/>
                    </a:cxn>
                  </a:cxnLst>
                  <a:rect l="0" t="0" r="r" b="b"/>
                  <a:pathLst>
                    <a:path w="14" h="9">
                      <a:moveTo>
                        <a:pt x="12" y="0"/>
                      </a:moveTo>
                      <a:lnTo>
                        <a:pt x="0" y="9"/>
                      </a:lnTo>
                      <a:lnTo>
                        <a:pt x="0" y="9"/>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484" name="Freeform 1930"/>
                <p:cNvSpPr>
                  <a:spLocks/>
                </p:cNvSpPr>
                <p:nvPr/>
              </p:nvSpPr>
              <p:spPr bwMode="auto">
                <a:xfrm>
                  <a:off x="10323" y="2909"/>
                  <a:ext cx="0" cy="9"/>
                </a:xfrm>
                <a:custGeom>
                  <a:avLst/>
                  <a:gdLst>
                    <a:gd name="T0" fmla="*/ 9 w 12"/>
                    <a:gd name="T1" fmla="*/ 0 h 7"/>
                    <a:gd name="T2" fmla="*/ 0 w 12"/>
                    <a:gd name="T3" fmla="*/ 7 h 7"/>
                    <a:gd name="T4" fmla="*/ 0 w 12"/>
                    <a:gd name="T5" fmla="*/ 7 h 7"/>
                    <a:gd name="T6" fmla="*/ 12 w 12"/>
                    <a:gd name="T7" fmla="*/ 3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0" y="7"/>
                      </a:lnTo>
                      <a:lnTo>
                        <a:pt x="12" y="3"/>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85" name="Freeform 1931"/>
                <p:cNvSpPr>
                  <a:spLocks/>
                </p:cNvSpPr>
                <p:nvPr/>
              </p:nvSpPr>
              <p:spPr bwMode="auto">
                <a:xfrm>
                  <a:off x="10415" y="3048"/>
                  <a:ext cx="17" cy="26"/>
                </a:xfrm>
                <a:custGeom>
                  <a:avLst/>
                  <a:gdLst>
                    <a:gd name="T0" fmla="*/ 23 w 23"/>
                    <a:gd name="T1" fmla="*/ 0 h 25"/>
                    <a:gd name="T2" fmla="*/ 0 w 23"/>
                    <a:gd name="T3" fmla="*/ 23 h 25"/>
                    <a:gd name="T4" fmla="*/ 0 w 23"/>
                    <a:gd name="T5" fmla="*/ 25 h 25"/>
                    <a:gd name="T6" fmla="*/ 23 w 23"/>
                    <a:gd name="T7" fmla="*/ 0 h 25"/>
                    <a:gd name="T8" fmla="*/ 23 w 23"/>
                    <a:gd name="T9" fmla="*/ 0 h 25"/>
                  </a:gdLst>
                  <a:ahLst/>
                  <a:cxnLst>
                    <a:cxn ang="0">
                      <a:pos x="T0" y="T1"/>
                    </a:cxn>
                    <a:cxn ang="0">
                      <a:pos x="T2" y="T3"/>
                    </a:cxn>
                    <a:cxn ang="0">
                      <a:pos x="T4" y="T5"/>
                    </a:cxn>
                    <a:cxn ang="0">
                      <a:pos x="T6" y="T7"/>
                    </a:cxn>
                    <a:cxn ang="0">
                      <a:pos x="T8" y="T9"/>
                    </a:cxn>
                  </a:cxnLst>
                  <a:rect l="0" t="0" r="r" b="b"/>
                  <a:pathLst>
                    <a:path w="23" h="25">
                      <a:moveTo>
                        <a:pt x="23" y="0"/>
                      </a:moveTo>
                      <a:lnTo>
                        <a:pt x="0" y="23"/>
                      </a:lnTo>
                      <a:lnTo>
                        <a:pt x="0" y="25"/>
                      </a:lnTo>
                      <a:lnTo>
                        <a:pt x="23" y="0"/>
                      </a:lnTo>
                      <a:lnTo>
                        <a:pt x="23" y="0"/>
                      </a:lnTo>
                      <a:close/>
                    </a:path>
                  </a:pathLst>
                </a:custGeom>
                <a:solidFill>
                  <a:srgbClr val="01AAE5"/>
                </a:solidFill>
                <a:ln>
                  <a:noFill/>
                </a:ln>
                <a:extLst/>
              </p:spPr>
              <p:txBody>
                <a:bodyPr/>
                <a:lstStyle/>
                <a:p>
                  <a:pPr eaLnBrk="1" hangingPunct="1">
                    <a:defRPr/>
                  </a:pPr>
                  <a:endParaRPr lang="zh-CN" altLang="en-US" sz="1050"/>
                </a:p>
              </p:txBody>
            </p:sp>
            <p:sp>
              <p:nvSpPr>
                <p:cNvPr id="3486" name="Freeform 1932"/>
                <p:cNvSpPr>
                  <a:spLocks/>
                </p:cNvSpPr>
                <p:nvPr/>
              </p:nvSpPr>
              <p:spPr bwMode="auto">
                <a:xfrm>
                  <a:off x="10315" y="2900"/>
                  <a:ext cx="17" cy="9"/>
                </a:xfrm>
                <a:custGeom>
                  <a:avLst/>
                  <a:gdLst>
                    <a:gd name="T0" fmla="*/ 10 w 10"/>
                    <a:gd name="T1" fmla="*/ 0 h 7"/>
                    <a:gd name="T2" fmla="*/ 0 w 10"/>
                    <a:gd name="T3" fmla="*/ 4 h 7"/>
                    <a:gd name="T4" fmla="*/ 0 w 10"/>
                    <a:gd name="T5" fmla="*/ 7 h 7"/>
                    <a:gd name="T6" fmla="*/ 10 w 10"/>
                    <a:gd name="T7" fmla="*/ 0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4"/>
                      </a:lnTo>
                      <a:lnTo>
                        <a:pt x="0" y="7"/>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487" name="Freeform 1933"/>
                <p:cNvSpPr>
                  <a:spLocks/>
                </p:cNvSpPr>
                <p:nvPr/>
              </p:nvSpPr>
              <p:spPr bwMode="auto">
                <a:xfrm>
                  <a:off x="10332" y="2926"/>
                  <a:ext cx="8" cy="9"/>
                </a:xfrm>
                <a:custGeom>
                  <a:avLst/>
                  <a:gdLst>
                    <a:gd name="T0" fmla="*/ 9 w 9"/>
                    <a:gd name="T1" fmla="*/ 0 h 7"/>
                    <a:gd name="T2" fmla="*/ 0 w 9"/>
                    <a:gd name="T3" fmla="*/ 5 h 7"/>
                    <a:gd name="T4" fmla="*/ 0 w 9"/>
                    <a:gd name="T5" fmla="*/ 7 h 7"/>
                    <a:gd name="T6" fmla="*/ 9 w 9"/>
                    <a:gd name="T7" fmla="*/ 0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5"/>
                      </a:lnTo>
                      <a:lnTo>
                        <a:pt x="0" y="7"/>
                      </a:lnTo>
                      <a:lnTo>
                        <a:pt x="9"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88" name="Freeform 1934"/>
                <p:cNvSpPr>
                  <a:spLocks/>
                </p:cNvSpPr>
                <p:nvPr/>
              </p:nvSpPr>
              <p:spPr bwMode="auto">
                <a:xfrm>
                  <a:off x="11289" y="3100"/>
                  <a:ext cx="58" cy="87"/>
                </a:xfrm>
                <a:custGeom>
                  <a:avLst/>
                  <a:gdLst>
                    <a:gd name="T0" fmla="*/ 0 w 57"/>
                    <a:gd name="T1" fmla="*/ 0 h 81"/>
                    <a:gd name="T2" fmla="*/ 0 w 57"/>
                    <a:gd name="T3" fmla="*/ 0 h 81"/>
                    <a:gd name="T4" fmla="*/ 57 w 57"/>
                    <a:gd name="T5" fmla="*/ 81 h 81"/>
                    <a:gd name="T6" fmla="*/ 57 w 57"/>
                    <a:gd name="T7" fmla="*/ 81 h 81"/>
                    <a:gd name="T8" fmla="*/ 2 w 57"/>
                    <a:gd name="T9" fmla="*/ 0 h 81"/>
                    <a:gd name="T10" fmla="*/ 0 w 57"/>
                    <a:gd name="T11" fmla="*/ 0 h 81"/>
                  </a:gdLst>
                  <a:ahLst/>
                  <a:cxnLst>
                    <a:cxn ang="0">
                      <a:pos x="T0" y="T1"/>
                    </a:cxn>
                    <a:cxn ang="0">
                      <a:pos x="T2" y="T3"/>
                    </a:cxn>
                    <a:cxn ang="0">
                      <a:pos x="T4" y="T5"/>
                    </a:cxn>
                    <a:cxn ang="0">
                      <a:pos x="T6" y="T7"/>
                    </a:cxn>
                    <a:cxn ang="0">
                      <a:pos x="T8" y="T9"/>
                    </a:cxn>
                    <a:cxn ang="0">
                      <a:pos x="T10" y="T11"/>
                    </a:cxn>
                  </a:cxnLst>
                  <a:rect l="0" t="0" r="r" b="b"/>
                  <a:pathLst>
                    <a:path w="57" h="81">
                      <a:moveTo>
                        <a:pt x="0" y="0"/>
                      </a:moveTo>
                      <a:lnTo>
                        <a:pt x="0" y="0"/>
                      </a:lnTo>
                      <a:lnTo>
                        <a:pt x="57" y="81"/>
                      </a:lnTo>
                      <a:lnTo>
                        <a:pt x="57" y="8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489" name="Freeform 1935"/>
                <p:cNvSpPr>
                  <a:spLocks/>
                </p:cNvSpPr>
                <p:nvPr/>
              </p:nvSpPr>
              <p:spPr bwMode="auto">
                <a:xfrm>
                  <a:off x="10307" y="2891"/>
                  <a:ext cx="17" cy="9"/>
                </a:xfrm>
                <a:custGeom>
                  <a:avLst/>
                  <a:gdLst>
                    <a:gd name="T0" fmla="*/ 9 w 11"/>
                    <a:gd name="T1" fmla="*/ 0 h 7"/>
                    <a:gd name="T2" fmla="*/ 0 w 11"/>
                    <a:gd name="T3" fmla="*/ 7 h 7"/>
                    <a:gd name="T4" fmla="*/ 2 w 11"/>
                    <a:gd name="T5" fmla="*/ 7 h 7"/>
                    <a:gd name="T6" fmla="*/ 11 w 11"/>
                    <a:gd name="T7" fmla="*/ 2 h 7"/>
                    <a:gd name="T8" fmla="*/ 9 w 11"/>
                    <a:gd name="T9" fmla="*/ 0 h 7"/>
                  </a:gdLst>
                  <a:ahLst/>
                  <a:cxnLst>
                    <a:cxn ang="0">
                      <a:pos x="T0" y="T1"/>
                    </a:cxn>
                    <a:cxn ang="0">
                      <a:pos x="T2" y="T3"/>
                    </a:cxn>
                    <a:cxn ang="0">
                      <a:pos x="T4" y="T5"/>
                    </a:cxn>
                    <a:cxn ang="0">
                      <a:pos x="T6" y="T7"/>
                    </a:cxn>
                    <a:cxn ang="0">
                      <a:pos x="T8" y="T9"/>
                    </a:cxn>
                  </a:cxnLst>
                  <a:rect l="0" t="0" r="r" b="b"/>
                  <a:pathLst>
                    <a:path w="11" h="7">
                      <a:moveTo>
                        <a:pt x="9" y="0"/>
                      </a:moveTo>
                      <a:lnTo>
                        <a:pt x="0" y="7"/>
                      </a:lnTo>
                      <a:lnTo>
                        <a:pt x="2" y="7"/>
                      </a:lnTo>
                      <a:lnTo>
                        <a:pt x="11"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0" name="Freeform 1936"/>
                <p:cNvSpPr>
                  <a:spLocks/>
                </p:cNvSpPr>
                <p:nvPr/>
              </p:nvSpPr>
              <p:spPr bwMode="auto">
                <a:xfrm>
                  <a:off x="10307" y="2891"/>
                  <a:ext cx="17" cy="9"/>
                </a:xfrm>
                <a:custGeom>
                  <a:avLst/>
                  <a:gdLst>
                    <a:gd name="T0" fmla="*/ 10 w 10"/>
                    <a:gd name="T1" fmla="*/ 0 h 7"/>
                    <a:gd name="T2" fmla="*/ 0 w 10"/>
                    <a:gd name="T3" fmla="*/ 5 h 7"/>
                    <a:gd name="T4" fmla="*/ 0 w 10"/>
                    <a:gd name="T5" fmla="*/ 7 h 7"/>
                    <a:gd name="T6" fmla="*/ 10 w 10"/>
                    <a:gd name="T7" fmla="*/ 2 h 7"/>
                    <a:gd name="T8" fmla="*/ 10 w 10"/>
                    <a:gd name="T9" fmla="*/ 0 h 7"/>
                  </a:gdLst>
                  <a:ahLst/>
                  <a:cxnLst>
                    <a:cxn ang="0">
                      <a:pos x="T0" y="T1"/>
                    </a:cxn>
                    <a:cxn ang="0">
                      <a:pos x="T2" y="T3"/>
                    </a:cxn>
                    <a:cxn ang="0">
                      <a:pos x="T4" y="T5"/>
                    </a:cxn>
                    <a:cxn ang="0">
                      <a:pos x="T6" y="T7"/>
                    </a:cxn>
                    <a:cxn ang="0">
                      <a:pos x="T8" y="T9"/>
                    </a:cxn>
                  </a:cxnLst>
                  <a:rect l="0" t="0" r="r" b="b"/>
                  <a:pathLst>
                    <a:path w="10" h="7">
                      <a:moveTo>
                        <a:pt x="10" y="0"/>
                      </a:moveTo>
                      <a:lnTo>
                        <a:pt x="0" y="5"/>
                      </a:lnTo>
                      <a:lnTo>
                        <a:pt x="0" y="7"/>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491" name="Freeform 1937"/>
                <p:cNvSpPr>
                  <a:spLocks/>
                </p:cNvSpPr>
                <p:nvPr/>
              </p:nvSpPr>
              <p:spPr bwMode="auto">
                <a:xfrm>
                  <a:off x="10323" y="2918"/>
                  <a:ext cx="8" cy="9"/>
                </a:xfrm>
                <a:custGeom>
                  <a:avLst/>
                  <a:gdLst>
                    <a:gd name="T0" fmla="*/ 10 w 10"/>
                    <a:gd name="T1" fmla="*/ 0 h 8"/>
                    <a:gd name="T2" fmla="*/ 0 w 10"/>
                    <a:gd name="T3" fmla="*/ 5 h 8"/>
                    <a:gd name="T4" fmla="*/ 0 w 10"/>
                    <a:gd name="T5" fmla="*/ 8 h 8"/>
                    <a:gd name="T6" fmla="*/ 10 w 10"/>
                    <a:gd name="T7" fmla="*/ 0 h 8"/>
                    <a:gd name="T8" fmla="*/ 10 w 10"/>
                    <a:gd name="T9" fmla="*/ 0 h 8"/>
                  </a:gdLst>
                  <a:ahLst/>
                  <a:cxnLst>
                    <a:cxn ang="0">
                      <a:pos x="T0" y="T1"/>
                    </a:cxn>
                    <a:cxn ang="0">
                      <a:pos x="T2" y="T3"/>
                    </a:cxn>
                    <a:cxn ang="0">
                      <a:pos x="T4" y="T5"/>
                    </a:cxn>
                    <a:cxn ang="0">
                      <a:pos x="T6" y="T7"/>
                    </a:cxn>
                    <a:cxn ang="0">
                      <a:pos x="T8" y="T9"/>
                    </a:cxn>
                  </a:cxnLst>
                  <a:rect l="0" t="0" r="r" b="b"/>
                  <a:pathLst>
                    <a:path w="10" h="8">
                      <a:moveTo>
                        <a:pt x="10" y="0"/>
                      </a:moveTo>
                      <a:lnTo>
                        <a:pt x="0" y="5"/>
                      </a:lnTo>
                      <a:lnTo>
                        <a:pt x="0" y="8"/>
                      </a:lnTo>
                      <a:lnTo>
                        <a:pt x="10" y="0"/>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492" name="Freeform 1938"/>
                <p:cNvSpPr>
                  <a:spLocks/>
                </p:cNvSpPr>
                <p:nvPr/>
              </p:nvSpPr>
              <p:spPr bwMode="auto">
                <a:xfrm>
                  <a:off x="10357" y="2952"/>
                  <a:ext cx="8" cy="17"/>
                </a:xfrm>
                <a:custGeom>
                  <a:avLst/>
                  <a:gdLst>
                    <a:gd name="T0" fmla="*/ 9 w 12"/>
                    <a:gd name="T1" fmla="*/ 0 h 9"/>
                    <a:gd name="T2" fmla="*/ 0 w 12"/>
                    <a:gd name="T3" fmla="*/ 9 h 9"/>
                    <a:gd name="T4" fmla="*/ 0 w 12"/>
                    <a:gd name="T5" fmla="*/ 9 h 9"/>
                    <a:gd name="T6" fmla="*/ 12 w 12"/>
                    <a:gd name="T7" fmla="*/ 2 h 9"/>
                    <a:gd name="T8" fmla="*/ 9 w 12"/>
                    <a:gd name="T9" fmla="*/ 0 h 9"/>
                  </a:gdLst>
                  <a:ahLst/>
                  <a:cxnLst>
                    <a:cxn ang="0">
                      <a:pos x="T0" y="T1"/>
                    </a:cxn>
                    <a:cxn ang="0">
                      <a:pos x="T2" y="T3"/>
                    </a:cxn>
                    <a:cxn ang="0">
                      <a:pos x="T4" y="T5"/>
                    </a:cxn>
                    <a:cxn ang="0">
                      <a:pos x="T6" y="T7"/>
                    </a:cxn>
                    <a:cxn ang="0">
                      <a:pos x="T8" y="T9"/>
                    </a:cxn>
                  </a:cxnLst>
                  <a:rect l="0" t="0" r="r" b="b"/>
                  <a:pathLst>
                    <a:path w="12" h="9">
                      <a:moveTo>
                        <a:pt x="9" y="0"/>
                      </a:moveTo>
                      <a:lnTo>
                        <a:pt x="0" y="9"/>
                      </a:lnTo>
                      <a:lnTo>
                        <a:pt x="0" y="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3" name="Freeform 1939"/>
                <p:cNvSpPr>
                  <a:spLocks/>
                </p:cNvSpPr>
                <p:nvPr/>
              </p:nvSpPr>
              <p:spPr bwMode="auto">
                <a:xfrm>
                  <a:off x="10332" y="2935"/>
                  <a:ext cx="17" cy="9"/>
                </a:xfrm>
                <a:custGeom>
                  <a:avLst/>
                  <a:gdLst>
                    <a:gd name="T0" fmla="*/ 9 w 12"/>
                    <a:gd name="T1" fmla="*/ 0 h 7"/>
                    <a:gd name="T2" fmla="*/ 0 w 12"/>
                    <a:gd name="T3" fmla="*/ 7 h 7"/>
                    <a:gd name="T4" fmla="*/ 2 w 12"/>
                    <a:gd name="T5" fmla="*/ 7 h 7"/>
                    <a:gd name="T6" fmla="*/ 12 w 12"/>
                    <a:gd name="T7" fmla="*/ 2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7"/>
                      </a:lnTo>
                      <a:lnTo>
                        <a:pt x="2" y="7"/>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4" name="Freeform 1940"/>
                <p:cNvSpPr>
                  <a:spLocks/>
                </p:cNvSpPr>
                <p:nvPr/>
              </p:nvSpPr>
              <p:spPr bwMode="auto">
                <a:xfrm>
                  <a:off x="10357" y="2961"/>
                  <a:ext cx="8" cy="17"/>
                </a:xfrm>
                <a:custGeom>
                  <a:avLst/>
                  <a:gdLst>
                    <a:gd name="T0" fmla="*/ 12 w 14"/>
                    <a:gd name="T1" fmla="*/ 0 h 10"/>
                    <a:gd name="T2" fmla="*/ 0 w 14"/>
                    <a:gd name="T3" fmla="*/ 7 h 10"/>
                    <a:gd name="T4" fmla="*/ 3 w 14"/>
                    <a:gd name="T5" fmla="*/ 10 h 10"/>
                    <a:gd name="T6" fmla="*/ 14 w 14"/>
                    <a:gd name="T7" fmla="*/ 0 h 10"/>
                    <a:gd name="T8" fmla="*/ 12 w 14"/>
                    <a:gd name="T9" fmla="*/ 0 h 10"/>
                  </a:gdLst>
                  <a:ahLst/>
                  <a:cxnLst>
                    <a:cxn ang="0">
                      <a:pos x="T0" y="T1"/>
                    </a:cxn>
                    <a:cxn ang="0">
                      <a:pos x="T2" y="T3"/>
                    </a:cxn>
                    <a:cxn ang="0">
                      <a:pos x="T4" y="T5"/>
                    </a:cxn>
                    <a:cxn ang="0">
                      <a:pos x="T6" y="T7"/>
                    </a:cxn>
                    <a:cxn ang="0">
                      <a:pos x="T8" y="T9"/>
                    </a:cxn>
                  </a:cxnLst>
                  <a:rect l="0" t="0" r="r" b="b"/>
                  <a:pathLst>
                    <a:path w="14" h="10">
                      <a:moveTo>
                        <a:pt x="12" y="0"/>
                      </a:moveTo>
                      <a:lnTo>
                        <a:pt x="0" y="7"/>
                      </a:lnTo>
                      <a:lnTo>
                        <a:pt x="3" y="10"/>
                      </a:lnTo>
                      <a:lnTo>
                        <a:pt x="14"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495" name="Freeform 1941"/>
                <p:cNvSpPr>
                  <a:spLocks/>
                </p:cNvSpPr>
                <p:nvPr/>
              </p:nvSpPr>
              <p:spPr bwMode="auto">
                <a:xfrm>
                  <a:off x="10348" y="2952"/>
                  <a:ext cx="17" cy="9"/>
                </a:xfrm>
                <a:custGeom>
                  <a:avLst/>
                  <a:gdLst>
                    <a:gd name="T0" fmla="*/ 12 w 12"/>
                    <a:gd name="T1" fmla="*/ 0 h 10"/>
                    <a:gd name="T2" fmla="*/ 0 w 12"/>
                    <a:gd name="T3" fmla="*/ 7 h 10"/>
                    <a:gd name="T4" fmla="*/ 2 w 12"/>
                    <a:gd name="T5" fmla="*/ 10 h 10"/>
                    <a:gd name="T6" fmla="*/ 12 w 12"/>
                    <a:gd name="T7" fmla="*/ 3 h 10"/>
                    <a:gd name="T8" fmla="*/ 12 w 12"/>
                    <a:gd name="T9" fmla="*/ 0 h 10"/>
                  </a:gdLst>
                  <a:ahLst/>
                  <a:cxnLst>
                    <a:cxn ang="0">
                      <a:pos x="T0" y="T1"/>
                    </a:cxn>
                    <a:cxn ang="0">
                      <a:pos x="T2" y="T3"/>
                    </a:cxn>
                    <a:cxn ang="0">
                      <a:pos x="T4" y="T5"/>
                    </a:cxn>
                    <a:cxn ang="0">
                      <a:pos x="T6" y="T7"/>
                    </a:cxn>
                    <a:cxn ang="0">
                      <a:pos x="T8" y="T9"/>
                    </a:cxn>
                  </a:cxnLst>
                  <a:rect l="0" t="0" r="r" b="b"/>
                  <a:pathLst>
                    <a:path w="12" h="10">
                      <a:moveTo>
                        <a:pt x="12" y="0"/>
                      </a:moveTo>
                      <a:lnTo>
                        <a:pt x="0" y="7"/>
                      </a:lnTo>
                      <a:lnTo>
                        <a:pt x="2" y="10"/>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496" name="Freeform 1942"/>
                <p:cNvSpPr>
                  <a:spLocks/>
                </p:cNvSpPr>
                <p:nvPr/>
              </p:nvSpPr>
              <p:spPr bwMode="auto">
                <a:xfrm>
                  <a:off x="10332" y="2935"/>
                  <a:ext cx="17" cy="17"/>
                </a:xfrm>
                <a:custGeom>
                  <a:avLst/>
                  <a:gdLst>
                    <a:gd name="T0" fmla="*/ 9 w 9"/>
                    <a:gd name="T1" fmla="*/ 0 h 9"/>
                    <a:gd name="T2" fmla="*/ 0 w 9"/>
                    <a:gd name="T3" fmla="*/ 7 h 9"/>
                    <a:gd name="T4" fmla="*/ 0 w 9"/>
                    <a:gd name="T5" fmla="*/ 9 h 9"/>
                    <a:gd name="T6" fmla="*/ 9 w 9"/>
                    <a:gd name="T7" fmla="*/ 2 h 9"/>
                    <a:gd name="T8" fmla="*/ 9 w 9"/>
                    <a:gd name="T9" fmla="*/ 0 h 9"/>
                  </a:gdLst>
                  <a:ahLst/>
                  <a:cxnLst>
                    <a:cxn ang="0">
                      <a:pos x="T0" y="T1"/>
                    </a:cxn>
                    <a:cxn ang="0">
                      <a:pos x="T2" y="T3"/>
                    </a:cxn>
                    <a:cxn ang="0">
                      <a:pos x="T4" y="T5"/>
                    </a:cxn>
                    <a:cxn ang="0">
                      <a:pos x="T6" y="T7"/>
                    </a:cxn>
                    <a:cxn ang="0">
                      <a:pos x="T8" y="T9"/>
                    </a:cxn>
                  </a:cxnLst>
                  <a:rect l="0" t="0" r="r" b="b"/>
                  <a:pathLst>
                    <a:path w="9" h="9">
                      <a:moveTo>
                        <a:pt x="9" y="0"/>
                      </a:moveTo>
                      <a:lnTo>
                        <a:pt x="0" y="7"/>
                      </a:lnTo>
                      <a:lnTo>
                        <a:pt x="0" y="9"/>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7" name="Freeform 1943"/>
                <p:cNvSpPr>
                  <a:spLocks/>
                </p:cNvSpPr>
                <p:nvPr/>
              </p:nvSpPr>
              <p:spPr bwMode="auto">
                <a:xfrm>
                  <a:off x="10348" y="2952"/>
                  <a:ext cx="0" cy="0"/>
                </a:xfrm>
                <a:custGeom>
                  <a:avLst/>
                  <a:gdLst>
                    <a:gd name="T0" fmla="*/ 9 w 9"/>
                    <a:gd name="T1" fmla="*/ 0 h 7"/>
                    <a:gd name="T2" fmla="*/ 0 w 9"/>
                    <a:gd name="T3" fmla="*/ 7 h 7"/>
                    <a:gd name="T4" fmla="*/ 0 w 9"/>
                    <a:gd name="T5" fmla="*/ 7 h 7"/>
                    <a:gd name="T6" fmla="*/ 9 w 9"/>
                    <a:gd name="T7" fmla="*/ 2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lnTo>
                        <a:pt x="0" y="7"/>
                      </a:lnTo>
                      <a:lnTo>
                        <a:pt x="0" y="7"/>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8" name="Freeform 1944"/>
                <p:cNvSpPr>
                  <a:spLocks/>
                </p:cNvSpPr>
                <p:nvPr/>
              </p:nvSpPr>
              <p:spPr bwMode="auto">
                <a:xfrm>
                  <a:off x="10340" y="2944"/>
                  <a:ext cx="17" cy="9"/>
                </a:xfrm>
                <a:custGeom>
                  <a:avLst/>
                  <a:gdLst>
                    <a:gd name="T0" fmla="*/ 9 w 12"/>
                    <a:gd name="T1" fmla="*/ 0 h 7"/>
                    <a:gd name="T2" fmla="*/ 0 w 12"/>
                    <a:gd name="T3" fmla="*/ 5 h 7"/>
                    <a:gd name="T4" fmla="*/ 2 w 12"/>
                    <a:gd name="T5" fmla="*/ 7 h 7"/>
                    <a:gd name="T6" fmla="*/ 12 w 12"/>
                    <a:gd name="T7" fmla="*/ 0 h 7"/>
                    <a:gd name="T8" fmla="*/ 9 w 12"/>
                    <a:gd name="T9" fmla="*/ 0 h 7"/>
                  </a:gdLst>
                  <a:ahLst/>
                  <a:cxnLst>
                    <a:cxn ang="0">
                      <a:pos x="T0" y="T1"/>
                    </a:cxn>
                    <a:cxn ang="0">
                      <a:pos x="T2" y="T3"/>
                    </a:cxn>
                    <a:cxn ang="0">
                      <a:pos x="T4" y="T5"/>
                    </a:cxn>
                    <a:cxn ang="0">
                      <a:pos x="T6" y="T7"/>
                    </a:cxn>
                    <a:cxn ang="0">
                      <a:pos x="T8" y="T9"/>
                    </a:cxn>
                  </a:cxnLst>
                  <a:rect l="0" t="0" r="r" b="b"/>
                  <a:pathLst>
                    <a:path w="12" h="7">
                      <a:moveTo>
                        <a:pt x="9" y="0"/>
                      </a:moveTo>
                      <a:lnTo>
                        <a:pt x="0" y="5"/>
                      </a:lnTo>
                      <a:lnTo>
                        <a:pt x="2" y="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499" name="Freeform 1945"/>
                <p:cNvSpPr>
                  <a:spLocks/>
                </p:cNvSpPr>
                <p:nvPr/>
              </p:nvSpPr>
              <p:spPr bwMode="auto">
                <a:xfrm>
                  <a:off x="10448" y="3092"/>
                  <a:ext cx="17" cy="17"/>
                </a:xfrm>
                <a:custGeom>
                  <a:avLst/>
                  <a:gdLst>
                    <a:gd name="T0" fmla="*/ 12 w 15"/>
                    <a:gd name="T1" fmla="*/ 0 h 16"/>
                    <a:gd name="T2" fmla="*/ 0 w 15"/>
                    <a:gd name="T3" fmla="*/ 14 h 16"/>
                    <a:gd name="T4" fmla="*/ 3 w 15"/>
                    <a:gd name="T5" fmla="*/ 16 h 16"/>
                    <a:gd name="T6" fmla="*/ 15 w 15"/>
                    <a:gd name="T7" fmla="*/ 2 h 16"/>
                    <a:gd name="T8" fmla="*/ 12 w 15"/>
                    <a:gd name="T9" fmla="*/ 0 h 16"/>
                  </a:gdLst>
                  <a:ahLst/>
                  <a:cxnLst>
                    <a:cxn ang="0">
                      <a:pos x="T0" y="T1"/>
                    </a:cxn>
                    <a:cxn ang="0">
                      <a:pos x="T2" y="T3"/>
                    </a:cxn>
                    <a:cxn ang="0">
                      <a:pos x="T4" y="T5"/>
                    </a:cxn>
                    <a:cxn ang="0">
                      <a:pos x="T6" y="T7"/>
                    </a:cxn>
                    <a:cxn ang="0">
                      <a:pos x="T8" y="T9"/>
                    </a:cxn>
                  </a:cxnLst>
                  <a:rect l="0" t="0" r="r" b="b"/>
                  <a:pathLst>
                    <a:path w="15" h="16">
                      <a:moveTo>
                        <a:pt x="12" y="0"/>
                      </a:moveTo>
                      <a:lnTo>
                        <a:pt x="0" y="14"/>
                      </a:lnTo>
                      <a:lnTo>
                        <a:pt x="3" y="16"/>
                      </a:lnTo>
                      <a:lnTo>
                        <a:pt x="15" y="2"/>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500" name="Freeform 1946"/>
                <p:cNvSpPr>
                  <a:spLocks/>
                </p:cNvSpPr>
                <p:nvPr/>
              </p:nvSpPr>
              <p:spPr bwMode="auto">
                <a:xfrm>
                  <a:off x="10548" y="3153"/>
                  <a:ext cx="8" cy="35"/>
                </a:xfrm>
                <a:custGeom>
                  <a:avLst/>
                  <a:gdLst>
                    <a:gd name="T0" fmla="*/ 21 w 23"/>
                    <a:gd name="T1" fmla="*/ 0 h 40"/>
                    <a:gd name="T2" fmla="*/ 0 w 23"/>
                    <a:gd name="T3" fmla="*/ 38 h 40"/>
                    <a:gd name="T4" fmla="*/ 2 w 23"/>
                    <a:gd name="T5" fmla="*/ 40 h 40"/>
                    <a:gd name="T6" fmla="*/ 23 w 23"/>
                    <a:gd name="T7" fmla="*/ 0 h 40"/>
                    <a:gd name="T8" fmla="*/ 21 w 23"/>
                    <a:gd name="T9" fmla="*/ 0 h 40"/>
                  </a:gdLst>
                  <a:ahLst/>
                  <a:cxnLst>
                    <a:cxn ang="0">
                      <a:pos x="T0" y="T1"/>
                    </a:cxn>
                    <a:cxn ang="0">
                      <a:pos x="T2" y="T3"/>
                    </a:cxn>
                    <a:cxn ang="0">
                      <a:pos x="T4" y="T5"/>
                    </a:cxn>
                    <a:cxn ang="0">
                      <a:pos x="T6" y="T7"/>
                    </a:cxn>
                    <a:cxn ang="0">
                      <a:pos x="T8" y="T9"/>
                    </a:cxn>
                  </a:cxnLst>
                  <a:rect l="0" t="0" r="r" b="b"/>
                  <a:pathLst>
                    <a:path w="23" h="40">
                      <a:moveTo>
                        <a:pt x="21" y="0"/>
                      </a:moveTo>
                      <a:lnTo>
                        <a:pt x="0" y="38"/>
                      </a:lnTo>
                      <a:lnTo>
                        <a:pt x="2" y="40"/>
                      </a:lnTo>
                      <a:lnTo>
                        <a:pt x="23"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501" name="Freeform 1947"/>
                <p:cNvSpPr>
                  <a:spLocks/>
                </p:cNvSpPr>
                <p:nvPr/>
              </p:nvSpPr>
              <p:spPr bwMode="auto">
                <a:xfrm>
                  <a:off x="10523" y="3144"/>
                  <a:ext cx="17" cy="35"/>
                </a:xfrm>
                <a:custGeom>
                  <a:avLst/>
                  <a:gdLst>
                    <a:gd name="T0" fmla="*/ 19 w 19"/>
                    <a:gd name="T1" fmla="*/ 0 h 31"/>
                    <a:gd name="T2" fmla="*/ 0 w 19"/>
                    <a:gd name="T3" fmla="*/ 31 h 31"/>
                    <a:gd name="T4" fmla="*/ 0 w 19"/>
                    <a:gd name="T5" fmla="*/ 31 h 31"/>
                    <a:gd name="T6" fmla="*/ 19 w 19"/>
                    <a:gd name="T7" fmla="*/ 0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lnTo>
                        <a:pt x="0" y="31"/>
                      </a:lnTo>
                      <a:lnTo>
                        <a:pt x="0" y="3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502" name="Freeform 1948"/>
                <p:cNvSpPr>
                  <a:spLocks/>
                </p:cNvSpPr>
                <p:nvPr/>
              </p:nvSpPr>
              <p:spPr bwMode="auto">
                <a:xfrm>
                  <a:off x="10531" y="3153"/>
                  <a:ext cx="17" cy="35"/>
                </a:xfrm>
                <a:custGeom>
                  <a:avLst/>
                  <a:gdLst>
                    <a:gd name="T0" fmla="*/ 19 w 21"/>
                    <a:gd name="T1" fmla="*/ 0 h 33"/>
                    <a:gd name="T2" fmla="*/ 0 w 21"/>
                    <a:gd name="T3" fmla="*/ 33 h 33"/>
                    <a:gd name="T4" fmla="*/ 0 w 21"/>
                    <a:gd name="T5" fmla="*/ 33 h 33"/>
                    <a:gd name="T6" fmla="*/ 21 w 21"/>
                    <a:gd name="T7" fmla="*/ 0 h 33"/>
                    <a:gd name="T8" fmla="*/ 19 w 21"/>
                    <a:gd name="T9" fmla="*/ 0 h 33"/>
                  </a:gdLst>
                  <a:ahLst/>
                  <a:cxnLst>
                    <a:cxn ang="0">
                      <a:pos x="T0" y="T1"/>
                    </a:cxn>
                    <a:cxn ang="0">
                      <a:pos x="T2" y="T3"/>
                    </a:cxn>
                    <a:cxn ang="0">
                      <a:pos x="T4" y="T5"/>
                    </a:cxn>
                    <a:cxn ang="0">
                      <a:pos x="T6" y="T7"/>
                    </a:cxn>
                    <a:cxn ang="0">
                      <a:pos x="T8" y="T9"/>
                    </a:cxn>
                  </a:cxnLst>
                  <a:rect l="0" t="0" r="r" b="b"/>
                  <a:pathLst>
                    <a:path w="21" h="33">
                      <a:moveTo>
                        <a:pt x="19" y="0"/>
                      </a:moveTo>
                      <a:lnTo>
                        <a:pt x="0" y="33"/>
                      </a:lnTo>
                      <a:lnTo>
                        <a:pt x="0" y="33"/>
                      </a:lnTo>
                      <a:lnTo>
                        <a:pt x="21"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503" name="Freeform 1949"/>
                <p:cNvSpPr>
                  <a:spLocks/>
                </p:cNvSpPr>
                <p:nvPr/>
              </p:nvSpPr>
              <p:spPr bwMode="auto">
                <a:xfrm>
                  <a:off x="10531" y="3153"/>
                  <a:ext cx="25" cy="35"/>
                </a:xfrm>
                <a:custGeom>
                  <a:avLst/>
                  <a:gdLst>
                    <a:gd name="T0" fmla="*/ 21 w 21"/>
                    <a:gd name="T1" fmla="*/ 0 h 38"/>
                    <a:gd name="T2" fmla="*/ 0 w 21"/>
                    <a:gd name="T3" fmla="*/ 35 h 38"/>
                    <a:gd name="T4" fmla="*/ 2 w 21"/>
                    <a:gd name="T5" fmla="*/ 38 h 38"/>
                    <a:gd name="T6" fmla="*/ 21 w 21"/>
                    <a:gd name="T7" fmla="*/ 0 h 38"/>
                    <a:gd name="T8" fmla="*/ 21 w 21"/>
                    <a:gd name="T9" fmla="*/ 0 h 38"/>
                  </a:gdLst>
                  <a:ahLst/>
                  <a:cxnLst>
                    <a:cxn ang="0">
                      <a:pos x="T0" y="T1"/>
                    </a:cxn>
                    <a:cxn ang="0">
                      <a:pos x="T2" y="T3"/>
                    </a:cxn>
                    <a:cxn ang="0">
                      <a:pos x="T4" y="T5"/>
                    </a:cxn>
                    <a:cxn ang="0">
                      <a:pos x="T6" y="T7"/>
                    </a:cxn>
                    <a:cxn ang="0">
                      <a:pos x="T8" y="T9"/>
                    </a:cxn>
                  </a:cxnLst>
                  <a:rect l="0" t="0" r="r" b="b"/>
                  <a:pathLst>
                    <a:path w="21" h="38">
                      <a:moveTo>
                        <a:pt x="21" y="0"/>
                      </a:moveTo>
                      <a:lnTo>
                        <a:pt x="0" y="35"/>
                      </a:lnTo>
                      <a:lnTo>
                        <a:pt x="2" y="38"/>
                      </a:lnTo>
                      <a:lnTo>
                        <a:pt x="21" y="0"/>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504" name="Freeform 1950"/>
                <p:cNvSpPr>
                  <a:spLocks/>
                </p:cNvSpPr>
                <p:nvPr/>
              </p:nvSpPr>
              <p:spPr bwMode="auto">
                <a:xfrm>
                  <a:off x="10523" y="3144"/>
                  <a:ext cx="17" cy="26"/>
                </a:xfrm>
                <a:custGeom>
                  <a:avLst/>
                  <a:gdLst>
                    <a:gd name="T0" fmla="*/ 16 w 19"/>
                    <a:gd name="T1" fmla="*/ 0 h 28"/>
                    <a:gd name="T2" fmla="*/ 0 w 19"/>
                    <a:gd name="T3" fmla="*/ 26 h 28"/>
                    <a:gd name="T4" fmla="*/ 0 w 19"/>
                    <a:gd name="T5" fmla="*/ 28 h 28"/>
                    <a:gd name="T6" fmla="*/ 19 w 19"/>
                    <a:gd name="T7" fmla="*/ 0 h 28"/>
                    <a:gd name="T8" fmla="*/ 16 w 19"/>
                    <a:gd name="T9" fmla="*/ 0 h 28"/>
                  </a:gdLst>
                  <a:ahLst/>
                  <a:cxnLst>
                    <a:cxn ang="0">
                      <a:pos x="T0" y="T1"/>
                    </a:cxn>
                    <a:cxn ang="0">
                      <a:pos x="T2" y="T3"/>
                    </a:cxn>
                    <a:cxn ang="0">
                      <a:pos x="T4" y="T5"/>
                    </a:cxn>
                    <a:cxn ang="0">
                      <a:pos x="T6" y="T7"/>
                    </a:cxn>
                    <a:cxn ang="0">
                      <a:pos x="T8" y="T9"/>
                    </a:cxn>
                  </a:cxnLst>
                  <a:rect l="0" t="0" r="r" b="b"/>
                  <a:pathLst>
                    <a:path w="19" h="28">
                      <a:moveTo>
                        <a:pt x="16" y="0"/>
                      </a:moveTo>
                      <a:lnTo>
                        <a:pt x="0" y="26"/>
                      </a:lnTo>
                      <a:lnTo>
                        <a:pt x="0" y="28"/>
                      </a:lnTo>
                      <a:lnTo>
                        <a:pt x="19"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3505" name="Freeform 1951"/>
                <p:cNvSpPr>
                  <a:spLocks/>
                </p:cNvSpPr>
                <p:nvPr/>
              </p:nvSpPr>
              <p:spPr bwMode="auto">
                <a:xfrm>
                  <a:off x="10506" y="3135"/>
                  <a:ext cx="17" cy="26"/>
                </a:xfrm>
                <a:custGeom>
                  <a:avLst/>
                  <a:gdLst>
                    <a:gd name="T0" fmla="*/ 12 w 15"/>
                    <a:gd name="T1" fmla="*/ 0 h 18"/>
                    <a:gd name="T2" fmla="*/ 0 w 15"/>
                    <a:gd name="T3" fmla="*/ 18 h 18"/>
                    <a:gd name="T4" fmla="*/ 0 w 15"/>
                    <a:gd name="T5" fmla="*/ 18 h 18"/>
                    <a:gd name="T6" fmla="*/ 15 w 15"/>
                    <a:gd name="T7" fmla="*/ 0 h 18"/>
                    <a:gd name="T8" fmla="*/ 12 w 15"/>
                    <a:gd name="T9" fmla="*/ 0 h 18"/>
                  </a:gdLst>
                  <a:ahLst/>
                  <a:cxnLst>
                    <a:cxn ang="0">
                      <a:pos x="T0" y="T1"/>
                    </a:cxn>
                    <a:cxn ang="0">
                      <a:pos x="T2" y="T3"/>
                    </a:cxn>
                    <a:cxn ang="0">
                      <a:pos x="T4" y="T5"/>
                    </a:cxn>
                    <a:cxn ang="0">
                      <a:pos x="T6" y="T7"/>
                    </a:cxn>
                    <a:cxn ang="0">
                      <a:pos x="T8" y="T9"/>
                    </a:cxn>
                  </a:cxnLst>
                  <a:rect l="0" t="0" r="r" b="b"/>
                  <a:pathLst>
                    <a:path w="15" h="18">
                      <a:moveTo>
                        <a:pt x="12" y="0"/>
                      </a:moveTo>
                      <a:lnTo>
                        <a:pt x="0" y="18"/>
                      </a:lnTo>
                      <a:lnTo>
                        <a:pt x="0" y="18"/>
                      </a:lnTo>
                      <a:lnTo>
                        <a:pt x="15" y="0"/>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506" name="Freeform 1952"/>
                <p:cNvSpPr>
                  <a:spLocks/>
                </p:cNvSpPr>
                <p:nvPr/>
              </p:nvSpPr>
              <p:spPr bwMode="auto">
                <a:xfrm>
                  <a:off x="10515" y="3144"/>
                  <a:ext cx="17" cy="17"/>
                </a:xfrm>
                <a:custGeom>
                  <a:avLst/>
                  <a:gdLst>
                    <a:gd name="T0" fmla="*/ 14 w 16"/>
                    <a:gd name="T1" fmla="*/ 0 h 26"/>
                    <a:gd name="T2" fmla="*/ 0 w 16"/>
                    <a:gd name="T3" fmla="*/ 24 h 26"/>
                    <a:gd name="T4" fmla="*/ 0 w 16"/>
                    <a:gd name="T5" fmla="*/ 26 h 26"/>
                    <a:gd name="T6" fmla="*/ 16 w 16"/>
                    <a:gd name="T7" fmla="*/ 0 h 26"/>
                    <a:gd name="T8" fmla="*/ 14 w 16"/>
                    <a:gd name="T9" fmla="*/ 0 h 26"/>
                  </a:gdLst>
                  <a:ahLst/>
                  <a:cxnLst>
                    <a:cxn ang="0">
                      <a:pos x="T0" y="T1"/>
                    </a:cxn>
                    <a:cxn ang="0">
                      <a:pos x="T2" y="T3"/>
                    </a:cxn>
                    <a:cxn ang="0">
                      <a:pos x="T4" y="T5"/>
                    </a:cxn>
                    <a:cxn ang="0">
                      <a:pos x="T6" y="T7"/>
                    </a:cxn>
                    <a:cxn ang="0">
                      <a:pos x="T8" y="T9"/>
                    </a:cxn>
                  </a:cxnLst>
                  <a:rect l="0" t="0" r="r" b="b"/>
                  <a:pathLst>
                    <a:path w="16" h="26">
                      <a:moveTo>
                        <a:pt x="14" y="0"/>
                      </a:moveTo>
                      <a:lnTo>
                        <a:pt x="0" y="24"/>
                      </a:lnTo>
                      <a:lnTo>
                        <a:pt x="0" y="26"/>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507" name="Freeform 1953"/>
                <p:cNvSpPr>
                  <a:spLocks/>
                </p:cNvSpPr>
                <p:nvPr/>
              </p:nvSpPr>
              <p:spPr bwMode="auto">
                <a:xfrm>
                  <a:off x="10515" y="3135"/>
                  <a:ext cx="17" cy="26"/>
                </a:xfrm>
                <a:custGeom>
                  <a:avLst/>
                  <a:gdLst>
                    <a:gd name="T0" fmla="*/ 14 w 14"/>
                    <a:gd name="T1" fmla="*/ 0 h 21"/>
                    <a:gd name="T2" fmla="*/ 0 w 14"/>
                    <a:gd name="T3" fmla="*/ 21 h 21"/>
                    <a:gd name="T4" fmla="*/ 0 w 14"/>
                    <a:gd name="T5" fmla="*/ 21 h 21"/>
                    <a:gd name="T6" fmla="*/ 14 w 14"/>
                    <a:gd name="T7" fmla="*/ 0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lnTo>
                        <a:pt x="0" y="21"/>
                      </a:lnTo>
                      <a:lnTo>
                        <a:pt x="0" y="21"/>
                      </a:lnTo>
                      <a:lnTo>
                        <a:pt x="14"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508" name="Freeform 1954"/>
                <p:cNvSpPr>
                  <a:spLocks/>
                </p:cNvSpPr>
                <p:nvPr/>
              </p:nvSpPr>
              <p:spPr bwMode="auto">
                <a:xfrm>
                  <a:off x="10548" y="3161"/>
                  <a:ext cx="25" cy="35"/>
                </a:xfrm>
                <a:custGeom>
                  <a:avLst/>
                  <a:gdLst>
                    <a:gd name="T0" fmla="*/ 24 w 26"/>
                    <a:gd name="T1" fmla="*/ 0 h 43"/>
                    <a:gd name="T2" fmla="*/ 0 w 26"/>
                    <a:gd name="T3" fmla="*/ 41 h 43"/>
                    <a:gd name="T4" fmla="*/ 3 w 26"/>
                    <a:gd name="T5" fmla="*/ 43 h 43"/>
                    <a:gd name="T6" fmla="*/ 26 w 26"/>
                    <a:gd name="T7" fmla="*/ 0 h 43"/>
                    <a:gd name="T8" fmla="*/ 24 w 26"/>
                    <a:gd name="T9" fmla="*/ 0 h 43"/>
                  </a:gdLst>
                  <a:ahLst/>
                  <a:cxnLst>
                    <a:cxn ang="0">
                      <a:pos x="T0" y="T1"/>
                    </a:cxn>
                    <a:cxn ang="0">
                      <a:pos x="T2" y="T3"/>
                    </a:cxn>
                    <a:cxn ang="0">
                      <a:pos x="T4" y="T5"/>
                    </a:cxn>
                    <a:cxn ang="0">
                      <a:pos x="T6" y="T7"/>
                    </a:cxn>
                    <a:cxn ang="0">
                      <a:pos x="T8" y="T9"/>
                    </a:cxn>
                  </a:cxnLst>
                  <a:rect l="0" t="0" r="r" b="b"/>
                  <a:pathLst>
                    <a:path w="26" h="43">
                      <a:moveTo>
                        <a:pt x="24" y="0"/>
                      </a:moveTo>
                      <a:lnTo>
                        <a:pt x="0" y="41"/>
                      </a:lnTo>
                      <a:lnTo>
                        <a:pt x="3" y="43"/>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3509" name="Freeform 1955"/>
                <p:cNvSpPr>
                  <a:spLocks/>
                </p:cNvSpPr>
                <p:nvPr/>
              </p:nvSpPr>
              <p:spPr bwMode="auto">
                <a:xfrm>
                  <a:off x="10573" y="3170"/>
                  <a:ext cx="33" cy="52"/>
                </a:xfrm>
                <a:custGeom>
                  <a:avLst/>
                  <a:gdLst>
                    <a:gd name="T0" fmla="*/ 29 w 29"/>
                    <a:gd name="T1" fmla="*/ 0 h 54"/>
                    <a:gd name="T2" fmla="*/ 0 w 29"/>
                    <a:gd name="T3" fmla="*/ 54 h 54"/>
                    <a:gd name="T4" fmla="*/ 3 w 29"/>
                    <a:gd name="T5" fmla="*/ 54 h 54"/>
                    <a:gd name="T6" fmla="*/ 29 w 29"/>
                    <a:gd name="T7" fmla="*/ 0 h 54"/>
                    <a:gd name="T8" fmla="*/ 29 w 29"/>
                    <a:gd name="T9" fmla="*/ 0 h 54"/>
                  </a:gdLst>
                  <a:ahLst/>
                  <a:cxnLst>
                    <a:cxn ang="0">
                      <a:pos x="T0" y="T1"/>
                    </a:cxn>
                    <a:cxn ang="0">
                      <a:pos x="T2" y="T3"/>
                    </a:cxn>
                    <a:cxn ang="0">
                      <a:pos x="T4" y="T5"/>
                    </a:cxn>
                    <a:cxn ang="0">
                      <a:pos x="T6" y="T7"/>
                    </a:cxn>
                    <a:cxn ang="0">
                      <a:pos x="T8" y="T9"/>
                    </a:cxn>
                  </a:cxnLst>
                  <a:rect l="0" t="0" r="r" b="b"/>
                  <a:pathLst>
                    <a:path w="29" h="54">
                      <a:moveTo>
                        <a:pt x="29" y="0"/>
                      </a:moveTo>
                      <a:lnTo>
                        <a:pt x="0" y="54"/>
                      </a:lnTo>
                      <a:lnTo>
                        <a:pt x="3" y="54"/>
                      </a:lnTo>
                      <a:lnTo>
                        <a:pt x="29" y="0"/>
                      </a:lnTo>
                      <a:lnTo>
                        <a:pt x="29" y="0"/>
                      </a:lnTo>
                      <a:close/>
                    </a:path>
                  </a:pathLst>
                </a:custGeom>
                <a:solidFill>
                  <a:srgbClr val="01AAE5"/>
                </a:solidFill>
                <a:ln>
                  <a:noFill/>
                </a:ln>
                <a:extLst/>
              </p:spPr>
              <p:txBody>
                <a:bodyPr/>
                <a:lstStyle/>
                <a:p>
                  <a:pPr eaLnBrk="1" hangingPunct="1">
                    <a:defRPr/>
                  </a:pPr>
                  <a:endParaRPr lang="zh-CN" altLang="en-US" sz="1050"/>
                </a:p>
              </p:txBody>
            </p:sp>
            <p:sp>
              <p:nvSpPr>
                <p:cNvPr id="3510" name="Freeform 1956"/>
                <p:cNvSpPr>
                  <a:spLocks/>
                </p:cNvSpPr>
                <p:nvPr/>
              </p:nvSpPr>
              <p:spPr bwMode="auto">
                <a:xfrm>
                  <a:off x="10573" y="3161"/>
                  <a:ext cx="33" cy="61"/>
                </a:xfrm>
                <a:custGeom>
                  <a:avLst/>
                  <a:gdLst>
                    <a:gd name="T0" fmla="*/ 26 w 28"/>
                    <a:gd name="T1" fmla="*/ 0 h 55"/>
                    <a:gd name="T2" fmla="*/ 0 w 28"/>
                    <a:gd name="T3" fmla="*/ 52 h 55"/>
                    <a:gd name="T4" fmla="*/ 2 w 28"/>
                    <a:gd name="T5" fmla="*/ 55 h 55"/>
                    <a:gd name="T6" fmla="*/ 28 w 28"/>
                    <a:gd name="T7" fmla="*/ 0 h 55"/>
                    <a:gd name="T8" fmla="*/ 26 w 28"/>
                    <a:gd name="T9" fmla="*/ 0 h 55"/>
                  </a:gdLst>
                  <a:ahLst/>
                  <a:cxnLst>
                    <a:cxn ang="0">
                      <a:pos x="T0" y="T1"/>
                    </a:cxn>
                    <a:cxn ang="0">
                      <a:pos x="T2" y="T3"/>
                    </a:cxn>
                    <a:cxn ang="0">
                      <a:pos x="T4" y="T5"/>
                    </a:cxn>
                    <a:cxn ang="0">
                      <a:pos x="T6" y="T7"/>
                    </a:cxn>
                    <a:cxn ang="0">
                      <a:pos x="T8" y="T9"/>
                    </a:cxn>
                  </a:cxnLst>
                  <a:rect l="0" t="0" r="r" b="b"/>
                  <a:pathLst>
                    <a:path w="28" h="55">
                      <a:moveTo>
                        <a:pt x="26" y="0"/>
                      </a:moveTo>
                      <a:lnTo>
                        <a:pt x="0" y="52"/>
                      </a:lnTo>
                      <a:lnTo>
                        <a:pt x="2" y="55"/>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511" name="Freeform 1957"/>
                <p:cNvSpPr>
                  <a:spLocks/>
                </p:cNvSpPr>
                <p:nvPr/>
              </p:nvSpPr>
              <p:spPr bwMode="auto">
                <a:xfrm>
                  <a:off x="10565" y="3161"/>
                  <a:ext cx="25" cy="61"/>
                </a:xfrm>
                <a:custGeom>
                  <a:avLst/>
                  <a:gdLst>
                    <a:gd name="T0" fmla="*/ 28 w 28"/>
                    <a:gd name="T1" fmla="*/ 0 h 52"/>
                    <a:gd name="T2" fmla="*/ 0 w 28"/>
                    <a:gd name="T3" fmla="*/ 52 h 52"/>
                    <a:gd name="T4" fmla="*/ 2 w 28"/>
                    <a:gd name="T5" fmla="*/ 52 h 52"/>
                    <a:gd name="T6" fmla="*/ 28 w 28"/>
                    <a:gd name="T7" fmla="*/ 0 h 52"/>
                    <a:gd name="T8" fmla="*/ 28 w 28"/>
                    <a:gd name="T9" fmla="*/ 0 h 52"/>
                  </a:gdLst>
                  <a:ahLst/>
                  <a:cxnLst>
                    <a:cxn ang="0">
                      <a:pos x="T0" y="T1"/>
                    </a:cxn>
                    <a:cxn ang="0">
                      <a:pos x="T2" y="T3"/>
                    </a:cxn>
                    <a:cxn ang="0">
                      <a:pos x="T4" y="T5"/>
                    </a:cxn>
                    <a:cxn ang="0">
                      <a:pos x="T6" y="T7"/>
                    </a:cxn>
                    <a:cxn ang="0">
                      <a:pos x="T8" y="T9"/>
                    </a:cxn>
                  </a:cxnLst>
                  <a:rect l="0" t="0" r="r" b="b"/>
                  <a:pathLst>
                    <a:path w="28" h="52">
                      <a:moveTo>
                        <a:pt x="28" y="0"/>
                      </a:moveTo>
                      <a:lnTo>
                        <a:pt x="0" y="52"/>
                      </a:lnTo>
                      <a:lnTo>
                        <a:pt x="2" y="52"/>
                      </a:lnTo>
                      <a:lnTo>
                        <a:pt x="28" y="0"/>
                      </a:lnTo>
                      <a:lnTo>
                        <a:pt x="28" y="0"/>
                      </a:lnTo>
                      <a:close/>
                    </a:path>
                  </a:pathLst>
                </a:custGeom>
                <a:solidFill>
                  <a:srgbClr val="01AAE5"/>
                </a:solidFill>
                <a:ln>
                  <a:noFill/>
                </a:ln>
                <a:extLst/>
              </p:spPr>
              <p:txBody>
                <a:bodyPr/>
                <a:lstStyle/>
                <a:p>
                  <a:pPr eaLnBrk="1" hangingPunct="1">
                    <a:defRPr/>
                  </a:pPr>
                  <a:endParaRPr lang="zh-CN" altLang="en-US" sz="1050"/>
                </a:p>
              </p:txBody>
            </p:sp>
            <p:sp>
              <p:nvSpPr>
                <p:cNvPr id="3512" name="Freeform 1958"/>
                <p:cNvSpPr>
                  <a:spLocks/>
                </p:cNvSpPr>
                <p:nvPr/>
              </p:nvSpPr>
              <p:spPr bwMode="auto">
                <a:xfrm>
                  <a:off x="10590" y="3170"/>
                  <a:ext cx="25" cy="61"/>
                </a:xfrm>
                <a:custGeom>
                  <a:avLst/>
                  <a:gdLst>
                    <a:gd name="T0" fmla="*/ 26 w 29"/>
                    <a:gd name="T1" fmla="*/ 0 h 57"/>
                    <a:gd name="T2" fmla="*/ 0 w 29"/>
                    <a:gd name="T3" fmla="*/ 57 h 57"/>
                    <a:gd name="T4" fmla="*/ 3 w 29"/>
                    <a:gd name="T5" fmla="*/ 57 h 57"/>
                    <a:gd name="T6" fmla="*/ 29 w 29"/>
                    <a:gd name="T7" fmla="*/ 0 h 57"/>
                    <a:gd name="T8" fmla="*/ 26 w 29"/>
                    <a:gd name="T9" fmla="*/ 0 h 57"/>
                  </a:gdLst>
                  <a:ahLst/>
                  <a:cxnLst>
                    <a:cxn ang="0">
                      <a:pos x="T0" y="T1"/>
                    </a:cxn>
                    <a:cxn ang="0">
                      <a:pos x="T2" y="T3"/>
                    </a:cxn>
                    <a:cxn ang="0">
                      <a:pos x="T4" y="T5"/>
                    </a:cxn>
                    <a:cxn ang="0">
                      <a:pos x="T6" y="T7"/>
                    </a:cxn>
                    <a:cxn ang="0">
                      <a:pos x="T8" y="T9"/>
                    </a:cxn>
                  </a:cxnLst>
                  <a:rect l="0" t="0" r="r" b="b"/>
                  <a:pathLst>
                    <a:path w="29" h="57">
                      <a:moveTo>
                        <a:pt x="26" y="0"/>
                      </a:moveTo>
                      <a:lnTo>
                        <a:pt x="0" y="57"/>
                      </a:lnTo>
                      <a:lnTo>
                        <a:pt x="3" y="57"/>
                      </a:lnTo>
                      <a:lnTo>
                        <a:pt x="29"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513" name="Freeform 1959"/>
                <p:cNvSpPr>
                  <a:spLocks/>
                </p:cNvSpPr>
                <p:nvPr/>
              </p:nvSpPr>
              <p:spPr bwMode="auto">
                <a:xfrm>
                  <a:off x="10556" y="3161"/>
                  <a:ext cx="33" cy="52"/>
                </a:xfrm>
                <a:custGeom>
                  <a:avLst/>
                  <a:gdLst>
                    <a:gd name="T0" fmla="*/ 26 w 28"/>
                    <a:gd name="T1" fmla="*/ 0 h 49"/>
                    <a:gd name="T2" fmla="*/ 0 w 28"/>
                    <a:gd name="T3" fmla="*/ 49 h 49"/>
                    <a:gd name="T4" fmla="*/ 2 w 28"/>
                    <a:gd name="T5" fmla="*/ 49 h 49"/>
                    <a:gd name="T6" fmla="*/ 28 w 28"/>
                    <a:gd name="T7" fmla="*/ 0 h 49"/>
                    <a:gd name="T8" fmla="*/ 26 w 28"/>
                    <a:gd name="T9" fmla="*/ 0 h 49"/>
                  </a:gdLst>
                  <a:ahLst/>
                  <a:cxnLst>
                    <a:cxn ang="0">
                      <a:pos x="T0" y="T1"/>
                    </a:cxn>
                    <a:cxn ang="0">
                      <a:pos x="T2" y="T3"/>
                    </a:cxn>
                    <a:cxn ang="0">
                      <a:pos x="T4" y="T5"/>
                    </a:cxn>
                    <a:cxn ang="0">
                      <a:pos x="T6" y="T7"/>
                    </a:cxn>
                    <a:cxn ang="0">
                      <a:pos x="T8" y="T9"/>
                    </a:cxn>
                  </a:cxnLst>
                  <a:rect l="0" t="0" r="r" b="b"/>
                  <a:pathLst>
                    <a:path w="28" h="49">
                      <a:moveTo>
                        <a:pt x="26" y="0"/>
                      </a:moveTo>
                      <a:lnTo>
                        <a:pt x="0" y="49"/>
                      </a:lnTo>
                      <a:lnTo>
                        <a:pt x="2" y="49"/>
                      </a:lnTo>
                      <a:lnTo>
                        <a:pt x="28"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514" name="Freeform 1960"/>
                <p:cNvSpPr>
                  <a:spLocks/>
                </p:cNvSpPr>
                <p:nvPr/>
              </p:nvSpPr>
              <p:spPr bwMode="auto">
                <a:xfrm>
                  <a:off x="10548" y="3161"/>
                  <a:ext cx="25" cy="44"/>
                </a:xfrm>
                <a:custGeom>
                  <a:avLst/>
                  <a:gdLst>
                    <a:gd name="T0" fmla="*/ 24 w 24"/>
                    <a:gd name="T1" fmla="*/ 0 h 45"/>
                    <a:gd name="T2" fmla="*/ 0 w 24"/>
                    <a:gd name="T3" fmla="*/ 45 h 45"/>
                    <a:gd name="T4" fmla="*/ 0 w 24"/>
                    <a:gd name="T5" fmla="*/ 45 h 45"/>
                    <a:gd name="T6" fmla="*/ 24 w 24"/>
                    <a:gd name="T7" fmla="*/ 0 h 45"/>
                    <a:gd name="T8" fmla="*/ 24 w 24"/>
                    <a:gd name="T9" fmla="*/ 0 h 45"/>
                  </a:gdLst>
                  <a:ahLst/>
                  <a:cxnLst>
                    <a:cxn ang="0">
                      <a:pos x="T0" y="T1"/>
                    </a:cxn>
                    <a:cxn ang="0">
                      <a:pos x="T2" y="T3"/>
                    </a:cxn>
                    <a:cxn ang="0">
                      <a:pos x="T4" y="T5"/>
                    </a:cxn>
                    <a:cxn ang="0">
                      <a:pos x="T6" y="T7"/>
                    </a:cxn>
                    <a:cxn ang="0">
                      <a:pos x="T8" y="T9"/>
                    </a:cxn>
                  </a:cxnLst>
                  <a:rect l="0" t="0" r="r" b="b"/>
                  <a:pathLst>
                    <a:path w="24" h="45">
                      <a:moveTo>
                        <a:pt x="24" y="0"/>
                      </a:moveTo>
                      <a:lnTo>
                        <a:pt x="0" y="45"/>
                      </a:lnTo>
                      <a:lnTo>
                        <a:pt x="0" y="45"/>
                      </a:lnTo>
                      <a:lnTo>
                        <a:pt x="24"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3515" name="Freeform 1961"/>
                <p:cNvSpPr>
                  <a:spLocks/>
                </p:cNvSpPr>
                <p:nvPr/>
              </p:nvSpPr>
              <p:spPr bwMode="auto">
                <a:xfrm>
                  <a:off x="10556" y="3161"/>
                  <a:ext cx="33" cy="44"/>
                </a:xfrm>
                <a:custGeom>
                  <a:avLst/>
                  <a:gdLst>
                    <a:gd name="T0" fmla="*/ 24 w 26"/>
                    <a:gd name="T1" fmla="*/ 0 h 47"/>
                    <a:gd name="T2" fmla="*/ 0 w 26"/>
                    <a:gd name="T3" fmla="*/ 47 h 47"/>
                    <a:gd name="T4" fmla="*/ 0 w 26"/>
                    <a:gd name="T5" fmla="*/ 47 h 47"/>
                    <a:gd name="T6" fmla="*/ 26 w 26"/>
                    <a:gd name="T7" fmla="*/ 0 h 47"/>
                    <a:gd name="T8" fmla="*/ 24 w 26"/>
                    <a:gd name="T9" fmla="*/ 0 h 47"/>
                  </a:gdLst>
                  <a:ahLst/>
                  <a:cxnLst>
                    <a:cxn ang="0">
                      <a:pos x="T0" y="T1"/>
                    </a:cxn>
                    <a:cxn ang="0">
                      <a:pos x="T2" y="T3"/>
                    </a:cxn>
                    <a:cxn ang="0">
                      <a:pos x="T4" y="T5"/>
                    </a:cxn>
                    <a:cxn ang="0">
                      <a:pos x="T6" y="T7"/>
                    </a:cxn>
                    <a:cxn ang="0">
                      <a:pos x="T8" y="T9"/>
                    </a:cxn>
                  </a:cxnLst>
                  <a:rect l="0" t="0" r="r" b="b"/>
                  <a:pathLst>
                    <a:path w="26" h="47">
                      <a:moveTo>
                        <a:pt x="24" y="0"/>
                      </a:moveTo>
                      <a:lnTo>
                        <a:pt x="0" y="47"/>
                      </a:lnTo>
                      <a:lnTo>
                        <a:pt x="0" y="47"/>
                      </a:lnTo>
                      <a:lnTo>
                        <a:pt x="26" y="0"/>
                      </a:lnTo>
                      <a:lnTo>
                        <a:pt x="24" y="0"/>
                      </a:lnTo>
                      <a:close/>
                    </a:path>
                  </a:pathLst>
                </a:custGeom>
                <a:solidFill>
                  <a:srgbClr val="01AAE5"/>
                </a:solidFill>
                <a:ln>
                  <a:noFill/>
                </a:ln>
                <a:extLst/>
              </p:spPr>
              <p:txBody>
                <a:bodyPr/>
                <a:lstStyle/>
                <a:p>
                  <a:pPr eaLnBrk="1" hangingPunct="1">
                    <a:defRPr/>
                  </a:pPr>
                  <a:endParaRPr lang="zh-CN" altLang="en-US" sz="1050"/>
                </a:p>
              </p:txBody>
            </p:sp>
            <p:sp>
              <p:nvSpPr>
                <p:cNvPr id="3516" name="Freeform 1962"/>
                <p:cNvSpPr>
                  <a:spLocks/>
                </p:cNvSpPr>
                <p:nvPr/>
              </p:nvSpPr>
              <p:spPr bwMode="auto">
                <a:xfrm>
                  <a:off x="10506" y="3135"/>
                  <a:ext cx="8" cy="17"/>
                </a:xfrm>
                <a:custGeom>
                  <a:avLst/>
                  <a:gdLst>
                    <a:gd name="T0" fmla="*/ 9 w 12"/>
                    <a:gd name="T1" fmla="*/ 0 h 19"/>
                    <a:gd name="T2" fmla="*/ 0 w 12"/>
                    <a:gd name="T3" fmla="*/ 16 h 19"/>
                    <a:gd name="T4" fmla="*/ 0 w 12"/>
                    <a:gd name="T5" fmla="*/ 19 h 19"/>
                    <a:gd name="T6" fmla="*/ 12 w 12"/>
                    <a:gd name="T7" fmla="*/ 2 h 19"/>
                    <a:gd name="T8" fmla="*/ 9 w 12"/>
                    <a:gd name="T9" fmla="*/ 0 h 19"/>
                  </a:gdLst>
                  <a:ahLst/>
                  <a:cxnLst>
                    <a:cxn ang="0">
                      <a:pos x="T0" y="T1"/>
                    </a:cxn>
                    <a:cxn ang="0">
                      <a:pos x="T2" y="T3"/>
                    </a:cxn>
                    <a:cxn ang="0">
                      <a:pos x="T4" y="T5"/>
                    </a:cxn>
                    <a:cxn ang="0">
                      <a:pos x="T6" y="T7"/>
                    </a:cxn>
                    <a:cxn ang="0">
                      <a:pos x="T8" y="T9"/>
                    </a:cxn>
                  </a:cxnLst>
                  <a:rect l="0" t="0" r="r" b="b"/>
                  <a:pathLst>
                    <a:path w="12" h="19">
                      <a:moveTo>
                        <a:pt x="9" y="0"/>
                      </a:moveTo>
                      <a:lnTo>
                        <a:pt x="0" y="16"/>
                      </a:lnTo>
                      <a:lnTo>
                        <a:pt x="0" y="19"/>
                      </a:lnTo>
                      <a:lnTo>
                        <a:pt x="12"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517" name="Freeform 1963"/>
                <p:cNvSpPr>
                  <a:spLocks/>
                </p:cNvSpPr>
                <p:nvPr/>
              </p:nvSpPr>
              <p:spPr bwMode="auto">
                <a:xfrm>
                  <a:off x="10490" y="3127"/>
                  <a:ext cx="8" cy="9"/>
                </a:xfrm>
                <a:custGeom>
                  <a:avLst/>
                  <a:gdLst>
                    <a:gd name="T0" fmla="*/ 7 w 9"/>
                    <a:gd name="T1" fmla="*/ 0 h 12"/>
                    <a:gd name="T2" fmla="*/ 0 w 9"/>
                    <a:gd name="T3" fmla="*/ 12 h 12"/>
                    <a:gd name="T4" fmla="*/ 0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2"/>
                      </a:lnTo>
                      <a:lnTo>
                        <a:pt x="0"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518" name="Freeform 1964"/>
                <p:cNvSpPr>
                  <a:spLocks/>
                </p:cNvSpPr>
                <p:nvPr/>
              </p:nvSpPr>
              <p:spPr bwMode="auto">
                <a:xfrm>
                  <a:off x="10448" y="3083"/>
                  <a:ext cx="17" cy="17"/>
                </a:xfrm>
                <a:custGeom>
                  <a:avLst/>
                  <a:gdLst>
                    <a:gd name="T0" fmla="*/ 14 w 16"/>
                    <a:gd name="T1" fmla="*/ 0 h 19"/>
                    <a:gd name="T2" fmla="*/ 0 w 16"/>
                    <a:gd name="T3" fmla="*/ 17 h 19"/>
                    <a:gd name="T4" fmla="*/ 2 w 16"/>
                    <a:gd name="T5" fmla="*/ 19 h 19"/>
                    <a:gd name="T6" fmla="*/ 16 w 16"/>
                    <a:gd name="T7" fmla="*/ 0 h 19"/>
                    <a:gd name="T8" fmla="*/ 14 w 16"/>
                    <a:gd name="T9" fmla="*/ 0 h 19"/>
                  </a:gdLst>
                  <a:ahLst/>
                  <a:cxnLst>
                    <a:cxn ang="0">
                      <a:pos x="T0" y="T1"/>
                    </a:cxn>
                    <a:cxn ang="0">
                      <a:pos x="T2" y="T3"/>
                    </a:cxn>
                    <a:cxn ang="0">
                      <a:pos x="T4" y="T5"/>
                    </a:cxn>
                    <a:cxn ang="0">
                      <a:pos x="T6" y="T7"/>
                    </a:cxn>
                    <a:cxn ang="0">
                      <a:pos x="T8" y="T9"/>
                    </a:cxn>
                  </a:cxnLst>
                  <a:rect l="0" t="0" r="r" b="b"/>
                  <a:pathLst>
                    <a:path w="16" h="19">
                      <a:moveTo>
                        <a:pt x="14" y="0"/>
                      </a:moveTo>
                      <a:lnTo>
                        <a:pt x="0" y="17"/>
                      </a:lnTo>
                      <a:lnTo>
                        <a:pt x="2" y="19"/>
                      </a:lnTo>
                      <a:lnTo>
                        <a:pt x="16" y="0"/>
                      </a:lnTo>
                      <a:lnTo>
                        <a:pt x="14" y="0"/>
                      </a:lnTo>
                      <a:close/>
                    </a:path>
                  </a:pathLst>
                </a:custGeom>
                <a:solidFill>
                  <a:srgbClr val="01AAE5"/>
                </a:solidFill>
                <a:ln>
                  <a:noFill/>
                </a:ln>
                <a:extLst/>
              </p:spPr>
              <p:txBody>
                <a:bodyPr/>
                <a:lstStyle/>
                <a:p>
                  <a:pPr eaLnBrk="1" hangingPunct="1">
                    <a:defRPr/>
                  </a:pPr>
                  <a:endParaRPr lang="zh-CN" altLang="en-US" sz="1050"/>
                </a:p>
              </p:txBody>
            </p:sp>
            <p:sp>
              <p:nvSpPr>
                <p:cNvPr id="3519" name="Freeform 1965"/>
                <p:cNvSpPr>
                  <a:spLocks/>
                </p:cNvSpPr>
                <p:nvPr/>
              </p:nvSpPr>
              <p:spPr bwMode="auto">
                <a:xfrm>
                  <a:off x="10448" y="3092"/>
                  <a:ext cx="17" cy="9"/>
                </a:xfrm>
                <a:custGeom>
                  <a:avLst/>
                  <a:gdLst>
                    <a:gd name="T0" fmla="*/ 11 w 14"/>
                    <a:gd name="T1" fmla="*/ 0 h 16"/>
                    <a:gd name="T2" fmla="*/ 0 w 14"/>
                    <a:gd name="T3" fmla="*/ 16 h 16"/>
                    <a:gd name="T4" fmla="*/ 0 w 14"/>
                    <a:gd name="T5" fmla="*/ 16 h 16"/>
                    <a:gd name="T6" fmla="*/ 14 w 14"/>
                    <a:gd name="T7" fmla="*/ 2 h 16"/>
                    <a:gd name="T8" fmla="*/ 11 w 14"/>
                    <a:gd name="T9" fmla="*/ 0 h 16"/>
                  </a:gdLst>
                  <a:ahLst/>
                  <a:cxnLst>
                    <a:cxn ang="0">
                      <a:pos x="T0" y="T1"/>
                    </a:cxn>
                    <a:cxn ang="0">
                      <a:pos x="T2" y="T3"/>
                    </a:cxn>
                    <a:cxn ang="0">
                      <a:pos x="T4" y="T5"/>
                    </a:cxn>
                    <a:cxn ang="0">
                      <a:pos x="T6" y="T7"/>
                    </a:cxn>
                    <a:cxn ang="0">
                      <a:pos x="T8" y="T9"/>
                    </a:cxn>
                  </a:cxnLst>
                  <a:rect l="0" t="0" r="r" b="b"/>
                  <a:pathLst>
                    <a:path w="14" h="16">
                      <a:moveTo>
                        <a:pt x="11" y="0"/>
                      </a:moveTo>
                      <a:lnTo>
                        <a:pt x="0" y="16"/>
                      </a:lnTo>
                      <a:lnTo>
                        <a:pt x="0" y="16"/>
                      </a:lnTo>
                      <a:lnTo>
                        <a:pt x="14" y="2"/>
                      </a:lnTo>
                      <a:lnTo>
                        <a:pt x="11" y="0"/>
                      </a:lnTo>
                      <a:close/>
                    </a:path>
                  </a:pathLst>
                </a:custGeom>
                <a:solidFill>
                  <a:srgbClr val="01AAE5"/>
                </a:solidFill>
                <a:ln>
                  <a:noFill/>
                </a:ln>
                <a:extLst/>
              </p:spPr>
              <p:txBody>
                <a:bodyPr/>
                <a:lstStyle/>
                <a:p>
                  <a:pPr eaLnBrk="1" hangingPunct="1">
                    <a:defRPr/>
                  </a:pPr>
                  <a:endParaRPr lang="zh-CN" altLang="en-US" sz="1050"/>
                </a:p>
              </p:txBody>
            </p:sp>
            <p:sp>
              <p:nvSpPr>
                <p:cNvPr id="3520" name="Freeform 1966"/>
                <p:cNvSpPr>
                  <a:spLocks/>
                </p:cNvSpPr>
                <p:nvPr/>
              </p:nvSpPr>
              <p:spPr bwMode="auto">
                <a:xfrm>
                  <a:off x="10590" y="3179"/>
                  <a:ext cx="25" cy="52"/>
                </a:xfrm>
                <a:custGeom>
                  <a:avLst/>
                  <a:gdLst>
                    <a:gd name="T0" fmla="*/ 26 w 26"/>
                    <a:gd name="T1" fmla="*/ 0 h 57"/>
                    <a:gd name="T2" fmla="*/ 0 w 26"/>
                    <a:gd name="T3" fmla="*/ 57 h 57"/>
                    <a:gd name="T4" fmla="*/ 2 w 26"/>
                    <a:gd name="T5" fmla="*/ 57 h 57"/>
                    <a:gd name="T6" fmla="*/ 26 w 26"/>
                    <a:gd name="T7" fmla="*/ 0 h 57"/>
                    <a:gd name="T8" fmla="*/ 26 w 26"/>
                    <a:gd name="T9" fmla="*/ 0 h 57"/>
                  </a:gdLst>
                  <a:ahLst/>
                  <a:cxnLst>
                    <a:cxn ang="0">
                      <a:pos x="T0" y="T1"/>
                    </a:cxn>
                    <a:cxn ang="0">
                      <a:pos x="T2" y="T3"/>
                    </a:cxn>
                    <a:cxn ang="0">
                      <a:pos x="T4" y="T5"/>
                    </a:cxn>
                    <a:cxn ang="0">
                      <a:pos x="T6" y="T7"/>
                    </a:cxn>
                    <a:cxn ang="0">
                      <a:pos x="T8" y="T9"/>
                    </a:cxn>
                  </a:cxnLst>
                  <a:rect l="0" t="0" r="r" b="b"/>
                  <a:pathLst>
                    <a:path w="26" h="57">
                      <a:moveTo>
                        <a:pt x="26" y="0"/>
                      </a:moveTo>
                      <a:lnTo>
                        <a:pt x="0" y="57"/>
                      </a:lnTo>
                      <a:lnTo>
                        <a:pt x="2" y="57"/>
                      </a:lnTo>
                      <a:lnTo>
                        <a:pt x="26" y="0"/>
                      </a:lnTo>
                      <a:lnTo>
                        <a:pt x="26" y="0"/>
                      </a:lnTo>
                      <a:close/>
                    </a:path>
                  </a:pathLst>
                </a:custGeom>
                <a:solidFill>
                  <a:srgbClr val="01AAE5"/>
                </a:solidFill>
                <a:ln>
                  <a:noFill/>
                </a:ln>
                <a:extLst/>
              </p:spPr>
              <p:txBody>
                <a:bodyPr/>
                <a:lstStyle/>
                <a:p>
                  <a:pPr eaLnBrk="1" hangingPunct="1">
                    <a:defRPr/>
                  </a:pPr>
                  <a:endParaRPr lang="zh-CN" altLang="en-US" sz="1050"/>
                </a:p>
              </p:txBody>
            </p:sp>
            <p:sp>
              <p:nvSpPr>
                <p:cNvPr id="3521" name="Freeform 1967"/>
                <p:cNvSpPr>
                  <a:spLocks/>
                </p:cNvSpPr>
                <p:nvPr/>
              </p:nvSpPr>
              <p:spPr bwMode="auto">
                <a:xfrm>
                  <a:off x="10432" y="3074"/>
                  <a:ext cx="17" cy="26"/>
                </a:xfrm>
                <a:custGeom>
                  <a:avLst/>
                  <a:gdLst>
                    <a:gd name="T0" fmla="*/ 16 w 16"/>
                    <a:gd name="T1" fmla="*/ 0 h 19"/>
                    <a:gd name="T2" fmla="*/ 0 w 16"/>
                    <a:gd name="T3" fmla="*/ 19 h 19"/>
                    <a:gd name="T4" fmla="*/ 0 w 16"/>
                    <a:gd name="T5" fmla="*/ 19 h 19"/>
                    <a:gd name="T6" fmla="*/ 16 w 16"/>
                    <a:gd name="T7" fmla="*/ 0 h 19"/>
                    <a:gd name="T8" fmla="*/ 16 w 16"/>
                    <a:gd name="T9" fmla="*/ 0 h 19"/>
                  </a:gdLst>
                  <a:ahLst/>
                  <a:cxnLst>
                    <a:cxn ang="0">
                      <a:pos x="T0" y="T1"/>
                    </a:cxn>
                    <a:cxn ang="0">
                      <a:pos x="T2" y="T3"/>
                    </a:cxn>
                    <a:cxn ang="0">
                      <a:pos x="T4" y="T5"/>
                    </a:cxn>
                    <a:cxn ang="0">
                      <a:pos x="T6" y="T7"/>
                    </a:cxn>
                    <a:cxn ang="0">
                      <a:pos x="T8" y="T9"/>
                    </a:cxn>
                  </a:cxnLst>
                  <a:rect l="0" t="0" r="r" b="b"/>
                  <a:pathLst>
                    <a:path w="16" h="19">
                      <a:moveTo>
                        <a:pt x="16" y="0"/>
                      </a:moveTo>
                      <a:lnTo>
                        <a:pt x="0" y="19"/>
                      </a:lnTo>
                      <a:lnTo>
                        <a:pt x="0" y="19"/>
                      </a:lnTo>
                      <a:lnTo>
                        <a:pt x="16" y="0"/>
                      </a:lnTo>
                      <a:lnTo>
                        <a:pt x="16" y="0"/>
                      </a:lnTo>
                      <a:close/>
                    </a:path>
                  </a:pathLst>
                </a:custGeom>
                <a:solidFill>
                  <a:srgbClr val="01AAE5"/>
                </a:solidFill>
                <a:ln>
                  <a:noFill/>
                </a:ln>
                <a:extLst/>
              </p:spPr>
              <p:txBody>
                <a:bodyPr/>
                <a:lstStyle/>
                <a:p>
                  <a:pPr eaLnBrk="1" hangingPunct="1">
                    <a:defRPr/>
                  </a:pPr>
                  <a:endParaRPr lang="zh-CN" altLang="en-US" sz="1050"/>
                </a:p>
              </p:txBody>
            </p:sp>
            <p:sp>
              <p:nvSpPr>
                <p:cNvPr id="3522" name="Freeform 1968"/>
                <p:cNvSpPr>
                  <a:spLocks/>
                </p:cNvSpPr>
                <p:nvPr/>
              </p:nvSpPr>
              <p:spPr bwMode="auto">
                <a:xfrm>
                  <a:off x="10465" y="3100"/>
                  <a:ext cx="8" cy="9"/>
                </a:xfrm>
                <a:custGeom>
                  <a:avLst/>
                  <a:gdLst>
                    <a:gd name="T0" fmla="*/ 12 w 12"/>
                    <a:gd name="T1" fmla="*/ 0 h 15"/>
                    <a:gd name="T2" fmla="*/ 0 w 12"/>
                    <a:gd name="T3" fmla="*/ 15 h 15"/>
                    <a:gd name="T4" fmla="*/ 2 w 12"/>
                    <a:gd name="T5" fmla="*/ 15 h 15"/>
                    <a:gd name="T6" fmla="*/ 12 w 12"/>
                    <a:gd name="T7" fmla="*/ 3 h 15"/>
                    <a:gd name="T8" fmla="*/ 12 w 12"/>
                    <a:gd name="T9" fmla="*/ 0 h 15"/>
                  </a:gdLst>
                  <a:ahLst/>
                  <a:cxnLst>
                    <a:cxn ang="0">
                      <a:pos x="T0" y="T1"/>
                    </a:cxn>
                    <a:cxn ang="0">
                      <a:pos x="T2" y="T3"/>
                    </a:cxn>
                    <a:cxn ang="0">
                      <a:pos x="T4" y="T5"/>
                    </a:cxn>
                    <a:cxn ang="0">
                      <a:pos x="T6" y="T7"/>
                    </a:cxn>
                    <a:cxn ang="0">
                      <a:pos x="T8" y="T9"/>
                    </a:cxn>
                  </a:cxnLst>
                  <a:rect l="0" t="0" r="r" b="b"/>
                  <a:pathLst>
                    <a:path w="12" h="15">
                      <a:moveTo>
                        <a:pt x="12" y="0"/>
                      </a:moveTo>
                      <a:lnTo>
                        <a:pt x="0" y="15"/>
                      </a:lnTo>
                      <a:lnTo>
                        <a:pt x="2" y="15"/>
                      </a:lnTo>
                      <a:lnTo>
                        <a:pt x="12" y="3"/>
                      </a:lnTo>
                      <a:lnTo>
                        <a:pt x="12" y="0"/>
                      </a:lnTo>
                      <a:close/>
                    </a:path>
                  </a:pathLst>
                </a:custGeom>
                <a:solidFill>
                  <a:srgbClr val="01AAE5"/>
                </a:solidFill>
                <a:ln>
                  <a:noFill/>
                </a:ln>
                <a:extLst/>
              </p:spPr>
              <p:txBody>
                <a:bodyPr/>
                <a:lstStyle/>
                <a:p>
                  <a:pPr eaLnBrk="1" hangingPunct="1">
                    <a:defRPr/>
                  </a:pPr>
                  <a:endParaRPr lang="zh-CN" altLang="en-US" sz="1050"/>
                </a:p>
              </p:txBody>
            </p:sp>
            <p:sp>
              <p:nvSpPr>
                <p:cNvPr id="3523" name="Freeform 1969"/>
                <p:cNvSpPr>
                  <a:spLocks/>
                </p:cNvSpPr>
                <p:nvPr/>
              </p:nvSpPr>
              <p:spPr bwMode="auto">
                <a:xfrm>
                  <a:off x="10415" y="3066"/>
                  <a:ext cx="33" cy="17"/>
                </a:xfrm>
                <a:custGeom>
                  <a:avLst/>
                  <a:gdLst>
                    <a:gd name="T0" fmla="*/ 21 w 24"/>
                    <a:gd name="T1" fmla="*/ 0 h 24"/>
                    <a:gd name="T2" fmla="*/ 0 w 24"/>
                    <a:gd name="T3" fmla="*/ 24 h 24"/>
                    <a:gd name="T4" fmla="*/ 2 w 24"/>
                    <a:gd name="T5" fmla="*/ 24 h 24"/>
                    <a:gd name="T6" fmla="*/ 24 w 24"/>
                    <a:gd name="T7" fmla="*/ 2 h 24"/>
                    <a:gd name="T8" fmla="*/ 21 w 24"/>
                    <a:gd name="T9" fmla="*/ 0 h 24"/>
                  </a:gdLst>
                  <a:ahLst/>
                  <a:cxnLst>
                    <a:cxn ang="0">
                      <a:pos x="T0" y="T1"/>
                    </a:cxn>
                    <a:cxn ang="0">
                      <a:pos x="T2" y="T3"/>
                    </a:cxn>
                    <a:cxn ang="0">
                      <a:pos x="T4" y="T5"/>
                    </a:cxn>
                    <a:cxn ang="0">
                      <a:pos x="T6" y="T7"/>
                    </a:cxn>
                    <a:cxn ang="0">
                      <a:pos x="T8" y="T9"/>
                    </a:cxn>
                  </a:cxnLst>
                  <a:rect l="0" t="0" r="r" b="b"/>
                  <a:pathLst>
                    <a:path w="24" h="24">
                      <a:moveTo>
                        <a:pt x="21" y="0"/>
                      </a:moveTo>
                      <a:lnTo>
                        <a:pt x="0" y="24"/>
                      </a:lnTo>
                      <a:lnTo>
                        <a:pt x="2" y="24"/>
                      </a:lnTo>
                      <a:lnTo>
                        <a:pt x="24" y="2"/>
                      </a:lnTo>
                      <a:lnTo>
                        <a:pt x="21" y="0"/>
                      </a:lnTo>
                      <a:close/>
                    </a:path>
                  </a:pathLst>
                </a:custGeom>
                <a:solidFill>
                  <a:srgbClr val="01AAE5"/>
                </a:solidFill>
                <a:ln>
                  <a:noFill/>
                </a:ln>
                <a:extLst/>
              </p:spPr>
              <p:txBody>
                <a:bodyPr/>
                <a:lstStyle/>
                <a:p>
                  <a:pPr eaLnBrk="1" hangingPunct="1">
                    <a:defRPr/>
                  </a:pPr>
                  <a:endParaRPr lang="zh-CN" altLang="en-US" sz="1050"/>
                </a:p>
              </p:txBody>
            </p:sp>
            <p:sp>
              <p:nvSpPr>
                <p:cNvPr id="3524" name="Freeform 1970"/>
                <p:cNvSpPr>
                  <a:spLocks/>
                </p:cNvSpPr>
                <p:nvPr/>
              </p:nvSpPr>
              <p:spPr bwMode="auto">
                <a:xfrm>
                  <a:off x="10415" y="3074"/>
                  <a:ext cx="25" cy="17"/>
                </a:xfrm>
                <a:custGeom>
                  <a:avLst/>
                  <a:gdLst>
                    <a:gd name="T0" fmla="*/ 19 w 19"/>
                    <a:gd name="T1" fmla="*/ 0 h 23"/>
                    <a:gd name="T2" fmla="*/ 0 w 19"/>
                    <a:gd name="T3" fmla="*/ 21 h 23"/>
                    <a:gd name="T4" fmla="*/ 0 w 19"/>
                    <a:gd name="T5" fmla="*/ 23 h 23"/>
                    <a:gd name="T6" fmla="*/ 19 w 19"/>
                    <a:gd name="T7" fmla="*/ 2 h 23"/>
                    <a:gd name="T8" fmla="*/ 19 w 19"/>
                    <a:gd name="T9" fmla="*/ 0 h 23"/>
                  </a:gdLst>
                  <a:ahLst/>
                  <a:cxnLst>
                    <a:cxn ang="0">
                      <a:pos x="T0" y="T1"/>
                    </a:cxn>
                    <a:cxn ang="0">
                      <a:pos x="T2" y="T3"/>
                    </a:cxn>
                    <a:cxn ang="0">
                      <a:pos x="T4" y="T5"/>
                    </a:cxn>
                    <a:cxn ang="0">
                      <a:pos x="T6" y="T7"/>
                    </a:cxn>
                    <a:cxn ang="0">
                      <a:pos x="T8" y="T9"/>
                    </a:cxn>
                  </a:cxnLst>
                  <a:rect l="0" t="0" r="r" b="b"/>
                  <a:pathLst>
                    <a:path w="19" h="23">
                      <a:moveTo>
                        <a:pt x="19" y="0"/>
                      </a:moveTo>
                      <a:lnTo>
                        <a:pt x="0" y="21"/>
                      </a:lnTo>
                      <a:lnTo>
                        <a:pt x="0" y="23"/>
                      </a:lnTo>
                      <a:lnTo>
                        <a:pt x="19" y="2"/>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525" name="Freeform 1971"/>
                <p:cNvSpPr>
                  <a:spLocks/>
                </p:cNvSpPr>
                <p:nvPr/>
              </p:nvSpPr>
              <p:spPr bwMode="auto">
                <a:xfrm>
                  <a:off x="10432" y="3074"/>
                  <a:ext cx="17" cy="26"/>
                </a:xfrm>
                <a:custGeom>
                  <a:avLst/>
                  <a:gdLst>
                    <a:gd name="T0" fmla="*/ 19 w 19"/>
                    <a:gd name="T1" fmla="*/ 0 h 21"/>
                    <a:gd name="T2" fmla="*/ 0 w 19"/>
                    <a:gd name="T3" fmla="*/ 19 h 21"/>
                    <a:gd name="T4" fmla="*/ 2 w 19"/>
                    <a:gd name="T5" fmla="*/ 21 h 21"/>
                    <a:gd name="T6" fmla="*/ 19 w 19"/>
                    <a:gd name="T7" fmla="*/ 0 h 21"/>
                    <a:gd name="T8" fmla="*/ 19 w 19"/>
                    <a:gd name="T9" fmla="*/ 0 h 21"/>
                  </a:gdLst>
                  <a:ahLst/>
                  <a:cxnLst>
                    <a:cxn ang="0">
                      <a:pos x="T0" y="T1"/>
                    </a:cxn>
                    <a:cxn ang="0">
                      <a:pos x="T2" y="T3"/>
                    </a:cxn>
                    <a:cxn ang="0">
                      <a:pos x="T4" y="T5"/>
                    </a:cxn>
                    <a:cxn ang="0">
                      <a:pos x="T6" y="T7"/>
                    </a:cxn>
                    <a:cxn ang="0">
                      <a:pos x="T8" y="T9"/>
                    </a:cxn>
                  </a:cxnLst>
                  <a:rect l="0" t="0" r="r" b="b"/>
                  <a:pathLst>
                    <a:path w="19" h="21">
                      <a:moveTo>
                        <a:pt x="19" y="0"/>
                      </a:moveTo>
                      <a:lnTo>
                        <a:pt x="0" y="19"/>
                      </a:lnTo>
                      <a:lnTo>
                        <a:pt x="2" y="21"/>
                      </a:lnTo>
                      <a:lnTo>
                        <a:pt x="19" y="0"/>
                      </a:lnTo>
                      <a:lnTo>
                        <a:pt x="19" y="0"/>
                      </a:lnTo>
                      <a:close/>
                    </a:path>
                  </a:pathLst>
                </a:custGeom>
                <a:solidFill>
                  <a:srgbClr val="01AAE5"/>
                </a:solidFill>
                <a:ln>
                  <a:noFill/>
                </a:ln>
                <a:extLst/>
              </p:spPr>
              <p:txBody>
                <a:bodyPr/>
                <a:lstStyle/>
                <a:p>
                  <a:pPr eaLnBrk="1" hangingPunct="1">
                    <a:defRPr/>
                  </a:pPr>
                  <a:endParaRPr lang="zh-CN" altLang="en-US" sz="1050"/>
                </a:p>
              </p:txBody>
            </p:sp>
            <p:sp>
              <p:nvSpPr>
                <p:cNvPr id="3526" name="Freeform 1972"/>
                <p:cNvSpPr>
                  <a:spLocks/>
                </p:cNvSpPr>
                <p:nvPr/>
              </p:nvSpPr>
              <p:spPr bwMode="auto">
                <a:xfrm>
                  <a:off x="10465" y="3100"/>
                  <a:ext cx="8" cy="17"/>
                </a:xfrm>
                <a:custGeom>
                  <a:avLst/>
                  <a:gdLst>
                    <a:gd name="T0" fmla="*/ 10 w 10"/>
                    <a:gd name="T1" fmla="*/ 0 h 14"/>
                    <a:gd name="T2" fmla="*/ 0 w 10"/>
                    <a:gd name="T3" fmla="*/ 12 h 14"/>
                    <a:gd name="T4" fmla="*/ 3 w 10"/>
                    <a:gd name="T5" fmla="*/ 14 h 14"/>
                    <a:gd name="T6" fmla="*/ 10 w 10"/>
                    <a:gd name="T7" fmla="*/ 2 h 14"/>
                    <a:gd name="T8" fmla="*/ 10 w 10"/>
                    <a:gd name="T9" fmla="*/ 0 h 14"/>
                  </a:gdLst>
                  <a:ahLst/>
                  <a:cxnLst>
                    <a:cxn ang="0">
                      <a:pos x="T0" y="T1"/>
                    </a:cxn>
                    <a:cxn ang="0">
                      <a:pos x="T2" y="T3"/>
                    </a:cxn>
                    <a:cxn ang="0">
                      <a:pos x="T4" y="T5"/>
                    </a:cxn>
                    <a:cxn ang="0">
                      <a:pos x="T6" y="T7"/>
                    </a:cxn>
                    <a:cxn ang="0">
                      <a:pos x="T8" y="T9"/>
                    </a:cxn>
                  </a:cxnLst>
                  <a:rect l="0" t="0" r="r" b="b"/>
                  <a:pathLst>
                    <a:path w="10" h="14">
                      <a:moveTo>
                        <a:pt x="10" y="0"/>
                      </a:moveTo>
                      <a:lnTo>
                        <a:pt x="0" y="12"/>
                      </a:lnTo>
                      <a:lnTo>
                        <a:pt x="3" y="14"/>
                      </a:lnTo>
                      <a:lnTo>
                        <a:pt x="10" y="2"/>
                      </a:lnTo>
                      <a:lnTo>
                        <a:pt x="10" y="0"/>
                      </a:lnTo>
                      <a:close/>
                    </a:path>
                  </a:pathLst>
                </a:custGeom>
                <a:solidFill>
                  <a:srgbClr val="01AAE5"/>
                </a:solidFill>
                <a:ln>
                  <a:noFill/>
                </a:ln>
                <a:extLst/>
              </p:spPr>
              <p:txBody>
                <a:bodyPr/>
                <a:lstStyle/>
                <a:p>
                  <a:pPr eaLnBrk="1" hangingPunct="1">
                    <a:defRPr/>
                  </a:pPr>
                  <a:endParaRPr lang="zh-CN" altLang="en-US" sz="1050"/>
                </a:p>
              </p:txBody>
            </p:sp>
            <p:sp>
              <p:nvSpPr>
                <p:cNvPr id="3527" name="Freeform 1973"/>
                <p:cNvSpPr>
                  <a:spLocks/>
                </p:cNvSpPr>
                <p:nvPr/>
              </p:nvSpPr>
              <p:spPr bwMode="auto">
                <a:xfrm>
                  <a:off x="10415" y="3057"/>
                  <a:ext cx="33" cy="26"/>
                </a:xfrm>
                <a:custGeom>
                  <a:avLst/>
                  <a:gdLst>
                    <a:gd name="T0" fmla="*/ 22 w 24"/>
                    <a:gd name="T1" fmla="*/ 0 h 24"/>
                    <a:gd name="T2" fmla="*/ 0 w 24"/>
                    <a:gd name="T3" fmla="*/ 24 h 24"/>
                    <a:gd name="T4" fmla="*/ 3 w 24"/>
                    <a:gd name="T5" fmla="*/ 24 h 24"/>
                    <a:gd name="T6" fmla="*/ 24 w 24"/>
                    <a:gd name="T7" fmla="*/ 3 h 24"/>
                    <a:gd name="T8" fmla="*/ 22 w 24"/>
                    <a:gd name="T9" fmla="*/ 0 h 24"/>
                  </a:gdLst>
                  <a:ahLst/>
                  <a:cxnLst>
                    <a:cxn ang="0">
                      <a:pos x="T0" y="T1"/>
                    </a:cxn>
                    <a:cxn ang="0">
                      <a:pos x="T2" y="T3"/>
                    </a:cxn>
                    <a:cxn ang="0">
                      <a:pos x="T4" y="T5"/>
                    </a:cxn>
                    <a:cxn ang="0">
                      <a:pos x="T6" y="T7"/>
                    </a:cxn>
                    <a:cxn ang="0">
                      <a:pos x="T8" y="T9"/>
                    </a:cxn>
                  </a:cxnLst>
                  <a:rect l="0" t="0" r="r" b="b"/>
                  <a:pathLst>
                    <a:path w="24" h="24">
                      <a:moveTo>
                        <a:pt x="22" y="0"/>
                      </a:moveTo>
                      <a:lnTo>
                        <a:pt x="0" y="24"/>
                      </a:lnTo>
                      <a:lnTo>
                        <a:pt x="3" y="24"/>
                      </a:lnTo>
                      <a:lnTo>
                        <a:pt x="24" y="3"/>
                      </a:lnTo>
                      <a:lnTo>
                        <a:pt x="22" y="0"/>
                      </a:lnTo>
                      <a:close/>
                    </a:path>
                  </a:pathLst>
                </a:custGeom>
                <a:solidFill>
                  <a:srgbClr val="01AAE5"/>
                </a:solidFill>
                <a:ln>
                  <a:noFill/>
                </a:ln>
                <a:extLst/>
              </p:spPr>
              <p:txBody>
                <a:bodyPr/>
                <a:lstStyle/>
                <a:p>
                  <a:pPr eaLnBrk="1" hangingPunct="1">
                    <a:defRPr/>
                  </a:pPr>
                  <a:endParaRPr lang="zh-CN" altLang="en-US" sz="1050"/>
                </a:p>
              </p:txBody>
            </p:sp>
            <p:sp>
              <p:nvSpPr>
                <p:cNvPr id="3528" name="Freeform 1974"/>
                <p:cNvSpPr>
                  <a:spLocks/>
                </p:cNvSpPr>
                <p:nvPr/>
              </p:nvSpPr>
              <p:spPr bwMode="auto">
                <a:xfrm>
                  <a:off x="10490" y="3127"/>
                  <a:ext cx="0" cy="9"/>
                </a:xfrm>
                <a:custGeom>
                  <a:avLst/>
                  <a:gdLst>
                    <a:gd name="T0" fmla="*/ 7 w 7"/>
                    <a:gd name="T1" fmla="*/ 0 h 9"/>
                    <a:gd name="T2" fmla="*/ 0 w 7"/>
                    <a:gd name="T3" fmla="*/ 9 h 9"/>
                    <a:gd name="T4" fmla="*/ 0 w 7"/>
                    <a:gd name="T5" fmla="*/ 9 h 9"/>
                    <a:gd name="T6" fmla="*/ 7 w 7"/>
                    <a:gd name="T7" fmla="*/ 0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0" y="9"/>
                      </a:lnTo>
                      <a:lnTo>
                        <a:pt x="0" y="9"/>
                      </a:lnTo>
                      <a:lnTo>
                        <a:pt x="7"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3529" name="Freeform 1975"/>
                <p:cNvSpPr>
                  <a:spLocks/>
                </p:cNvSpPr>
                <p:nvPr/>
              </p:nvSpPr>
              <p:spPr bwMode="auto">
                <a:xfrm>
                  <a:off x="10490" y="3135"/>
                  <a:ext cx="17" cy="0"/>
                </a:xfrm>
                <a:custGeom>
                  <a:avLst/>
                  <a:gdLst>
                    <a:gd name="T0" fmla="*/ 7 w 10"/>
                    <a:gd name="T1" fmla="*/ 0 h 12"/>
                    <a:gd name="T2" fmla="*/ 0 w 10"/>
                    <a:gd name="T3" fmla="*/ 12 h 12"/>
                    <a:gd name="T4" fmla="*/ 0 w 10"/>
                    <a:gd name="T5" fmla="*/ 12 h 12"/>
                    <a:gd name="T6" fmla="*/ 10 w 10"/>
                    <a:gd name="T7" fmla="*/ 0 h 12"/>
                    <a:gd name="T8" fmla="*/ 7 w 10"/>
                    <a:gd name="T9" fmla="*/ 0 h 12"/>
                  </a:gdLst>
                  <a:ahLst/>
                  <a:cxnLst>
                    <a:cxn ang="0">
                      <a:pos x="T0" y="T1"/>
                    </a:cxn>
                    <a:cxn ang="0">
                      <a:pos x="T2" y="T3"/>
                    </a:cxn>
                    <a:cxn ang="0">
                      <a:pos x="T4" y="T5"/>
                    </a:cxn>
                    <a:cxn ang="0">
                      <a:pos x="T6" y="T7"/>
                    </a:cxn>
                    <a:cxn ang="0">
                      <a:pos x="T8" y="T9"/>
                    </a:cxn>
                  </a:cxnLst>
                  <a:rect l="0" t="0" r="r" b="b"/>
                  <a:pathLst>
                    <a:path w="10" h="12">
                      <a:moveTo>
                        <a:pt x="7" y="0"/>
                      </a:moveTo>
                      <a:lnTo>
                        <a:pt x="0" y="12"/>
                      </a:lnTo>
                      <a:lnTo>
                        <a:pt x="0" y="12"/>
                      </a:lnTo>
                      <a:lnTo>
                        <a:pt x="10" y="0"/>
                      </a:lnTo>
                      <a:lnTo>
                        <a:pt x="7" y="0"/>
                      </a:lnTo>
                      <a:close/>
                    </a:path>
                  </a:pathLst>
                </a:custGeom>
                <a:solidFill>
                  <a:srgbClr val="01AAE5"/>
                </a:solidFill>
                <a:ln>
                  <a:noFill/>
                </a:ln>
                <a:extLst/>
              </p:spPr>
              <p:txBody>
                <a:bodyPr/>
                <a:lstStyle/>
                <a:p>
                  <a:pPr eaLnBrk="1" hangingPunct="1">
                    <a:defRPr/>
                  </a:pPr>
                  <a:endParaRPr lang="zh-CN" altLang="en-US" sz="1050"/>
                </a:p>
              </p:txBody>
            </p:sp>
            <p:sp>
              <p:nvSpPr>
                <p:cNvPr id="3530" name="Freeform 1976"/>
                <p:cNvSpPr>
                  <a:spLocks/>
                </p:cNvSpPr>
                <p:nvPr/>
              </p:nvSpPr>
              <p:spPr bwMode="auto">
                <a:xfrm>
                  <a:off x="10506" y="3135"/>
                  <a:ext cx="8" cy="9"/>
                </a:xfrm>
                <a:custGeom>
                  <a:avLst/>
                  <a:gdLst>
                    <a:gd name="T0" fmla="*/ 9 w 12"/>
                    <a:gd name="T1" fmla="*/ 0 h 17"/>
                    <a:gd name="T2" fmla="*/ 0 w 12"/>
                    <a:gd name="T3" fmla="*/ 15 h 17"/>
                    <a:gd name="T4" fmla="*/ 0 w 12"/>
                    <a:gd name="T5" fmla="*/ 17 h 17"/>
                    <a:gd name="T6" fmla="*/ 12 w 12"/>
                    <a:gd name="T7" fmla="*/ 0 h 17"/>
                    <a:gd name="T8" fmla="*/ 9 w 12"/>
                    <a:gd name="T9" fmla="*/ 0 h 17"/>
                  </a:gdLst>
                  <a:ahLst/>
                  <a:cxnLst>
                    <a:cxn ang="0">
                      <a:pos x="T0" y="T1"/>
                    </a:cxn>
                    <a:cxn ang="0">
                      <a:pos x="T2" y="T3"/>
                    </a:cxn>
                    <a:cxn ang="0">
                      <a:pos x="T4" y="T5"/>
                    </a:cxn>
                    <a:cxn ang="0">
                      <a:pos x="T6" y="T7"/>
                    </a:cxn>
                    <a:cxn ang="0">
                      <a:pos x="T8" y="T9"/>
                    </a:cxn>
                  </a:cxnLst>
                  <a:rect l="0" t="0" r="r" b="b"/>
                  <a:pathLst>
                    <a:path w="12" h="17">
                      <a:moveTo>
                        <a:pt x="9" y="0"/>
                      </a:moveTo>
                      <a:lnTo>
                        <a:pt x="0" y="15"/>
                      </a:lnTo>
                      <a:lnTo>
                        <a:pt x="0" y="17"/>
                      </a:lnTo>
                      <a:lnTo>
                        <a:pt x="12" y="0"/>
                      </a:lnTo>
                      <a:lnTo>
                        <a:pt x="9" y="0"/>
                      </a:lnTo>
                      <a:close/>
                    </a:path>
                  </a:pathLst>
                </a:custGeom>
                <a:solidFill>
                  <a:srgbClr val="01AAE5"/>
                </a:solidFill>
                <a:ln>
                  <a:noFill/>
                </a:ln>
                <a:extLst/>
              </p:spPr>
              <p:txBody>
                <a:bodyPr/>
                <a:lstStyle/>
                <a:p>
                  <a:pPr eaLnBrk="1" hangingPunct="1">
                    <a:defRPr/>
                  </a:pPr>
                  <a:endParaRPr lang="zh-CN" altLang="en-US" sz="1050"/>
                </a:p>
              </p:txBody>
            </p:sp>
            <p:sp>
              <p:nvSpPr>
                <p:cNvPr id="3531" name="Freeform 1977"/>
                <p:cNvSpPr>
                  <a:spLocks/>
                </p:cNvSpPr>
                <p:nvPr/>
              </p:nvSpPr>
              <p:spPr bwMode="auto">
                <a:xfrm>
                  <a:off x="10465" y="3100"/>
                  <a:ext cx="8" cy="17"/>
                </a:xfrm>
                <a:custGeom>
                  <a:avLst/>
                  <a:gdLst>
                    <a:gd name="T0" fmla="*/ 9 w 9"/>
                    <a:gd name="T1" fmla="*/ 0 h 12"/>
                    <a:gd name="T2" fmla="*/ 0 w 9"/>
                    <a:gd name="T3" fmla="*/ 12 h 12"/>
                    <a:gd name="T4" fmla="*/ 2 w 9"/>
                    <a:gd name="T5" fmla="*/ 12 h 12"/>
                    <a:gd name="T6" fmla="*/ 9 w 9"/>
                    <a:gd name="T7" fmla="*/ 2 h 12"/>
                    <a:gd name="T8" fmla="*/ 9 w 9"/>
                    <a:gd name="T9" fmla="*/ 0 h 12"/>
                  </a:gdLst>
                  <a:ahLst/>
                  <a:cxnLst>
                    <a:cxn ang="0">
                      <a:pos x="T0" y="T1"/>
                    </a:cxn>
                    <a:cxn ang="0">
                      <a:pos x="T2" y="T3"/>
                    </a:cxn>
                    <a:cxn ang="0">
                      <a:pos x="T4" y="T5"/>
                    </a:cxn>
                    <a:cxn ang="0">
                      <a:pos x="T6" y="T7"/>
                    </a:cxn>
                    <a:cxn ang="0">
                      <a:pos x="T8" y="T9"/>
                    </a:cxn>
                  </a:cxnLst>
                  <a:rect l="0" t="0" r="r" b="b"/>
                  <a:pathLst>
                    <a:path w="9" h="12">
                      <a:moveTo>
                        <a:pt x="9" y="0"/>
                      </a:moveTo>
                      <a:lnTo>
                        <a:pt x="0" y="12"/>
                      </a:lnTo>
                      <a:lnTo>
                        <a:pt x="2" y="12"/>
                      </a:lnTo>
                      <a:lnTo>
                        <a:pt x="9" y="2"/>
                      </a:lnTo>
                      <a:lnTo>
                        <a:pt x="9" y="0"/>
                      </a:lnTo>
                      <a:close/>
                    </a:path>
                  </a:pathLst>
                </a:custGeom>
                <a:solidFill>
                  <a:srgbClr val="01AAE5"/>
                </a:solidFill>
                <a:ln>
                  <a:noFill/>
                </a:ln>
                <a:extLst/>
              </p:spPr>
              <p:txBody>
                <a:bodyPr/>
                <a:lstStyle/>
                <a:p>
                  <a:pPr eaLnBrk="1" hangingPunct="1">
                    <a:defRPr/>
                  </a:pPr>
                  <a:endParaRPr lang="zh-CN" altLang="en-US" sz="1050"/>
                </a:p>
              </p:txBody>
            </p:sp>
            <p:sp>
              <p:nvSpPr>
                <p:cNvPr id="3532" name="Freeform 1978"/>
                <p:cNvSpPr>
                  <a:spLocks/>
                </p:cNvSpPr>
                <p:nvPr/>
              </p:nvSpPr>
              <p:spPr bwMode="auto">
                <a:xfrm>
                  <a:off x="10473" y="3118"/>
                  <a:ext cx="8" cy="17"/>
                </a:xfrm>
                <a:custGeom>
                  <a:avLst/>
                  <a:gdLst>
                    <a:gd name="T0" fmla="*/ 7 w 9"/>
                    <a:gd name="T1" fmla="*/ 0 h 12"/>
                    <a:gd name="T2" fmla="*/ 0 w 9"/>
                    <a:gd name="T3" fmla="*/ 10 h 12"/>
                    <a:gd name="T4" fmla="*/ 2 w 9"/>
                    <a:gd name="T5" fmla="*/ 12 h 12"/>
                    <a:gd name="T6" fmla="*/ 9 w 9"/>
                    <a:gd name="T7" fmla="*/ 3 h 12"/>
                    <a:gd name="T8" fmla="*/ 7 w 9"/>
                    <a:gd name="T9" fmla="*/ 0 h 12"/>
                  </a:gdLst>
                  <a:ahLst/>
                  <a:cxnLst>
                    <a:cxn ang="0">
                      <a:pos x="T0" y="T1"/>
                    </a:cxn>
                    <a:cxn ang="0">
                      <a:pos x="T2" y="T3"/>
                    </a:cxn>
                    <a:cxn ang="0">
                      <a:pos x="T4" y="T5"/>
                    </a:cxn>
                    <a:cxn ang="0">
                      <a:pos x="T6" y="T7"/>
                    </a:cxn>
                    <a:cxn ang="0">
                      <a:pos x="T8" y="T9"/>
                    </a:cxn>
                  </a:cxnLst>
                  <a:rect l="0" t="0" r="r" b="b"/>
                  <a:pathLst>
                    <a:path w="9" h="12">
                      <a:moveTo>
                        <a:pt x="7" y="0"/>
                      </a:moveTo>
                      <a:lnTo>
                        <a:pt x="0" y="10"/>
                      </a:lnTo>
                      <a:lnTo>
                        <a:pt x="2" y="12"/>
                      </a:lnTo>
                      <a:lnTo>
                        <a:pt x="9" y="3"/>
                      </a:lnTo>
                      <a:lnTo>
                        <a:pt x="7" y="0"/>
                      </a:lnTo>
                      <a:close/>
                    </a:path>
                  </a:pathLst>
                </a:custGeom>
                <a:solidFill>
                  <a:srgbClr val="01AAE5"/>
                </a:solidFill>
                <a:ln>
                  <a:noFill/>
                </a:ln>
                <a:extLst/>
              </p:spPr>
              <p:txBody>
                <a:bodyPr/>
                <a:lstStyle/>
                <a:p>
                  <a:pPr eaLnBrk="1" hangingPunct="1">
                    <a:defRPr/>
                  </a:pPr>
                  <a:endParaRPr lang="zh-CN" altLang="en-US" sz="1050"/>
                </a:p>
              </p:txBody>
            </p:sp>
            <p:sp>
              <p:nvSpPr>
                <p:cNvPr id="3533" name="Freeform 1979"/>
                <p:cNvSpPr>
                  <a:spLocks/>
                </p:cNvSpPr>
                <p:nvPr/>
              </p:nvSpPr>
              <p:spPr bwMode="auto">
                <a:xfrm>
                  <a:off x="10473" y="3109"/>
                  <a:ext cx="0" cy="17"/>
                </a:xfrm>
                <a:custGeom>
                  <a:avLst/>
                  <a:gdLst>
                    <a:gd name="T0" fmla="*/ 7 w 9"/>
                    <a:gd name="T1" fmla="*/ 0 h 11"/>
                    <a:gd name="T2" fmla="*/ 0 w 9"/>
                    <a:gd name="T3" fmla="*/ 11 h 11"/>
                    <a:gd name="T4" fmla="*/ 0 w 9"/>
                    <a:gd name="T5" fmla="*/ 11 h 11"/>
                    <a:gd name="T6" fmla="*/ 9 w 9"/>
                    <a:gd name="T7" fmla="*/ 2 h 11"/>
                    <a:gd name="T8" fmla="*/ 7 w 9"/>
                    <a:gd name="T9" fmla="*/ 0 h 11"/>
                  </a:gdLst>
                  <a:ahLst/>
                  <a:cxnLst>
                    <a:cxn ang="0">
                      <a:pos x="T0" y="T1"/>
                    </a:cxn>
                    <a:cxn ang="0">
                      <a:pos x="T2" y="T3"/>
                    </a:cxn>
                    <a:cxn ang="0">
                      <a:pos x="T4" y="T5"/>
                    </a:cxn>
                    <a:cxn ang="0">
                      <a:pos x="T6" y="T7"/>
                    </a:cxn>
                    <a:cxn ang="0">
                      <a:pos x="T8" y="T9"/>
                    </a:cxn>
                  </a:cxnLst>
                  <a:rect l="0" t="0" r="r" b="b"/>
                  <a:pathLst>
                    <a:path w="9" h="11">
                      <a:moveTo>
                        <a:pt x="7" y="0"/>
                      </a:moveTo>
                      <a:lnTo>
                        <a:pt x="0" y="11"/>
                      </a:lnTo>
                      <a:lnTo>
                        <a:pt x="0" y="11"/>
                      </a:lnTo>
                      <a:lnTo>
                        <a:pt x="9" y="2"/>
                      </a:lnTo>
                      <a:lnTo>
                        <a:pt x="7" y="0"/>
                      </a:lnTo>
                      <a:close/>
                    </a:path>
                  </a:pathLst>
                </a:custGeom>
                <a:solidFill>
                  <a:srgbClr val="01AAE5"/>
                </a:solidFill>
                <a:ln>
                  <a:noFill/>
                </a:ln>
                <a:extLst/>
              </p:spPr>
              <p:txBody>
                <a:bodyPr/>
                <a:lstStyle/>
                <a:p>
                  <a:pPr eaLnBrk="1" hangingPunct="1">
                    <a:defRPr/>
                  </a:pPr>
                  <a:endParaRPr lang="zh-CN" altLang="en-US" sz="1050"/>
                </a:p>
              </p:txBody>
            </p:sp>
            <p:sp>
              <p:nvSpPr>
                <p:cNvPr id="3534" name="Freeform 1980"/>
                <p:cNvSpPr>
                  <a:spLocks/>
                </p:cNvSpPr>
                <p:nvPr/>
              </p:nvSpPr>
              <p:spPr bwMode="auto">
                <a:xfrm>
                  <a:off x="11588" y="2708"/>
                  <a:ext cx="17" cy="9"/>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35" name="Freeform 1981"/>
                <p:cNvSpPr>
                  <a:spLocks/>
                </p:cNvSpPr>
                <p:nvPr/>
              </p:nvSpPr>
              <p:spPr bwMode="auto">
                <a:xfrm>
                  <a:off x="11538" y="2848"/>
                  <a:ext cx="25" cy="9"/>
                </a:xfrm>
                <a:custGeom>
                  <a:avLst/>
                  <a:gdLst>
                    <a:gd name="T0" fmla="*/ 0 w 26"/>
                    <a:gd name="T1" fmla="*/ 0 h 11"/>
                    <a:gd name="T2" fmla="*/ 24 w 26"/>
                    <a:gd name="T3" fmla="*/ 11 h 11"/>
                    <a:gd name="T4" fmla="*/ 26 w 26"/>
                    <a:gd name="T5" fmla="*/ 11 h 11"/>
                    <a:gd name="T6" fmla="*/ 0 w 26"/>
                    <a:gd name="T7" fmla="*/ 0 h 11"/>
                    <a:gd name="T8" fmla="*/ 0 w 26"/>
                    <a:gd name="T9" fmla="*/ 0 h 11"/>
                  </a:gdLst>
                  <a:ahLst/>
                  <a:cxnLst>
                    <a:cxn ang="0">
                      <a:pos x="T0" y="T1"/>
                    </a:cxn>
                    <a:cxn ang="0">
                      <a:pos x="T2" y="T3"/>
                    </a:cxn>
                    <a:cxn ang="0">
                      <a:pos x="T4" y="T5"/>
                    </a:cxn>
                    <a:cxn ang="0">
                      <a:pos x="T6" y="T7"/>
                    </a:cxn>
                    <a:cxn ang="0">
                      <a:pos x="T8" y="T9"/>
                    </a:cxn>
                  </a:cxnLst>
                  <a:rect l="0" t="0" r="r" b="b"/>
                  <a:pathLst>
                    <a:path w="26" h="11">
                      <a:moveTo>
                        <a:pt x="0" y="0"/>
                      </a:moveTo>
                      <a:lnTo>
                        <a:pt x="24" y="11"/>
                      </a:lnTo>
                      <a:lnTo>
                        <a:pt x="26" y="1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36" name="Freeform 1982"/>
                <p:cNvSpPr>
                  <a:spLocks/>
                </p:cNvSpPr>
                <p:nvPr/>
              </p:nvSpPr>
              <p:spPr bwMode="auto">
                <a:xfrm>
                  <a:off x="11463" y="2987"/>
                  <a:ext cx="8" cy="0"/>
                </a:xfrm>
                <a:custGeom>
                  <a:avLst/>
                  <a:gdLst>
                    <a:gd name="T0" fmla="*/ 0 w 10"/>
                    <a:gd name="T1" fmla="*/ 0 h 7"/>
                    <a:gd name="T2" fmla="*/ 10 w 10"/>
                    <a:gd name="T3" fmla="*/ 7 h 7"/>
                    <a:gd name="T4" fmla="*/ 10 w 10"/>
                    <a:gd name="T5" fmla="*/ 7 h 7"/>
                    <a:gd name="T6" fmla="*/ 2 w 10"/>
                    <a:gd name="T7" fmla="*/ 0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lnTo>
                        <a:pt x="10" y="7"/>
                      </a:lnTo>
                      <a:lnTo>
                        <a:pt x="10"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37" name="Freeform 1983"/>
                <p:cNvSpPr>
                  <a:spLocks/>
                </p:cNvSpPr>
                <p:nvPr/>
              </p:nvSpPr>
              <p:spPr bwMode="auto">
                <a:xfrm>
                  <a:off x="11538" y="2848"/>
                  <a:ext cx="17" cy="17"/>
                </a:xfrm>
                <a:custGeom>
                  <a:avLst/>
                  <a:gdLst>
                    <a:gd name="T0" fmla="*/ 0 w 24"/>
                    <a:gd name="T1" fmla="*/ 3 h 14"/>
                    <a:gd name="T2" fmla="*/ 24 w 24"/>
                    <a:gd name="T3" fmla="*/ 14 h 14"/>
                    <a:gd name="T4" fmla="*/ 24 w 24"/>
                    <a:gd name="T5" fmla="*/ 12 h 14"/>
                    <a:gd name="T6" fmla="*/ 2 w 24"/>
                    <a:gd name="T7" fmla="*/ 0 h 14"/>
                    <a:gd name="T8" fmla="*/ 0 w 24"/>
                    <a:gd name="T9" fmla="*/ 3 h 14"/>
                  </a:gdLst>
                  <a:ahLst/>
                  <a:cxnLst>
                    <a:cxn ang="0">
                      <a:pos x="T0" y="T1"/>
                    </a:cxn>
                    <a:cxn ang="0">
                      <a:pos x="T2" y="T3"/>
                    </a:cxn>
                    <a:cxn ang="0">
                      <a:pos x="T4" y="T5"/>
                    </a:cxn>
                    <a:cxn ang="0">
                      <a:pos x="T6" y="T7"/>
                    </a:cxn>
                    <a:cxn ang="0">
                      <a:pos x="T8" y="T9"/>
                    </a:cxn>
                  </a:cxnLst>
                  <a:rect l="0" t="0" r="r" b="b"/>
                  <a:pathLst>
                    <a:path w="24" h="14">
                      <a:moveTo>
                        <a:pt x="0" y="3"/>
                      </a:moveTo>
                      <a:lnTo>
                        <a:pt x="24" y="14"/>
                      </a:lnTo>
                      <a:lnTo>
                        <a:pt x="24" y="12"/>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38" name="Freeform 1984"/>
                <p:cNvSpPr>
                  <a:spLocks/>
                </p:cNvSpPr>
                <p:nvPr/>
              </p:nvSpPr>
              <p:spPr bwMode="auto">
                <a:xfrm>
                  <a:off x="11538" y="2839"/>
                  <a:ext cx="25" cy="17"/>
                </a:xfrm>
                <a:custGeom>
                  <a:avLst/>
                  <a:gdLst>
                    <a:gd name="T0" fmla="*/ 0 w 26"/>
                    <a:gd name="T1" fmla="*/ 3 h 15"/>
                    <a:gd name="T2" fmla="*/ 26 w 26"/>
                    <a:gd name="T3" fmla="*/ 15 h 15"/>
                    <a:gd name="T4" fmla="*/ 26 w 26"/>
                    <a:gd name="T5" fmla="*/ 12 h 15"/>
                    <a:gd name="T6" fmla="*/ 0 w 26"/>
                    <a:gd name="T7" fmla="*/ 0 h 15"/>
                    <a:gd name="T8" fmla="*/ 0 w 26"/>
                    <a:gd name="T9" fmla="*/ 3 h 15"/>
                  </a:gdLst>
                  <a:ahLst/>
                  <a:cxnLst>
                    <a:cxn ang="0">
                      <a:pos x="T0" y="T1"/>
                    </a:cxn>
                    <a:cxn ang="0">
                      <a:pos x="T2" y="T3"/>
                    </a:cxn>
                    <a:cxn ang="0">
                      <a:pos x="T4" y="T5"/>
                    </a:cxn>
                    <a:cxn ang="0">
                      <a:pos x="T6" y="T7"/>
                    </a:cxn>
                    <a:cxn ang="0">
                      <a:pos x="T8" y="T9"/>
                    </a:cxn>
                  </a:cxnLst>
                  <a:rect l="0" t="0" r="r" b="b"/>
                  <a:pathLst>
                    <a:path w="26" h="15">
                      <a:moveTo>
                        <a:pt x="0" y="3"/>
                      </a:moveTo>
                      <a:lnTo>
                        <a:pt x="26" y="15"/>
                      </a:lnTo>
                      <a:lnTo>
                        <a:pt x="26" y="12"/>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39" name="Freeform 1985"/>
                <p:cNvSpPr>
                  <a:spLocks/>
                </p:cNvSpPr>
                <p:nvPr/>
              </p:nvSpPr>
              <p:spPr bwMode="auto">
                <a:xfrm>
                  <a:off x="11072" y="3231"/>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40" name="Freeform 1986"/>
                <p:cNvSpPr>
                  <a:spLocks/>
                </p:cNvSpPr>
                <p:nvPr/>
              </p:nvSpPr>
              <p:spPr bwMode="auto">
                <a:xfrm>
                  <a:off x="11521" y="2874"/>
                  <a:ext cx="25" cy="17"/>
                </a:xfrm>
                <a:custGeom>
                  <a:avLst/>
                  <a:gdLst>
                    <a:gd name="T0" fmla="*/ 0 w 14"/>
                    <a:gd name="T1" fmla="*/ 3 h 10"/>
                    <a:gd name="T2" fmla="*/ 14 w 14"/>
                    <a:gd name="T3" fmla="*/ 10 h 10"/>
                    <a:gd name="T4" fmla="*/ 14 w 14"/>
                    <a:gd name="T5" fmla="*/ 7 h 10"/>
                    <a:gd name="T6" fmla="*/ 0 w 14"/>
                    <a:gd name="T7" fmla="*/ 0 h 10"/>
                    <a:gd name="T8" fmla="*/ 0 w 14"/>
                    <a:gd name="T9" fmla="*/ 3 h 10"/>
                  </a:gdLst>
                  <a:ahLst/>
                  <a:cxnLst>
                    <a:cxn ang="0">
                      <a:pos x="T0" y="T1"/>
                    </a:cxn>
                    <a:cxn ang="0">
                      <a:pos x="T2" y="T3"/>
                    </a:cxn>
                    <a:cxn ang="0">
                      <a:pos x="T4" y="T5"/>
                    </a:cxn>
                    <a:cxn ang="0">
                      <a:pos x="T6" y="T7"/>
                    </a:cxn>
                    <a:cxn ang="0">
                      <a:pos x="T8" y="T9"/>
                    </a:cxn>
                  </a:cxnLst>
                  <a:rect l="0" t="0" r="r" b="b"/>
                  <a:pathLst>
                    <a:path w="14" h="10">
                      <a:moveTo>
                        <a:pt x="0" y="3"/>
                      </a:moveTo>
                      <a:lnTo>
                        <a:pt x="14" y="10"/>
                      </a:lnTo>
                      <a:lnTo>
                        <a:pt x="14"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41" name="Freeform 1987"/>
                <p:cNvSpPr>
                  <a:spLocks/>
                </p:cNvSpPr>
                <p:nvPr/>
              </p:nvSpPr>
              <p:spPr bwMode="auto">
                <a:xfrm>
                  <a:off x="11530" y="2874"/>
                  <a:ext cx="17" cy="9"/>
                </a:xfrm>
                <a:custGeom>
                  <a:avLst/>
                  <a:gdLst>
                    <a:gd name="T0" fmla="*/ 0 w 17"/>
                    <a:gd name="T1" fmla="*/ 0 h 9"/>
                    <a:gd name="T2" fmla="*/ 14 w 17"/>
                    <a:gd name="T3" fmla="*/ 9 h 9"/>
                    <a:gd name="T4" fmla="*/ 17 w 17"/>
                    <a:gd name="T5" fmla="*/ 7 h 9"/>
                    <a:gd name="T6" fmla="*/ 0 w 17"/>
                    <a:gd name="T7" fmla="*/ 0 h 9"/>
                    <a:gd name="T8" fmla="*/ 0 w 17"/>
                    <a:gd name="T9" fmla="*/ 0 h 9"/>
                  </a:gdLst>
                  <a:ahLst/>
                  <a:cxnLst>
                    <a:cxn ang="0">
                      <a:pos x="T0" y="T1"/>
                    </a:cxn>
                    <a:cxn ang="0">
                      <a:pos x="T2" y="T3"/>
                    </a:cxn>
                    <a:cxn ang="0">
                      <a:pos x="T4" y="T5"/>
                    </a:cxn>
                    <a:cxn ang="0">
                      <a:pos x="T6" y="T7"/>
                    </a:cxn>
                    <a:cxn ang="0">
                      <a:pos x="T8" y="T9"/>
                    </a:cxn>
                  </a:cxnLst>
                  <a:rect l="0" t="0" r="r" b="b"/>
                  <a:pathLst>
                    <a:path w="17" h="9">
                      <a:moveTo>
                        <a:pt x="0" y="0"/>
                      </a:moveTo>
                      <a:lnTo>
                        <a:pt x="14" y="9"/>
                      </a:lnTo>
                      <a:lnTo>
                        <a:pt x="17"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42" name="Freeform 1988"/>
                <p:cNvSpPr>
                  <a:spLocks/>
                </p:cNvSpPr>
                <p:nvPr/>
              </p:nvSpPr>
              <p:spPr bwMode="auto">
                <a:xfrm>
                  <a:off x="11530" y="2865"/>
                  <a:ext cx="17" cy="9"/>
                </a:xfrm>
                <a:custGeom>
                  <a:avLst/>
                  <a:gdLst>
                    <a:gd name="T0" fmla="*/ 0 w 19"/>
                    <a:gd name="T1" fmla="*/ 3 h 10"/>
                    <a:gd name="T2" fmla="*/ 16 w 19"/>
                    <a:gd name="T3" fmla="*/ 10 h 10"/>
                    <a:gd name="T4" fmla="*/ 19 w 19"/>
                    <a:gd name="T5" fmla="*/ 10 h 10"/>
                    <a:gd name="T6" fmla="*/ 0 w 19"/>
                    <a:gd name="T7" fmla="*/ 0 h 10"/>
                    <a:gd name="T8" fmla="*/ 0 w 19"/>
                    <a:gd name="T9" fmla="*/ 3 h 10"/>
                  </a:gdLst>
                  <a:ahLst/>
                  <a:cxnLst>
                    <a:cxn ang="0">
                      <a:pos x="T0" y="T1"/>
                    </a:cxn>
                    <a:cxn ang="0">
                      <a:pos x="T2" y="T3"/>
                    </a:cxn>
                    <a:cxn ang="0">
                      <a:pos x="T4" y="T5"/>
                    </a:cxn>
                    <a:cxn ang="0">
                      <a:pos x="T6" y="T7"/>
                    </a:cxn>
                    <a:cxn ang="0">
                      <a:pos x="T8" y="T9"/>
                    </a:cxn>
                  </a:cxnLst>
                  <a:rect l="0" t="0" r="r" b="b"/>
                  <a:pathLst>
                    <a:path w="19" h="10">
                      <a:moveTo>
                        <a:pt x="0" y="3"/>
                      </a:moveTo>
                      <a:lnTo>
                        <a:pt x="16" y="10"/>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43" name="Freeform 1989"/>
                <p:cNvSpPr>
                  <a:spLocks/>
                </p:cNvSpPr>
                <p:nvPr/>
              </p:nvSpPr>
              <p:spPr bwMode="auto">
                <a:xfrm>
                  <a:off x="11555" y="2778"/>
                  <a:ext cx="42" cy="26"/>
                </a:xfrm>
                <a:custGeom>
                  <a:avLst/>
                  <a:gdLst>
                    <a:gd name="T0" fmla="*/ 0 w 40"/>
                    <a:gd name="T1" fmla="*/ 0 h 16"/>
                    <a:gd name="T2" fmla="*/ 0 w 40"/>
                    <a:gd name="T3" fmla="*/ 0 h 16"/>
                    <a:gd name="T4" fmla="*/ 40 w 40"/>
                    <a:gd name="T5" fmla="*/ 16 h 16"/>
                    <a:gd name="T6" fmla="*/ 40 w 40"/>
                    <a:gd name="T7" fmla="*/ 14 h 16"/>
                    <a:gd name="T8" fmla="*/ 0 w 40"/>
                    <a:gd name="T9" fmla="*/ 0 h 16"/>
                    <a:gd name="T10" fmla="*/ 0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0" y="0"/>
                      </a:moveTo>
                      <a:lnTo>
                        <a:pt x="0" y="0"/>
                      </a:lnTo>
                      <a:lnTo>
                        <a:pt x="40" y="16"/>
                      </a:lnTo>
                      <a:lnTo>
                        <a:pt x="40"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44" name="Freeform 1990"/>
                <p:cNvSpPr>
                  <a:spLocks/>
                </p:cNvSpPr>
                <p:nvPr/>
              </p:nvSpPr>
              <p:spPr bwMode="auto">
                <a:xfrm>
                  <a:off x="11546" y="2787"/>
                  <a:ext cx="50" cy="17"/>
                </a:xfrm>
                <a:custGeom>
                  <a:avLst/>
                  <a:gdLst>
                    <a:gd name="T0" fmla="*/ 0 w 40"/>
                    <a:gd name="T1" fmla="*/ 2 h 16"/>
                    <a:gd name="T2" fmla="*/ 40 w 40"/>
                    <a:gd name="T3" fmla="*/ 16 h 16"/>
                    <a:gd name="T4" fmla="*/ 40 w 40"/>
                    <a:gd name="T5" fmla="*/ 16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45" name="Freeform 1991"/>
                <p:cNvSpPr>
                  <a:spLocks/>
                </p:cNvSpPr>
                <p:nvPr/>
              </p:nvSpPr>
              <p:spPr bwMode="auto">
                <a:xfrm>
                  <a:off x="11546" y="2796"/>
                  <a:ext cx="42" cy="9"/>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46" name="Freeform 1992"/>
                <p:cNvSpPr>
                  <a:spLocks/>
                </p:cNvSpPr>
                <p:nvPr/>
              </p:nvSpPr>
              <p:spPr bwMode="auto">
                <a:xfrm>
                  <a:off x="11546" y="2804"/>
                  <a:ext cx="42" cy="9"/>
                </a:xfrm>
                <a:custGeom>
                  <a:avLst/>
                  <a:gdLst>
                    <a:gd name="T0" fmla="*/ 0 w 40"/>
                    <a:gd name="T1" fmla="*/ 0 h 16"/>
                    <a:gd name="T2" fmla="*/ 38 w 40"/>
                    <a:gd name="T3" fmla="*/ 16 h 16"/>
                    <a:gd name="T4" fmla="*/ 40 w 40"/>
                    <a:gd name="T5" fmla="*/ 14 h 16"/>
                    <a:gd name="T6" fmla="*/ 3 w 40"/>
                    <a:gd name="T7" fmla="*/ 0 h 16"/>
                    <a:gd name="T8" fmla="*/ 0 w 40"/>
                    <a:gd name="T9" fmla="*/ 0 h 16"/>
                  </a:gdLst>
                  <a:ahLst/>
                  <a:cxnLst>
                    <a:cxn ang="0">
                      <a:pos x="T0" y="T1"/>
                    </a:cxn>
                    <a:cxn ang="0">
                      <a:pos x="T2" y="T3"/>
                    </a:cxn>
                    <a:cxn ang="0">
                      <a:pos x="T4" y="T5"/>
                    </a:cxn>
                    <a:cxn ang="0">
                      <a:pos x="T6" y="T7"/>
                    </a:cxn>
                    <a:cxn ang="0">
                      <a:pos x="T8" y="T9"/>
                    </a:cxn>
                  </a:cxnLst>
                  <a:rect l="0" t="0" r="r" b="b"/>
                  <a:pathLst>
                    <a:path w="40" h="16">
                      <a:moveTo>
                        <a:pt x="0" y="0"/>
                      </a:moveTo>
                      <a:lnTo>
                        <a:pt x="38" y="16"/>
                      </a:lnTo>
                      <a:lnTo>
                        <a:pt x="40" y="1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47" name="Freeform 1993"/>
                <p:cNvSpPr>
                  <a:spLocks/>
                </p:cNvSpPr>
                <p:nvPr/>
              </p:nvSpPr>
              <p:spPr bwMode="auto">
                <a:xfrm>
                  <a:off x="11546" y="2830"/>
                  <a:ext cx="25" cy="9"/>
                </a:xfrm>
                <a:custGeom>
                  <a:avLst/>
                  <a:gdLst>
                    <a:gd name="T0" fmla="*/ 0 w 33"/>
                    <a:gd name="T1" fmla="*/ 0 h 14"/>
                    <a:gd name="T2" fmla="*/ 31 w 33"/>
                    <a:gd name="T3" fmla="*/ 14 h 14"/>
                    <a:gd name="T4" fmla="*/ 33 w 33"/>
                    <a:gd name="T5" fmla="*/ 11 h 14"/>
                    <a:gd name="T6" fmla="*/ 2 w 33"/>
                    <a:gd name="T7" fmla="*/ 0 h 14"/>
                    <a:gd name="T8" fmla="*/ 0 w 33"/>
                    <a:gd name="T9" fmla="*/ 0 h 14"/>
                  </a:gdLst>
                  <a:ahLst/>
                  <a:cxnLst>
                    <a:cxn ang="0">
                      <a:pos x="T0" y="T1"/>
                    </a:cxn>
                    <a:cxn ang="0">
                      <a:pos x="T2" y="T3"/>
                    </a:cxn>
                    <a:cxn ang="0">
                      <a:pos x="T4" y="T5"/>
                    </a:cxn>
                    <a:cxn ang="0">
                      <a:pos x="T6" y="T7"/>
                    </a:cxn>
                    <a:cxn ang="0">
                      <a:pos x="T8" y="T9"/>
                    </a:cxn>
                  </a:cxnLst>
                  <a:rect l="0" t="0" r="r" b="b"/>
                  <a:pathLst>
                    <a:path w="33" h="14">
                      <a:moveTo>
                        <a:pt x="0" y="0"/>
                      </a:moveTo>
                      <a:lnTo>
                        <a:pt x="31" y="14"/>
                      </a:lnTo>
                      <a:lnTo>
                        <a:pt x="33" y="11"/>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48" name="Freeform 1994"/>
                <p:cNvSpPr>
                  <a:spLocks/>
                </p:cNvSpPr>
                <p:nvPr/>
              </p:nvSpPr>
              <p:spPr bwMode="auto">
                <a:xfrm>
                  <a:off x="11521" y="2883"/>
                  <a:ext cx="17" cy="9"/>
                </a:xfrm>
                <a:custGeom>
                  <a:avLst/>
                  <a:gdLst>
                    <a:gd name="T0" fmla="*/ 0 w 11"/>
                    <a:gd name="T1" fmla="*/ 3 h 7"/>
                    <a:gd name="T2" fmla="*/ 11 w 11"/>
                    <a:gd name="T3" fmla="*/ 7 h 7"/>
                    <a:gd name="T4" fmla="*/ 11 w 11"/>
                    <a:gd name="T5" fmla="*/ 7 h 7"/>
                    <a:gd name="T6" fmla="*/ 0 w 11"/>
                    <a:gd name="T7" fmla="*/ 0 h 7"/>
                    <a:gd name="T8" fmla="*/ 0 w 11"/>
                    <a:gd name="T9" fmla="*/ 3 h 7"/>
                  </a:gdLst>
                  <a:ahLst/>
                  <a:cxnLst>
                    <a:cxn ang="0">
                      <a:pos x="T0" y="T1"/>
                    </a:cxn>
                    <a:cxn ang="0">
                      <a:pos x="T2" y="T3"/>
                    </a:cxn>
                    <a:cxn ang="0">
                      <a:pos x="T4" y="T5"/>
                    </a:cxn>
                    <a:cxn ang="0">
                      <a:pos x="T6" y="T7"/>
                    </a:cxn>
                    <a:cxn ang="0">
                      <a:pos x="T8" y="T9"/>
                    </a:cxn>
                  </a:cxnLst>
                  <a:rect l="0" t="0" r="r" b="b"/>
                  <a:pathLst>
                    <a:path w="11" h="7">
                      <a:moveTo>
                        <a:pt x="0" y="3"/>
                      </a:moveTo>
                      <a:lnTo>
                        <a:pt x="11" y="7"/>
                      </a:lnTo>
                      <a:lnTo>
                        <a:pt x="1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49" name="Freeform 1995"/>
                <p:cNvSpPr>
                  <a:spLocks/>
                </p:cNvSpPr>
                <p:nvPr/>
              </p:nvSpPr>
              <p:spPr bwMode="auto">
                <a:xfrm>
                  <a:off x="11546" y="2822"/>
                  <a:ext cx="25" cy="9"/>
                </a:xfrm>
                <a:custGeom>
                  <a:avLst/>
                  <a:gdLst>
                    <a:gd name="T0" fmla="*/ 0 w 34"/>
                    <a:gd name="T1" fmla="*/ 0 h 14"/>
                    <a:gd name="T2" fmla="*/ 34 w 34"/>
                    <a:gd name="T3" fmla="*/ 14 h 14"/>
                    <a:gd name="T4" fmla="*/ 34 w 34"/>
                    <a:gd name="T5" fmla="*/ 14 h 14"/>
                    <a:gd name="T6" fmla="*/ 0 w 34"/>
                    <a:gd name="T7" fmla="*/ 0 h 14"/>
                    <a:gd name="T8" fmla="*/ 0 w 34"/>
                    <a:gd name="T9" fmla="*/ 0 h 14"/>
                  </a:gdLst>
                  <a:ahLst/>
                  <a:cxnLst>
                    <a:cxn ang="0">
                      <a:pos x="T0" y="T1"/>
                    </a:cxn>
                    <a:cxn ang="0">
                      <a:pos x="T2" y="T3"/>
                    </a:cxn>
                    <a:cxn ang="0">
                      <a:pos x="T4" y="T5"/>
                    </a:cxn>
                    <a:cxn ang="0">
                      <a:pos x="T6" y="T7"/>
                    </a:cxn>
                    <a:cxn ang="0">
                      <a:pos x="T8" y="T9"/>
                    </a:cxn>
                  </a:cxnLst>
                  <a:rect l="0" t="0" r="r" b="b"/>
                  <a:pathLst>
                    <a:path w="34" h="14">
                      <a:moveTo>
                        <a:pt x="0" y="0"/>
                      </a:moveTo>
                      <a:lnTo>
                        <a:pt x="34" y="14"/>
                      </a:lnTo>
                      <a:lnTo>
                        <a:pt x="34" y="1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50" name="Freeform 1996"/>
                <p:cNvSpPr>
                  <a:spLocks/>
                </p:cNvSpPr>
                <p:nvPr/>
              </p:nvSpPr>
              <p:spPr bwMode="auto">
                <a:xfrm>
                  <a:off x="11546" y="2813"/>
                  <a:ext cx="33" cy="17"/>
                </a:xfrm>
                <a:custGeom>
                  <a:avLst/>
                  <a:gdLst>
                    <a:gd name="T0" fmla="*/ 0 w 35"/>
                    <a:gd name="T1" fmla="*/ 2 h 16"/>
                    <a:gd name="T2" fmla="*/ 35 w 35"/>
                    <a:gd name="T3" fmla="*/ 16 h 16"/>
                    <a:gd name="T4" fmla="*/ 35 w 35"/>
                    <a:gd name="T5" fmla="*/ 14 h 16"/>
                    <a:gd name="T6" fmla="*/ 0 w 35"/>
                    <a:gd name="T7" fmla="*/ 0 h 16"/>
                    <a:gd name="T8" fmla="*/ 0 w 35"/>
                    <a:gd name="T9" fmla="*/ 2 h 16"/>
                  </a:gdLst>
                  <a:ahLst/>
                  <a:cxnLst>
                    <a:cxn ang="0">
                      <a:pos x="T0" y="T1"/>
                    </a:cxn>
                    <a:cxn ang="0">
                      <a:pos x="T2" y="T3"/>
                    </a:cxn>
                    <a:cxn ang="0">
                      <a:pos x="T4" y="T5"/>
                    </a:cxn>
                    <a:cxn ang="0">
                      <a:pos x="T6" y="T7"/>
                    </a:cxn>
                    <a:cxn ang="0">
                      <a:pos x="T8" y="T9"/>
                    </a:cxn>
                  </a:cxnLst>
                  <a:rect l="0" t="0" r="r" b="b"/>
                  <a:pathLst>
                    <a:path w="35" h="16">
                      <a:moveTo>
                        <a:pt x="0" y="2"/>
                      </a:moveTo>
                      <a:lnTo>
                        <a:pt x="35" y="16"/>
                      </a:lnTo>
                      <a:lnTo>
                        <a:pt x="35"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51" name="Freeform 1997"/>
                <p:cNvSpPr>
                  <a:spLocks/>
                </p:cNvSpPr>
                <p:nvPr/>
              </p:nvSpPr>
              <p:spPr bwMode="auto">
                <a:xfrm>
                  <a:off x="11546" y="2804"/>
                  <a:ext cx="33" cy="17"/>
                </a:xfrm>
                <a:custGeom>
                  <a:avLst/>
                  <a:gdLst>
                    <a:gd name="T0" fmla="*/ 0 w 36"/>
                    <a:gd name="T1" fmla="*/ 3 h 17"/>
                    <a:gd name="T2" fmla="*/ 36 w 36"/>
                    <a:gd name="T3" fmla="*/ 17 h 17"/>
                    <a:gd name="T4" fmla="*/ 36 w 36"/>
                    <a:gd name="T5" fmla="*/ 17 h 17"/>
                    <a:gd name="T6" fmla="*/ 0 w 36"/>
                    <a:gd name="T7" fmla="*/ 0 h 17"/>
                    <a:gd name="T8" fmla="*/ 0 w 36"/>
                    <a:gd name="T9" fmla="*/ 3 h 17"/>
                  </a:gdLst>
                  <a:ahLst/>
                  <a:cxnLst>
                    <a:cxn ang="0">
                      <a:pos x="T0" y="T1"/>
                    </a:cxn>
                    <a:cxn ang="0">
                      <a:pos x="T2" y="T3"/>
                    </a:cxn>
                    <a:cxn ang="0">
                      <a:pos x="T4" y="T5"/>
                    </a:cxn>
                    <a:cxn ang="0">
                      <a:pos x="T6" y="T7"/>
                    </a:cxn>
                    <a:cxn ang="0">
                      <a:pos x="T8" y="T9"/>
                    </a:cxn>
                  </a:cxnLst>
                  <a:rect l="0" t="0" r="r" b="b"/>
                  <a:pathLst>
                    <a:path w="36" h="17">
                      <a:moveTo>
                        <a:pt x="0" y="3"/>
                      </a:moveTo>
                      <a:lnTo>
                        <a:pt x="36" y="17"/>
                      </a:lnTo>
                      <a:lnTo>
                        <a:pt x="3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52" name="Freeform 1998"/>
                <p:cNvSpPr>
                  <a:spLocks/>
                </p:cNvSpPr>
                <p:nvPr/>
              </p:nvSpPr>
              <p:spPr bwMode="auto">
                <a:xfrm>
                  <a:off x="11505" y="2909"/>
                  <a:ext cx="17" cy="17"/>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53" name="Freeform 1999"/>
                <p:cNvSpPr>
                  <a:spLocks/>
                </p:cNvSpPr>
                <p:nvPr/>
              </p:nvSpPr>
              <p:spPr bwMode="auto">
                <a:xfrm>
                  <a:off x="11480" y="2952"/>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54" name="Freeform 2000"/>
                <p:cNvSpPr>
                  <a:spLocks/>
                </p:cNvSpPr>
                <p:nvPr/>
              </p:nvSpPr>
              <p:spPr bwMode="auto">
                <a:xfrm>
                  <a:off x="11488" y="2952"/>
                  <a:ext cx="8" cy="0"/>
                </a:xfrm>
                <a:custGeom>
                  <a:avLst/>
                  <a:gdLst>
                    <a:gd name="T0" fmla="*/ 0 w 12"/>
                    <a:gd name="T1" fmla="*/ 0 h 7"/>
                    <a:gd name="T2" fmla="*/ 9 w 12"/>
                    <a:gd name="T3" fmla="*/ 7 h 7"/>
                    <a:gd name="T4" fmla="*/ 12 w 12"/>
                    <a:gd name="T5" fmla="*/ 7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55" name="Freeform 2001"/>
                <p:cNvSpPr>
                  <a:spLocks/>
                </p:cNvSpPr>
                <p:nvPr/>
              </p:nvSpPr>
              <p:spPr bwMode="auto">
                <a:xfrm>
                  <a:off x="11521" y="2891"/>
                  <a:ext cx="17" cy="9"/>
                </a:xfrm>
                <a:custGeom>
                  <a:avLst/>
                  <a:gdLst>
                    <a:gd name="T0" fmla="*/ 0 w 12"/>
                    <a:gd name="T1" fmla="*/ 0 h 8"/>
                    <a:gd name="T2" fmla="*/ 10 w 12"/>
                    <a:gd name="T3" fmla="*/ 8 h 8"/>
                    <a:gd name="T4" fmla="*/ 12 w 12"/>
                    <a:gd name="T5" fmla="*/ 5 h 8"/>
                    <a:gd name="T6" fmla="*/ 0 w 12"/>
                    <a:gd name="T7" fmla="*/ 0 h 8"/>
                    <a:gd name="T8" fmla="*/ 0 w 12"/>
                    <a:gd name="T9" fmla="*/ 0 h 8"/>
                  </a:gdLst>
                  <a:ahLst/>
                  <a:cxnLst>
                    <a:cxn ang="0">
                      <a:pos x="T0" y="T1"/>
                    </a:cxn>
                    <a:cxn ang="0">
                      <a:pos x="T2" y="T3"/>
                    </a:cxn>
                    <a:cxn ang="0">
                      <a:pos x="T4" y="T5"/>
                    </a:cxn>
                    <a:cxn ang="0">
                      <a:pos x="T6" y="T7"/>
                    </a:cxn>
                    <a:cxn ang="0">
                      <a:pos x="T8" y="T9"/>
                    </a:cxn>
                  </a:cxnLst>
                  <a:rect l="0" t="0" r="r" b="b"/>
                  <a:pathLst>
                    <a:path w="12" h="8">
                      <a:moveTo>
                        <a:pt x="0" y="0"/>
                      </a:moveTo>
                      <a:lnTo>
                        <a:pt x="10" y="8"/>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56" name="Freeform 2002"/>
                <p:cNvSpPr>
                  <a:spLocks/>
                </p:cNvSpPr>
                <p:nvPr/>
              </p:nvSpPr>
              <p:spPr bwMode="auto">
                <a:xfrm>
                  <a:off x="11488" y="2944"/>
                  <a:ext cx="8" cy="9"/>
                </a:xfrm>
                <a:custGeom>
                  <a:avLst/>
                  <a:gdLst>
                    <a:gd name="T0" fmla="*/ 0 w 10"/>
                    <a:gd name="T1" fmla="*/ 2 h 10"/>
                    <a:gd name="T2" fmla="*/ 10 w 10"/>
                    <a:gd name="T3" fmla="*/ 10 h 10"/>
                    <a:gd name="T4" fmla="*/ 10 w 10"/>
                    <a:gd name="T5" fmla="*/ 7 h 10"/>
                    <a:gd name="T6" fmla="*/ 0 w 10"/>
                    <a:gd name="T7" fmla="*/ 0 h 10"/>
                    <a:gd name="T8" fmla="*/ 0 w 10"/>
                    <a:gd name="T9" fmla="*/ 2 h 10"/>
                  </a:gdLst>
                  <a:ahLst/>
                  <a:cxnLst>
                    <a:cxn ang="0">
                      <a:pos x="T0" y="T1"/>
                    </a:cxn>
                    <a:cxn ang="0">
                      <a:pos x="T2" y="T3"/>
                    </a:cxn>
                    <a:cxn ang="0">
                      <a:pos x="T4" y="T5"/>
                    </a:cxn>
                    <a:cxn ang="0">
                      <a:pos x="T6" y="T7"/>
                    </a:cxn>
                    <a:cxn ang="0">
                      <a:pos x="T8" y="T9"/>
                    </a:cxn>
                  </a:cxnLst>
                  <a:rect l="0" t="0" r="r" b="b"/>
                  <a:pathLst>
                    <a:path w="10" h="10">
                      <a:moveTo>
                        <a:pt x="0" y="2"/>
                      </a:moveTo>
                      <a:lnTo>
                        <a:pt x="10" y="10"/>
                      </a:lnTo>
                      <a:lnTo>
                        <a:pt x="10"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57" name="Freeform 2003"/>
                <p:cNvSpPr>
                  <a:spLocks/>
                </p:cNvSpPr>
                <p:nvPr/>
              </p:nvSpPr>
              <p:spPr bwMode="auto">
                <a:xfrm>
                  <a:off x="11488" y="2935"/>
                  <a:ext cx="17" cy="9"/>
                </a:xfrm>
                <a:custGeom>
                  <a:avLst/>
                  <a:gdLst>
                    <a:gd name="T0" fmla="*/ 0 w 12"/>
                    <a:gd name="T1" fmla="*/ 3 h 7"/>
                    <a:gd name="T2" fmla="*/ 9 w 12"/>
                    <a:gd name="T3" fmla="*/ 7 h 7"/>
                    <a:gd name="T4" fmla="*/ 12 w 12"/>
                    <a:gd name="T5" fmla="*/ 7 h 7"/>
                    <a:gd name="T6" fmla="*/ 2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9" y="7"/>
                      </a:lnTo>
                      <a:lnTo>
                        <a:pt x="12" y="7"/>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58" name="Freeform 2004"/>
                <p:cNvSpPr>
                  <a:spLocks/>
                </p:cNvSpPr>
                <p:nvPr/>
              </p:nvSpPr>
              <p:spPr bwMode="auto">
                <a:xfrm>
                  <a:off x="11472" y="2961"/>
                  <a:ext cx="17" cy="9"/>
                </a:xfrm>
                <a:custGeom>
                  <a:avLst/>
                  <a:gdLst>
                    <a:gd name="T0" fmla="*/ 0 w 12"/>
                    <a:gd name="T1" fmla="*/ 0 h 7"/>
                    <a:gd name="T2" fmla="*/ 9 w 12"/>
                    <a:gd name="T3" fmla="*/ 7 h 7"/>
                    <a:gd name="T4" fmla="*/ 12 w 12"/>
                    <a:gd name="T5" fmla="*/ 7 h 7"/>
                    <a:gd name="T6" fmla="*/ 2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9" y="7"/>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59" name="Freeform 2005"/>
                <p:cNvSpPr>
                  <a:spLocks/>
                </p:cNvSpPr>
                <p:nvPr/>
              </p:nvSpPr>
              <p:spPr bwMode="auto">
                <a:xfrm>
                  <a:off x="11463" y="2979"/>
                  <a:ext cx="17" cy="9"/>
                </a:xfrm>
                <a:custGeom>
                  <a:avLst/>
                  <a:gdLst>
                    <a:gd name="T0" fmla="*/ 0 w 9"/>
                    <a:gd name="T1" fmla="*/ 3 h 10"/>
                    <a:gd name="T2" fmla="*/ 9 w 9"/>
                    <a:gd name="T3" fmla="*/ 10 h 10"/>
                    <a:gd name="T4" fmla="*/ 9 w 9"/>
                    <a:gd name="T5" fmla="*/ 7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60" name="Freeform 2006"/>
                <p:cNvSpPr>
                  <a:spLocks/>
                </p:cNvSpPr>
                <p:nvPr/>
              </p:nvSpPr>
              <p:spPr bwMode="auto">
                <a:xfrm>
                  <a:off x="11472" y="2970"/>
                  <a:ext cx="8" cy="9"/>
                </a:xfrm>
                <a:custGeom>
                  <a:avLst/>
                  <a:gdLst>
                    <a:gd name="T0" fmla="*/ 0 w 12"/>
                    <a:gd name="T1" fmla="*/ 3 h 10"/>
                    <a:gd name="T2" fmla="*/ 10 w 12"/>
                    <a:gd name="T3" fmla="*/ 10 h 10"/>
                    <a:gd name="T4" fmla="*/ 12 w 12"/>
                    <a:gd name="T5" fmla="*/ 8 h 10"/>
                    <a:gd name="T6" fmla="*/ 3 w 12"/>
                    <a:gd name="T7" fmla="*/ 0 h 10"/>
                    <a:gd name="T8" fmla="*/ 0 w 12"/>
                    <a:gd name="T9" fmla="*/ 3 h 10"/>
                  </a:gdLst>
                  <a:ahLst/>
                  <a:cxnLst>
                    <a:cxn ang="0">
                      <a:pos x="T0" y="T1"/>
                    </a:cxn>
                    <a:cxn ang="0">
                      <a:pos x="T2" y="T3"/>
                    </a:cxn>
                    <a:cxn ang="0">
                      <a:pos x="T4" y="T5"/>
                    </a:cxn>
                    <a:cxn ang="0">
                      <a:pos x="T6" y="T7"/>
                    </a:cxn>
                    <a:cxn ang="0">
                      <a:pos x="T8" y="T9"/>
                    </a:cxn>
                  </a:cxnLst>
                  <a:rect l="0" t="0" r="r" b="b"/>
                  <a:pathLst>
                    <a:path w="12" h="10">
                      <a:moveTo>
                        <a:pt x="0" y="3"/>
                      </a:moveTo>
                      <a:lnTo>
                        <a:pt x="10" y="10"/>
                      </a:lnTo>
                      <a:lnTo>
                        <a:pt x="12" y="8"/>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61" name="Freeform 2007"/>
                <p:cNvSpPr>
                  <a:spLocks/>
                </p:cNvSpPr>
                <p:nvPr/>
              </p:nvSpPr>
              <p:spPr bwMode="auto">
                <a:xfrm>
                  <a:off x="11480" y="2952"/>
                  <a:ext cx="17" cy="9"/>
                </a:xfrm>
                <a:custGeom>
                  <a:avLst/>
                  <a:gdLst>
                    <a:gd name="T0" fmla="*/ 0 w 9"/>
                    <a:gd name="T1" fmla="*/ 2 h 9"/>
                    <a:gd name="T2" fmla="*/ 9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9"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62" name="Freeform 2008"/>
                <p:cNvSpPr>
                  <a:spLocks/>
                </p:cNvSpPr>
                <p:nvPr/>
              </p:nvSpPr>
              <p:spPr bwMode="auto">
                <a:xfrm>
                  <a:off x="11496" y="2926"/>
                  <a:ext cx="8" cy="9"/>
                </a:xfrm>
                <a:custGeom>
                  <a:avLst/>
                  <a:gdLst>
                    <a:gd name="T0" fmla="*/ 0 w 9"/>
                    <a:gd name="T1" fmla="*/ 0 h 7"/>
                    <a:gd name="T2" fmla="*/ 9 w 9"/>
                    <a:gd name="T3" fmla="*/ 7 h 7"/>
                    <a:gd name="T4" fmla="*/ 9 w 9"/>
                    <a:gd name="T5" fmla="*/ 4 h 7"/>
                    <a:gd name="T6" fmla="*/ 0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4"/>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63" name="Freeform 2009"/>
                <p:cNvSpPr>
                  <a:spLocks/>
                </p:cNvSpPr>
                <p:nvPr/>
              </p:nvSpPr>
              <p:spPr bwMode="auto">
                <a:xfrm>
                  <a:off x="11521" y="2900"/>
                  <a:ext cx="0" cy="9"/>
                </a:xfrm>
                <a:custGeom>
                  <a:avLst/>
                  <a:gdLst>
                    <a:gd name="T0" fmla="*/ 0 w 12"/>
                    <a:gd name="T1" fmla="*/ 0 h 7"/>
                    <a:gd name="T2" fmla="*/ 10 w 12"/>
                    <a:gd name="T3" fmla="*/ 7 h 7"/>
                    <a:gd name="T4" fmla="*/ 12 w 12"/>
                    <a:gd name="T5" fmla="*/ 5 h 7"/>
                    <a:gd name="T6" fmla="*/ 0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5"/>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64" name="Freeform 2010"/>
                <p:cNvSpPr>
                  <a:spLocks/>
                </p:cNvSpPr>
                <p:nvPr/>
              </p:nvSpPr>
              <p:spPr bwMode="auto">
                <a:xfrm>
                  <a:off x="11521" y="2891"/>
                  <a:ext cx="8" cy="9"/>
                </a:xfrm>
                <a:custGeom>
                  <a:avLst/>
                  <a:gdLst>
                    <a:gd name="T0" fmla="*/ 0 w 12"/>
                    <a:gd name="T1" fmla="*/ 3 h 7"/>
                    <a:gd name="T2" fmla="*/ 12 w 12"/>
                    <a:gd name="T3" fmla="*/ 7 h 7"/>
                    <a:gd name="T4" fmla="*/ 12 w 12"/>
                    <a:gd name="T5" fmla="*/ 7 h 7"/>
                    <a:gd name="T6" fmla="*/ 3 w 12"/>
                    <a:gd name="T7" fmla="*/ 0 h 7"/>
                    <a:gd name="T8" fmla="*/ 0 w 12"/>
                    <a:gd name="T9" fmla="*/ 3 h 7"/>
                  </a:gdLst>
                  <a:ahLst/>
                  <a:cxnLst>
                    <a:cxn ang="0">
                      <a:pos x="T0" y="T1"/>
                    </a:cxn>
                    <a:cxn ang="0">
                      <a:pos x="T2" y="T3"/>
                    </a:cxn>
                    <a:cxn ang="0">
                      <a:pos x="T4" y="T5"/>
                    </a:cxn>
                    <a:cxn ang="0">
                      <a:pos x="T6" y="T7"/>
                    </a:cxn>
                    <a:cxn ang="0">
                      <a:pos x="T8" y="T9"/>
                    </a:cxn>
                  </a:cxnLst>
                  <a:rect l="0" t="0" r="r" b="b"/>
                  <a:pathLst>
                    <a:path w="12" h="7">
                      <a:moveTo>
                        <a:pt x="0" y="3"/>
                      </a:moveTo>
                      <a:lnTo>
                        <a:pt x="12" y="7"/>
                      </a:lnTo>
                      <a:lnTo>
                        <a:pt x="12" y="7"/>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65" name="Freeform 2011"/>
                <p:cNvSpPr>
                  <a:spLocks/>
                </p:cNvSpPr>
                <p:nvPr/>
              </p:nvSpPr>
              <p:spPr bwMode="auto">
                <a:xfrm>
                  <a:off x="11513" y="2909"/>
                  <a:ext cx="8" cy="9"/>
                </a:xfrm>
                <a:custGeom>
                  <a:avLst/>
                  <a:gdLst>
                    <a:gd name="T0" fmla="*/ 0 w 9"/>
                    <a:gd name="T1" fmla="*/ 2 h 7"/>
                    <a:gd name="T2" fmla="*/ 9 w 9"/>
                    <a:gd name="T3" fmla="*/ 7 h 7"/>
                    <a:gd name="T4" fmla="*/ 9 w 9"/>
                    <a:gd name="T5" fmla="*/ 7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66" name="Freeform 2012"/>
                <p:cNvSpPr>
                  <a:spLocks/>
                </p:cNvSpPr>
                <p:nvPr/>
              </p:nvSpPr>
              <p:spPr bwMode="auto">
                <a:xfrm>
                  <a:off x="11496" y="2926"/>
                  <a:ext cx="17" cy="9"/>
                </a:xfrm>
                <a:custGeom>
                  <a:avLst/>
                  <a:gdLst>
                    <a:gd name="T0" fmla="*/ 0 w 12"/>
                    <a:gd name="T1" fmla="*/ 2 h 9"/>
                    <a:gd name="T2" fmla="*/ 9 w 12"/>
                    <a:gd name="T3" fmla="*/ 9 h 9"/>
                    <a:gd name="T4" fmla="*/ 12 w 12"/>
                    <a:gd name="T5" fmla="*/ 7 h 9"/>
                    <a:gd name="T6" fmla="*/ 2 w 12"/>
                    <a:gd name="T7" fmla="*/ 0 h 9"/>
                    <a:gd name="T8" fmla="*/ 0 w 12"/>
                    <a:gd name="T9" fmla="*/ 2 h 9"/>
                  </a:gdLst>
                  <a:ahLst/>
                  <a:cxnLst>
                    <a:cxn ang="0">
                      <a:pos x="T0" y="T1"/>
                    </a:cxn>
                    <a:cxn ang="0">
                      <a:pos x="T2" y="T3"/>
                    </a:cxn>
                    <a:cxn ang="0">
                      <a:pos x="T4" y="T5"/>
                    </a:cxn>
                    <a:cxn ang="0">
                      <a:pos x="T6" y="T7"/>
                    </a:cxn>
                    <a:cxn ang="0">
                      <a:pos x="T8" y="T9"/>
                    </a:cxn>
                  </a:cxnLst>
                  <a:rect l="0" t="0" r="r" b="b"/>
                  <a:pathLst>
                    <a:path w="12" h="9">
                      <a:moveTo>
                        <a:pt x="0" y="2"/>
                      </a:moveTo>
                      <a:lnTo>
                        <a:pt x="9" y="9"/>
                      </a:lnTo>
                      <a:lnTo>
                        <a:pt x="12" y="7"/>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67" name="Freeform 2013"/>
                <p:cNvSpPr>
                  <a:spLocks/>
                </p:cNvSpPr>
                <p:nvPr/>
              </p:nvSpPr>
              <p:spPr bwMode="auto">
                <a:xfrm>
                  <a:off x="11555" y="2778"/>
                  <a:ext cx="42" cy="17"/>
                </a:xfrm>
                <a:custGeom>
                  <a:avLst/>
                  <a:gdLst>
                    <a:gd name="T0" fmla="*/ 0 w 40"/>
                    <a:gd name="T1" fmla="*/ 2 h 16"/>
                    <a:gd name="T2" fmla="*/ 40 w 40"/>
                    <a:gd name="T3" fmla="*/ 16 h 16"/>
                    <a:gd name="T4" fmla="*/ 40 w 40"/>
                    <a:gd name="T5" fmla="*/ 14 h 16"/>
                    <a:gd name="T6" fmla="*/ 0 w 40"/>
                    <a:gd name="T7" fmla="*/ 0 h 16"/>
                    <a:gd name="T8" fmla="*/ 0 w 40"/>
                    <a:gd name="T9" fmla="*/ 2 h 16"/>
                  </a:gdLst>
                  <a:ahLst/>
                  <a:cxnLst>
                    <a:cxn ang="0">
                      <a:pos x="T0" y="T1"/>
                    </a:cxn>
                    <a:cxn ang="0">
                      <a:pos x="T2" y="T3"/>
                    </a:cxn>
                    <a:cxn ang="0">
                      <a:pos x="T4" y="T5"/>
                    </a:cxn>
                    <a:cxn ang="0">
                      <a:pos x="T6" y="T7"/>
                    </a:cxn>
                    <a:cxn ang="0">
                      <a:pos x="T8" y="T9"/>
                    </a:cxn>
                  </a:cxnLst>
                  <a:rect l="0" t="0" r="r" b="b"/>
                  <a:pathLst>
                    <a:path w="40" h="16">
                      <a:moveTo>
                        <a:pt x="0" y="2"/>
                      </a:moveTo>
                      <a:lnTo>
                        <a:pt x="40" y="16"/>
                      </a:lnTo>
                      <a:lnTo>
                        <a:pt x="40" y="1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68" name="Freeform 2014"/>
                <p:cNvSpPr>
                  <a:spLocks/>
                </p:cNvSpPr>
                <p:nvPr/>
              </p:nvSpPr>
              <p:spPr bwMode="auto">
                <a:xfrm>
                  <a:off x="11505" y="2926"/>
                  <a:ext cx="17" cy="0"/>
                </a:xfrm>
                <a:custGeom>
                  <a:avLst/>
                  <a:gdLst>
                    <a:gd name="T0" fmla="*/ 0 w 9"/>
                    <a:gd name="T1" fmla="*/ 2 h 7"/>
                    <a:gd name="T2" fmla="*/ 9 w 9"/>
                    <a:gd name="T3" fmla="*/ 7 h 7"/>
                    <a:gd name="T4" fmla="*/ 9 w 9"/>
                    <a:gd name="T5" fmla="*/ 5 h 7"/>
                    <a:gd name="T6" fmla="*/ 0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9" y="7"/>
                      </a:lnTo>
                      <a:lnTo>
                        <a:pt x="9" y="5"/>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69" name="Freeform 2015"/>
                <p:cNvSpPr>
                  <a:spLocks/>
                </p:cNvSpPr>
                <p:nvPr/>
              </p:nvSpPr>
              <p:spPr bwMode="auto">
                <a:xfrm>
                  <a:off x="11546" y="2839"/>
                  <a:ext cx="25" cy="9"/>
                </a:xfrm>
                <a:custGeom>
                  <a:avLst/>
                  <a:gdLst>
                    <a:gd name="T0" fmla="*/ 0 w 28"/>
                    <a:gd name="T1" fmla="*/ 3 h 15"/>
                    <a:gd name="T2" fmla="*/ 28 w 28"/>
                    <a:gd name="T3" fmla="*/ 15 h 15"/>
                    <a:gd name="T4" fmla="*/ 28 w 28"/>
                    <a:gd name="T5" fmla="*/ 15 h 15"/>
                    <a:gd name="T6" fmla="*/ 0 w 28"/>
                    <a:gd name="T7" fmla="*/ 0 h 15"/>
                    <a:gd name="T8" fmla="*/ 0 w 28"/>
                    <a:gd name="T9" fmla="*/ 3 h 15"/>
                  </a:gdLst>
                  <a:ahLst/>
                  <a:cxnLst>
                    <a:cxn ang="0">
                      <a:pos x="T0" y="T1"/>
                    </a:cxn>
                    <a:cxn ang="0">
                      <a:pos x="T2" y="T3"/>
                    </a:cxn>
                    <a:cxn ang="0">
                      <a:pos x="T4" y="T5"/>
                    </a:cxn>
                    <a:cxn ang="0">
                      <a:pos x="T6" y="T7"/>
                    </a:cxn>
                    <a:cxn ang="0">
                      <a:pos x="T8" y="T9"/>
                    </a:cxn>
                  </a:cxnLst>
                  <a:rect l="0" t="0" r="r" b="b"/>
                  <a:pathLst>
                    <a:path w="28" h="15">
                      <a:moveTo>
                        <a:pt x="0" y="3"/>
                      </a:moveTo>
                      <a:lnTo>
                        <a:pt x="28" y="15"/>
                      </a:lnTo>
                      <a:lnTo>
                        <a:pt x="28" y="15"/>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0" name="Rectangle 2016"/>
                <p:cNvSpPr>
                  <a:spLocks noChangeArrowheads="1"/>
                </p:cNvSpPr>
                <p:nvPr/>
              </p:nvSpPr>
              <p:spPr bwMode="auto">
                <a:xfrm>
                  <a:off x="11605" y="2630"/>
                  <a:ext cx="8" cy="0"/>
                </a:xfrm>
                <a:prstGeom prst="rect">
                  <a:avLst/>
                </a:prstGeom>
                <a:solidFill>
                  <a:srgbClr val="01AAE5"/>
                </a:solidFill>
                <a:ln>
                  <a:noFill/>
                </a:ln>
                <a:extLst/>
              </p:spPr>
              <p:txBody>
                <a:bodyPr/>
                <a:lstStyle/>
                <a:p>
                  <a:pPr eaLnBrk="1" hangingPunct="1">
                    <a:defRPr/>
                  </a:pPr>
                  <a:endParaRPr lang="zh-CN" altLang="en-US" sz="1050"/>
                </a:p>
              </p:txBody>
            </p:sp>
            <p:sp>
              <p:nvSpPr>
                <p:cNvPr id="3571" name="Freeform 2017"/>
                <p:cNvSpPr>
                  <a:spLocks/>
                </p:cNvSpPr>
                <p:nvPr/>
              </p:nvSpPr>
              <p:spPr bwMode="auto">
                <a:xfrm>
                  <a:off x="11605" y="2621"/>
                  <a:ext cx="8" cy="0"/>
                </a:xfrm>
                <a:custGeom>
                  <a:avLst/>
                  <a:gdLst>
                    <a:gd name="T0" fmla="*/ 0 w 12"/>
                    <a:gd name="T1" fmla="*/ 3 h 3"/>
                    <a:gd name="T2" fmla="*/ 12 w 12"/>
                    <a:gd name="T3" fmla="*/ 3 h 3"/>
                    <a:gd name="T4" fmla="*/ 12 w 12"/>
                    <a:gd name="T5" fmla="*/ 3 h 3"/>
                    <a:gd name="T6" fmla="*/ 2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2" name="Freeform 2018"/>
                <p:cNvSpPr>
                  <a:spLocks/>
                </p:cNvSpPr>
                <p:nvPr/>
              </p:nvSpPr>
              <p:spPr bwMode="auto">
                <a:xfrm>
                  <a:off x="11605" y="2604"/>
                  <a:ext cx="17" cy="0"/>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3" name="Freeform 2019"/>
                <p:cNvSpPr>
                  <a:spLocks/>
                </p:cNvSpPr>
                <p:nvPr/>
              </p:nvSpPr>
              <p:spPr bwMode="auto">
                <a:xfrm>
                  <a:off x="11605" y="2613"/>
                  <a:ext cx="17" cy="0"/>
                </a:xfrm>
                <a:custGeom>
                  <a:avLst/>
                  <a:gdLst>
                    <a:gd name="T0" fmla="*/ 0 w 12"/>
                    <a:gd name="T1" fmla="*/ 3 h 3"/>
                    <a:gd name="T2" fmla="*/ 12 w 12"/>
                    <a:gd name="T3" fmla="*/ 3 h 3"/>
                    <a:gd name="T4" fmla="*/ 12 w 12"/>
                    <a:gd name="T5" fmla="*/ 3 h 3"/>
                    <a:gd name="T6" fmla="*/ 0 w 12"/>
                    <a:gd name="T7" fmla="*/ 0 h 3"/>
                    <a:gd name="T8" fmla="*/ 0 w 12"/>
                    <a:gd name="T9" fmla="*/ 3 h 3"/>
                  </a:gdLst>
                  <a:ahLst/>
                  <a:cxnLst>
                    <a:cxn ang="0">
                      <a:pos x="T0" y="T1"/>
                    </a:cxn>
                    <a:cxn ang="0">
                      <a:pos x="T2" y="T3"/>
                    </a:cxn>
                    <a:cxn ang="0">
                      <a:pos x="T4" y="T5"/>
                    </a:cxn>
                    <a:cxn ang="0">
                      <a:pos x="T6" y="T7"/>
                    </a:cxn>
                    <a:cxn ang="0">
                      <a:pos x="T8" y="T9"/>
                    </a:cxn>
                  </a:cxnLst>
                  <a:rect l="0" t="0" r="r" b="b"/>
                  <a:pathLst>
                    <a:path w="12" h="3">
                      <a:moveTo>
                        <a:pt x="0" y="3"/>
                      </a:moveTo>
                      <a:lnTo>
                        <a:pt x="12" y="3"/>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4" name="Freeform 2020"/>
                <p:cNvSpPr>
                  <a:spLocks/>
                </p:cNvSpPr>
                <p:nvPr/>
              </p:nvSpPr>
              <p:spPr bwMode="auto">
                <a:xfrm>
                  <a:off x="11605" y="2630"/>
                  <a:ext cx="8" cy="0"/>
                </a:xfrm>
                <a:custGeom>
                  <a:avLst/>
                  <a:gdLst>
                    <a:gd name="T0" fmla="*/ 0 w 12"/>
                    <a:gd name="T1" fmla="*/ 0 h 2"/>
                    <a:gd name="T2" fmla="*/ 12 w 12"/>
                    <a:gd name="T3" fmla="*/ 2 h 2"/>
                    <a:gd name="T4" fmla="*/ 12 w 12"/>
                    <a:gd name="T5" fmla="*/ 0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75" name="Freeform 2021"/>
                <p:cNvSpPr>
                  <a:spLocks/>
                </p:cNvSpPr>
                <p:nvPr/>
              </p:nvSpPr>
              <p:spPr bwMode="auto">
                <a:xfrm>
                  <a:off x="11605" y="2665"/>
                  <a:ext cx="8" cy="0"/>
                </a:xfrm>
                <a:custGeom>
                  <a:avLst/>
                  <a:gdLst>
                    <a:gd name="T0" fmla="*/ 0 w 12"/>
                    <a:gd name="T1" fmla="*/ 2 h 2"/>
                    <a:gd name="T2" fmla="*/ 12 w 12"/>
                    <a:gd name="T3" fmla="*/ 2 h 2"/>
                    <a:gd name="T4" fmla="*/ 12 w 12"/>
                    <a:gd name="T5" fmla="*/ 2 h 2"/>
                    <a:gd name="T6" fmla="*/ 0 w 12"/>
                    <a:gd name="T7" fmla="*/ 0 h 2"/>
                    <a:gd name="T8" fmla="*/ 0 w 12"/>
                    <a:gd name="T9" fmla="*/ 2 h 2"/>
                  </a:gdLst>
                  <a:ahLst/>
                  <a:cxnLst>
                    <a:cxn ang="0">
                      <a:pos x="T0" y="T1"/>
                    </a:cxn>
                    <a:cxn ang="0">
                      <a:pos x="T2" y="T3"/>
                    </a:cxn>
                    <a:cxn ang="0">
                      <a:pos x="T4" y="T5"/>
                    </a:cxn>
                    <a:cxn ang="0">
                      <a:pos x="T6" y="T7"/>
                    </a:cxn>
                    <a:cxn ang="0">
                      <a:pos x="T8" y="T9"/>
                    </a:cxn>
                  </a:cxnLst>
                  <a:rect l="0" t="0" r="r" b="b"/>
                  <a:pathLst>
                    <a:path w="12" h="2">
                      <a:moveTo>
                        <a:pt x="0" y="2"/>
                      </a:moveTo>
                      <a:lnTo>
                        <a:pt x="12" y="2"/>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76" name="Freeform 2022"/>
                <p:cNvSpPr>
                  <a:spLocks/>
                </p:cNvSpPr>
                <p:nvPr/>
              </p:nvSpPr>
              <p:spPr bwMode="auto">
                <a:xfrm>
                  <a:off x="11605" y="2647"/>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7" name="Freeform 2023"/>
                <p:cNvSpPr>
                  <a:spLocks/>
                </p:cNvSpPr>
                <p:nvPr/>
              </p:nvSpPr>
              <p:spPr bwMode="auto">
                <a:xfrm>
                  <a:off x="11605" y="2639"/>
                  <a:ext cx="8" cy="0"/>
                </a:xfrm>
                <a:custGeom>
                  <a:avLst/>
                  <a:gdLst>
                    <a:gd name="T0" fmla="*/ 0 w 11"/>
                    <a:gd name="T1" fmla="*/ 0 h 2"/>
                    <a:gd name="T2" fmla="*/ 11 w 11"/>
                    <a:gd name="T3" fmla="*/ 2 h 2"/>
                    <a:gd name="T4" fmla="*/ 11 w 11"/>
                    <a:gd name="T5" fmla="*/ 0 h 2"/>
                    <a:gd name="T6" fmla="*/ 2 w 11"/>
                    <a:gd name="T7" fmla="*/ 0 h 2"/>
                    <a:gd name="T8" fmla="*/ 0 w 11"/>
                    <a:gd name="T9" fmla="*/ 0 h 2"/>
                  </a:gdLst>
                  <a:ahLst/>
                  <a:cxnLst>
                    <a:cxn ang="0">
                      <a:pos x="T0" y="T1"/>
                    </a:cxn>
                    <a:cxn ang="0">
                      <a:pos x="T2" y="T3"/>
                    </a:cxn>
                    <a:cxn ang="0">
                      <a:pos x="T4" y="T5"/>
                    </a:cxn>
                    <a:cxn ang="0">
                      <a:pos x="T6" y="T7"/>
                    </a:cxn>
                    <a:cxn ang="0">
                      <a:pos x="T8" y="T9"/>
                    </a:cxn>
                  </a:cxnLst>
                  <a:rect l="0" t="0" r="r" b="b"/>
                  <a:pathLst>
                    <a:path w="11" h="2">
                      <a:moveTo>
                        <a:pt x="0" y="0"/>
                      </a:moveTo>
                      <a:lnTo>
                        <a:pt x="11" y="2"/>
                      </a:lnTo>
                      <a:lnTo>
                        <a:pt x="11" y="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78" name="Freeform 2024"/>
                <p:cNvSpPr>
                  <a:spLocks/>
                </p:cNvSpPr>
                <p:nvPr/>
              </p:nvSpPr>
              <p:spPr bwMode="auto">
                <a:xfrm>
                  <a:off x="11605" y="2656"/>
                  <a:ext cx="8" cy="0"/>
                </a:xfrm>
                <a:custGeom>
                  <a:avLst/>
                  <a:gdLst>
                    <a:gd name="T0" fmla="*/ 0 w 11"/>
                    <a:gd name="T1" fmla="*/ 3 h 5"/>
                    <a:gd name="T2" fmla="*/ 11 w 11"/>
                    <a:gd name="T3" fmla="*/ 5 h 5"/>
                    <a:gd name="T4" fmla="*/ 11 w 11"/>
                    <a:gd name="T5" fmla="*/ 3 h 5"/>
                    <a:gd name="T6" fmla="*/ 0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11" y="5"/>
                      </a:lnTo>
                      <a:lnTo>
                        <a:pt x="11"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79" name="Rectangle 2025"/>
                <p:cNvSpPr>
                  <a:spLocks noChangeArrowheads="1"/>
                </p:cNvSpPr>
                <p:nvPr/>
              </p:nvSpPr>
              <p:spPr bwMode="auto">
                <a:xfrm>
                  <a:off x="11605" y="2569"/>
                  <a:ext cx="17" cy="0"/>
                </a:xfrm>
                <a:prstGeom prst="rect">
                  <a:avLst/>
                </a:prstGeom>
                <a:solidFill>
                  <a:srgbClr val="01AAE5"/>
                </a:solidFill>
                <a:ln>
                  <a:noFill/>
                </a:ln>
                <a:extLst/>
              </p:spPr>
              <p:txBody>
                <a:bodyPr/>
                <a:lstStyle/>
                <a:p>
                  <a:pPr eaLnBrk="1" hangingPunct="1">
                    <a:defRPr/>
                  </a:pPr>
                  <a:endParaRPr lang="zh-CN" altLang="en-US" sz="1050"/>
                </a:p>
              </p:txBody>
            </p:sp>
            <p:sp>
              <p:nvSpPr>
                <p:cNvPr id="3580" name="Rectangle 2026"/>
                <p:cNvSpPr>
                  <a:spLocks noChangeArrowheads="1"/>
                </p:cNvSpPr>
                <p:nvPr/>
              </p:nvSpPr>
              <p:spPr bwMode="auto">
                <a:xfrm>
                  <a:off x="11605" y="2560"/>
                  <a:ext cx="17" cy="0"/>
                </a:xfrm>
                <a:prstGeom prst="rect">
                  <a:avLst/>
                </a:prstGeom>
                <a:solidFill>
                  <a:srgbClr val="01AAE5"/>
                </a:solidFill>
                <a:ln>
                  <a:noFill/>
                </a:ln>
                <a:extLst/>
              </p:spPr>
              <p:txBody>
                <a:bodyPr/>
                <a:lstStyle/>
                <a:p>
                  <a:pPr eaLnBrk="1" hangingPunct="1">
                    <a:defRPr/>
                  </a:pPr>
                  <a:endParaRPr lang="zh-CN" altLang="en-US" sz="1050"/>
                </a:p>
              </p:txBody>
            </p:sp>
            <p:sp>
              <p:nvSpPr>
                <p:cNvPr id="3581" name="Freeform 2027"/>
                <p:cNvSpPr>
                  <a:spLocks/>
                </p:cNvSpPr>
                <p:nvPr/>
              </p:nvSpPr>
              <p:spPr bwMode="auto">
                <a:xfrm>
                  <a:off x="11605" y="2569"/>
                  <a:ext cx="17" cy="0"/>
                </a:xfrm>
                <a:custGeom>
                  <a:avLst/>
                  <a:gdLst>
                    <a:gd name="T0" fmla="*/ 0 w 11"/>
                    <a:gd name="T1" fmla="*/ 2 h 2"/>
                    <a:gd name="T2" fmla="*/ 11 w 11"/>
                    <a:gd name="T3" fmla="*/ 2 h 2"/>
                    <a:gd name="T4" fmla="*/ 11 w 11"/>
                    <a:gd name="T5" fmla="*/ 2 h 2"/>
                    <a:gd name="T6" fmla="*/ 0 w 11"/>
                    <a:gd name="T7" fmla="*/ 0 h 2"/>
                    <a:gd name="T8" fmla="*/ 0 w 11"/>
                    <a:gd name="T9" fmla="*/ 2 h 2"/>
                  </a:gdLst>
                  <a:ahLst/>
                  <a:cxnLst>
                    <a:cxn ang="0">
                      <a:pos x="T0" y="T1"/>
                    </a:cxn>
                    <a:cxn ang="0">
                      <a:pos x="T2" y="T3"/>
                    </a:cxn>
                    <a:cxn ang="0">
                      <a:pos x="T4" y="T5"/>
                    </a:cxn>
                    <a:cxn ang="0">
                      <a:pos x="T6" y="T7"/>
                    </a:cxn>
                    <a:cxn ang="0">
                      <a:pos x="T8" y="T9"/>
                    </a:cxn>
                  </a:cxnLst>
                  <a:rect l="0" t="0" r="r" b="b"/>
                  <a:pathLst>
                    <a:path w="11" h="2">
                      <a:moveTo>
                        <a:pt x="0" y="2"/>
                      </a:moveTo>
                      <a:lnTo>
                        <a:pt x="11" y="2"/>
                      </a:lnTo>
                      <a:lnTo>
                        <a:pt x="11"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82" name="Rectangle 2028"/>
                <p:cNvSpPr>
                  <a:spLocks noChangeArrowheads="1"/>
                </p:cNvSpPr>
                <p:nvPr/>
              </p:nvSpPr>
              <p:spPr bwMode="auto">
                <a:xfrm>
                  <a:off x="11605" y="2552"/>
                  <a:ext cx="17" cy="0"/>
                </a:xfrm>
                <a:prstGeom prst="rect">
                  <a:avLst/>
                </a:prstGeom>
                <a:solidFill>
                  <a:srgbClr val="01AAE5"/>
                </a:solidFill>
                <a:ln>
                  <a:noFill/>
                </a:ln>
                <a:extLst/>
              </p:spPr>
              <p:txBody>
                <a:bodyPr/>
                <a:lstStyle/>
                <a:p>
                  <a:pPr eaLnBrk="1" hangingPunct="1">
                    <a:defRPr/>
                  </a:pPr>
                  <a:endParaRPr lang="zh-CN" altLang="en-US" sz="1050"/>
                </a:p>
              </p:txBody>
            </p:sp>
            <p:sp>
              <p:nvSpPr>
                <p:cNvPr id="3583" name="Rectangle 2029"/>
                <p:cNvSpPr>
                  <a:spLocks noChangeArrowheads="1"/>
                </p:cNvSpPr>
                <p:nvPr/>
              </p:nvSpPr>
              <p:spPr bwMode="auto">
                <a:xfrm>
                  <a:off x="11605" y="2586"/>
                  <a:ext cx="17" cy="0"/>
                </a:xfrm>
                <a:prstGeom prst="rect">
                  <a:avLst/>
                </a:prstGeom>
                <a:solidFill>
                  <a:srgbClr val="01AAE5"/>
                </a:solidFill>
                <a:ln>
                  <a:noFill/>
                </a:ln>
                <a:extLst/>
              </p:spPr>
              <p:txBody>
                <a:bodyPr/>
                <a:lstStyle/>
                <a:p>
                  <a:pPr eaLnBrk="1" hangingPunct="1">
                    <a:defRPr/>
                  </a:pPr>
                  <a:endParaRPr lang="zh-CN" altLang="en-US" sz="1050"/>
                </a:p>
              </p:txBody>
            </p:sp>
            <p:sp>
              <p:nvSpPr>
                <p:cNvPr id="3584" name="Rectangle 2030"/>
                <p:cNvSpPr>
                  <a:spLocks noChangeArrowheads="1"/>
                </p:cNvSpPr>
                <p:nvPr/>
              </p:nvSpPr>
              <p:spPr bwMode="auto">
                <a:xfrm>
                  <a:off x="11605" y="2578"/>
                  <a:ext cx="17" cy="0"/>
                </a:xfrm>
                <a:prstGeom prst="rect">
                  <a:avLst/>
                </a:prstGeom>
                <a:solidFill>
                  <a:srgbClr val="01AAE5"/>
                </a:solidFill>
                <a:ln>
                  <a:noFill/>
                </a:ln>
                <a:extLst/>
              </p:spPr>
              <p:txBody>
                <a:bodyPr/>
                <a:lstStyle/>
                <a:p>
                  <a:pPr eaLnBrk="1" hangingPunct="1">
                    <a:defRPr/>
                  </a:pPr>
                  <a:endParaRPr lang="zh-CN" altLang="en-US" sz="1050"/>
                </a:p>
              </p:txBody>
            </p:sp>
            <p:sp>
              <p:nvSpPr>
                <p:cNvPr id="3585" name="Freeform 2031"/>
                <p:cNvSpPr>
                  <a:spLocks/>
                </p:cNvSpPr>
                <p:nvPr/>
              </p:nvSpPr>
              <p:spPr bwMode="auto">
                <a:xfrm>
                  <a:off x="11605" y="2595"/>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86" name="Freeform 2032"/>
                <p:cNvSpPr>
                  <a:spLocks/>
                </p:cNvSpPr>
                <p:nvPr/>
              </p:nvSpPr>
              <p:spPr bwMode="auto">
                <a:xfrm>
                  <a:off x="11605" y="2604"/>
                  <a:ext cx="17" cy="0"/>
                </a:xfrm>
                <a:custGeom>
                  <a:avLst/>
                  <a:gdLst>
                    <a:gd name="T0" fmla="*/ 0 w 12"/>
                    <a:gd name="T1" fmla="*/ 0 h 3"/>
                    <a:gd name="T2" fmla="*/ 12 w 12"/>
                    <a:gd name="T3" fmla="*/ 3 h 3"/>
                    <a:gd name="T4" fmla="*/ 12 w 12"/>
                    <a:gd name="T5" fmla="*/ 0 h 3"/>
                    <a:gd name="T6" fmla="*/ 0 w 12"/>
                    <a:gd name="T7" fmla="*/ 0 h 3"/>
                    <a:gd name="T8" fmla="*/ 0 w 12"/>
                    <a:gd name="T9" fmla="*/ 0 h 3"/>
                  </a:gdLst>
                  <a:ahLst/>
                  <a:cxnLst>
                    <a:cxn ang="0">
                      <a:pos x="T0" y="T1"/>
                    </a:cxn>
                    <a:cxn ang="0">
                      <a:pos x="T2" y="T3"/>
                    </a:cxn>
                    <a:cxn ang="0">
                      <a:pos x="T4" y="T5"/>
                    </a:cxn>
                    <a:cxn ang="0">
                      <a:pos x="T6" y="T7"/>
                    </a:cxn>
                    <a:cxn ang="0">
                      <a:pos x="T8" y="T9"/>
                    </a:cxn>
                  </a:cxnLst>
                  <a:rect l="0" t="0" r="r" b="b"/>
                  <a:pathLst>
                    <a:path w="12" h="3">
                      <a:moveTo>
                        <a:pt x="0" y="0"/>
                      </a:moveTo>
                      <a:lnTo>
                        <a:pt x="12" y="3"/>
                      </a:lnTo>
                      <a:lnTo>
                        <a:pt x="12" y="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87" name="Freeform 2033"/>
                <p:cNvSpPr>
                  <a:spLocks/>
                </p:cNvSpPr>
                <p:nvPr/>
              </p:nvSpPr>
              <p:spPr bwMode="auto">
                <a:xfrm>
                  <a:off x="11596" y="2700"/>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88" name="Freeform 2034"/>
                <p:cNvSpPr>
                  <a:spLocks/>
                </p:cNvSpPr>
                <p:nvPr/>
              </p:nvSpPr>
              <p:spPr bwMode="auto">
                <a:xfrm>
                  <a:off x="11580" y="2735"/>
                  <a:ext cx="17" cy="9"/>
                </a:xfrm>
                <a:custGeom>
                  <a:avLst/>
                  <a:gdLst>
                    <a:gd name="T0" fmla="*/ 0 w 19"/>
                    <a:gd name="T1" fmla="*/ 2 h 7"/>
                    <a:gd name="T2" fmla="*/ 19 w 19"/>
                    <a:gd name="T3" fmla="*/ 7 h 7"/>
                    <a:gd name="T4" fmla="*/ 19 w 19"/>
                    <a:gd name="T5" fmla="*/ 4 h 7"/>
                    <a:gd name="T6" fmla="*/ 0 w 19"/>
                    <a:gd name="T7" fmla="*/ 0 h 7"/>
                    <a:gd name="T8" fmla="*/ 0 w 19"/>
                    <a:gd name="T9" fmla="*/ 2 h 7"/>
                  </a:gdLst>
                  <a:ahLst/>
                  <a:cxnLst>
                    <a:cxn ang="0">
                      <a:pos x="T0" y="T1"/>
                    </a:cxn>
                    <a:cxn ang="0">
                      <a:pos x="T2" y="T3"/>
                    </a:cxn>
                    <a:cxn ang="0">
                      <a:pos x="T4" y="T5"/>
                    </a:cxn>
                    <a:cxn ang="0">
                      <a:pos x="T6" y="T7"/>
                    </a:cxn>
                    <a:cxn ang="0">
                      <a:pos x="T8" y="T9"/>
                    </a:cxn>
                  </a:cxnLst>
                  <a:rect l="0" t="0" r="r" b="b"/>
                  <a:pathLst>
                    <a:path w="19" h="7">
                      <a:moveTo>
                        <a:pt x="0" y="2"/>
                      </a:moveTo>
                      <a:lnTo>
                        <a:pt x="19" y="7"/>
                      </a:lnTo>
                      <a:lnTo>
                        <a:pt x="19" y="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89" name="Freeform 2035"/>
                <p:cNvSpPr>
                  <a:spLocks/>
                </p:cNvSpPr>
                <p:nvPr/>
              </p:nvSpPr>
              <p:spPr bwMode="auto">
                <a:xfrm>
                  <a:off x="11571" y="2743"/>
                  <a:ext cx="33" cy="0"/>
                </a:xfrm>
                <a:custGeom>
                  <a:avLst/>
                  <a:gdLst>
                    <a:gd name="T0" fmla="*/ 0 w 21"/>
                    <a:gd name="T1" fmla="*/ 3 h 10"/>
                    <a:gd name="T2" fmla="*/ 21 w 21"/>
                    <a:gd name="T3" fmla="*/ 10 h 10"/>
                    <a:gd name="T4" fmla="*/ 21 w 21"/>
                    <a:gd name="T5" fmla="*/ 7 h 10"/>
                    <a:gd name="T6" fmla="*/ 0 w 21"/>
                    <a:gd name="T7" fmla="*/ 0 h 10"/>
                    <a:gd name="T8" fmla="*/ 0 w 21"/>
                    <a:gd name="T9" fmla="*/ 3 h 10"/>
                  </a:gdLst>
                  <a:ahLst/>
                  <a:cxnLst>
                    <a:cxn ang="0">
                      <a:pos x="T0" y="T1"/>
                    </a:cxn>
                    <a:cxn ang="0">
                      <a:pos x="T2" y="T3"/>
                    </a:cxn>
                    <a:cxn ang="0">
                      <a:pos x="T4" y="T5"/>
                    </a:cxn>
                    <a:cxn ang="0">
                      <a:pos x="T6" y="T7"/>
                    </a:cxn>
                    <a:cxn ang="0">
                      <a:pos x="T8" y="T9"/>
                    </a:cxn>
                  </a:cxnLst>
                  <a:rect l="0" t="0" r="r" b="b"/>
                  <a:pathLst>
                    <a:path w="21" h="10">
                      <a:moveTo>
                        <a:pt x="0" y="3"/>
                      </a:moveTo>
                      <a:lnTo>
                        <a:pt x="21" y="10"/>
                      </a:lnTo>
                      <a:lnTo>
                        <a:pt x="21" y="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90" name="Freeform 2036"/>
                <p:cNvSpPr>
                  <a:spLocks/>
                </p:cNvSpPr>
                <p:nvPr/>
              </p:nvSpPr>
              <p:spPr bwMode="auto">
                <a:xfrm>
                  <a:off x="11571" y="2743"/>
                  <a:ext cx="33" cy="9"/>
                </a:xfrm>
                <a:custGeom>
                  <a:avLst/>
                  <a:gdLst>
                    <a:gd name="T0" fmla="*/ 0 w 26"/>
                    <a:gd name="T1" fmla="*/ 0 h 10"/>
                    <a:gd name="T2" fmla="*/ 26 w 26"/>
                    <a:gd name="T3" fmla="*/ 10 h 10"/>
                    <a:gd name="T4" fmla="*/ 26 w 26"/>
                    <a:gd name="T5" fmla="*/ 7 h 10"/>
                    <a:gd name="T6" fmla="*/ 0 w 26"/>
                    <a:gd name="T7" fmla="*/ 0 h 10"/>
                    <a:gd name="T8" fmla="*/ 0 w 26"/>
                    <a:gd name="T9" fmla="*/ 0 h 10"/>
                  </a:gdLst>
                  <a:ahLst/>
                  <a:cxnLst>
                    <a:cxn ang="0">
                      <a:pos x="T0" y="T1"/>
                    </a:cxn>
                    <a:cxn ang="0">
                      <a:pos x="T2" y="T3"/>
                    </a:cxn>
                    <a:cxn ang="0">
                      <a:pos x="T4" y="T5"/>
                    </a:cxn>
                    <a:cxn ang="0">
                      <a:pos x="T6" y="T7"/>
                    </a:cxn>
                    <a:cxn ang="0">
                      <a:pos x="T8" y="T9"/>
                    </a:cxn>
                  </a:cxnLst>
                  <a:rect l="0" t="0" r="r" b="b"/>
                  <a:pathLst>
                    <a:path w="26" h="10">
                      <a:moveTo>
                        <a:pt x="0" y="0"/>
                      </a:moveTo>
                      <a:lnTo>
                        <a:pt x="26" y="10"/>
                      </a:lnTo>
                      <a:lnTo>
                        <a:pt x="26" y="7"/>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91" name="Freeform 2037"/>
                <p:cNvSpPr>
                  <a:spLocks/>
                </p:cNvSpPr>
                <p:nvPr/>
              </p:nvSpPr>
              <p:spPr bwMode="auto">
                <a:xfrm>
                  <a:off x="11580" y="2726"/>
                  <a:ext cx="17" cy="9"/>
                </a:xfrm>
                <a:custGeom>
                  <a:avLst/>
                  <a:gdLst>
                    <a:gd name="T0" fmla="*/ 0 w 16"/>
                    <a:gd name="T1" fmla="*/ 3 h 8"/>
                    <a:gd name="T2" fmla="*/ 16 w 16"/>
                    <a:gd name="T3" fmla="*/ 8 h 8"/>
                    <a:gd name="T4" fmla="*/ 16 w 16"/>
                    <a:gd name="T5" fmla="*/ 5 h 8"/>
                    <a:gd name="T6" fmla="*/ 2 w 16"/>
                    <a:gd name="T7" fmla="*/ 0 h 8"/>
                    <a:gd name="T8" fmla="*/ 0 w 16"/>
                    <a:gd name="T9" fmla="*/ 3 h 8"/>
                  </a:gdLst>
                  <a:ahLst/>
                  <a:cxnLst>
                    <a:cxn ang="0">
                      <a:pos x="T0" y="T1"/>
                    </a:cxn>
                    <a:cxn ang="0">
                      <a:pos x="T2" y="T3"/>
                    </a:cxn>
                    <a:cxn ang="0">
                      <a:pos x="T4" y="T5"/>
                    </a:cxn>
                    <a:cxn ang="0">
                      <a:pos x="T6" y="T7"/>
                    </a:cxn>
                    <a:cxn ang="0">
                      <a:pos x="T8" y="T9"/>
                    </a:cxn>
                  </a:cxnLst>
                  <a:rect l="0" t="0" r="r" b="b"/>
                  <a:pathLst>
                    <a:path w="16" h="8">
                      <a:moveTo>
                        <a:pt x="0" y="3"/>
                      </a:moveTo>
                      <a:lnTo>
                        <a:pt x="16" y="8"/>
                      </a:lnTo>
                      <a:lnTo>
                        <a:pt x="16" y="5"/>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92" name="Freeform 2038"/>
                <p:cNvSpPr>
                  <a:spLocks/>
                </p:cNvSpPr>
                <p:nvPr/>
              </p:nvSpPr>
              <p:spPr bwMode="auto">
                <a:xfrm>
                  <a:off x="11588" y="2726"/>
                  <a:ext cx="17" cy="0"/>
                </a:xfrm>
                <a:custGeom>
                  <a:avLst/>
                  <a:gdLst>
                    <a:gd name="T0" fmla="*/ 0 w 12"/>
                    <a:gd name="T1" fmla="*/ 0 h 4"/>
                    <a:gd name="T2" fmla="*/ 12 w 12"/>
                    <a:gd name="T3" fmla="*/ 4 h 4"/>
                    <a:gd name="T4" fmla="*/ 12 w 12"/>
                    <a:gd name="T5" fmla="*/ 2 h 4"/>
                    <a:gd name="T6" fmla="*/ 0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12" y="4"/>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93" name="Freeform 2039"/>
                <p:cNvSpPr>
                  <a:spLocks/>
                </p:cNvSpPr>
                <p:nvPr/>
              </p:nvSpPr>
              <p:spPr bwMode="auto">
                <a:xfrm>
                  <a:off x="11563" y="2761"/>
                  <a:ext cx="42" cy="17"/>
                </a:xfrm>
                <a:custGeom>
                  <a:avLst/>
                  <a:gdLst>
                    <a:gd name="T0" fmla="*/ 0 w 38"/>
                    <a:gd name="T1" fmla="*/ 2 h 14"/>
                    <a:gd name="T2" fmla="*/ 38 w 38"/>
                    <a:gd name="T3" fmla="*/ 14 h 14"/>
                    <a:gd name="T4" fmla="*/ 38 w 38"/>
                    <a:gd name="T5" fmla="*/ 12 h 14"/>
                    <a:gd name="T6" fmla="*/ 3 w 38"/>
                    <a:gd name="T7" fmla="*/ 0 h 14"/>
                    <a:gd name="T8" fmla="*/ 0 w 38"/>
                    <a:gd name="T9" fmla="*/ 2 h 14"/>
                  </a:gdLst>
                  <a:ahLst/>
                  <a:cxnLst>
                    <a:cxn ang="0">
                      <a:pos x="T0" y="T1"/>
                    </a:cxn>
                    <a:cxn ang="0">
                      <a:pos x="T2" y="T3"/>
                    </a:cxn>
                    <a:cxn ang="0">
                      <a:pos x="T4" y="T5"/>
                    </a:cxn>
                    <a:cxn ang="0">
                      <a:pos x="T6" y="T7"/>
                    </a:cxn>
                    <a:cxn ang="0">
                      <a:pos x="T8" y="T9"/>
                    </a:cxn>
                  </a:cxnLst>
                  <a:rect l="0" t="0" r="r" b="b"/>
                  <a:pathLst>
                    <a:path w="38" h="14">
                      <a:moveTo>
                        <a:pt x="0" y="2"/>
                      </a:moveTo>
                      <a:lnTo>
                        <a:pt x="38" y="14"/>
                      </a:lnTo>
                      <a:lnTo>
                        <a:pt x="38" y="1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94" name="Freeform 2040"/>
                <p:cNvSpPr>
                  <a:spLocks/>
                </p:cNvSpPr>
                <p:nvPr/>
              </p:nvSpPr>
              <p:spPr bwMode="auto">
                <a:xfrm>
                  <a:off x="11571" y="2752"/>
                  <a:ext cx="33" cy="9"/>
                </a:xfrm>
                <a:custGeom>
                  <a:avLst/>
                  <a:gdLst>
                    <a:gd name="T0" fmla="*/ 0 w 31"/>
                    <a:gd name="T1" fmla="*/ 2 h 12"/>
                    <a:gd name="T2" fmla="*/ 31 w 31"/>
                    <a:gd name="T3" fmla="*/ 12 h 12"/>
                    <a:gd name="T4" fmla="*/ 31 w 31"/>
                    <a:gd name="T5" fmla="*/ 10 h 12"/>
                    <a:gd name="T6" fmla="*/ 3 w 31"/>
                    <a:gd name="T7" fmla="*/ 0 h 12"/>
                    <a:gd name="T8" fmla="*/ 0 w 31"/>
                    <a:gd name="T9" fmla="*/ 2 h 12"/>
                  </a:gdLst>
                  <a:ahLst/>
                  <a:cxnLst>
                    <a:cxn ang="0">
                      <a:pos x="T0" y="T1"/>
                    </a:cxn>
                    <a:cxn ang="0">
                      <a:pos x="T2" y="T3"/>
                    </a:cxn>
                    <a:cxn ang="0">
                      <a:pos x="T4" y="T5"/>
                    </a:cxn>
                    <a:cxn ang="0">
                      <a:pos x="T6" y="T7"/>
                    </a:cxn>
                    <a:cxn ang="0">
                      <a:pos x="T8" y="T9"/>
                    </a:cxn>
                  </a:cxnLst>
                  <a:rect l="0" t="0" r="r" b="b"/>
                  <a:pathLst>
                    <a:path w="31" h="12">
                      <a:moveTo>
                        <a:pt x="0" y="2"/>
                      </a:moveTo>
                      <a:lnTo>
                        <a:pt x="31" y="12"/>
                      </a:lnTo>
                      <a:lnTo>
                        <a:pt x="31" y="1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95" name="Freeform 2041"/>
                <p:cNvSpPr>
                  <a:spLocks/>
                </p:cNvSpPr>
                <p:nvPr/>
              </p:nvSpPr>
              <p:spPr bwMode="auto">
                <a:xfrm>
                  <a:off x="11571" y="2761"/>
                  <a:ext cx="33" cy="17"/>
                </a:xfrm>
                <a:custGeom>
                  <a:avLst/>
                  <a:gdLst>
                    <a:gd name="T0" fmla="*/ 0 w 33"/>
                    <a:gd name="T1" fmla="*/ 0 h 12"/>
                    <a:gd name="T2" fmla="*/ 33 w 33"/>
                    <a:gd name="T3" fmla="*/ 12 h 12"/>
                    <a:gd name="T4" fmla="*/ 33 w 33"/>
                    <a:gd name="T5" fmla="*/ 10 h 12"/>
                    <a:gd name="T6" fmla="*/ 0 w 33"/>
                    <a:gd name="T7" fmla="*/ 0 h 12"/>
                    <a:gd name="T8" fmla="*/ 0 w 33"/>
                    <a:gd name="T9" fmla="*/ 0 h 12"/>
                  </a:gdLst>
                  <a:ahLst/>
                  <a:cxnLst>
                    <a:cxn ang="0">
                      <a:pos x="T0" y="T1"/>
                    </a:cxn>
                    <a:cxn ang="0">
                      <a:pos x="T2" y="T3"/>
                    </a:cxn>
                    <a:cxn ang="0">
                      <a:pos x="T4" y="T5"/>
                    </a:cxn>
                    <a:cxn ang="0">
                      <a:pos x="T6" y="T7"/>
                    </a:cxn>
                    <a:cxn ang="0">
                      <a:pos x="T8" y="T9"/>
                    </a:cxn>
                  </a:cxnLst>
                  <a:rect l="0" t="0" r="r" b="b"/>
                  <a:pathLst>
                    <a:path w="33" h="12">
                      <a:moveTo>
                        <a:pt x="0" y="0"/>
                      </a:moveTo>
                      <a:lnTo>
                        <a:pt x="33" y="12"/>
                      </a:lnTo>
                      <a:lnTo>
                        <a:pt x="33" y="10"/>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596" name="Freeform 2042"/>
                <p:cNvSpPr>
                  <a:spLocks/>
                </p:cNvSpPr>
                <p:nvPr/>
              </p:nvSpPr>
              <p:spPr bwMode="auto">
                <a:xfrm>
                  <a:off x="11596" y="2700"/>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97" name="Freeform 2043"/>
                <p:cNvSpPr>
                  <a:spLocks/>
                </p:cNvSpPr>
                <p:nvPr/>
              </p:nvSpPr>
              <p:spPr bwMode="auto">
                <a:xfrm>
                  <a:off x="11596" y="2674"/>
                  <a:ext cx="8" cy="9"/>
                </a:xfrm>
                <a:custGeom>
                  <a:avLst/>
                  <a:gdLst>
                    <a:gd name="T0" fmla="*/ 0 w 12"/>
                    <a:gd name="T1" fmla="*/ 3 h 5"/>
                    <a:gd name="T2" fmla="*/ 12 w 12"/>
                    <a:gd name="T3" fmla="*/ 5 h 5"/>
                    <a:gd name="T4" fmla="*/ 12 w 12"/>
                    <a:gd name="T5" fmla="*/ 3 h 5"/>
                    <a:gd name="T6" fmla="*/ 0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598" name="Freeform 2044"/>
                <p:cNvSpPr>
                  <a:spLocks/>
                </p:cNvSpPr>
                <p:nvPr/>
              </p:nvSpPr>
              <p:spPr bwMode="auto">
                <a:xfrm>
                  <a:off x="11596" y="2682"/>
                  <a:ext cx="8" cy="0"/>
                </a:xfrm>
                <a:custGeom>
                  <a:avLst/>
                  <a:gdLst>
                    <a:gd name="T0" fmla="*/ 0 w 12"/>
                    <a:gd name="T1" fmla="*/ 2 h 4"/>
                    <a:gd name="T2" fmla="*/ 12 w 12"/>
                    <a:gd name="T3" fmla="*/ 4 h 4"/>
                    <a:gd name="T4" fmla="*/ 12 w 12"/>
                    <a:gd name="T5" fmla="*/ 2 h 4"/>
                    <a:gd name="T6" fmla="*/ 3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599" name="Freeform 2045"/>
                <p:cNvSpPr>
                  <a:spLocks/>
                </p:cNvSpPr>
                <p:nvPr/>
              </p:nvSpPr>
              <p:spPr bwMode="auto">
                <a:xfrm>
                  <a:off x="11596" y="2665"/>
                  <a:ext cx="8" cy="9"/>
                </a:xfrm>
                <a:custGeom>
                  <a:avLst/>
                  <a:gdLst>
                    <a:gd name="T0" fmla="*/ 0 w 12"/>
                    <a:gd name="T1" fmla="*/ 3 h 5"/>
                    <a:gd name="T2" fmla="*/ 12 w 12"/>
                    <a:gd name="T3" fmla="*/ 5 h 5"/>
                    <a:gd name="T4" fmla="*/ 12 w 12"/>
                    <a:gd name="T5" fmla="*/ 3 h 5"/>
                    <a:gd name="T6" fmla="*/ 2 w 12"/>
                    <a:gd name="T7" fmla="*/ 0 h 5"/>
                    <a:gd name="T8" fmla="*/ 0 w 12"/>
                    <a:gd name="T9" fmla="*/ 3 h 5"/>
                  </a:gdLst>
                  <a:ahLst/>
                  <a:cxnLst>
                    <a:cxn ang="0">
                      <a:pos x="T0" y="T1"/>
                    </a:cxn>
                    <a:cxn ang="0">
                      <a:pos x="T2" y="T3"/>
                    </a:cxn>
                    <a:cxn ang="0">
                      <a:pos x="T4" y="T5"/>
                    </a:cxn>
                    <a:cxn ang="0">
                      <a:pos x="T6" y="T7"/>
                    </a:cxn>
                    <a:cxn ang="0">
                      <a:pos x="T8" y="T9"/>
                    </a:cxn>
                  </a:cxnLst>
                  <a:rect l="0" t="0" r="r" b="b"/>
                  <a:pathLst>
                    <a:path w="12" h="5">
                      <a:moveTo>
                        <a:pt x="0" y="3"/>
                      </a:moveTo>
                      <a:lnTo>
                        <a:pt x="12" y="5"/>
                      </a:lnTo>
                      <a:lnTo>
                        <a:pt x="12" y="3"/>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00" name="Freeform 2046"/>
                <p:cNvSpPr>
                  <a:spLocks/>
                </p:cNvSpPr>
                <p:nvPr/>
              </p:nvSpPr>
              <p:spPr bwMode="auto">
                <a:xfrm>
                  <a:off x="11588" y="2717"/>
                  <a:ext cx="17" cy="0"/>
                </a:xfrm>
                <a:custGeom>
                  <a:avLst/>
                  <a:gdLst>
                    <a:gd name="T0" fmla="*/ 3 w 12"/>
                    <a:gd name="T1" fmla="*/ 0 h 4"/>
                    <a:gd name="T2" fmla="*/ 0 w 12"/>
                    <a:gd name="T3" fmla="*/ 2 h 4"/>
                    <a:gd name="T4" fmla="*/ 12 w 12"/>
                    <a:gd name="T5" fmla="*/ 4 h 4"/>
                    <a:gd name="T6" fmla="*/ 12 w 12"/>
                    <a:gd name="T7" fmla="*/ 2 h 4"/>
                    <a:gd name="T8" fmla="*/ 3 w 12"/>
                    <a:gd name="T9" fmla="*/ 0 h 4"/>
                  </a:gdLst>
                  <a:ahLst/>
                  <a:cxnLst>
                    <a:cxn ang="0">
                      <a:pos x="T0" y="T1"/>
                    </a:cxn>
                    <a:cxn ang="0">
                      <a:pos x="T2" y="T3"/>
                    </a:cxn>
                    <a:cxn ang="0">
                      <a:pos x="T4" y="T5"/>
                    </a:cxn>
                    <a:cxn ang="0">
                      <a:pos x="T6" y="T7"/>
                    </a:cxn>
                    <a:cxn ang="0">
                      <a:pos x="T8" y="T9"/>
                    </a:cxn>
                  </a:cxnLst>
                  <a:rect l="0" t="0" r="r" b="b"/>
                  <a:pathLst>
                    <a:path w="12" h="4">
                      <a:moveTo>
                        <a:pt x="3" y="0"/>
                      </a:moveTo>
                      <a:lnTo>
                        <a:pt x="0" y="2"/>
                      </a:lnTo>
                      <a:lnTo>
                        <a:pt x="12" y="4"/>
                      </a:lnTo>
                      <a:lnTo>
                        <a:pt x="12" y="2"/>
                      </a:lnTo>
                      <a:lnTo>
                        <a:pt x="3" y="0"/>
                      </a:lnTo>
                      <a:close/>
                    </a:path>
                  </a:pathLst>
                </a:custGeom>
                <a:solidFill>
                  <a:srgbClr val="01AAE5"/>
                </a:solidFill>
                <a:ln>
                  <a:noFill/>
                </a:ln>
                <a:extLst/>
              </p:spPr>
              <p:txBody>
                <a:bodyPr/>
                <a:lstStyle/>
                <a:p>
                  <a:pPr eaLnBrk="1" hangingPunct="1">
                    <a:defRPr/>
                  </a:pPr>
                  <a:endParaRPr lang="zh-CN" altLang="en-US" sz="1050"/>
                </a:p>
              </p:txBody>
            </p:sp>
            <p:sp>
              <p:nvSpPr>
                <p:cNvPr id="3601" name="Freeform 2047"/>
                <p:cNvSpPr>
                  <a:spLocks/>
                </p:cNvSpPr>
                <p:nvPr/>
              </p:nvSpPr>
              <p:spPr bwMode="auto">
                <a:xfrm>
                  <a:off x="11605" y="2665"/>
                  <a:ext cx="8" cy="0"/>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02" name="Freeform 2048"/>
                <p:cNvSpPr>
                  <a:spLocks/>
                </p:cNvSpPr>
                <p:nvPr/>
              </p:nvSpPr>
              <p:spPr bwMode="auto">
                <a:xfrm>
                  <a:off x="11563" y="2778"/>
                  <a:ext cx="33" cy="9"/>
                </a:xfrm>
                <a:custGeom>
                  <a:avLst/>
                  <a:gdLst>
                    <a:gd name="T0" fmla="*/ 0 w 38"/>
                    <a:gd name="T1" fmla="*/ 0 h 14"/>
                    <a:gd name="T2" fmla="*/ 38 w 38"/>
                    <a:gd name="T3" fmla="*/ 14 h 14"/>
                    <a:gd name="T4" fmla="*/ 38 w 38"/>
                    <a:gd name="T5" fmla="*/ 12 h 14"/>
                    <a:gd name="T6" fmla="*/ 0 w 38"/>
                    <a:gd name="T7" fmla="*/ 0 h 14"/>
                    <a:gd name="T8" fmla="*/ 0 w 38"/>
                    <a:gd name="T9" fmla="*/ 0 h 14"/>
                  </a:gdLst>
                  <a:ahLst/>
                  <a:cxnLst>
                    <a:cxn ang="0">
                      <a:pos x="T0" y="T1"/>
                    </a:cxn>
                    <a:cxn ang="0">
                      <a:pos x="T2" y="T3"/>
                    </a:cxn>
                    <a:cxn ang="0">
                      <a:pos x="T4" y="T5"/>
                    </a:cxn>
                    <a:cxn ang="0">
                      <a:pos x="T6" y="T7"/>
                    </a:cxn>
                    <a:cxn ang="0">
                      <a:pos x="T8" y="T9"/>
                    </a:cxn>
                  </a:cxnLst>
                  <a:rect l="0" t="0" r="r" b="b"/>
                  <a:pathLst>
                    <a:path w="38" h="14">
                      <a:moveTo>
                        <a:pt x="0" y="0"/>
                      </a:moveTo>
                      <a:lnTo>
                        <a:pt x="38" y="14"/>
                      </a:lnTo>
                      <a:lnTo>
                        <a:pt x="38"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03" name="Freeform 2049"/>
                <p:cNvSpPr>
                  <a:spLocks/>
                </p:cNvSpPr>
                <p:nvPr/>
              </p:nvSpPr>
              <p:spPr bwMode="auto">
                <a:xfrm>
                  <a:off x="11596" y="2691"/>
                  <a:ext cx="8" cy="0"/>
                </a:xfrm>
                <a:custGeom>
                  <a:avLst/>
                  <a:gdLst>
                    <a:gd name="T0" fmla="*/ 0 w 12"/>
                    <a:gd name="T1" fmla="*/ 2 h 4"/>
                    <a:gd name="T2" fmla="*/ 12 w 12"/>
                    <a:gd name="T3" fmla="*/ 4 h 4"/>
                    <a:gd name="T4" fmla="*/ 12 w 12"/>
                    <a:gd name="T5" fmla="*/ 2 h 4"/>
                    <a:gd name="T6" fmla="*/ 0 w 12"/>
                    <a:gd name="T7" fmla="*/ 0 h 4"/>
                    <a:gd name="T8" fmla="*/ 0 w 12"/>
                    <a:gd name="T9" fmla="*/ 2 h 4"/>
                  </a:gdLst>
                  <a:ahLst/>
                  <a:cxnLst>
                    <a:cxn ang="0">
                      <a:pos x="T0" y="T1"/>
                    </a:cxn>
                    <a:cxn ang="0">
                      <a:pos x="T2" y="T3"/>
                    </a:cxn>
                    <a:cxn ang="0">
                      <a:pos x="T4" y="T5"/>
                    </a:cxn>
                    <a:cxn ang="0">
                      <a:pos x="T6" y="T7"/>
                    </a:cxn>
                    <a:cxn ang="0">
                      <a:pos x="T8" y="T9"/>
                    </a:cxn>
                  </a:cxnLst>
                  <a:rect l="0" t="0" r="r" b="b"/>
                  <a:pathLst>
                    <a:path w="12" h="4">
                      <a:moveTo>
                        <a:pt x="0" y="2"/>
                      </a:moveTo>
                      <a:lnTo>
                        <a:pt x="12" y="4"/>
                      </a:lnTo>
                      <a:lnTo>
                        <a:pt x="12" y="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04" name="Freeform 2050"/>
                <p:cNvSpPr>
                  <a:spLocks/>
                </p:cNvSpPr>
                <p:nvPr/>
              </p:nvSpPr>
              <p:spPr bwMode="auto">
                <a:xfrm>
                  <a:off x="11538" y="2857"/>
                  <a:ext cx="8" cy="9"/>
                </a:xfrm>
                <a:custGeom>
                  <a:avLst/>
                  <a:gdLst>
                    <a:gd name="T0" fmla="*/ 0 w 19"/>
                    <a:gd name="T1" fmla="*/ 3 h 12"/>
                    <a:gd name="T2" fmla="*/ 19 w 19"/>
                    <a:gd name="T3" fmla="*/ 12 h 12"/>
                    <a:gd name="T4" fmla="*/ 19 w 19"/>
                    <a:gd name="T5" fmla="*/ 10 h 12"/>
                    <a:gd name="T6" fmla="*/ 0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9" y="12"/>
                      </a:lnTo>
                      <a:lnTo>
                        <a:pt x="1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05" name="Freeform 2051"/>
                <p:cNvSpPr>
                  <a:spLocks/>
                </p:cNvSpPr>
                <p:nvPr/>
              </p:nvSpPr>
              <p:spPr bwMode="auto">
                <a:xfrm>
                  <a:off x="11264" y="3127"/>
                  <a:ext cx="50" cy="70"/>
                </a:xfrm>
                <a:custGeom>
                  <a:avLst/>
                  <a:gdLst>
                    <a:gd name="T0" fmla="*/ 0 w 50"/>
                    <a:gd name="T1" fmla="*/ 0 h 78"/>
                    <a:gd name="T2" fmla="*/ 50 w 50"/>
                    <a:gd name="T3" fmla="*/ 78 h 78"/>
                    <a:gd name="T4" fmla="*/ 50 w 50"/>
                    <a:gd name="T5" fmla="*/ 78 h 78"/>
                    <a:gd name="T6" fmla="*/ 0 w 50"/>
                    <a:gd name="T7" fmla="*/ 0 h 78"/>
                    <a:gd name="T8" fmla="*/ 0 w 50"/>
                    <a:gd name="T9" fmla="*/ 0 h 78"/>
                  </a:gdLst>
                  <a:ahLst/>
                  <a:cxnLst>
                    <a:cxn ang="0">
                      <a:pos x="T0" y="T1"/>
                    </a:cxn>
                    <a:cxn ang="0">
                      <a:pos x="T2" y="T3"/>
                    </a:cxn>
                    <a:cxn ang="0">
                      <a:pos x="T4" y="T5"/>
                    </a:cxn>
                    <a:cxn ang="0">
                      <a:pos x="T6" y="T7"/>
                    </a:cxn>
                    <a:cxn ang="0">
                      <a:pos x="T8" y="T9"/>
                    </a:cxn>
                  </a:cxnLst>
                  <a:rect l="0" t="0" r="r" b="b"/>
                  <a:pathLst>
                    <a:path w="50" h="78">
                      <a:moveTo>
                        <a:pt x="0" y="0"/>
                      </a:moveTo>
                      <a:lnTo>
                        <a:pt x="50" y="78"/>
                      </a:lnTo>
                      <a:lnTo>
                        <a:pt x="50"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06" name="Freeform 2052"/>
                <p:cNvSpPr>
                  <a:spLocks/>
                </p:cNvSpPr>
                <p:nvPr/>
              </p:nvSpPr>
              <p:spPr bwMode="auto">
                <a:xfrm>
                  <a:off x="11180" y="3196"/>
                  <a:ext cx="8" cy="26"/>
                </a:xfrm>
                <a:custGeom>
                  <a:avLst/>
                  <a:gdLst>
                    <a:gd name="T0" fmla="*/ 0 w 11"/>
                    <a:gd name="T1" fmla="*/ 0 h 24"/>
                    <a:gd name="T2" fmla="*/ 9 w 11"/>
                    <a:gd name="T3" fmla="*/ 24 h 24"/>
                    <a:gd name="T4" fmla="*/ 11 w 11"/>
                    <a:gd name="T5" fmla="*/ 24 h 24"/>
                    <a:gd name="T6" fmla="*/ 2 w 11"/>
                    <a:gd name="T7" fmla="*/ 0 h 24"/>
                    <a:gd name="T8" fmla="*/ 0 w 11"/>
                    <a:gd name="T9" fmla="*/ 0 h 24"/>
                  </a:gdLst>
                  <a:ahLst/>
                  <a:cxnLst>
                    <a:cxn ang="0">
                      <a:pos x="T0" y="T1"/>
                    </a:cxn>
                    <a:cxn ang="0">
                      <a:pos x="T2" y="T3"/>
                    </a:cxn>
                    <a:cxn ang="0">
                      <a:pos x="T4" y="T5"/>
                    </a:cxn>
                    <a:cxn ang="0">
                      <a:pos x="T6" y="T7"/>
                    </a:cxn>
                    <a:cxn ang="0">
                      <a:pos x="T8" y="T9"/>
                    </a:cxn>
                  </a:cxnLst>
                  <a:rect l="0" t="0" r="r" b="b"/>
                  <a:pathLst>
                    <a:path w="11" h="24">
                      <a:moveTo>
                        <a:pt x="0" y="0"/>
                      </a:moveTo>
                      <a:lnTo>
                        <a:pt x="9" y="24"/>
                      </a:lnTo>
                      <a:lnTo>
                        <a:pt x="11" y="2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07" name="Freeform 2053"/>
                <p:cNvSpPr>
                  <a:spLocks/>
                </p:cNvSpPr>
                <p:nvPr/>
              </p:nvSpPr>
              <p:spPr bwMode="auto">
                <a:xfrm>
                  <a:off x="11214" y="3161"/>
                  <a:ext cx="25" cy="61"/>
                </a:xfrm>
                <a:custGeom>
                  <a:avLst/>
                  <a:gdLst>
                    <a:gd name="T0" fmla="*/ 0 w 23"/>
                    <a:gd name="T1" fmla="*/ 3 h 48"/>
                    <a:gd name="T2" fmla="*/ 21 w 23"/>
                    <a:gd name="T3" fmla="*/ 48 h 48"/>
                    <a:gd name="T4" fmla="*/ 23 w 23"/>
                    <a:gd name="T5" fmla="*/ 48 h 48"/>
                    <a:gd name="T6" fmla="*/ 0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21" y="48"/>
                      </a:lnTo>
                      <a:lnTo>
                        <a:pt x="23" y="4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08" name="Freeform 2054"/>
                <p:cNvSpPr>
                  <a:spLocks/>
                </p:cNvSpPr>
                <p:nvPr/>
              </p:nvSpPr>
              <p:spPr bwMode="auto">
                <a:xfrm>
                  <a:off x="11214" y="3161"/>
                  <a:ext cx="25" cy="61"/>
                </a:xfrm>
                <a:custGeom>
                  <a:avLst/>
                  <a:gdLst>
                    <a:gd name="T0" fmla="*/ 0 w 26"/>
                    <a:gd name="T1" fmla="*/ 2 h 52"/>
                    <a:gd name="T2" fmla="*/ 24 w 26"/>
                    <a:gd name="T3" fmla="*/ 52 h 52"/>
                    <a:gd name="T4" fmla="*/ 26 w 26"/>
                    <a:gd name="T5" fmla="*/ 49 h 52"/>
                    <a:gd name="T6" fmla="*/ 0 w 26"/>
                    <a:gd name="T7" fmla="*/ 0 h 52"/>
                    <a:gd name="T8" fmla="*/ 0 w 26"/>
                    <a:gd name="T9" fmla="*/ 2 h 52"/>
                  </a:gdLst>
                  <a:ahLst/>
                  <a:cxnLst>
                    <a:cxn ang="0">
                      <a:pos x="T0" y="T1"/>
                    </a:cxn>
                    <a:cxn ang="0">
                      <a:pos x="T2" y="T3"/>
                    </a:cxn>
                    <a:cxn ang="0">
                      <a:pos x="T4" y="T5"/>
                    </a:cxn>
                    <a:cxn ang="0">
                      <a:pos x="T6" y="T7"/>
                    </a:cxn>
                    <a:cxn ang="0">
                      <a:pos x="T8" y="T9"/>
                    </a:cxn>
                  </a:cxnLst>
                  <a:rect l="0" t="0" r="r" b="b"/>
                  <a:pathLst>
                    <a:path w="26" h="52">
                      <a:moveTo>
                        <a:pt x="0" y="2"/>
                      </a:moveTo>
                      <a:lnTo>
                        <a:pt x="24" y="52"/>
                      </a:lnTo>
                      <a:lnTo>
                        <a:pt x="26" y="49"/>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09" name="Freeform 2055"/>
                <p:cNvSpPr>
                  <a:spLocks/>
                </p:cNvSpPr>
                <p:nvPr/>
              </p:nvSpPr>
              <p:spPr bwMode="auto">
                <a:xfrm>
                  <a:off x="11189" y="3188"/>
                  <a:ext cx="17" cy="35"/>
                </a:xfrm>
                <a:custGeom>
                  <a:avLst/>
                  <a:gdLst>
                    <a:gd name="T0" fmla="*/ 0 w 15"/>
                    <a:gd name="T1" fmla="*/ 0 h 31"/>
                    <a:gd name="T2" fmla="*/ 15 w 15"/>
                    <a:gd name="T3" fmla="*/ 31 h 31"/>
                    <a:gd name="T4" fmla="*/ 15 w 15"/>
                    <a:gd name="T5" fmla="*/ 31 h 31"/>
                    <a:gd name="T6" fmla="*/ 0 w 15"/>
                    <a:gd name="T7" fmla="*/ 0 h 31"/>
                    <a:gd name="T8" fmla="*/ 0 w 15"/>
                    <a:gd name="T9" fmla="*/ 0 h 31"/>
                  </a:gdLst>
                  <a:ahLst/>
                  <a:cxnLst>
                    <a:cxn ang="0">
                      <a:pos x="T0" y="T1"/>
                    </a:cxn>
                    <a:cxn ang="0">
                      <a:pos x="T2" y="T3"/>
                    </a:cxn>
                    <a:cxn ang="0">
                      <a:pos x="T4" y="T5"/>
                    </a:cxn>
                    <a:cxn ang="0">
                      <a:pos x="T6" y="T7"/>
                    </a:cxn>
                    <a:cxn ang="0">
                      <a:pos x="T8" y="T9"/>
                    </a:cxn>
                  </a:cxnLst>
                  <a:rect l="0" t="0" r="r" b="b"/>
                  <a:pathLst>
                    <a:path w="15" h="31">
                      <a:moveTo>
                        <a:pt x="0" y="0"/>
                      </a:moveTo>
                      <a:lnTo>
                        <a:pt x="15" y="31"/>
                      </a:lnTo>
                      <a:lnTo>
                        <a:pt x="15" y="3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10" name="Freeform 2056"/>
                <p:cNvSpPr>
                  <a:spLocks/>
                </p:cNvSpPr>
                <p:nvPr/>
              </p:nvSpPr>
              <p:spPr bwMode="auto">
                <a:xfrm>
                  <a:off x="11197" y="3188"/>
                  <a:ext cx="17" cy="35"/>
                </a:xfrm>
                <a:custGeom>
                  <a:avLst/>
                  <a:gdLst>
                    <a:gd name="T0" fmla="*/ 0 w 17"/>
                    <a:gd name="T1" fmla="*/ 0 h 34"/>
                    <a:gd name="T2" fmla="*/ 17 w 17"/>
                    <a:gd name="T3" fmla="*/ 34 h 34"/>
                    <a:gd name="T4" fmla="*/ 17 w 17"/>
                    <a:gd name="T5" fmla="*/ 34 h 34"/>
                    <a:gd name="T6" fmla="*/ 2 w 17"/>
                    <a:gd name="T7" fmla="*/ 0 h 34"/>
                    <a:gd name="T8" fmla="*/ 0 w 17"/>
                    <a:gd name="T9" fmla="*/ 0 h 34"/>
                  </a:gdLst>
                  <a:ahLst/>
                  <a:cxnLst>
                    <a:cxn ang="0">
                      <a:pos x="T0" y="T1"/>
                    </a:cxn>
                    <a:cxn ang="0">
                      <a:pos x="T2" y="T3"/>
                    </a:cxn>
                    <a:cxn ang="0">
                      <a:pos x="T4" y="T5"/>
                    </a:cxn>
                    <a:cxn ang="0">
                      <a:pos x="T6" y="T7"/>
                    </a:cxn>
                    <a:cxn ang="0">
                      <a:pos x="T8" y="T9"/>
                    </a:cxn>
                  </a:cxnLst>
                  <a:rect l="0" t="0" r="r" b="b"/>
                  <a:pathLst>
                    <a:path w="17" h="34">
                      <a:moveTo>
                        <a:pt x="0" y="0"/>
                      </a:moveTo>
                      <a:lnTo>
                        <a:pt x="17" y="34"/>
                      </a:lnTo>
                      <a:lnTo>
                        <a:pt x="17" y="3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11" name="Freeform 2057"/>
                <p:cNvSpPr>
                  <a:spLocks/>
                </p:cNvSpPr>
                <p:nvPr/>
              </p:nvSpPr>
              <p:spPr bwMode="auto">
                <a:xfrm>
                  <a:off x="11180" y="3196"/>
                  <a:ext cx="17" cy="26"/>
                </a:xfrm>
                <a:custGeom>
                  <a:avLst/>
                  <a:gdLst>
                    <a:gd name="T0" fmla="*/ 0 w 14"/>
                    <a:gd name="T1" fmla="*/ 2 h 28"/>
                    <a:gd name="T2" fmla="*/ 12 w 14"/>
                    <a:gd name="T3" fmla="*/ 28 h 28"/>
                    <a:gd name="T4" fmla="*/ 14 w 14"/>
                    <a:gd name="T5" fmla="*/ 28 h 28"/>
                    <a:gd name="T6" fmla="*/ 3 w 14"/>
                    <a:gd name="T7" fmla="*/ 0 h 28"/>
                    <a:gd name="T8" fmla="*/ 0 w 14"/>
                    <a:gd name="T9" fmla="*/ 2 h 28"/>
                  </a:gdLst>
                  <a:ahLst/>
                  <a:cxnLst>
                    <a:cxn ang="0">
                      <a:pos x="T0" y="T1"/>
                    </a:cxn>
                    <a:cxn ang="0">
                      <a:pos x="T2" y="T3"/>
                    </a:cxn>
                    <a:cxn ang="0">
                      <a:pos x="T4" y="T5"/>
                    </a:cxn>
                    <a:cxn ang="0">
                      <a:pos x="T6" y="T7"/>
                    </a:cxn>
                    <a:cxn ang="0">
                      <a:pos x="T8" y="T9"/>
                    </a:cxn>
                  </a:cxnLst>
                  <a:rect l="0" t="0" r="r" b="b"/>
                  <a:pathLst>
                    <a:path w="14" h="28">
                      <a:moveTo>
                        <a:pt x="0" y="2"/>
                      </a:moveTo>
                      <a:lnTo>
                        <a:pt x="12" y="28"/>
                      </a:lnTo>
                      <a:lnTo>
                        <a:pt x="14" y="28"/>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12" name="Freeform 2058"/>
                <p:cNvSpPr>
                  <a:spLocks/>
                </p:cNvSpPr>
                <p:nvPr/>
              </p:nvSpPr>
              <p:spPr bwMode="auto">
                <a:xfrm>
                  <a:off x="11222" y="3161"/>
                  <a:ext cx="33" cy="52"/>
                </a:xfrm>
                <a:custGeom>
                  <a:avLst/>
                  <a:gdLst>
                    <a:gd name="T0" fmla="*/ 0 w 28"/>
                    <a:gd name="T1" fmla="*/ 2 h 54"/>
                    <a:gd name="T2" fmla="*/ 28 w 28"/>
                    <a:gd name="T3" fmla="*/ 54 h 54"/>
                    <a:gd name="T4" fmla="*/ 28 w 28"/>
                    <a:gd name="T5" fmla="*/ 54 h 54"/>
                    <a:gd name="T6" fmla="*/ 0 w 28"/>
                    <a:gd name="T7" fmla="*/ 0 h 54"/>
                    <a:gd name="T8" fmla="*/ 0 w 28"/>
                    <a:gd name="T9" fmla="*/ 2 h 54"/>
                  </a:gdLst>
                  <a:ahLst/>
                  <a:cxnLst>
                    <a:cxn ang="0">
                      <a:pos x="T0" y="T1"/>
                    </a:cxn>
                    <a:cxn ang="0">
                      <a:pos x="T2" y="T3"/>
                    </a:cxn>
                    <a:cxn ang="0">
                      <a:pos x="T4" y="T5"/>
                    </a:cxn>
                    <a:cxn ang="0">
                      <a:pos x="T6" y="T7"/>
                    </a:cxn>
                    <a:cxn ang="0">
                      <a:pos x="T8" y="T9"/>
                    </a:cxn>
                  </a:cxnLst>
                  <a:rect l="0" t="0" r="r" b="b"/>
                  <a:pathLst>
                    <a:path w="28" h="54">
                      <a:moveTo>
                        <a:pt x="0" y="2"/>
                      </a:moveTo>
                      <a:lnTo>
                        <a:pt x="28" y="54"/>
                      </a:lnTo>
                      <a:lnTo>
                        <a:pt x="28" y="5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13" name="Freeform 2059"/>
                <p:cNvSpPr>
                  <a:spLocks/>
                </p:cNvSpPr>
                <p:nvPr/>
              </p:nvSpPr>
              <p:spPr bwMode="auto">
                <a:xfrm>
                  <a:off x="11205" y="3170"/>
                  <a:ext cx="25" cy="52"/>
                </a:xfrm>
                <a:custGeom>
                  <a:avLst/>
                  <a:gdLst>
                    <a:gd name="T0" fmla="*/ 0 w 23"/>
                    <a:gd name="T1" fmla="*/ 2 h 43"/>
                    <a:gd name="T2" fmla="*/ 21 w 23"/>
                    <a:gd name="T3" fmla="*/ 43 h 43"/>
                    <a:gd name="T4" fmla="*/ 23 w 23"/>
                    <a:gd name="T5" fmla="*/ 43 h 43"/>
                    <a:gd name="T6" fmla="*/ 2 w 23"/>
                    <a:gd name="T7" fmla="*/ 0 h 43"/>
                    <a:gd name="T8" fmla="*/ 0 w 23"/>
                    <a:gd name="T9" fmla="*/ 2 h 43"/>
                  </a:gdLst>
                  <a:ahLst/>
                  <a:cxnLst>
                    <a:cxn ang="0">
                      <a:pos x="T0" y="T1"/>
                    </a:cxn>
                    <a:cxn ang="0">
                      <a:pos x="T2" y="T3"/>
                    </a:cxn>
                    <a:cxn ang="0">
                      <a:pos x="T4" y="T5"/>
                    </a:cxn>
                    <a:cxn ang="0">
                      <a:pos x="T6" y="T7"/>
                    </a:cxn>
                    <a:cxn ang="0">
                      <a:pos x="T8" y="T9"/>
                    </a:cxn>
                  </a:cxnLst>
                  <a:rect l="0" t="0" r="r" b="b"/>
                  <a:pathLst>
                    <a:path w="23" h="43">
                      <a:moveTo>
                        <a:pt x="0" y="2"/>
                      </a:moveTo>
                      <a:lnTo>
                        <a:pt x="21" y="43"/>
                      </a:lnTo>
                      <a:lnTo>
                        <a:pt x="23" y="43"/>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14" name="Freeform 2060"/>
                <p:cNvSpPr>
                  <a:spLocks/>
                </p:cNvSpPr>
                <p:nvPr/>
              </p:nvSpPr>
              <p:spPr bwMode="auto">
                <a:xfrm>
                  <a:off x="11247" y="3135"/>
                  <a:ext cx="42" cy="70"/>
                </a:xfrm>
                <a:custGeom>
                  <a:avLst/>
                  <a:gdLst>
                    <a:gd name="T0" fmla="*/ 0 w 42"/>
                    <a:gd name="T1" fmla="*/ 0 h 70"/>
                    <a:gd name="T2" fmla="*/ 42 w 42"/>
                    <a:gd name="T3" fmla="*/ 70 h 70"/>
                    <a:gd name="T4" fmla="*/ 42 w 42"/>
                    <a:gd name="T5" fmla="*/ 70 h 70"/>
                    <a:gd name="T6" fmla="*/ 2 w 42"/>
                    <a:gd name="T7" fmla="*/ 0 h 70"/>
                    <a:gd name="T8" fmla="*/ 0 w 42"/>
                    <a:gd name="T9" fmla="*/ 0 h 70"/>
                  </a:gdLst>
                  <a:ahLst/>
                  <a:cxnLst>
                    <a:cxn ang="0">
                      <a:pos x="T0" y="T1"/>
                    </a:cxn>
                    <a:cxn ang="0">
                      <a:pos x="T2" y="T3"/>
                    </a:cxn>
                    <a:cxn ang="0">
                      <a:pos x="T4" y="T5"/>
                    </a:cxn>
                    <a:cxn ang="0">
                      <a:pos x="T6" y="T7"/>
                    </a:cxn>
                    <a:cxn ang="0">
                      <a:pos x="T8" y="T9"/>
                    </a:cxn>
                  </a:cxnLst>
                  <a:rect l="0" t="0" r="r" b="b"/>
                  <a:pathLst>
                    <a:path w="42" h="70">
                      <a:moveTo>
                        <a:pt x="0" y="0"/>
                      </a:moveTo>
                      <a:lnTo>
                        <a:pt x="42" y="70"/>
                      </a:lnTo>
                      <a:lnTo>
                        <a:pt x="42" y="7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15" name="Freeform 2061"/>
                <p:cNvSpPr>
                  <a:spLocks/>
                </p:cNvSpPr>
                <p:nvPr/>
              </p:nvSpPr>
              <p:spPr bwMode="auto">
                <a:xfrm>
                  <a:off x="11230" y="3153"/>
                  <a:ext cx="33" cy="61"/>
                </a:xfrm>
                <a:custGeom>
                  <a:avLst/>
                  <a:gdLst>
                    <a:gd name="T0" fmla="*/ 0 w 33"/>
                    <a:gd name="T1" fmla="*/ 2 h 59"/>
                    <a:gd name="T2" fmla="*/ 31 w 33"/>
                    <a:gd name="T3" fmla="*/ 59 h 59"/>
                    <a:gd name="T4" fmla="*/ 33 w 33"/>
                    <a:gd name="T5" fmla="*/ 59 h 59"/>
                    <a:gd name="T6" fmla="*/ 2 w 33"/>
                    <a:gd name="T7" fmla="*/ 0 h 59"/>
                    <a:gd name="T8" fmla="*/ 0 w 33"/>
                    <a:gd name="T9" fmla="*/ 2 h 59"/>
                  </a:gdLst>
                  <a:ahLst/>
                  <a:cxnLst>
                    <a:cxn ang="0">
                      <a:pos x="T0" y="T1"/>
                    </a:cxn>
                    <a:cxn ang="0">
                      <a:pos x="T2" y="T3"/>
                    </a:cxn>
                    <a:cxn ang="0">
                      <a:pos x="T4" y="T5"/>
                    </a:cxn>
                    <a:cxn ang="0">
                      <a:pos x="T6" y="T7"/>
                    </a:cxn>
                    <a:cxn ang="0">
                      <a:pos x="T8" y="T9"/>
                    </a:cxn>
                  </a:cxnLst>
                  <a:rect l="0" t="0" r="r" b="b"/>
                  <a:pathLst>
                    <a:path w="33" h="59">
                      <a:moveTo>
                        <a:pt x="0" y="2"/>
                      </a:moveTo>
                      <a:lnTo>
                        <a:pt x="31" y="59"/>
                      </a:lnTo>
                      <a:lnTo>
                        <a:pt x="33" y="59"/>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16" name="Freeform 2062"/>
                <p:cNvSpPr>
                  <a:spLocks/>
                </p:cNvSpPr>
                <p:nvPr/>
              </p:nvSpPr>
              <p:spPr bwMode="auto">
                <a:xfrm>
                  <a:off x="11255" y="3135"/>
                  <a:ext cx="42" cy="70"/>
                </a:xfrm>
                <a:custGeom>
                  <a:avLst/>
                  <a:gdLst>
                    <a:gd name="T0" fmla="*/ 0 w 45"/>
                    <a:gd name="T1" fmla="*/ 0 h 73"/>
                    <a:gd name="T2" fmla="*/ 45 w 45"/>
                    <a:gd name="T3" fmla="*/ 73 h 73"/>
                    <a:gd name="T4" fmla="*/ 45 w 45"/>
                    <a:gd name="T5" fmla="*/ 73 h 73"/>
                    <a:gd name="T6" fmla="*/ 3 w 45"/>
                    <a:gd name="T7" fmla="*/ 0 h 73"/>
                    <a:gd name="T8" fmla="*/ 0 w 45"/>
                    <a:gd name="T9" fmla="*/ 0 h 73"/>
                  </a:gdLst>
                  <a:ahLst/>
                  <a:cxnLst>
                    <a:cxn ang="0">
                      <a:pos x="T0" y="T1"/>
                    </a:cxn>
                    <a:cxn ang="0">
                      <a:pos x="T2" y="T3"/>
                    </a:cxn>
                    <a:cxn ang="0">
                      <a:pos x="T4" y="T5"/>
                    </a:cxn>
                    <a:cxn ang="0">
                      <a:pos x="T6" y="T7"/>
                    </a:cxn>
                    <a:cxn ang="0">
                      <a:pos x="T8" y="T9"/>
                    </a:cxn>
                  </a:cxnLst>
                  <a:rect l="0" t="0" r="r" b="b"/>
                  <a:pathLst>
                    <a:path w="45" h="73">
                      <a:moveTo>
                        <a:pt x="0" y="0"/>
                      </a:moveTo>
                      <a:lnTo>
                        <a:pt x="45" y="73"/>
                      </a:lnTo>
                      <a:lnTo>
                        <a:pt x="45" y="73"/>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17" name="Freeform 2063"/>
                <p:cNvSpPr>
                  <a:spLocks/>
                </p:cNvSpPr>
                <p:nvPr/>
              </p:nvSpPr>
              <p:spPr bwMode="auto">
                <a:xfrm>
                  <a:off x="11264" y="3127"/>
                  <a:ext cx="50" cy="70"/>
                </a:xfrm>
                <a:custGeom>
                  <a:avLst/>
                  <a:gdLst>
                    <a:gd name="T0" fmla="*/ 0 w 52"/>
                    <a:gd name="T1" fmla="*/ 3 h 78"/>
                    <a:gd name="T2" fmla="*/ 50 w 52"/>
                    <a:gd name="T3" fmla="*/ 78 h 78"/>
                    <a:gd name="T4" fmla="*/ 52 w 52"/>
                    <a:gd name="T5" fmla="*/ 78 h 78"/>
                    <a:gd name="T6" fmla="*/ 2 w 52"/>
                    <a:gd name="T7" fmla="*/ 0 h 78"/>
                    <a:gd name="T8" fmla="*/ 0 w 52"/>
                    <a:gd name="T9" fmla="*/ 3 h 78"/>
                  </a:gdLst>
                  <a:ahLst/>
                  <a:cxnLst>
                    <a:cxn ang="0">
                      <a:pos x="T0" y="T1"/>
                    </a:cxn>
                    <a:cxn ang="0">
                      <a:pos x="T2" y="T3"/>
                    </a:cxn>
                    <a:cxn ang="0">
                      <a:pos x="T4" y="T5"/>
                    </a:cxn>
                    <a:cxn ang="0">
                      <a:pos x="T6" y="T7"/>
                    </a:cxn>
                    <a:cxn ang="0">
                      <a:pos x="T8" y="T9"/>
                    </a:cxn>
                  </a:cxnLst>
                  <a:rect l="0" t="0" r="r" b="b"/>
                  <a:pathLst>
                    <a:path w="52" h="78">
                      <a:moveTo>
                        <a:pt x="0" y="3"/>
                      </a:moveTo>
                      <a:lnTo>
                        <a:pt x="50" y="78"/>
                      </a:lnTo>
                      <a:lnTo>
                        <a:pt x="52" y="78"/>
                      </a:lnTo>
                      <a:lnTo>
                        <a:pt x="2"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18" name="Freeform 2064"/>
                <p:cNvSpPr>
                  <a:spLocks/>
                </p:cNvSpPr>
                <p:nvPr/>
              </p:nvSpPr>
              <p:spPr bwMode="auto">
                <a:xfrm>
                  <a:off x="11255" y="3135"/>
                  <a:ext cx="50" cy="70"/>
                </a:xfrm>
                <a:custGeom>
                  <a:avLst/>
                  <a:gdLst>
                    <a:gd name="T0" fmla="*/ 0 w 50"/>
                    <a:gd name="T1" fmla="*/ 2 h 76"/>
                    <a:gd name="T2" fmla="*/ 47 w 50"/>
                    <a:gd name="T3" fmla="*/ 76 h 76"/>
                    <a:gd name="T4" fmla="*/ 50 w 50"/>
                    <a:gd name="T5" fmla="*/ 76 h 76"/>
                    <a:gd name="T6" fmla="*/ 3 w 50"/>
                    <a:gd name="T7" fmla="*/ 0 h 76"/>
                    <a:gd name="T8" fmla="*/ 0 w 50"/>
                    <a:gd name="T9" fmla="*/ 2 h 76"/>
                  </a:gdLst>
                  <a:ahLst/>
                  <a:cxnLst>
                    <a:cxn ang="0">
                      <a:pos x="T0" y="T1"/>
                    </a:cxn>
                    <a:cxn ang="0">
                      <a:pos x="T2" y="T3"/>
                    </a:cxn>
                    <a:cxn ang="0">
                      <a:pos x="T4" y="T5"/>
                    </a:cxn>
                    <a:cxn ang="0">
                      <a:pos x="T6" y="T7"/>
                    </a:cxn>
                    <a:cxn ang="0">
                      <a:pos x="T8" y="T9"/>
                    </a:cxn>
                  </a:cxnLst>
                  <a:rect l="0" t="0" r="r" b="b"/>
                  <a:pathLst>
                    <a:path w="50" h="76">
                      <a:moveTo>
                        <a:pt x="0" y="2"/>
                      </a:moveTo>
                      <a:lnTo>
                        <a:pt x="47" y="76"/>
                      </a:lnTo>
                      <a:lnTo>
                        <a:pt x="50" y="76"/>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19" name="Freeform 2065"/>
                <p:cNvSpPr>
                  <a:spLocks/>
                </p:cNvSpPr>
                <p:nvPr/>
              </p:nvSpPr>
              <p:spPr bwMode="auto">
                <a:xfrm>
                  <a:off x="11239" y="3144"/>
                  <a:ext cx="42" cy="70"/>
                </a:xfrm>
                <a:custGeom>
                  <a:avLst/>
                  <a:gdLst>
                    <a:gd name="T0" fmla="*/ 0 w 40"/>
                    <a:gd name="T1" fmla="*/ 0 h 69"/>
                    <a:gd name="T2" fmla="*/ 38 w 40"/>
                    <a:gd name="T3" fmla="*/ 69 h 69"/>
                    <a:gd name="T4" fmla="*/ 40 w 40"/>
                    <a:gd name="T5" fmla="*/ 66 h 69"/>
                    <a:gd name="T6" fmla="*/ 2 w 40"/>
                    <a:gd name="T7" fmla="*/ 0 h 69"/>
                    <a:gd name="T8" fmla="*/ 0 w 40"/>
                    <a:gd name="T9" fmla="*/ 0 h 69"/>
                  </a:gdLst>
                  <a:ahLst/>
                  <a:cxnLst>
                    <a:cxn ang="0">
                      <a:pos x="T0" y="T1"/>
                    </a:cxn>
                    <a:cxn ang="0">
                      <a:pos x="T2" y="T3"/>
                    </a:cxn>
                    <a:cxn ang="0">
                      <a:pos x="T4" y="T5"/>
                    </a:cxn>
                    <a:cxn ang="0">
                      <a:pos x="T6" y="T7"/>
                    </a:cxn>
                    <a:cxn ang="0">
                      <a:pos x="T8" y="T9"/>
                    </a:cxn>
                  </a:cxnLst>
                  <a:rect l="0" t="0" r="r" b="b"/>
                  <a:pathLst>
                    <a:path w="40" h="69">
                      <a:moveTo>
                        <a:pt x="0" y="0"/>
                      </a:moveTo>
                      <a:lnTo>
                        <a:pt x="38" y="69"/>
                      </a:lnTo>
                      <a:lnTo>
                        <a:pt x="40" y="6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0" name="Freeform 2066"/>
                <p:cNvSpPr>
                  <a:spLocks/>
                </p:cNvSpPr>
                <p:nvPr/>
              </p:nvSpPr>
              <p:spPr bwMode="auto">
                <a:xfrm>
                  <a:off x="11239" y="3153"/>
                  <a:ext cx="25" cy="61"/>
                </a:xfrm>
                <a:custGeom>
                  <a:avLst/>
                  <a:gdLst>
                    <a:gd name="T0" fmla="*/ 0 w 35"/>
                    <a:gd name="T1" fmla="*/ 0 h 61"/>
                    <a:gd name="T2" fmla="*/ 33 w 35"/>
                    <a:gd name="T3" fmla="*/ 61 h 61"/>
                    <a:gd name="T4" fmla="*/ 35 w 35"/>
                    <a:gd name="T5" fmla="*/ 59 h 61"/>
                    <a:gd name="T6" fmla="*/ 2 w 35"/>
                    <a:gd name="T7" fmla="*/ 0 h 61"/>
                    <a:gd name="T8" fmla="*/ 0 w 35"/>
                    <a:gd name="T9" fmla="*/ 0 h 61"/>
                  </a:gdLst>
                  <a:ahLst/>
                  <a:cxnLst>
                    <a:cxn ang="0">
                      <a:pos x="T0" y="T1"/>
                    </a:cxn>
                    <a:cxn ang="0">
                      <a:pos x="T2" y="T3"/>
                    </a:cxn>
                    <a:cxn ang="0">
                      <a:pos x="T4" y="T5"/>
                    </a:cxn>
                    <a:cxn ang="0">
                      <a:pos x="T6" y="T7"/>
                    </a:cxn>
                    <a:cxn ang="0">
                      <a:pos x="T8" y="T9"/>
                    </a:cxn>
                  </a:cxnLst>
                  <a:rect l="0" t="0" r="r" b="b"/>
                  <a:pathLst>
                    <a:path w="35" h="61">
                      <a:moveTo>
                        <a:pt x="0" y="0"/>
                      </a:moveTo>
                      <a:lnTo>
                        <a:pt x="33" y="61"/>
                      </a:lnTo>
                      <a:lnTo>
                        <a:pt x="35" y="5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1" name="Freeform 2067"/>
                <p:cNvSpPr>
                  <a:spLocks/>
                </p:cNvSpPr>
                <p:nvPr/>
              </p:nvSpPr>
              <p:spPr bwMode="auto">
                <a:xfrm>
                  <a:off x="11239" y="3144"/>
                  <a:ext cx="33" cy="70"/>
                </a:xfrm>
                <a:custGeom>
                  <a:avLst/>
                  <a:gdLst>
                    <a:gd name="T0" fmla="*/ 0 w 38"/>
                    <a:gd name="T1" fmla="*/ 0 h 64"/>
                    <a:gd name="T2" fmla="*/ 36 w 38"/>
                    <a:gd name="T3" fmla="*/ 64 h 64"/>
                    <a:gd name="T4" fmla="*/ 38 w 38"/>
                    <a:gd name="T5" fmla="*/ 64 h 64"/>
                    <a:gd name="T6" fmla="*/ 3 w 38"/>
                    <a:gd name="T7" fmla="*/ 0 h 64"/>
                    <a:gd name="T8" fmla="*/ 0 w 38"/>
                    <a:gd name="T9" fmla="*/ 0 h 64"/>
                  </a:gdLst>
                  <a:ahLst/>
                  <a:cxnLst>
                    <a:cxn ang="0">
                      <a:pos x="T0" y="T1"/>
                    </a:cxn>
                    <a:cxn ang="0">
                      <a:pos x="T2" y="T3"/>
                    </a:cxn>
                    <a:cxn ang="0">
                      <a:pos x="T4" y="T5"/>
                    </a:cxn>
                    <a:cxn ang="0">
                      <a:pos x="T6" y="T7"/>
                    </a:cxn>
                    <a:cxn ang="0">
                      <a:pos x="T8" y="T9"/>
                    </a:cxn>
                  </a:cxnLst>
                  <a:rect l="0" t="0" r="r" b="b"/>
                  <a:pathLst>
                    <a:path w="38" h="64">
                      <a:moveTo>
                        <a:pt x="0" y="0"/>
                      </a:moveTo>
                      <a:lnTo>
                        <a:pt x="36" y="64"/>
                      </a:lnTo>
                      <a:lnTo>
                        <a:pt x="38" y="64"/>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2" name="Freeform 2068"/>
                <p:cNvSpPr>
                  <a:spLocks/>
                </p:cNvSpPr>
                <p:nvPr/>
              </p:nvSpPr>
              <p:spPr bwMode="auto">
                <a:xfrm>
                  <a:off x="11205" y="3179"/>
                  <a:ext cx="17" cy="44"/>
                </a:xfrm>
                <a:custGeom>
                  <a:avLst/>
                  <a:gdLst>
                    <a:gd name="T0" fmla="*/ 0 w 21"/>
                    <a:gd name="T1" fmla="*/ 0 h 38"/>
                    <a:gd name="T2" fmla="*/ 19 w 21"/>
                    <a:gd name="T3" fmla="*/ 38 h 38"/>
                    <a:gd name="T4" fmla="*/ 21 w 21"/>
                    <a:gd name="T5" fmla="*/ 38 h 38"/>
                    <a:gd name="T6" fmla="*/ 2 w 21"/>
                    <a:gd name="T7" fmla="*/ 0 h 38"/>
                    <a:gd name="T8" fmla="*/ 0 w 21"/>
                    <a:gd name="T9" fmla="*/ 0 h 38"/>
                  </a:gdLst>
                  <a:ahLst/>
                  <a:cxnLst>
                    <a:cxn ang="0">
                      <a:pos x="T0" y="T1"/>
                    </a:cxn>
                    <a:cxn ang="0">
                      <a:pos x="T2" y="T3"/>
                    </a:cxn>
                    <a:cxn ang="0">
                      <a:pos x="T4" y="T5"/>
                    </a:cxn>
                    <a:cxn ang="0">
                      <a:pos x="T6" y="T7"/>
                    </a:cxn>
                    <a:cxn ang="0">
                      <a:pos x="T8" y="T9"/>
                    </a:cxn>
                  </a:cxnLst>
                  <a:rect l="0" t="0" r="r" b="b"/>
                  <a:pathLst>
                    <a:path w="21" h="38">
                      <a:moveTo>
                        <a:pt x="0" y="0"/>
                      </a:moveTo>
                      <a:lnTo>
                        <a:pt x="19" y="38"/>
                      </a:lnTo>
                      <a:lnTo>
                        <a:pt x="21" y="3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3" name="Freeform 2069"/>
                <p:cNvSpPr>
                  <a:spLocks/>
                </p:cNvSpPr>
                <p:nvPr/>
              </p:nvSpPr>
              <p:spPr bwMode="auto">
                <a:xfrm>
                  <a:off x="11105" y="3222"/>
                  <a:ext cx="8" cy="17"/>
                </a:xfrm>
                <a:custGeom>
                  <a:avLst/>
                  <a:gdLst>
                    <a:gd name="T0" fmla="*/ 0 w 5"/>
                    <a:gd name="T1" fmla="*/ 0 h 12"/>
                    <a:gd name="T2" fmla="*/ 5 w 5"/>
                    <a:gd name="T3" fmla="*/ 12 h 12"/>
                    <a:gd name="T4" fmla="*/ 5 w 5"/>
                    <a:gd name="T5" fmla="*/ 10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0"/>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4" name="Freeform 2070"/>
                <p:cNvSpPr>
                  <a:spLocks/>
                </p:cNvSpPr>
                <p:nvPr/>
              </p:nvSpPr>
              <p:spPr bwMode="auto">
                <a:xfrm>
                  <a:off x="11114" y="3222"/>
                  <a:ext cx="8" cy="17"/>
                </a:xfrm>
                <a:custGeom>
                  <a:avLst/>
                  <a:gdLst>
                    <a:gd name="T0" fmla="*/ 0 w 5"/>
                    <a:gd name="T1" fmla="*/ 0 h 12"/>
                    <a:gd name="T2" fmla="*/ 3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5" name="Freeform 2071"/>
                <p:cNvSpPr>
                  <a:spLocks/>
                </p:cNvSpPr>
                <p:nvPr/>
              </p:nvSpPr>
              <p:spPr bwMode="auto">
                <a:xfrm>
                  <a:off x="11097" y="3222"/>
                  <a:ext cx="8" cy="17"/>
                </a:xfrm>
                <a:custGeom>
                  <a:avLst/>
                  <a:gdLst>
                    <a:gd name="T0" fmla="*/ 0 w 5"/>
                    <a:gd name="T1" fmla="*/ 3 h 12"/>
                    <a:gd name="T2" fmla="*/ 5 w 5"/>
                    <a:gd name="T3" fmla="*/ 12 h 12"/>
                    <a:gd name="T4" fmla="*/ 5 w 5"/>
                    <a:gd name="T5" fmla="*/ 12 h 12"/>
                    <a:gd name="T6" fmla="*/ 3 w 5"/>
                    <a:gd name="T7" fmla="*/ 0 h 12"/>
                    <a:gd name="T8" fmla="*/ 0 w 5"/>
                    <a:gd name="T9" fmla="*/ 3 h 12"/>
                  </a:gdLst>
                  <a:ahLst/>
                  <a:cxnLst>
                    <a:cxn ang="0">
                      <a:pos x="T0" y="T1"/>
                    </a:cxn>
                    <a:cxn ang="0">
                      <a:pos x="T2" y="T3"/>
                    </a:cxn>
                    <a:cxn ang="0">
                      <a:pos x="T4" y="T5"/>
                    </a:cxn>
                    <a:cxn ang="0">
                      <a:pos x="T6" y="T7"/>
                    </a:cxn>
                    <a:cxn ang="0">
                      <a:pos x="T8" y="T9"/>
                    </a:cxn>
                  </a:cxnLst>
                  <a:rect l="0" t="0" r="r" b="b"/>
                  <a:pathLst>
                    <a:path w="5" h="12">
                      <a:moveTo>
                        <a:pt x="0" y="3"/>
                      </a:moveTo>
                      <a:lnTo>
                        <a:pt x="5" y="12"/>
                      </a:lnTo>
                      <a:lnTo>
                        <a:pt x="5" y="12"/>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26" name="Freeform 2072"/>
                <p:cNvSpPr>
                  <a:spLocks/>
                </p:cNvSpPr>
                <p:nvPr/>
              </p:nvSpPr>
              <p:spPr bwMode="auto">
                <a:xfrm>
                  <a:off x="11122" y="3222"/>
                  <a:ext cx="8" cy="9"/>
                </a:xfrm>
                <a:custGeom>
                  <a:avLst/>
                  <a:gdLst>
                    <a:gd name="T0" fmla="*/ 0 w 5"/>
                    <a:gd name="T1" fmla="*/ 0 h 12"/>
                    <a:gd name="T2" fmla="*/ 5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7" name="Freeform 2073"/>
                <p:cNvSpPr>
                  <a:spLocks/>
                </p:cNvSpPr>
                <p:nvPr/>
              </p:nvSpPr>
              <p:spPr bwMode="auto">
                <a:xfrm>
                  <a:off x="11122" y="3222"/>
                  <a:ext cx="0" cy="9"/>
                </a:xfrm>
                <a:custGeom>
                  <a:avLst/>
                  <a:gdLst>
                    <a:gd name="T0" fmla="*/ 0 w 7"/>
                    <a:gd name="T1" fmla="*/ 0 h 11"/>
                    <a:gd name="T2" fmla="*/ 5 w 7"/>
                    <a:gd name="T3" fmla="*/ 11 h 11"/>
                    <a:gd name="T4" fmla="*/ 7 w 7"/>
                    <a:gd name="T5" fmla="*/ 11 h 11"/>
                    <a:gd name="T6" fmla="*/ 3 w 7"/>
                    <a:gd name="T7" fmla="*/ 0 h 11"/>
                    <a:gd name="T8" fmla="*/ 0 w 7"/>
                    <a:gd name="T9" fmla="*/ 0 h 11"/>
                  </a:gdLst>
                  <a:ahLst/>
                  <a:cxnLst>
                    <a:cxn ang="0">
                      <a:pos x="T0" y="T1"/>
                    </a:cxn>
                    <a:cxn ang="0">
                      <a:pos x="T2" y="T3"/>
                    </a:cxn>
                    <a:cxn ang="0">
                      <a:pos x="T4" y="T5"/>
                    </a:cxn>
                    <a:cxn ang="0">
                      <a:pos x="T6" y="T7"/>
                    </a:cxn>
                    <a:cxn ang="0">
                      <a:pos x="T8" y="T9"/>
                    </a:cxn>
                  </a:cxnLst>
                  <a:rect l="0" t="0" r="r" b="b"/>
                  <a:pathLst>
                    <a:path w="7" h="11">
                      <a:moveTo>
                        <a:pt x="0" y="0"/>
                      </a:moveTo>
                      <a:lnTo>
                        <a:pt x="5" y="11"/>
                      </a:lnTo>
                      <a:lnTo>
                        <a:pt x="7" y="11"/>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8" name="Freeform 2074"/>
                <p:cNvSpPr>
                  <a:spLocks/>
                </p:cNvSpPr>
                <p:nvPr/>
              </p:nvSpPr>
              <p:spPr bwMode="auto">
                <a:xfrm>
                  <a:off x="11180" y="3196"/>
                  <a:ext cx="0" cy="26"/>
                </a:xfrm>
                <a:custGeom>
                  <a:avLst/>
                  <a:gdLst>
                    <a:gd name="T0" fmla="*/ 0 w 9"/>
                    <a:gd name="T1" fmla="*/ 0 h 19"/>
                    <a:gd name="T2" fmla="*/ 7 w 9"/>
                    <a:gd name="T3" fmla="*/ 19 h 19"/>
                    <a:gd name="T4" fmla="*/ 9 w 9"/>
                    <a:gd name="T5" fmla="*/ 19 h 19"/>
                    <a:gd name="T6" fmla="*/ 0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29" name="Freeform 2075"/>
                <p:cNvSpPr>
                  <a:spLocks/>
                </p:cNvSpPr>
                <p:nvPr/>
              </p:nvSpPr>
              <p:spPr bwMode="auto">
                <a:xfrm>
                  <a:off x="11097" y="3231"/>
                  <a:ext cx="0" cy="9"/>
                </a:xfrm>
                <a:custGeom>
                  <a:avLst/>
                  <a:gdLst>
                    <a:gd name="T0" fmla="*/ 0 w 4"/>
                    <a:gd name="T1" fmla="*/ 0 h 12"/>
                    <a:gd name="T2" fmla="*/ 2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2" y="12"/>
                      </a:lnTo>
                      <a:lnTo>
                        <a:pt x="4"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0" name="Freeform 2076"/>
                <p:cNvSpPr>
                  <a:spLocks/>
                </p:cNvSpPr>
                <p:nvPr/>
              </p:nvSpPr>
              <p:spPr bwMode="auto">
                <a:xfrm>
                  <a:off x="11089" y="3231"/>
                  <a:ext cx="0"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1" name="Freeform 2077"/>
                <p:cNvSpPr>
                  <a:spLocks/>
                </p:cNvSpPr>
                <p:nvPr/>
              </p:nvSpPr>
              <p:spPr bwMode="auto">
                <a:xfrm>
                  <a:off x="11081" y="3231"/>
                  <a:ext cx="8" cy="17"/>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2" name="Freeform 2078"/>
                <p:cNvSpPr>
                  <a:spLocks/>
                </p:cNvSpPr>
                <p:nvPr/>
              </p:nvSpPr>
              <p:spPr bwMode="auto">
                <a:xfrm>
                  <a:off x="11164" y="3205"/>
                  <a:ext cx="8" cy="17"/>
                </a:xfrm>
                <a:custGeom>
                  <a:avLst/>
                  <a:gdLst>
                    <a:gd name="T0" fmla="*/ 0 w 7"/>
                    <a:gd name="T1" fmla="*/ 2 h 16"/>
                    <a:gd name="T2" fmla="*/ 5 w 7"/>
                    <a:gd name="T3" fmla="*/ 16 h 16"/>
                    <a:gd name="T4" fmla="*/ 7 w 7"/>
                    <a:gd name="T5" fmla="*/ 16 h 16"/>
                    <a:gd name="T6" fmla="*/ 0 w 7"/>
                    <a:gd name="T7" fmla="*/ 0 h 16"/>
                    <a:gd name="T8" fmla="*/ 0 w 7"/>
                    <a:gd name="T9" fmla="*/ 2 h 16"/>
                  </a:gdLst>
                  <a:ahLst/>
                  <a:cxnLst>
                    <a:cxn ang="0">
                      <a:pos x="T0" y="T1"/>
                    </a:cxn>
                    <a:cxn ang="0">
                      <a:pos x="T2" y="T3"/>
                    </a:cxn>
                    <a:cxn ang="0">
                      <a:pos x="T4" y="T5"/>
                    </a:cxn>
                    <a:cxn ang="0">
                      <a:pos x="T6" y="T7"/>
                    </a:cxn>
                    <a:cxn ang="0">
                      <a:pos x="T8" y="T9"/>
                    </a:cxn>
                  </a:cxnLst>
                  <a:rect l="0" t="0" r="r" b="b"/>
                  <a:pathLst>
                    <a:path w="7" h="16">
                      <a:moveTo>
                        <a:pt x="0" y="2"/>
                      </a:moveTo>
                      <a:lnTo>
                        <a:pt x="5" y="16"/>
                      </a:lnTo>
                      <a:lnTo>
                        <a:pt x="7" y="1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33" name="Freeform 2079"/>
                <p:cNvSpPr>
                  <a:spLocks/>
                </p:cNvSpPr>
                <p:nvPr/>
              </p:nvSpPr>
              <p:spPr bwMode="auto">
                <a:xfrm>
                  <a:off x="11155" y="3205"/>
                  <a:ext cx="8" cy="17"/>
                </a:xfrm>
                <a:custGeom>
                  <a:avLst/>
                  <a:gdLst>
                    <a:gd name="T0" fmla="*/ 0 w 7"/>
                    <a:gd name="T1" fmla="*/ 0 h 15"/>
                    <a:gd name="T2" fmla="*/ 7 w 7"/>
                    <a:gd name="T3" fmla="*/ 15 h 15"/>
                    <a:gd name="T4" fmla="*/ 7 w 7"/>
                    <a:gd name="T5" fmla="*/ 15 h 15"/>
                    <a:gd name="T6" fmla="*/ 2 w 7"/>
                    <a:gd name="T7" fmla="*/ 0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7" y="15"/>
                      </a:lnTo>
                      <a:lnTo>
                        <a:pt x="7" y="15"/>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4" name="Freeform 2080"/>
                <p:cNvSpPr>
                  <a:spLocks/>
                </p:cNvSpPr>
                <p:nvPr/>
              </p:nvSpPr>
              <p:spPr bwMode="auto">
                <a:xfrm>
                  <a:off x="11130" y="3222"/>
                  <a:ext cx="8" cy="9"/>
                </a:xfrm>
                <a:custGeom>
                  <a:avLst/>
                  <a:gdLst>
                    <a:gd name="T0" fmla="*/ 0 w 5"/>
                    <a:gd name="T1" fmla="*/ 0 h 12"/>
                    <a:gd name="T2" fmla="*/ 3 w 5"/>
                    <a:gd name="T3" fmla="*/ 12 h 12"/>
                    <a:gd name="T4" fmla="*/ 5 w 5"/>
                    <a:gd name="T5" fmla="*/ 12 h 12"/>
                    <a:gd name="T6" fmla="*/ 3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3" y="12"/>
                      </a:lnTo>
                      <a:lnTo>
                        <a:pt x="5"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5" name="Freeform 2081"/>
                <p:cNvSpPr>
                  <a:spLocks/>
                </p:cNvSpPr>
                <p:nvPr/>
              </p:nvSpPr>
              <p:spPr bwMode="auto">
                <a:xfrm>
                  <a:off x="11172" y="3196"/>
                  <a:ext cx="8" cy="26"/>
                </a:xfrm>
                <a:custGeom>
                  <a:avLst/>
                  <a:gdLst>
                    <a:gd name="T0" fmla="*/ 0 w 9"/>
                    <a:gd name="T1" fmla="*/ 0 h 19"/>
                    <a:gd name="T2" fmla="*/ 7 w 9"/>
                    <a:gd name="T3" fmla="*/ 19 h 19"/>
                    <a:gd name="T4" fmla="*/ 9 w 9"/>
                    <a:gd name="T5" fmla="*/ 19 h 19"/>
                    <a:gd name="T6" fmla="*/ 2 w 9"/>
                    <a:gd name="T7" fmla="*/ 0 h 19"/>
                    <a:gd name="T8" fmla="*/ 0 w 9"/>
                    <a:gd name="T9" fmla="*/ 0 h 19"/>
                  </a:gdLst>
                  <a:ahLst/>
                  <a:cxnLst>
                    <a:cxn ang="0">
                      <a:pos x="T0" y="T1"/>
                    </a:cxn>
                    <a:cxn ang="0">
                      <a:pos x="T2" y="T3"/>
                    </a:cxn>
                    <a:cxn ang="0">
                      <a:pos x="T4" y="T5"/>
                    </a:cxn>
                    <a:cxn ang="0">
                      <a:pos x="T6" y="T7"/>
                    </a:cxn>
                    <a:cxn ang="0">
                      <a:pos x="T8" y="T9"/>
                    </a:cxn>
                  </a:cxnLst>
                  <a:rect l="0" t="0" r="r" b="b"/>
                  <a:pathLst>
                    <a:path w="9" h="19">
                      <a:moveTo>
                        <a:pt x="0" y="0"/>
                      </a:moveTo>
                      <a:lnTo>
                        <a:pt x="7" y="19"/>
                      </a:lnTo>
                      <a:lnTo>
                        <a:pt x="9"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6" name="Freeform 2082"/>
                <p:cNvSpPr>
                  <a:spLocks/>
                </p:cNvSpPr>
                <p:nvPr/>
              </p:nvSpPr>
              <p:spPr bwMode="auto">
                <a:xfrm>
                  <a:off x="11155" y="3214"/>
                  <a:ext cx="0" cy="9"/>
                </a:xfrm>
                <a:custGeom>
                  <a:avLst/>
                  <a:gdLst>
                    <a:gd name="T0" fmla="*/ 0 w 5"/>
                    <a:gd name="T1" fmla="*/ 0 h 12"/>
                    <a:gd name="T2" fmla="*/ 5 w 5"/>
                    <a:gd name="T3" fmla="*/ 12 h 12"/>
                    <a:gd name="T4" fmla="*/ 5 w 5"/>
                    <a:gd name="T5" fmla="*/ 12 h 12"/>
                    <a:gd name="T6" fmla="*/ 0 w 5"/>
                    <a:gd name="T7" fmla="*/ 0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5" y="12"/>
                      </a:lnTo>
                      <a:lnTo>
                        <a:pt x="5" y="12"/>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7" name="Freeform 2083"/>
                <p:cNvSpPr>
                  <a:spLocks/>
                </p:cNvSpPr>
                <p:nvPr/>
              </p:nvSpPr>
              <p:spPr bwMode="auto">
                <a:xfrm>
                  <a:off x="11139" y="3222"/>
                  <a:ext cx="8" cy="0"/>
                </a:xfrm>
                <a:custGeom>
                  <a:avLst/>
                  <a:gdLst>
                    <a:gd name="T0" fmla="*/ 0 w 5"/>
                    <a:gd name="T1" fmla="*/ 0 h 11"/>
                    <a:gd name="T2" fmla="*/ 0 w 5"/>
                    <a:gd name="T3" fmla="*/ 0 h 11"/>
                    <a:gd name="T4" fmla="*/ 3 w 5"/>
                    <a:gd name="T5" fmla="*/ 11 h 11"/>
                    <a:gd name="T6" fmla="*/ 5 w 5"/>
                    <a:gd name="T7" fmla="*/ 11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0" y="0"/>
                      </a:lnTo>
                      <a:lnTo>
                        <a:pt x="3" y="11"/>
                      </a:lnTo>
                      <a:lnTo>
                        <a:pt x="5" y="11"/>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8" name="Freeform 2084"/>
                <p:cNvSpPr>
                  <a:spLocks/>
                </p:cNvSpPr>
                <p:nvPr/>
              </p:nvSpPr>
              <p:spPr bwMode="auto">
                <a:xfrm>
                  <a:off x="11147" y="3214"/>
                  <a:ext cx="0" cy="9"/>
                </a:xfrm>
                <a:custGeom>
                  <a:avLst/>
                  <a:gdLst>
                    <a:gd name="T0" fmla="*/ 0 w 7"/>
                    <a:gd name="T1" fmla="*/ 0 h 12"/>
                    <a:gd name="T2" fmla="*/ 5 w 7"/>
                    <a:gd name="T3" fmla="*/ 12 h 12"/>
                    <a:gd name="T4" fmla="*/ 7 w 7"/>
                    <a:gd name="T5" fmla="*/ 12 h 12"/>
                    <a:gd name="T6" fmla="*/ 3 w 7"/>
                    <a:gd name="T7" fmla="*/ 0 h 12"/>
                    <a:gd name="T8" fmla="*/ 0 w 7"/>
                    <a:gd name="T9" fmla="*/ 0 h 12"/>
                  </a:gdLst>
                  <a:ahLst/>
                  <a:cxnLst>
                    <a:cxn ang="0">
                      <a:pos x="T0" y="T1"/>
                    </a:cxn>
                    <a:cxn ang="0">
                      <a:pos x="T2" y="T3"/>
                    </a:cxn>
                    <a:cxn ang="0">
                      <a:pos x="T4" y="T5"/>
                    </a:cxn>
                    <a:cxn ang="0">
                      <a:pos x="T6" y="T7"/>
                    </a:cxn>
                    <a:cxn ang="0">
                      <a:pos x="T8" y="T9"/>
                    </a:cxn>
                  </a:cxnLst>
                  <a:rect l="0" t="0" r="r" b="b"/>
                  <a:pathLst>
                    <a:path w="7" h="12">
                      <a:moveTo>
                        <a:pt x="0" y="0"/>
                      </a:moveTo>
                      <a:lnTo>
                        <a:pt x="5" y="12"/>
                      </a:lnTo>
                      <a:lnTo>
                        <a:pt x="7"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39" name="Freeform 2085"/>
                <p:cNvSpPr>
                  <a:spLocks/>
                </p:cNvSpPr>
                <p:nvPr/>
              </p:nvSpPr>
              <p:spPr bwMode="auto">
                <a:xfrm>
                  <a:off x="11397" y="3039"/>
                  <a:ext cx="25" cy="35"/>
                </a:xfrm>
                <a:custGeom>
                  <a:avLst/>
                  <a:gdLst>
                    <a:gd name="T0" fmla="*/ 0 w 24"/>
                    <a:gd name="T1" fmla="*/ 2 h 26"/>
                    <a:gd name="T2" fmla="*/ 24 w 24"/>
                    <a:gd name="T3" fmla="*/ 26 h 26"/>
                    <a:gd name="T4" fmla="*/ 24 w 24"/>
                    <a:gd name="T5" fmla="*/ 24 h 26"/>
                    <a:gd name="T6" fmla="*/ 0 w 24"/>
                    <a:gd name="T7" fmla="*/ 0 h 26"/>
                    <a:gd name="T8" fmla="*/ 0 w 24"/>
                    <a:gd name="T9" fmla="*/ 2 h 26"/>
                  </a:gdLst>
                  <a:ahLst/>
                  <a:cxnLst>
                    <a:cxn ang="0">
                      <a:pos x="T0" y="T1"/>
                    </a:cxn>
                    <a:cxn ang="0">
                      <a:pos x="T2" y="T3"/>
                    </a:cxn>
                    <a:cxn ang="0">
                      <a:pos x="T4" y="T5"/>
                    </a:cxn>
                    <a:cxn ang="0">
                      <a:pos x="T6" y="T7"/>
                    </a:cxn>
                    <a:cxn ang="0">
                      <a:pos x="T8" y="T9"/>
                    </a:cxn>
                  </a:cxnLst>
                  <a:rect l="0" t="0" r="r" b="b"/>
                  <a:pathLst>
                    <a:path w="24" h="26">
                      <a:moveTo>
                        <a:pt x="0" y="2"/>
                      </a:moveTo>
                      <a:lnTo>
                        <a:pt x="24" y="26"/>
                      </a:lnTo>
                      <a:lnTo>
                        <a:pt x="24" y="24"/>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40" name="Freeform 2086"/>
                <p:cNvSpPr>
                  <a:spLocks/>
                </p:cNvSpPr>
                <p:nvPr/>
              </p:nvSpPr>
              <p:spPr bwMode="auto">
                <a:xfrm>
                  <a:off x="11405" y="3039"/>
                  <a:ext cx="17" cy="26"/>
                </a:xfrm>
                <a:custGeom>
                  <a:avLst/>
                  <a:gdLst>
                    <a:gd name="T0" fmla="*/ 0 w 21"/>
                    <a:gd name="T1" fmla="*/ 0 h 21"/>
                    <a:gd name="T2" fmla="*/ 21 w 21"/>
                    <a:gd name="T3" fmla="*/ 21 h 21"/>
                    <a:gd name="T4" fmla="*/ 21 w 21"/>
                    <a:gd name="T5" fmla="*/ 19 h 21"/>
                    <a:gd name="T6" fmla="*/ 2 w 21"/>
                    <a:gd name="T7" fmla="*/ 0 h 21"/>
                    <a:gd name="T8" fmla="*/ 0 w 21"/>
                    <a:gd name="T9" fmla="*/ 0 h 21"/>
                  </a:gdLst>
                  <a:ahLst/>
                  <a:cxnLst>
                    <a:cxn ang="0">
                      <a:pos x="T0" y="T1"/>
                    </a:cxn>
                    <a:cxn ang="0">
                      <a:pos x="T2" y="T3"/>
                    </a:cxn>
                    <a:cxn ang="0">
                      <a:pos x="T4" y="T5"/>
                    </a:cxn>
                    <a:cxn ang="0">
                      <a:pos x="T6" y="T7"/>
                    </a:cxn>
                    <a:cxn ang="0">
                      <a:pos x="T8" y="T9"/>
                    </a:cxn>
                  </a:cxnLst>
                  <a:rect l="0" t="0" r="r" b="b"/>
                  <a:pathLst>
                    <a:path w="21" h="21">
                      <a:moveTo>
                        <a:pt x="0" y="0"/>
                      </a:moveTo>
                      <a:lnTo>
                        <a:pt x="21" y="21"/>
                      </a:lnTo>
                      <a:lnTo>
                        <a:pt x="21" y="19"/>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1" name="Freeform 2087"/>
                <p:cNvSpPr>
                  <a:spLocks/>
                </p:cNvSpPr>
                <p:nvPr/>
              </p:nvSpPr>
              <p:spPr bwMode="auto">
                <a:xfrm>
                  <a:off x="11463" y="2987"/>
                  <a:ext cx="8" cy="0"/>
                </a:xfrm>
                <a:custGeom>
                  <a:avLst/>
                  <a:gdLst>
                    <a:gd name="T0" fmla="*/ 0 w 12"/>
                    <a:gd name="T1" fmla="*/ 0 h 7"/>
                    <a:gd name="T2" fmla="*/ 10 w 12"/>
                    <a:gd name="T3" fmla="*/ 7 h 7"/>
                    <a:gd name="T4" fmla="*/ 12 w 12"/>
                    <a:gd name="T5" fmla="*/ 7 h 7"/>
                    <a:gd name="T6" fmla="*/ 3 w 12"/>
                    <a:gd name="T7" fmla="*/ 0 h 7"/>
                    <a:gd name="T8" fmla="*/ 0 w 12"/>
                    <a:gd name="T9" fmla="*/ 0 h 7"/>
                  </a:gdLst>
                  <a:ahLst/>
                  <a:cxnLst>
                    <a:cxn ang="0">
                      <a:pos x="T0" y="T1"/>
                    </a:cxn>
                    <a:cxn ang="0">
                      <a:pos x="T2" y="T3"/>
                    </a:cxn>
                    <a:cxn ang="0">
                      <a:pos x="T4" y="T5"/>
                    </a:cxn>
                    <a:cxn ang="0">
                      <a:pos x="T6" y="T7"/>
                    </a:cxn>
                    <a:cxn ang="0">
                      <a:pos x="T8" y="T9"/>
                    </a:cxn>
                  </a:cxnLst>
                  <a:rect l="0" t="0" r="r" b="b"/>
                  <a:pathLst>
                    <a:path w="12" h="7">
                      <a:moveTo>
                        <a:pt x="0" y="0"/>
                      </a:moveTo>
                      <a:lnTo>
                        <a:pt x="10" y="7"/>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2" name="Freeform 2088"/>
                <p:cNvSpPr>
                  <a:spLocks/>
                </p:cNvSpPr>
                <p:nvPr/>
              </p:nvSpPr>
              <p:spPr bwMode="auto">
                <a:xfrm>
                  <a:off x="11405" y="3039"/>
                  <a:ext cx="25" cy="17"/>
                </a:xfrm>
                <a:custGeom>
                  <a:avLst/>
                  <a:gdLst>
                    <a:gd name="T0" fmla="*/ 0 w 22"/>
                    <a:gd name="T1" fmla="*/ 0 h 19"/>
                    <a:gd name="T2" fmla="*/ 19 w 22"/>
                    <a:gd name="T3" fmla="*/ 19 h 19"/>
                    <a:gd name="T4" fmla="*/ 22 w 22"/>
                    <a:gd name="T5" fmla="*/ 17 h 19"/>
                    <a:gd name="T6" fmla="*/ 3 w 22"/>
                    <a:gd name="T7" fmla="*/ 0 h 19"/>
                    <a:gd name="T8" fmla="*/ 0 w 22"/>
                    <a:gd name="T9" fmla="*/ 0 h 19"/>
                  </a:gdLst>
                  <a:ahLst/>
                  <a:cxnLst>
                    <a:cxn ang="0">
                      <a:pos x="T0" y="T1"/>
                    </a:cxn>
                    <a:cxn ang="0">
                      <a:pos x="T2" y="T3"/>
                    </a:cxn>
                    <a:cxn ang="0">
                      <a:pos x="T4" y="T5"/>
                    </a:cxn>
                    <a:cxn ang="0">
                      <a:pos x="T6" y="T7"/>
                    </a:cxn>
                    <a:cxn ang="0">
                      <a:pos x="T8" y="T9"/>
                    </a:cxn>
                  </a:cxnLst>
                  <a:rect l="0" t="0" r="r" b="b"/>
                  <a:pathLst>
                    <a:path w="22" h="19">
                      <a:moveTo>
                        <a:pt x="0" y="0"/>
                      </a:moveTo>
                      <a:lnTo>
                        <a:pt x="19" y="19"/>
                      </a:lnTo>
                      <a:lnTo>
                        <a:pt x="22" y="1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3" name="Freeform 2089"/>
                <p:cNvSpPr>
                  <a:spLocks/>
                </p:cNvSpPr>
                <p:nvPr/>
              </p:nvSpPr>
              <p:spPr bwMode="auto">
                <a:xfrm>
                  <a:off x="11413" y="3031"/>
                  <a:ext cx="17" cy="17"/>
                </a:xfrm>
                <a:custGeom>
                  <a:avLst/>
                  <a:gdLst>
                    <a:gd name="T0" fmla="*/ 0 w 16"/>
                    <a:gd name="T1" fmla="*/ 3 h 17"/>
                    <a:gd name="T2" fmla="*/ 16 w 16"/>
                    <a:gd name="T3" fmla="*/ 17 h 17"/>
                    <a:gd name="T4" fmla="*/ 16 w 16"/>
                    <a:gd name="T5" fmla="*/ 17 h 17"/>
                    <a:gd name="T6" fmla="*/ 0 w 16"/>
                    <a:gd name="T7" fmla="*/ 0 h 17"/>
                    <a:gd name="T8" fmla="*/ 0 w 16"/>
                    <a:gd name="T9" fmla="*/ 3 h 17"/>
                  </a:gdLst>
                  <a:ahLst/>
                  <a:cxnLst>
                    <a:cxn ang="0">
                      <a:pos x="T0" y="T1"/>
                    </a:cxn>
                    <a:cxn ang="0">
                      <a:pos x="T2" y="T3"/>
                    </a:cxn>
                    <a:cxn ang="0">
                      <a:pos x="T4" y="T5"/>
                    </a:cxn>
                    <a:cxn ang="0">
                      <a:pos x="T6" y="T7"/>
                    </a:cxn>
                    <a:cxn ang="0">
                      <a:pos x="T8" y="T9"/>
                    </a:cxn>
                  </a:cxnLst>
                  <a:rect l="0" t="0" r="r" b="b"/>
                  <a:pathLst>
                    <a:path w="16" h="17">
                      <a:moveTo>
                        <a:pt x="0" y="3"/>
                      </a:moveTo>
                      <a:lnTo>
                        <a:pt x="16" y="17"/>
                      </a:lnTo>
                      <a:lnTo>
                        <a:pt x="16" y="17"/>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44" name="Freeform 2090"/>
                <p:cNvSpPr>
                  <a:spLocks/>
                </p:cNvSpPr>
                <p:nvPr/>
              </p:nvSpPr>
              <p:spPr bwMode="auto">
                <a:xfrm>
                  <a:off x="11380" y="3057"/>
                  <a:ext cx="25" cy="35"/>
                </a:xfrm>
                <a:custGeom>
                  <a:avLst/>
                  <a:gdLst>
                    <a:gd name="T0" fmla="*/ 0 w 33"/>
                    <a:gd name="T1" fmla="*/ 0 h 33"/>
                    <a:gd name="T2" fmla="*/ 33 w 33"/>
                    <a:gd name="T3" fmla="*/ 33 h 33"/>
                    <a:gd name="T4" fmla="*/ 33 w 33"/>
                    <a:gd name="T5" fmla="*/ 33 h 33"/>
                    <a:gd name="T6" fmla="*/ 2 w 33"/>
                    <a:gd name="T7" fmla="*/ 0 h 33"/>
                    <a:gd name="T8" fmla="*/ 0 w 33"/>
                    <a:gd name="T9" fmla="*/ 0 h 33"/>
                  </a:gdLst>
                  <a:ahLst/>
                  <a:cxnLst>
                    <a:cxn ang="0">
                      <a:pos x="T0" y="T1"/>
                    </a:cxn>
                    <a:cxn ang="0">
                      <a:pos x="T2" y="T3"/>
                    </a:cxn>
                    <a:cxn ang="0">
                      <a:pos x="T4" y="T5"/>
                    </a:cxn>
                    <a:cxn ang="0">
                      <a:pos x="T6" y="T7"/>
                    </a:cxn>
                    <a:cxn ang="0">
                      <a:pos x="T8" y="T9"/>
                    </a:cxn>
                  </a:cxnLst>
                  <a:rect l="0" t="0" r="r" b="b"/>
                  <a:pathLst>
                    <a:path w="33" h="33">
                      <a:moveTo>
                        <a:pt x="0" y="0"/>
                      </a:moveTo>
                      <a:lnTo>
                        <a:pt x="33" y="33"/>
                      </a:lnTo>
                      <a:lnTo>
                        <a:pt x="33" y="33"/>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5" name="Freeform 2091"/>
                <p:cNvSpPr>
                  <a:spLocks/>
                </p:cNvSpPr>
                <p:nvPr/>
              </p:nvSpPr>
              <p:spPr bwMode="auto">
                <a:xfrm>
                  <a:off x="11422" y="3031"/>
                  <a:ext cx="17" cy="9"/>
                </a:xfrm>
                <a:custGeom>
                  <a:avLst/>
                  <a:gdLst>
                    <a:gd name="T0" fmla="*/ 0 w 14"/>
                    <a:gd name="T1" fmla="*/ 0 h 14"/>
                    <a:gd name="T2" fmla="*/ 14 w 14"/>
                    <a:gd name="T3" fmla="*/ 14 h 14"/>
                    <a:gd name="T4" fmla="*/ 14 w 14"/>
                    <a:gd name="T5" fmla="*/ 12 h 14"/>
                    <a:gd name="T6" fmla="*/ 3 w 14"/>
                    <a:gd name="T7" fmla="*/ 0 h 14"/>
                    <a:gd name="T8" fmla="*/ 0 w 14"/>
                    <a:gd name="T9" fmla="*/ 0 h 14"/>
                  </a:gdLst>
                  <a:ahLst/>
                  <a:cxnLst>
                    <a:cxn ang="0">
                      <a:pos x="T0" y="T1"/>
                    </a:cxn>
                    <a:cxn ang="0">
                      <a:pos x="T2" y="T3"/>
                    </a:cxn>
                    <a:cxn ang="0">
                      <a:pos x="T4" y="T5"/>
                    </a:cxn>
                    <a:cxn ang="0">
                      <a:pos x="T6" y="T7"/>
                    </a:cxn>
                    <a:cxn ang="0">
                      <a:pos x="T8" y="T9"/>
                    </a:cxn>
                  </a:cxnLst>
                  <a:rect l="0" t="0" r="r" b="b"/>
                  <a:pathLst>
                    <a:path w="14" h="14">
                      <a:moveTo>
                        <a:pt x="0" y="0"/>
                      </a:moveTo>
                      <a:lnTo>
                        <a:pt x="14" y="14"/>
                      </a:lnTo>
                      <a:lnTo>
                        <a:pt x="14" y="12"/>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6" name="Freeform 2092"/>
                <p:cNvSpPr>
                  <a:spLocks/>
                </p:cNvSpPr>
                <p:nvPr/>
              </p:nvSpPr>
              <p:spPr bwMode="auto">
                <a:xfrm>
                  <a:off x="11388" y="3048"/>
                  <a:ext cx="33" cy="26"/>
                </a:xfrm>
                <a:custGeom>
                  <a:avLst/>
                  <a:gdLst>
                    <a:gd name="T0" fmla="*/ 0 w 28"/>
                    <a:gd name="T1" fmla="*/ 0 h 26"/>
                    <a:gd name="T2" fmla="*/ 26 w 28"/>
                    <a:gd name="T3" fmla="*/ 26 h 26"/>
                    <a:gd name="T4" fmla="*/ 28 w 28"/>
                    <a:gd name="T5" fmla="*/ 26 h 26"/>
                    <a:gd name="T6" fmla="*/ 2 w 28"/>
                    <a:gd name="T7" fmla="*/ 0 h 26"/>
                    <a:gd name="T8" fmla="*/ 0 w 28"/>
                    <a:gd name="T9" fmla="*/ 0 h 26"/>
                  </a:gdLst>
                  <a:ahLst/>
                  <a:cxnLst>
                    <a:cxn ang="0">
                      <a:pos x="T0" y="T1"/>
                    </a:cxn>
                    <a:cxn ang="0">
                      <a:pos x="T2" y="T3"/>
                    </a:cxn>
                    <a:cxn ang="0">
                      <a:pos x="T4" y="T5"/>
                    </a:cxn>
                    <a:cxn ang="0">
                      <a:pos x="T6" y="T7"/>
                    </a:cxn>
                    <a:cxn ang="0">
                      <a:pos x="T8" y="T9"/>
                    </a:cxn>
                  </a:cxnLst>
                  <a:rect l="0" t="0" r="r" b="b"/>
                  <a:pathLst>
                    <a:path w="28" h="26">
                      <a:moveTo>
                        <a:pt x="0" y="0"/>
                      </a:moveTo>
                      <a:lnTo>
                        <a:pt x="26" y="26"/>
                      </a:lnTo>
                      <a:lnTo>
                        <a:pt x="28" y="26"/>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7" name="Freeform 2093"/>
                <p:cNvSpPr>
                  <a:spLocks/>
                </p:cNvSpPr>
                <p:nvPr/>
              </p:nvSpPr>
              <p:spPr bwMode="auto">
                <a:xfrm>
                  <a:off x="11380" y="3048"/>
                  <a:ext cx="33" cy="35"/>
                </a:xfrm>
                <a:custGeom>
                  <a:avLst/>
                  <a:gdLst>
                    <a:gd name="T0" fmla="*/ 0 w 29"/>
                    <a:gd name="T1" fmla="*/ 3 h 31"/>
                    <a:gd name="T2" fmla="*/ 29 w 29"/>
                    <a:gd name="T3" fmla="*/ 31 h 31"/>
                    <a:gd name="T4" fmla="*/ 29 w 29"/>
                    <a:gd name="T5" fmla="*/ 31 h 31"/>
                    <a:gd name="T6" fmla="*/ 0 w 29"/>
                    <a:gd name="T7" fmla="*/ 0 h 31"/>
                    <a:gd name="T8" fmla="*/ 0 w 29"/>
                    <a:gd name="T9" fmla="*/ 3 h 31"/>
                  </a:gdLst>
                  <a:ahLst/>
                  <a:cxnLst>
                    <a:cxn ang="0">
                      <a:pos x="T0" y="T1"/>
                    </a:cxn>
                    <a:cxn ang="0">
                      <a:pos x="T2" y="T3"/>
                    </a:cxn>
                    <a:cxn ang="0">
                      <a:pos x="T4" y="T5"/>
                    </a:cxn>
                    <a:cxn ang="0">
                      <a:pos x="T6" y="T7"/>
                    </a:cxn>
                    <a:cxn ang="0">
                      <a:pos x="T8" y="T9"/>
                    </a:cxn>
                  </a:cxnLst>
                  <a:rect l="0" t="0" r="r" b="b"/>
                  <a:pathLst>
                    <a:path w="29" h="31">
                      <a:moveTo>
                        <a:pt x="0" y="3"/>
                      </a:moveTo>
                      <a:lnTo>
                        <a:pt x="29" y="31"/>
                      </a:lnTo>
                      <a:lnTo>
                        <a:pt x="29" y="31"/>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48" name="Freeform 2094"/>
                <p:cNvSpPr>
                  <a:spLocks/>
                </p:cNvSpPr>
                <p:nvPr/>
              </p:nvSpPr>
              <p:spPr bwMode="auto">
                <a:xfrm>
                  <a:off x="11438" y="3005"/>
                  <a:ext cx="17" cy="9"/>
                </a:xfrm>
                <a:custGeom>
                  <a:avLst/>
                  <a:gdLst>
                    <a:gd name="T0" fmla="*/ 0 w 9"/>
                    <a:gd name="T1" fmla="*/ 0 h 7"/>
                    <a:gd name="T2" fmla="*/ 9 w 9"/>
                    <a:gd name="T3" fmla="*/ 7 h 7"/>
                    <a:gd name="T4" fmla="*/ 9 w 9"/>
                    <a:gd name="T5" fmla="*/ 7 h 7"/>
                    <a:gd name="T6" fmla="*/ 2 w 9"/>
                    <a:gd name="T7" fmla="*/ 0 h 7"/>
                    <a:gd name="T8" fmla="*/ 0 w 9"/>
                    <a:gd name="T9" fmla="*/ 0 h 7"/>
                  </a:gdLst>
                  <a:ahLst/>
                  <a:cxnLst>
                    <a:cxn ang="0">
                      <a:pos x="T0" y="T1"/>
                    </a:cxn>
                    <a:cxn ang="0">
                      <a:pos x="T2" y="T3"/>
                    </a:cxn>
                    <a:cxn ang="0">
                      <a:pos x="T4" y="T5"/>
                    </a:cxn>
                    <a:cxn ang="0">
                      <a:pos x="T6" y="T7"/>
                    </a:cxn>
                    <a:cxn ang="0">
                      <a:pos x="T8" y="T9"/>
                    </a:cxn>
                  </a:cxnLst>
                  <a:rect l="0" t="0" r="r" b="b"/>
                  <a:pathLst>
                    <a:path w="9" h="7">
                      <a:moveTo>
                        <a:pt x="0" y="0"/>
                      </a:moveTo>
                      <a:lnTo>
                        <a:pt x="9" y="7"/>
                      </a:lnTo>
                      <a:lnTo>
                        <a:pt x="9"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49" name="Freeform 2095"/>
                <p:cNvSpPr>
                  <a:spLocks/>
                </p:cNvSpPr>
                <p:nvPr/>
              </p:nvSpPr>
              <p:spPr bwMode="auto">
                <a:xfrm>
                  <a:off x="11380" y="3057"/>
                  <a:ext cx="25" cy="44"/>
                </a:xfrm>
                <a:custGeom>
                  <a:avLst/>
                  <a:gdLst>
                    <a:gd name="T0" fmla="*/ 0 w 36"/>
                    <a:gd name="T1" fmla="*/ 0 h 38"/>
                    <a:gd name="T2" fmla="*/ 33 w 36"/>
                    <a:gd name="T3" fmla="*/ 38 h 38"/>
                    <a:gd name="T4" fmla="*/ 36 w 36"/>
                    <a:gd name="T5" fmla="*/ 36 h 38"/>
                    <a:gd name="T6" fmla="*/ 0 w 36"/>
                    <a:gd name="T7" fmla="*/ 0 h 38"/>
                    <a:gd name="T8" fmla="*/ 0 w 36"/>
                    <a:gd name="T9" fmla="*/ 0 h 38"/>
                  </a:gdLst>
                  <a:ahLst/>
                  <a:cxnLst>
                    <a:cxn ang="0">
                      <a:pos x="T0" y="T1"/>
                    </a:cxn>
                    <a:cxn ang="0">
                      <a:pos x="T2" y="T3"/>
                    </a:cxn>
                    <a:cxn ang="0">
                      <a:pos x="T4" y="T5"/>
                    </a:cxn>
                    <a:cxn ang="0">
                      <a:pos x="T6" y="T7"/>
                    </a:cxn>
                    <a:cxn ang="0">
                      <a:pos x="T8" y="T9"/>
                    </a:cxn>
                  </a:cxnLst>
                  <a:rect l="0" t="0" r="r" b="b"/>
                  <a:pathLst>
                    <a:path w="36" h="38">
                      <a:moveTo>
                        <a:pt x="0" y="0"/>
                      </a:moveTo>
                      <a:lnTo>
                        <a:pt x="33" y="38"/>
                      </a:lnTo>
                      <a:lnTo>
                        <a:pt x="36" y="36"/>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0" name="Freeform 2096"/>
                <p:cNvSpPr>
                  <a:spLocks/>
                </p:cNvSpPr>
                <p:nvPr/>
              </p:nvSpPr>
              <p:spPr bwMode="auto">
                <a:xfrm>
                  <a:off x="11455" y="2996"/>
                  <a:ext cx="8" cy="9"/>
                </a:xfrm>
                <a:custGeom>
                  <a:avLst/>
                  <a:gdLst>
                    <a:gd name="T0" fmla="*/ 0 w 10"/>
                    <a:gd name="T1" fmla="*/ 3 h 10"/>
                    <a:gd name="T2" fmla="*/ 10 w 10"/>
                    <a:gd name="T3" fmla="*/ 10 h 10"/>
                    <a:gd name="T4" fmla="*/ 10 w 10"/>
                    <a:gd name="T5" fmla="*/ 8 h 10"/>
                    <a:gd name="T6" fmla="*/ 0 w 10"/>
                    <a:gd name="T7" fmla="*/ 0 h 10"/>
                    <a:gd name="T8" fmla="*/ 0 w 10"/>
                    <a:gd name="T9" fmla="*/ 3 h 10"/>
                  </a:gdLst>
                  <a:ahLst/>
                  <a:cxnLst>
                    <a:cxn ang="0">
                      <a:pos x="T0" y="T1"/>
                    </a:cxn>
                    <a:cxn ang="0">
                      <a:pos x="T2" y="T3"/>
                    </a:cxn>
                    <a:cxn ang="0">
                      <a:pos x="T4" y="T5"/>
                    </a:cxn>
                    <a:cxn ang="0">
                      <a:pos x="T6" y="T7"/>
                    </a:cxn>
                    <a:cxn ang="0">
                      <a:pos x="T8" y="T9"/>
                    </a:cxn>
                  </a:cxnLst>
                  <a:rect l="0" t="0" r="r" b="b"/>
                  <a:pathLst>
                    <a:path w="10" h="10">
                      <a:moveTo>
                        <a:pt x="0" y="3"/>
                      </a:moveTo>
                      <a:lnTo>
                        <a:pt x="10" y="10"/>
                      </a:lnTo>
                      <a:lnTo>
                        <a:pt x="10" y="8"/>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51" name="Freeform 2097"/>
                <p:cNvSpPr>
                  <a:spLocks/>
                </p:cNvSpPr>
                <p:nvPr/>
              </p:nvSpPr>
              <p:spPr bwMode="auto">
                <a:xfrm>
                  <a:off x="11272" y="3118"/>
                  <a:ext cx="50" cy="78"/>
                </a:xfrm>
                <a:custGeom>
                  <a:avLst/>
                  <a:gdLst>
                    <a:gd name="T0" fmla="*/ 0 w 52"/>
                    <a:gd name="T1" fmla="*/ 0 h 81"/>
                    <a:gd name="T2" fmla="*/ 52 w 52"/>
                    <a:gd name="T3" fmla="*/ 81 h 81"/>
                    <a:gd name="T4" fmla="*/ 52 w 52"/>
                    <a:gd name="T5" fmla="*/ 81 h 81"/>
                    <a:gd name="T6" fmla="*/ 0 w 52"/>
                    <a:gd name="T7" fmla="*/ 0 h 81"/>
                    <a:gd name="T8" fmla="*/ 0 w 52"/>
                    <a:gd name="T9" fmla="*/ 0 h 81"/>
                  </a:gdLst>
                  <a:ahLst/>
                  <a:cxnLst>
                    <a:cxn ang="0">
                      <a:pos x="T0" y="T1"/>
                    </a:cxn>
                    <a:cxn ang="0">
                      <a:pos x="T2" y="T3"/>
                    </a:cxn>
                    <a:cxn ang="0">
                      <a:pos x="T4" y="T5"/>
                    </a:cxn>
                    <a:cxn ang="0">
                      <a:pos x="T6" y="T7"/>
                    </a:cxn>
                    <a:cxn ang="0">
                      <a:pos x="T8" y="T9"/>
                    </a:cxn>
                  </a:cxnLst>
                  <a:rect l="0" t="0" r="r" b="b"/>
                  <a:pathLst>
                    <a:path w="52" h="81">
                      <a:moveTo>
                        <a:pt x="0" y="0"/>
                      </a:moveTo>
                      <a:lnTo>
                        <a:pt x="52" y="81"/>
                      </a:lnTo>
                      <a:lnTo>
                        <a:pt x="52"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2" name="Freeform 2098"/>
                <p:cNvSpPr>
                  <a:spLocks/>
                </p:cNvSpPr>
                <p:nvPr/>
              </p:nvSpPr>
              <p:spPr bwMode="auto">
                <a:xfrm>
                  <a:off x="11455" y="2987"/>
                  <a:ext cx="8" cy="9"/>
                </a:xfrm>
                <a:custGeom>
                  <a:avLst/>
                  <a:gdLst>
                    <a:gd name="T0" fmla="*/ 0 w 9"/>
                    <a:gd name="T1" fmla="*/ 2 h 9"/>
                    <a:gd name="T2" fmla="*/ 7 w 9"/>
                    <a:gd name="T3" fmla="*/ 9 h 9"/>
                    <a:gd name="T4" fmla="*/ 9 w 9"/>
                    <a:gd name="T5" fmla="*/ 7 h 9"/>
                    <a:gd name="T6" fmla="*/ 0 w 9"/>
                    <a:gd name="T7" fmla="*/ 0 h 9"/>
                    <a:gd name="T8" fmla="*/ 0 w 9"/>
                    <a:gd name="T9" fmla="*/ 2 h 9"/>
                  </a:gdLst>
                  <a:ahLst/>
                  <a:cxnLst>
                    <a:cxn ang="0">
                      <a:pos x="T0" y="T1"/>
                    </a:cxn>
                    <a:cxn ang="0">
                      <a:pos x="T2" y="T3"/>
                    </a:cxn>
                    <a:cxn ang="0">
                      <a:pos x="T4" y="T5"/>
                    </a:cxn>
                    <a:cxn ang="0">
                      <a:pos x="T6" y="T7"/>
                    </a:cxn>
                    <a:cxn ang="0">
                      <a:pos x="T8" y="T9"/>
                    </a:cxn>
                  </a:cxnLst>
                  <a:rect l="0" t="0" r="r" b="b"/>
                  <a:pathLst>
                    <a:path w="9" h="9">
                      <a:moveTo>
                        <a:pt x="0" y="2"/>
                      </a:moveTo>
                      <a:lnTo>
                        <a:pt x="7" y="9"/>
                      </a:lnTo>
                      <a:lnTo>
                        <a:pt x="9" y="7"/>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53" name="Freeform 2099"/>
                <p:cNvSpPr>
                  <a:spLocks/>
                </p:cNvSpPr>
                <p:nvPr/>
              </p:nvSpPr>
              <p:spPr bwMode="auto">
                <a:xfrm>
                  <a:off x="11438" y="3013"/>
                  <a:ext cx="8" cy="9"/>
                </a:xfrm>
                <a:custGeom>
                  <a:avLst/>
                  <a:gdLst>
                    <a:gd name="T0" fmla="*/ 0 w 12"/>
                    <a:gd name="T1" fmla="*/ 0 h 9"/>
                    <a:gd name="T2" fmla="*/ 12 w 12"/>
                    <a:gd name="T3" fmla="*/ 9 h 9"/>
                    <a:gd name="T4" fmla="*/ 12 w 12"/>
                    <a:gd name="T5" fmla="*/ 7 h 9"/>
                    <a:gd name="T6" fmla="*/ 3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2" y="9"/>
                      </a:lnTo>
                      <a:lnTo>
                        <a:pt x="12" y="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4" name="Freeform 2100"/>
                <p:cNvSpPr>
                  <a:spLocks/>
                </p:cNvSpPr>
                <p:nvPr/>
              </p:nvSpPr>
              <p:spPr bwMode="auto">
                <a:xfrm>
                  <a:off x="11430" y="3013"/>
                  <a:ext cx="8" cy="17"/>
                </a:xfrm>
                <a:custGeom>
                  <a:avLst/>
                  <a:gdLst>
                    <a:gd name="T0" fmla="*/ 0 w 11"/>
                    <a:gd name="T1" fmla="*/ 0 h 10"/>
                    <a:gd name="T2" fmla="*/ 11 w 11"/>
                    <a:gd name="T3" fmla="*/ 10 h 10"/>
                    <a:gd name="T4" fmla="*/ 11 w 11"/>
                    <a:gd name="T5" fmla="*/ 10 h 10"/>
                    <a:gd name="T6" fmla="*/ 2 w 11"/>
                    <a:gd name="T7" fmla="*/ 0 h 10"/>
                    <a:gd name="T8" fmla="*/ 0 w 11"/>
                    <a:gd name="T9" fmla="*/ 0 h 10"/>
                  </a:gdLst>
                  <a:ahLst/>
                  <a:cxnLst>
                    <a:cxn ang="0">
                      <a:pos x="T0" y="T1"/>
                    </a:cxn>
                    <a:cxn ang="0">
                      <a:pos x="T2" y="T3"/>
                    </a:cxn>
                    <a:cxn ang="0">
                      <a:pos x="T4" y="T5"/>
                    </a:cxn>
                    <a:cxn ang="0">
                      <a:pos x="T6" y="T7"/>
                    </a:cxn>
                    <a:cxn ang="0">
                      <a:pos x="T8" y="T9"/>
                    </a:cxn>
                  </a:cxnLst>
                  <a:rect l="0" t="0" r="r" b="b"/>
                  <a:pathLst>
                    <a:path w="11" h="10">
                      <a:moveTo>
                        <a:pt x="0" y="0"/>
                      </a:moveTo>
                      <a:lnTo>
                        <a:pt x="11" y="10"/>
                      </a:lnTo>
                      <a:lnTo>
                        <a:pt x="11"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5" name="Freeform 2101"/>
                <p:cNvSpPr>
                  <a:spLocks/>
                </p:cNvSpPr>
                <p:nvPr/>
              </p:nvSpPr>
              <p:spPr bwMode="auto">
                <a:xfrm>
                  <a:off x="11438" y="3013"/>
                  <a:ext cx="8" cy="0"/>
                </a:xfrm>
                <a:custGeom>
                  <a:avLst/>
                  <a:gdLst>
                    <a:gd name="T0" fmla="*/ 0 w 12"/>
                    <a:gd name="T1" fmla="*/ 0 h 9"/>
                    <a:gd name="T2" fmla="*/ 10 w 12"/>
                    <a:gd name="T3" fmla="*/ 9 h 9"/>
                    <a:gd name="T4" fmla="*/ 12 w 12"/>
                    <a:gd name="T5" fmla="*/ 7 h 9"/>
                    <a:gd name="T6" fmla="*/ 2 w 12"/>
                    <a:gd name="T7" fmla="*/ 0 h 9"/>
                    <a:gd name="T8" fmla="*/ 0 w 12"/>
                    <a:gd name="T9" fmla="*/ 0 h 9"/>
                  </a:gdLst>
                  <a:ahLst/>
                  <a:cxnLst>
                    <a:cxn ang="0">
                      <a:pos x="T0" y="T1"/>
                    </a:cxn>
                    <a:cxn ang="0">
                      <a:pos x="T2" y="T3"/>
                    </a:cxn>
                    <a:cxn ang="0">
                      <a:pos x="T4" y="T5"/>
                    </a:cxn>
                    <a:cxn ang="0">
                      <a:pos x="T6" y="T7"/>
                    </a:cxn>
                    <a:cxn ang="0">
                      <a:pos x="T8" y="T9"/>
                    </a:cxn>
                  </a:cxnLst>
                  <a:rect l="0" t="0" r="r" b="b"/>
                  <a:pathLst>
                    <a:path w="12" h="9">
                      <a:moveTo>
                        <a:pt x="0" y="0"/>
                      </a:moveTo>
                      <a:lnTo>
                        <a:pt x="10" y="9"/>
                      </a:lnTo>
                      <a:lnTo>
                        <a:pt x="12" y="7"/>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6" name="Freeform 2102"/>
                <p:cNvSpPr>
                  <a:spLocks/>
                </p:cNvSpPr>
                <p:nvPr/>
              </p:nvSpPr>
              <p:spPr bwMode="auto">
                <a:xfrm>
                  <a:off x="11422" y="3022"/>
                  <a:ext cx="17" cy="17"/>
                </a:xfrm>
                <a:custGeom>
                  <a:avLst/>
                  <a:gdLst>
                    <a:gd name="T0" fmla="*/ 0 w 14"/>
                    <a:gd name="T1" fmla="*/ 0 h 12"/>
                    <a:gd name="T2" fmla="*/ 12 w 14"/>
                    <a:gd name="T3" fmla="*/ 12 h 12"/>
                    <a:gd name="T4" fmla="*/ 14 w 14"/>
                    <a:gd name="T5" fmla="*/ 10 h 12"/>
                    <a:gd name="T6" fmla="*/ 2 w 14"/>
                    <a:gd name="T7" fmla="*/ 0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12" y="12"/>
                      </a:lnTo>
                      <a:lnTo>
                        <a:pt x="14" y="10"/>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57" name="Freeform 2103"/>
                <p:cNvSpPr>
                  <a:spLocks/>
                </p:cNvSpPr>
                <p:nvPr/>
              </p:nvSpPr>
              <p:spPr bwMode="auto">
                <a:xfrm>
                  <a:off x="11447" y="2996"/>
                  <a:ext cx="8" cy="17"/>
                </a:xfrm>
                <a:custGeom>
                  <a:avLst/>
                  <a:gdLst>
                    <a:gd name="T0" fmla="*/ 0 w 9"/>
                    <a:gd name="T1" fmla="*/ 3 h 10"/>
                    <a:gd name="T2" fmla="*/ 9 w 9"/>
                    <a:gd name="T3" fmla="*/ 10 h 10"/>
                    <a:gd name="T4" fmla="*/ 9 w 9"/>
                    <a:gd name="T5" fmla="*/ 10 h 10"/>
                    <a:gd name="T6" fmla="*/ 0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9" y="10"/>
                      </a:lnTo>
                      <a:lnTo>
                        <a:pt x="9" y="10"/>
                      </a:lnTo>
                      <a:lnTo>
                        <a:pt x="0"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58" name="Freeform 2104"/>
                <p:cNvSpPr>
                  <a:spLocks/>
                </p:cNvSpPr>
                <p:nvPr/>
              </p:nvSpPr>
              <p:spPr bwMode="auto">
                <a:xfrm>
                  <a:off x="11305" y="3092"/>
                  <a:ext cx="58" cy="70"/>
                </a:xfrm>
                <a:custGeom>
                  <a:avLst/>
                  <a:gdLst>
                    <a:gd name="T0" fmla="*/ 0 w 59"/>
                    <a:gd name="T1" fmla="*/ 3 h 76"/>
                    <a:gd name="T2" fmla="*/ 57 w 59"/>
                    <a:gd name="T3" fmla="*/ 76 h 76"/>
                    <a:gd name="T4" fmla="*/ 59 w 59"/>
                    <a:gd name="T5" fmla="*/ 76 h 76"/>
                    <a:gd name="T6" fmla="*/ 3 w 59"/>
                    <a:gd name="T7" fmla="*/ 0 h 76"/>
                    <a:gd name="T8" fmla="*/ 0 w 59"/>
                    <a:gd name="T9" fmla="*/ 3 h 76"/>
                  </a:gdLst>
                  <a:ahLst/>
                  <a:cxnLst>
                    <a:cxn ang="0">
                      <a:pos x="T0" y="T1"/>
                    </a:cxn>
                    <a:cxn ang="0">
                      <a:pos x="T2" y="T3"/>
                    </a:cxn>
                    <a:cxn ang="0">
                      <a:pos x="T4" y="T5"/>
                    </a:cxn>
                    <a:cxn ang="0">
                      <a:pos x="T6" y="T7"/>
                    </a:cxn>
                    <a:cxn ang="0">
                      <a:pos x="T8" y="T9"/>
                    </a:cxn>
                  </a:cxnLst>
                  <a:rect l="0" t="0" r="r" b="b"/>
                  <a:pathLst>
                    <a:path w="59" h="76">
                      <a:moveTo>
                        <a:pt x="0" y="3"/>
                      </a:moveTo>
                      <a:lnTo>
                        <a:pt x="57" y="76"/>
                      </a:lnTo>
                      <a:lnTo>
                        <a:pt x="59" y="76"/>
                      </a:lnTo>
                      <a:lnTo>
                        <a:pt x="3" y="0"/>
                      </a:lnTo>
                      <a:lnTo>
                        <a:pt x="0" y="3"/>
                      </a:lnTo>
                      <a:close/>
                    </a:path>
                  </a:pathLst>
                </a:custGeom>
                <a:solidFill>
                  <a:srgbClr val="01AAE5"/>
                </a:solidFill>
                <a:ln>
                  <a:noFill/>
                </a:ln>
                <a:extLst/>
              </p:spPr>
              <p:txBody>
                <a:bodyPr/>
                <a:lstStyle/>
                <a:p>
                  <a:pPr eaLnBrk="1" hangingPunct="1">
                    <a:defRPr/>
                  </a:pPr>
                  <a:endParaRPr lang="zh-CN" altLang="en-US" sz="1050"/>
                </a:p>
              </p:txBody>
            </p:sp>
            <p:sp>
              <p:nvSpPr>
                <p:cNvPr id="3659" name="Freeform 2105"/>
                <p:cNvSpPr>
                  <a:spLocks/>
                </p:cNvSpPr>
                <p:nvPr/>
              </p:nvSpPr>
              <p:spPr bwMode="auto">
                <a:xfrm>
                  <a:off x="11305" y="3100"/>
                  <a:ext cx="50" cy="70"/>
                </a:xfrm>
                <a:custGeom>
                  <a:avLst/>
                  <a:gdLst>
                    <a:gd name="T0" fmla="*/ 0 w 57"/>
                    <a:gd name="T1" fmla="*/ 0 h 76"/>
                    <a:gd name="T2" fmla="*/ 57 w 57"/>
                    <a:gd name="T3" fmla="*/ 76 h 76"/>
                    <a:gd name="T4" fmla="*/ 57 w 57"/>
                    <a:gd name="T5" fmla="*/ 76 h 76"/>
                    <a:gd name="T6" fmla="*/ 3 w 57"/>
                    <a:gd name="T7" fmla="*/ 0 h 76"/>
                    <a:gd name="T8" fmla="*/ 0 w 57"/>
                    <a:gd name="T9" fmla="*/ 0 h 76"/>
                  </a:gdLst>
                  <a:ahLst/>
                  <a:cxnLst>
                    <a:cxn ang="0">
                      <a:pos x="T0" y="T1"/>
                    </a:cxn>
                    <a:cxn ang="0">
                      <a:pos x="T2" y="T3"/>
                    </a:cxn>
                    <a:cxn ang="0">
                      <a:pos x="T4" y="T5"/>
                    </a:cxn>
                    <a:cxn ang="0">
                      <a:pos x="T6" y="T7"/>
                    </a:cxn>
                    <a:cxn ang="0">
                      <a:pos x="T8" y="T9"/>
                    </a:cxn>
                  </a:cxnLst>
                  <a:rect l="0" t="0" r="r" b="b"/>
                  <a:pathLst>
                    <a:path w="57" h="76">
                      <a:moveTo>
                        <a:pt x="0" y="0"/>
                      </a:moveTo>
                      <a:lnTo>
                        <a:pt x="57" y="76"/>
                      </a:lnTo>
                      <a:lnTo>
                        <a:pt x="57" y="76"/>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60" name="Freeform 2106"/>
                <p:cNvSpPr>
                  <a:spLocks/>
                </p:cNvSpPr>
                <p:nvPr/>
              </p:nvSpPr>
              <p:spPr bwMode="auto">
                <a:xfrm>
                  <a:off x="11313" y="3092"/>
                  <a:ext cx="58" cy="70"/>
                </a:xfrm>
                <a:custGeom>
                  <a:avLst/>
                  <a:gdLst>
                    <a:gd name="T0" fmla="*/ 0 w 57"/>
                    <a:gd name="T1" fmla="*/ 0 h 73"/>
                    <a:gd name="T2" fmla="*/ 55 w 57"/>
                    <a:gd name="T3" fmla="*/ 73 h 73"/>
                    <a:gd name="T4" fmla="*/ 57 w 57"/>
                    <a:gd name="T5" fmla="*/ 71 h 73"/>
                    <a:gd name="T6" fmla="*/ 0 w 57"/>
                    <a:gd name="T7" fmla="*/ 0 h 73"/>
                    <a:gd name="T8" fmla="*/ 0 w 57"/>
                    <a:gd name="T9" fmla="*/ 0 h 73"/>
                  </a:gdLst>
                  <a:ahLst/>
                  <a:cxnLst>
                    <a:cxn ang="0">
                      <a:pos x="T0" y="T1"/>
                    </a:cxn>
                    <a:cxn ang="0">
                      <a:pos x="T2" y="T3"/>
                    </a:cxn>
                    <a:cxn ang="0">
                      <a:pos x="T4" y="T5"/>
                    </a:cxn>
                    <a:cxn ang="0">
                      <a:pos x="T6" y="T7"/>
                    </a:cxn>
                    <a:cxn ang="0">
                      <a:pos x="T8" y="T9"/>
                    </a:cxn>
                  </a:cxnLst>
                  <a:rect l="0" t="0" r="r" b="b"/>
                  <a:pathLst>
                    <a:path w="57" h="73">
                      <a:moveTo>
                        <a:pt x="0" y="0"/>
                      </a:moveTo>
                      <a:lnTo>
                        <a:pt x="55" y="73"/>
                      </a:lnTo>
                      <a:lnTo>
                        <a:pt x="57" y="7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61" name="Freeform 2107"/>
                <p:cNvSpPr>
                  <a:spLocks/>
                </p:cNvSpPr>
                <p:nvPr/>
              </p:nvSpPr>
              <p:spPr bwMode="auto">
                <a:xfrm>
                  <a:off x="11297" y="3100"/>
                  <a:ext cx="58" cy="78"/>
                </a:xfrm>
                <a:custGeom>
                  <a:avLst/>
                  <a:gdLst>
                    <a:gd name="T0" fmla="*/ 0 w 56"/>
                    <a:gd name="T1" fmla="*/ 0 h 81"/>
                    <a:gd name="T2" fmla="*/ 56 w 56"/>
                    <a:gd name="T3" fmla="*/ 81 h 81"/>
                    <a:gd name="T4" fmla="*/ 56 w 56"/>
                    <a:gd name="T5" fmla="*/ 78 h 81"/>
                    <a:gd name="T6" fmla="*/ 0 w 56"/>
                    <a:gd name="T7" fmla="*/ 0 h 81"/>
                    <a:gd name="T8" fmla="*/ 0 w 56"/>
                    <a:gd name="T9" fmla="*/ 0 h 81"/>
                  </a:gdLst>
                  <a:ahLst/>
                  <a:cxnLst>
                    <a:cxn ang="0">
                      <a:pos x="T0" y="T1"/>
                    </a:cxn>
                    <a:cxn ang="0">
                      <a:pos x="T2" y="T3"/>
                    </a:cxn>
                    <a:cxn ang="0">
                      <a:pos x="T4" y="T5"/>
                    </a:cxn>
                    <a:cxn ang="0">
                      <a:pos x="T6" y="T7"/>
                    </a:cxn>
                    <a:cxn ang="0">
                      <a:pos x="T8" y="T9"/>
                    </a:cxn>
                  </a:cxnLst>
                  <a:rect l="0" t="0" r="r" b="b"/>
                  <a:pathLst>
                    <a:path w="56" h="81">
                      <a:moveTo>
                        <a:pt x="0" y="0"/>
                      </a:moveTo>
                      <a:lnTo>
                        <a:pt x="56" y="81"/>
                      </a:lnTo>
                      <a:lnTo>
                        <a:pt x="56" y="78"/>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62" name="Freeform 2108"/>
                <p:cNvSpPr>
                  <a:spLocks/>
                </p:cNvSpPr>
                <p:nvPr/>
              </p:nvSpPr>
              <p:spPr bwMode="auto">
                <a:xfrm>
                  <a:off x="11280" y="3109"/>
                  <a:ext cx="50" cy="87"/>
                </a:xfrm>
                <a:custGeom>
                  <a:avLst/>
                  <a:gdLst>
                    <a:gd name="T0" fmla="*/ 0 w 55"/>
                    <a:gd name="T1" fmla="*/ 2 h 82"/>
                    <a:gd name="T2" fmla="*/ 52 w 55"/>
                    <a:gd name="T3" fmla="*/ 82 h 82"/>
                    <a:gd name="T4" fmla="*/ 55 w 55"/>
                    <a:gd name="T5" fmla="*/ 80 h 82"/>
                    <a:gd name="T6" fmla="*/ 0 w 55"/>
                    <a:gd name="T7" fmla="*/ 0 h 82"/>
                    <a:gd name="T8" fmla="*/ 0 w 55"/>
                    <a:gd name="T9" fmla="*/ 2 h 82"/>
                  </a:gdLst>
                  <a:ahLst/>
                  <a:cxnLst>
                    <a:cxn ang="0">
                      <a:pos x="T0" y="T1"/>
                    </a:cxn>
                    <a:cxn ang="0">
                      <a:pos x="T2" y="T3"/>
                    </a:cxn>
                    <a:cxn ang="0">
                      <a:pos x="T4" y="T5"/>
                    </a:cxn>
                    <a:cxn ang="0">
                      <a:pos x="T6" y="T7"/>
                    </a:cxn>
                    <a:cxn ang="0">
                      <a:pos x="T8" y="T9"/>
                    </a:cxn>
                  </a:cxnLst>
                  <a:rect l="0" t="0" r="r" b="b"/>
                  <a:pathLst>
                    <a:path w="55" h="82">
                      <a:moveTo>
                        <a:pt x="0" y="2"/>
                      </a:moveTo>
                      <a:lnTo>
                        <a:pt x="52" y="82"/>
                      </a:lnTo>
                      <a:lnTo>
                        <a:pt x="55" y="80"/>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63" name="Freeform 2109"/>
                <p:cNvSpPr>
                  <a:spLocks/>
                </p:cNvSpPr>
                <p:nvPr/>
              </p:nvSpPr>
              <p:spPr bwMode="auto">
                <a:xfrm>
                  <a:off x="11322" y="3083"/>
                  <a:ext cx="58" cy="70"/>
                </a:xfrm>
                <a:custGeom>
                  <a:avLst/>
                  <a:gdLst>
                    <a:gd name="T0" fmla="*/ 0 w 57"/>
                    <a:gd name="T1" fmla="*/ 0 h 68"/>
                    <a:gd name="T2" fmla="*/ 54 w 57"/>
                    <a:gd name="T3" fmla="*/ 68 h 68"/>
                    <a:gd name="T4" fmla="*/ 57 w 57"/>
                    <a:gd name="T5" fmla="*/ 68 h 68"/>
                    <a:gd name="T6" fmla="*/ 2 w 57"/>
                    <a:gd name="T7" fmla="*/ 0 h 68"/>
                    <a:gd name="T8" fmla="*/ 0 w 57"/>
                    <a:gd name="T9" fmla="*/ 0 h 68"/>
                  </a:gdLst>
                  <a:ahLst/>
                  <a:cxnLst>
                    <a:cxn ang="0">
                      <a:pos x="T0" y="T1"/>
                    </a:cxn>
                    <a:cxn ang="0">
                      <a:pos x="T2" y="T3"/>
                    </a:cxn>
                    <a:cxn ang="0">
                      <a:pos x="T4" y="T5"/>
                    </a:cxn>
                    <a:cxn ang="0">
                      <a:pos x="T6" y="T7"/>
                    </a:cxn>
                    <a:cxn ang="0">
                      <a:pos x="T8" y="T9"/>
                    </a:cxn>
                  </a:cxnLst>
                  <a:rect l="0" t="0" r="r" b="b"/>
                  <a:pathLst>
                    <a:path w="57" h="68">
                      <a:moveTo>
                        <a:pt x="0" y="0"/>
                      </a:moveTo>
                      <a:lnTo>
                        <a:pt x="54" y="68"/>
                      </a:lnTo>
                      <a:lnTo>
                        <a:pt x="57" y="68"/>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64" name="Freeform 2110"/>
                <p:cNvSpPr>
                  <a:spLocks/>
                </p:cNvSpPr>
                <p:nvPr/>
              </p:nvSpPr>
              <p:spPr bwMode="auto">
                <a:xfrm>
                  <a:off x="11280" y="3109"/>
                  <a:ext cx="58" cy="87"/>
                </a:xfrm>
                <a:custGeom>
                  <a:avLst/>
                  <a:gdLst>
                    <a:gd name="T0" fmla="*/ 0 w 57"/>
                    <a:gd name="T1" fmla="*/ 0 h 81"/>
                    <a:gd name="T2" fmla="*/ 55 w 57"/>
                    <a:gd name="T3" fmla="*/ 81 h 81"/>
                    <a:gd name="T4" fmla="*/ 57 w 57"/>
                    <a:gd name="T5" fmla="*/ 81 h 81"/>
                    <a:gd name="T6" fmla="*/ 0 w 57"/>
                    <a:gd name="T7" fmla="*/ 0 h 81"/>
                    <a:gd name="T8" fmla="*/ 0 w 57"/>
                    <a:gd name="T9" fmla="*/ 0 h 81"/>
                  </a:gdLst>
                  <a:ahLst/>
                  <a:cxnLst>
                    <a:cxn ang="0">
                      <a:pos x="T0" y="T1"/>
                    </a:cxn>
                    <a:cxn ang="0">
                      <a:pos x="T2" y="T3"/>
                    </a:cxn>
                    <a:cxn ang="0">
                      <a:pos x="T4" y="T5"/>
                    </a:cxn>
                    <a:cxn ang="0">
                      <a:pos x="T6" y="T7"/>
                    </a:cxn>
                    <a:cxn ang="0">
                      <a:pos x="T8" y="T9"/>
                    </a:cxn>
                  </a:cxnLst>
                  <a:rect l="0" t="0" r="r" b="b"/>
                  <a:pathLst>
                    <a:path w="57" h="81">
                      <a:moveTo>
                        <a:pt x="0" y="0"/>
                      </a:moveTo>
                      <a:lnTo>
                        <a:pt x="55" y="81"/>
                      </a:lnTo>
                      <a:lnTo>
                        <a:pt x="57" y="81"/>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665" name="Freeform 2111"/>
                <p:cNvSpPr>
                  <a:spLocks/>
                </p:cNvSpPr>
                <p:nvPr/>
              </p:nvSpPr>
              <p:spPr bwMode="auto">
                <a:xfrm>
                  <a:off x="11363" y="3066"/>
                  <a:ext cx="42" cy="35"/>
                </a:xfrm>
                <a:custGeom>
                  <a:avLst/>
                  <a:gdLst>
                    <a:gd name="T0" fmla="*/ 0 w 38"/>
                    <a:gd name="T1" fmla="*/ 2 h 42"/>
                    <a:gd name="T2" fmla="*/ 38 w 38"/>
                    <a:gd name="T3" fmla="*/ 42 h 42"/>
                    <a:gd name="T4" fmla="*/ 38 w 38"/>
                    <a:gd name="T5" fmla="*/ 40 h 42"/>
                    <a:gd name="T6" fmla="*/ 3 w 38"/>
                    <a:gd name="T7" fmla="*/ 0 h 42"/>
                    <a:gd name="T8" fmla="*/ 0 w 38"/>
                    <a:gd name="T9" fmla="*/ 2 h 42"/>
                  </a:gdLst>
                  <a:ahLst/>
                  <a:cxnLst>
                    <a:cxn ang="0">
                      <a:pos x="T0" y="T1"/>
                    </a:cxn>
                    <a:cxn ang="0">
                      <a:pos x="T2" y="T3"/>
                    </a:cxn>
                    <a:cxn ang="0">
                      <a:pos x="T4" y="T5"/>
                    </a:cxn>
                    <a:cxn ang="0">
                      <a:pos x="T6" y="T7"/>
                    </a:cxn>
                    <a:cxn ang="0">
                      <a:pos x="T8" y="T9"/>
                    </a:cxn>
                  </a:cxnLst>
                  <a:rect l="0" t="0" r="r" b="b"/>
                  <a:pathLst>
                    <a:path w="38" h="42">
                      <a:moveTo>
                        <a:pt x="0" y="2"/>
                      </a:moveTo>
                      <a:lnTo>
                        <a:pt x="38" y="42"/>
                      </a:lnTo>
                      <a:lnTo>
                        <a:pt x="38" y="40"/>
                      </a:lnTo>
                      <a:lnTo>
                        <a:pt x="3"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66" name="Freeform 2112"/>
                <p:cNvSpPr>
                  <a:spLocks/>
                </p:cNvSpPr>
                <p:nvPr/>
              </p:nvSpPr>
              <p:spPr bwMode="auto">
                <a:xfrm>
                  <a:off x="11289" y="3100"/>
                  <a:ext cx="58" cy="87"/>
                </a:xfrm>
                <a:custGeom>
                  <a:avLst/>
                  <a:gdLst>
                    <a:gd name="T0" fmla="*/ 0 w 59"/>
                    <a:gd name="T1" fmla="*/ 2 h 82"/>
                    <a:gd name="T2" fmla="*/ 56 w 59"/>
                    <a:gd name="T3" fmla="*/ 82 h 82"/>
                    <a:gd name="T4" fmla="*/ 59 w 59"/>
                    <a:gd name="T5" fmla="*/ 80 h 82"/>
                    <a:gd name="T6" fmla="*/ 2 w 59"/>
                    <a:gd name="T7" fmla="*/ 0 h 82"/>
                    <a:gd name="T8" fmla="*/ 0 w 59"/>
                    <a:gd name="T9" fmla="*/ 2 h 82"/>
                  </a:gdLst>
                  <a:ahLst/>
                  <a:cxnLst>
                    <a:cxn ang="0">
                      <a:pos x="T0" y="T1"/>
                    </a:cxn>
                    <a:cxn ang="0">
                      <a:pos x="T2" y="T3"/>
                    </a:cxn>
                    <a:cxn ang="0">
                      <a:pos x="T4" y="T5"/>
                    </a:cxn>
                    <a:cxn ang="0">
                      <a:pos x="T6" y="T7"/>
                    </a:cxn>
                    <a:cxn ang="0">
                      <a:pos x="T8" y="T9"/>
                    </a:cxn>
                  </a:cxnLst>
                  <a:rect l="0" t="0" r="r" b="b"/>
                  <a:pathLst>
                    <a:path w="59" h="82">
                      <a:moveTo>
                        <a:pt x="0" y="2"/>
                      </a:moveTo>
                      <a:lnTo>
                        <a:pt x="56" y="82"/>
                      </a:lnTo>
                      <a:lnTo>
                        <a:pt x="59" y="80"/>
                      </a:lnTo>
                      <a:lnTo>
                        <a:pt x="2"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667" name="Freeform 2113"/>
                <p:cNvSpPr>
                  <a:spLocks/>
                </p:cNvSpPr>
                <p:nvPr/>
              </p:nvSpPr>
              <p:spPr bwMode="auto">
                <a:xfrm>
                  <a:off x="11347" y="3074"/>
                  <a:ext cx="50" cy="52"/>
                </a:xfrm>
                <a:custGeom>
                  <a:avLst/>
                  <a:gdLst>
                    <a:gd name="T0" fmla="*/ 0 w 45"/>
                    <a:gd name="T1" fmla="*/ 2 h 54"/>
                    <a:gd name="T2" fmla="*/ 45 w 45"/>
                    <a:gd name="T3" fmla="*/ 54 h 54"/>
                    <a:gd name="T4" fmla="*/ 45 w 45"/>
                    <a:gd name="T5" fmla="*/ 52 h 54"/>
                    <a:gd name="T6" fmla="*/ 0 w 45"/>
                    <a:gd name="T7" fmla="*/ 0 h 54"/>
                    <a:gd name="T8" fmla="*/ 0 w 45"/>
                    <a:gd name="T9" fmla="*/ 2 h 54"/>
                  </a:gdLst>
                  <a:ahLst/>
                  <a:cxnLst>
                    <a:cxn ang="0">
                      <a:pos x="T0" y="T1"/>
                    </a:cxn>
                    <a:cxn ang="0">
                      <a:pos x="T2" y="T3"/>
                    </a:cxn>
                    <a:cxn ang="0">
                      <a:pos x="T4" y="T5"/>
                    </a:cxn>
                    <a:cxn ang="0">
                      <a:pos x="T6" y="T7"/>
                    </a:cxn>
                    <a:cxn ang="0">
                      <a:pos x="T8" y="T9"/>
                    </a:cxn>
                  </a:cxnLst>
                  <a:rect l="0" t="0" r="r" b="b"/>
                  <a:pathLst>
                    <a:path w="45" h="54">
                      <a:moveTo>
                        <a:pt x="0" y="2"/>
                      </a:moveTo>
                      <a:lnTo>
                        <a:pt x="45" y="54"/>
                      </a:lnTo>
                      <a:lnTo>
                        <a:pt x="45" y="52"/>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grpSp>
          <p:sp>
            <p:nvSpPr>
              <p:cNvPr id="3372" name="Freeform 2115"/>
              <p:cNvSpPr>
                <a:spLocks/>
              </p:cNvSpPr>
              <p:nvPr/>
            </p:nvSpPr>
            <p:spPr bwMode="auto">
              <a:xfrm>
                <a:off x="18039353" y="4866695"/>
                <a:ext cx="66039" cy="82991"/>
              </a:xfrm>
              <a:custGeom>
                <a:avLst/>
                <a:gdLst>
                  <a:gd name="T0" fmla="*/ 0 w 43"/>
                  <a:gd name="T1" fmla="*/ 0 h 49"/>
                  <a:gd name="T2" fmla="*/ 43 w 43"/>
                  <a:gd name="T3" fmla="*/ 49 h 49"/>
                  <a:gd name="T4" fmla="*/ 43 w 43"/>
                  <a:gd name="T5" fmla="*/ 47 h 49"/>
                  <a:gd name="T6" fmla="*/ 3 w 43"/>
                  <a:gd name="T7" fmla="*/ 0 h 49"/>
                  <a:gd name="T8" fmla="*/ 0 w 43"/>
                  <a:gd name="T9" fmla="*/ 0 h 49"/>
                </a:gdLst>
                <a:ahLst/>
                <a:cxnLst>
                  <a:cxn ang="0">
                    <a:pos x="T0" y="T1"/>
                  </a:cxn>
                  <a:cxn ang="0">
                    <a:pos x="T2" y="T3"/>
                  </a:cxn>
                  <a:cxn ang="0">
                    <a:pos x="T4" y="T5"/>
                  </a:cxn>
                  <a:cxn ang="0">
                    <a:pos x="T6" y="T7"/>
                  </a:cxn>
                  <a:cxn ang="0">
                    <a:pos x="T8" y="T9"/>
                  </a:cxn>
                </a:cxnLst>
                <a:rect l="0" t="0" r="r" b="b"/>
                <a:pathLst>
                  <a:path w="43" h="49">
                    <a:moveTo>
                      <a:pt x="0" y="0"/>
                    </a:moveTo>
                    <a:lnTo>
                      <a:pt x="43" y="49"/>
                    </a:lnTo>
                    <a:lnTo>
                      <a:pt x="43" y="47"/>
                    </a:lnTo>
                    <a:lnTo>
                      <a:pt x="3"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373" name="Freeform 2116"/>
              <p:cNvSpPr>
                <a:spLocks/>
              </p:cNvSpPr>
              <p:nvPr/>
            </p:nvSpPr>
            <p:spPr bwMode="auto">
              <a:xfrm>
                <a:off x="18039353" y="4866695"/>
                <a:ext cx="66039" cy="69163"/>
              </a:xfrm>
              <a:custGeom>
                <a:avLst/>
                <a:gdLst>
                  <a:gd name="T0" fmla="*/ 0 w 40"/>
                  <a:gd name="T1" fmla="*/ 0 h 45"/>
                  <a:gd name="T2" fmla="*/ 40 w 40"/>
                  <a:gd name="T3" fmla="*/ 45 h 45"/>
                  <a:gd name="T4" fmla="*/ 40 w 40"/>
                  <a:gd name="T5" fmla="*/ 43 h 45"/>
                  <a:gd name="T6" fmla="*/ 0 w 40"/>
                  <a:gd name="T7" fmla="*/ 0 h 45"/>
                  <a:gd name="T8" fmla="*/ 0 w 40"/>
                  <a:gd name="T9" fmla="*/ 0 h 45"/>
                </a:gdLst>
                <a:ahLst/>
                <a:cxnLst>
                  <a:cxn ang="0">
                    <a:pos x="T0" y="T1"/>
                  </a:cxn>
                  <a:cxn ang="0">
                    <a:pos x="T2" y="T3"/>
                  </a:cxn>
                  <a:cxn ang="0">
                    <a:pos x="T4" y="T5"/>
                  </a:cxn>
                  <a:cxn ang="0">
                    <a:pos x="T6" y="T7"/>
                  </a:cxn>
                  <a:cxn ang="0">
                    <a:pos x="T8" y="T9"/>
                  </a:cxn>
                </a:cxnLst>
                <a:rect l="0" t="0" r="r" b="b"/>
                <a:pathLst>
                  <a:path w="40" h="45">
                    <a:moveTo>
                      <a:pt x="0" y="0"/>
                    </a:moveTo>
                    <a:lnTo>
                      <a:pt x="40" y="45"/>
                    </a:lnTo>
                    <a:lnTo>
                      <a:pt x="40" y="43"/>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374" name="Freeform 2117"/>
              <p:cNvSpPr>
                <a:spLocks/>
              </p:cNvSpPr>
              <p:nvPr/>
            </p:nvSpPr>
            <p:spPr bwMode="auto">
              <a:xfrm>
                <a:off x="17999736" y="4894358"/>
                <a:ext cx="79242" cy="110655"/>
              </a:xfrm>
              <a:custGeom>
                <a:avLst/>
                <a:gdLst>
                  <a:gd name="T0" fmla="*/ 0 w 52"/>
                  <a:gd name="T1" fmla="*/ 2 h 68"/>
                  <a:gd name="T2" fmla="*/ 52 w 52"/>
                  <a:gd name="T3" fmla="*/ 68 h 68"/>
                  <a:gd name="T4" fmla="*/ 52 w 52"/>
                  <a:gd name="T5" fmla="*/ 66 h 68"/>
                  <a:gd name="T6" fmla="*/ 0 w 52"/>
                  <a:gd name="T7" fmla="*/ 0 h 68"/>
                  <a:gd name="T8" fmla="*/ 0 w 52"/>
                  <a:gd name="T9" fmla="*/ 2 h 68"/>
                </a:gdLst>
                <a:ahLst/>
                <a:cxnLst>
                  <a:cxn ang="0">
                    <a:pos x="T0" y="T1"/>
                  </a:cxn>
                  <a:cxn ang="0">
                    <a:pos x="T2" y="T3"/>
                  </a:cxn>
                  <a:cxn ang="0">
                    <a:pos x="T4" y="T5"/>
                  </a:cxn>
                  <a:cxn ang="0">
                    <a:pos x="T6" y="T7"/>
                  </a:cxn>
                  <a:cxn ang="0">
                    <a:pos x="T8" y="T9"/>
                  </a:cxn>
                </a:cxnLst>
                <a:rect l="0" t="0" r="r" b="b"/>
                <a:pathLst>
                  <a:path w="52" h="68">
                    <a:moveTo>
                      <a:pt x="0" y="2"/>
                    </a:moveTo>
                    <a:lnTo>
                      <a:pt x="52" y="68"/>
                    </a:lnTo>
                    <a:lnTo>
                      <a:pt x="52" y="66"/>
                    </a:lnTo>
                    <a:lnTo>
                      <a:pt x="0" y="0"/>
                    </a:lnTo>
                    <a:lnTo>
                      <a:pt x="0" y="2"/>
                    </a:lnTo>
                    <a:close/>
                  </a:path>
                </a:pathLst>
              </a:custGeom>
              <a:solidFill>
                <a:srgbClr val="01AAE5"/>
              </a:solidFill>
              <a:ln>
                <a:noFill/>
              </a:ln>
              <a:extLst/>
            </p:spPr>
            <p:txBody>
              <a:bodyPr/>
              <a:lstStyle/>
              <a:p>
                <a:pPr eaLnBrk="1" hangingPunct="1">
                  <a:defRPr/>
                </a:pPr>
                <a:endParaRPr lang="zh-CN" altLang="en-US" sz="1050"/>
              </a:p>
            </p:txBody>
          </p:sp>
          <p:sp>
            <p:nvSpPr>
              <p:cNvPr id="3375" name="Freeform 2118"/>
              <p:cNvSpPr>
                <a:spLocks/>
              </p:cNvSpPr>
              <p:nvPr/>
            </p:nvSpPr>
            <p:spPr bwMode="auto">
              <a:xfrm>
                <a:off x="17999736" y="4880531"/>
                <a:ext cx="79242" cy="110655"/>
              </a:xfrm>
              <a:custGeom>
                <a:avLst/>
                <a:gdLst>
                  <a:gd name="T0" fmla="*/ 0 w 52"/>
                  <a:gd name="T1" fmla="*/ 0 h 64"/>
                  <a:gd name="T2" fmla="*/ 52 w 52"/>
                  <a:gd name="T3" fmla="*/ 64 h 64"/>
                  <a:gd name="T4" fmla="*/ 52 w 52"/>
                  <a:gd name="T5" fmla="*/ 62 h 64"/>
                  <a:gd name="T6" fmla="*/ 2 w 52"/>
                  <a:gd name="T7" fmla="*/ 0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52" y="64"/>
                    </a:lnTo>
                    <a:lnTo>
                      <a:pt x="52" y="62"/>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376" name="Freeform 2119"/>
              <p:cNvSpPr>
                <a:spLocks/>
              </p:cNvSpPr>
              <p:nvPr/>
            </p:nvSpPr>
            <p:spPr bwMode="auto">
              <a:xfrm>
                <a:off x="18012939" y="4880531"/>
                <a:ext cx="79242" cy="82991"/>
              </a:xfrm>
              <a:custGeom>
                <a:avLst/>
                <a:gdLst>
                  <a:gd name="T0" fmla="*/ 0 w 47"/>
                  <a:gd name="T1" fmla="*/ 0 h 56"/>
                  <a:gd name="T2" fmla="*/ 47 w 47"/>
                  <a:gd name="T3" fmla="*/ 56 h 56"/>
                  <a:gd name="T4" fmla="*/ 47 w 47"/>
                  <a:gd name="T5" fmla="*/ 54 h 56"/>
                  <a:gd name="T6" fmla="*/ 2 w 47"/>
                  <a:gd name="T7" fmla="*/ 0 h 56"/>
                  <a:gd name="T8" fmla="*/ 0 w 47"/>
                  <a:gd name="T9" fmla="*/ 0 h 56"/>
                </a:gdLst>
                <a:ahLst/>
                <a:cxnLst>
                  <a:cxn ang="0">
                    <a:pos x="T0" y="T1"/>
                  </a:cxn>
                  <a:cxn ang="0">
                    <a:pos x="T2" y="T3"/>
                  </a:cxn>
                  <a:cxn ang="0">
                    <a:pos x="T4" y="T5"/>
                  </a:cxn>
                  <a:cxn ang="0">
                    <a:pos x="T6" y="T7"/>
                  </a:cxn>
                  <a:cxn ang="0">
                    <a:pos x="T8" y="T9"/>
                  </a:cxn>
                </a:cxnLst>
                <a:rect l="0" t="0" r="r" b="b"/>
                <a:pathLst>
                  <a:path w="47" h="56">
                    <a:moveTo>
                      <a:pt x="0" y="0"/>
                    </a:moveTo>
                    <a:lnTo>
                      <a:pt x="47" y="56"/>
                    </a:lnTo>
                    <a:lnTo>
                      <a:pt x="47" y="54"/>
                    </a:lnTo>
                    <a:lnTo>
                      <a:pt x="2"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377" name="Freeform 2120"/>
              <p:cNvSpPr>
                <a:spLocks/>
              </p:cNvSpPr>
              <p:nvPr/>
            </p:nvSpPr>
            <p:spPr bwMode="auto">
              <a:xfrm>
                <a:off x="17999736" y="4880531"/>
                <a:ext cx="92444" cy="96818"/>
              </a:xfrm>
              <a:custGeom>
                <a:avLst/>
                <a:gdLst>
                  <a:gd name="T0" fmla="*/ 0 w 50"/>
                  <a:gd name="T1" fmla="*/ 0 h 59"/>
                  <a:gd name="T2" fmla="*/ 47 w 50"/>
                  <a:gd name="T3" fmla="*/ 59 h 59"/>
                  <a:gd name="T4" fmla="*/ 50 w 50"/>
                  <a:gd name="T5" fmla="*/ 59 h 59"/>
                  <a:gd name="T6" fmla="*/ 0 w 50"/>
                  <a:gd name="T7" fmla="*/ 0 h 59"/>
                  <a:gd name="T8" fmla="*/ 0 w 50"/>
                  <a:gd name="T9" fmla="*/ 0 h 59"/>
                </a:gdLst>
                <a:ahLst/>
                <a:cxnLst>
                  <a:cxn ang="0">
                    <a:pos x="T0" y="T1"/>
                  </a:cxn>
                  <a:cxn ang="0">
                    <a:pos x="T2" y="T3"/>
                  </a:cxn>
                  <a:cxn ang="0">
                    <a:pos x="T4" y="T5"/>
                  </a:cxn>
                  <a:cxn ang="0">
                    <a:pos x="T6" y="T7"/>
                  </a:cxn>
                  <a:cxn ang="0">
                    <a:pos x="T8" y="T9"/>
                  </a:cxn>
                </a:cxnLst>
                <a:rect l="0" t="0" r="r" b="b"/>
                <a:pathLst>
                  <a:path w="50" h="59">
                    <a:moveTo>
                      <a:pt x="0" y="0"/>
                    </a:moveTo>
                    <a:lnTo>
                      <a:pt x="47" y="59"/>
                    </a:lnTo>
                    <a:lnTo>
                      <a:pt x="50" y="59"/>
                    </a:lnTo>
                    <a:lnTo>
                      <a:pt x="0" y="0"/>
                    </a:lnTo>
                    <a:lnTo>
                      <a:pt x="0" y="0"/>
                    </a:lnTo>
                    <a:close/>
                  </a:path>
                </a:pathLst>
              </a:custGeom>
              <a:solidFill>
                <a:srgbClr val="01AAE5"/>
              </a:solidFill>
              <a:ln>
                <a:noFill/>
              </a:ln>
              <a:extLst/>
            </p:spPr>
            <p:txBody>
              <a:bodyPr/>
              <a:lstStyle/>
              <a:p>
                <a:pPr eaLnBrk="1" hangingPunct="1">
                  <a:defRPr/>
                </a:pPr>
                <a:endParaRPr lang="zh-CN" altLang="en-US" sz="1050"/>
              </a:p>
            </p:txBody>
          </p:sp>
          <p:sp>
            <p:nvSpPr>
              <p:cNvPr id="3378" name="Freeform 2121"/>
              <p:cNvSpPr>
                <a:spLocks/>
              </p:cNvSpPr>
              <p:nvPr/>
            </p:nvSpPr>
            <p:spPr bwMode="auto">
              <a:xfrm>
                <a:off x="16454522" y="2695105"/>
                <a:ext cx="1782938" cy="511773"/>
              </a:xfrm>
              <a:custGeom>
                <a:avLst/>
                <a:gdLst>
                  <a:gd name="T0" fmla="*/ 317 w 477"/>
                  <a:gd name="T1" fmla="*/ 53 h 136"/>
                  <a:gd name="T2" fmla="*/ 72 w 477"/>
                  <a:gd name="T3" fmla="*/ 97 h 136"/>
                  <a:gd name="T4" fmla="*/ 75 w 477"/>
                  <a:gd name="T5" fmla="*/ 94 h 136"/>
                  <a:gd name="T6" fmla="*/ 78 w 477"/>
                  <a:gd name="T7" fmla="*/ 93 h 136"/>
                  <a:gd name="T8" fmla="*/ 79 w 477"/>
                  <a:gd name="T9" fmla="*/ 88 h 136"/>
                  <a:gd name="T10" fmla="*/ 83 w 477"/>
                  <a:gd name="T11" fmla="*/ 90 h 136"/>
                  <a:gd name="T12" fmla="*/ 84 w 477"/>
                  <a:gd name="T13" fmla="*/ 83 h 136"/>
                  <a:gd name="T14" fmla="*/ 89 w 477"/>
                  <a:gd name="T15" fmla="*/ 87 h 136"/>
                  <a:gd name="T16" fmla="*/ 90 w 477"/>
                  <a:gd name="T17" fmla="*/ 80 h 136"/>
                  <a:gd name="T18" fmla="*/ 95 w 477"/>
                  <a:gd name="T19" fmla="*/ 84 h 136"/>
                  <a:gd name="T20" fmla="*/ 96 w 477"/>
                  <a:gd name="T21" fmla="*/ 78 h 136"/>
                  <a:gd name="T22" fmla="*/ 101 w 477"/>
                  <a:gd name="T23" fmla="*/ 81 h 136"/>
                  <a:gd name="T24" fmla="*/ 103 w 477"/>
                  <a:gd name="T25" fmla="*/ 76 h 136"/>
                  <a:gd name="T26" fmla="*/ 107 w 477"/>
                  <a:gd name="T27" fmla="*/ 79 h 136"/>
                  <a:gd name="T28" fmla="*/ 110 w 477"/>
                  <a:gd name="T29" fmla="*/ 75 h 136"/>
                  <a:gd name="T30" fmla="*/ 113 w 477"/>
                  <a:gd name="T31" fmla="*/ 76 h 136"/>
                  <a:gd name="T32" fmla="*/ 164 w 477"/>
                  <a:gd name="T33" fmla="*/ 60 h 136"/>
                  <a:gd name="T34" fmla="*/ 167 w 477"/>
                  <a:gd name="T35" fmla="*/ 59 h 136"/>
                  <a:gd name="T36" fmla="*/ 170 w 477"/>
                  <a:gd name="T37" fmla="*/ 58 h 136"/>
                  <a:gd name="T38" fmla="*/ 174 w 477"/>
                  <a:gd name="T39" fmla="*/ 58 h 136"/>
                  <a:gd name="T40" fmla="*/ 176 w 477"/>
                  <a:gd name="T41" fmla="*/ 57 h 136"/>
                  <a:gd name="T42" fmla="*/ 180 w 477"/>
                  <a:gd name="T43" fmla="*/ 57 h 136"/>
                  <a:gd name="T44" fmla="*/ 183 w 477"/>
                  <a:gd name="T45" fmla="*/ 57 h 136"/>
                  <a:gd name="T46" fmla="*/ 320 w 477"/>
                  <a:gd name="T47" fmla="*/ 66 h 136"/>
                  <a:gd name="T48" fmla="*/ 322 w 477"/>
                  <a:gd name="T49" fmla="*/ 66 h 136"/>
                  <a:gd name="T50" fmla="*/ 325 w 477"/>
                  <a:gd name="T51" fmla="*/ 67 h 136"/>
                  <a:gd name="T52" fmla="*/ 327 w 477"/>
                  <a:gd name="T53" fmla="*/ 67 h 136"/>
                  <a:gd name="T54" fmla="*/ 329 w 477"/>
                  <a:gd name="T55" fmla="*/ 69 h 136"/>
                  <a:gd name="T56" fmla="*/ 331 w 477"/>
                  <a:gd name="T57" fmla="*/ 69 h 136"/>
                  <a:gd name="T58" fmla="*/ 389 w 477"/>
                  <a:gd name="T59" fmla="*/ 97 h 136"/>
                  <a:gd name="T60" fmla="*/ 391 w 477"/>
                  <a:gd name="T61" fmla="*/ 97 h 136"/>
                  <a:gd name="T62" fmla="*/ 393 w 477"/>
                  <a:gd name="T63" fmla="*/ 99 h 136"/>
                  <a:gd name="T64" fmla="*/ 396 w 477"/>
                  <a:gd name="T65" fmla="*/ 98 h 136"/>
                  <a:gd name="T66" fmla="*/ 397 w 477"/>
                  <a:gd name="T67" fmla="*/ 101 h 136"/>
                  <a:gd name="T68" fmla="*/ 401 w 477"/>
                  <a:gd name="T69" fmla="*/ 98 h 136"/>
                  <a:gd name="T70" fmla="*/ 401 w 477"/>
                  <a:gd name="T71" fmla="*/ 104 h 136"/>
                  <a:gd name="T72" fmla="*/ 406 w 477"/>
                  <a:gd name="T73" fmla="*/ 100 h 136"/>
                  <a:gd name="T74" fmla="*/ 405 w 477"/>
                  <a:gd name="T75" fmla="*/ 106 h 136"/>
                  <a:gd name="T76" fmla="*/ 411 w 477"/>
                  <a:gd name="T77" fmla="*/ 101 h 136"/>
                  <a:gd name="T78" fmla="*/ 409 w 477"/>
                  <a:gd name="T79" fmla="*/ 109 h 136"/>
                  <a:gd name="T80" fmla="*/ 415 w 477"/>
                  <a:gd name="T81" fmla="*/ 103 h 136"/>
                  <a:gd name="T82" fmla="*/ 412 w 477"/>
                  <a:gd name="T83" fmla="*/ 112 h 136"/>
                  <a:gd name="T84" fmla="*/ 420 w 477"/>
                  <a:gd name="T85" fmla="*/ 105 h 136"/>
                  <a:gd name="T86" fmla="*/ 416 w 477"/>
                  <a:gd name="T87" fmla="*/ 115 h 136"/>
                  <a:gd name="T88" fmla="*/ 423 w 477"/>
                  <a:gd name="T89" fmla="*/ 109 h 136"/>
                  <a:gd name="T90" fmla="*/ 420 w 477"/>
                  <a:gd name="T91" fmla="*/ 117 h 136"/>
                  <a:gd name="T92" fmla="*/ 426 w 477"/>
                  <a:gd name="T93" fmla="*/ 112 h 136"/>
                  <a:gd name="T94" fmla="*/ 423 w 477"/>
                  <a:gd name="T95" fmla="*/ 120 h 136"/>
                  <a:gd name="T96" fmla="*/ 429 w 477"/>
                  <a:gd name="T97" fmla="*/ 116 h 136"/>
                  <a:gd name="T98" fmla="*/ 427 w 477"/>
                  <a:gd name="T99" fmla="*/ 123 h 136"/>
                  <a:gd name="T100" fmla="*/ 432 w 477"/>
                  <a:gd name="T101" fmla="*/ 121 h 136"/>
                  <a:gd name="T102" fmla="*/ 431 w 477"/>
                  <a:gd name="T103" fmla="*/ 126 h 136"/>
                  <a:gd name="T104" fmla="*/ 434 w 477"/>
                  <a:gd name="T105" fmla="*/ 125 h 136"/>
                  <a:gd name="T106" fmla="*/ 434 w 477"/>
                  <a:gd name="T107" fmla="*/ 129 h 136"/>
                  <a:gd name="T108" fmla="*/ 436 w 477"/>
                  <a:gd name="T109" fmla="*/ 130 h 136"/>
                  <a:gd name="T110" fmla="*/ 441 w 477"/>
                  <a:gd name="T11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7" h="136">
                    <a:moveTo>
                      <a:pt x="231" y="0"/>
                    </a:moveTo>
                    <a:cubicBezTo>
                      <a:pt x="143" y="0"/>
                      <a:pt x="63" y="31"/>
                      <a:pt x="0" y="83"/>
                    </a:cubicBezTo>
                    <a:cubicBezTo>
                      <a:pt x="10" y="95"/>
                      <a:pt x="10" y="95"/>
                      <a:pt x="10" y="95"/>
                    </a:cubicBezTo>
                    <a:cubicBezTo>
                      <a:pt x="70" y="46"/>
                      <a:pt x="147" y="16"/>
                      <a:pt x="231" y="16"/>
                    </a:cubicBezTo>
                    <a:cubicBezTo>
                      <a:pt x="263" y="16"/>
                      <a:pt x="294" y="20"/>
                      <a:pt x="324" y="29"/>
                    </a:cubicBezTo>
                    <a:cubicBezTo>
                      <a:pt x="317" y="53"/>
                      <a:pt x="317" y="53"/>
                      <a:pt x="317" y="53"/>
                    </a:cubicBezTo>
                    <a:cubicBezTo>
                      <a:pt x="290" y="45"/>
                      <a:pt x="261" y="41"/>
                      <a:pt x="231" y="41"/>
                    </a:cubicBezTo>
                    <a:cubicBezTo>
                      <a:pt x="153" y="41"/>
                      <a:pt x="82" y="69"/>
                      <a:pt x="26" y="115"/>
                    </a:cubicBezTo>
                    <a:cubicBezTo>
                      <a:pt x="34" y="124"/>
                      <a:pt x="34" y="124"/>
                      <a:pt x="34" y="124"/>
                    </a:cubicBezTo>
                    <a:cubicBezTo>
                      <a:pt x="46" y="114"/>
                      <a:pt x="58" y="105"/>
                      <a:pt x="72" y="97"/>
                    </a:cubicBezTo>
                    <a:cubicBezTo>
                      <a:pt x="72" y="97"/>
                      <a:pt x="72" y="97"/>
                      <a:pt x="72" y="97"/>
                    </a:cubicBezTo>
                    <a:cubicBezTo>
                      <a:pt x="72" y="97"/>
                      <a:pt x="72" y="97"/>
                      <a:pt x="72" y="97"/>
                    </a:cubicBezTo>
                    <a:cubicBezTo>
                      <a:pt x="72" y="97"/>
                      <a:pt x="73" y="96"/>
                      <a:pt x="73" y="96"/>
                    </a:cubicBezTo>
                    <a:cubicBezTo>
                      <a:pt x="73" y="95"/>
                      <a:pt x="73" y="95"/>
                      <a:pt x="73" y="95"/>
                    </a:cubicBezTo>
                    <a:cubicBezTo>
                      <a:pt x="73" y="95"/>
                      <a:pt x="73" y="95"/>
                      <a:pt x="73" y="95"/>
                    </a:cubicBezTo>
                    <a:cubicBezTo>
                      <a:pt x="74" y="96"/>
                      <a:pt x="74" y="96"/>
                      <a:pt x="74" y="96"/>
                    </a:cubicBezTo>
                    <a:cubicBezTo>
                      <a:pt x="74" y="95"/>
                      <a:pt x="75" y="95"/>
                      <a:pt x="75" y="95"/>
                    </a:cubicBezTo>
                    <a:cubicBezTo>
                      <a:pt x="75" y="94"/>
                      <a:pt x="75" y="94"/>
                      <a:pt x="75" y="94"/>
                    </a:cubicBezTo>
                    <a:cubicBezTo>
                      <a:pt x="75" y="93"/>
                      <a:pt x="75" y="93"/>
                      <a:pt x="75" y="93"/>
                    </a:cubicBezTo>
                    <a:cubicBezTo>
                      <a:pt x="76" y="95"/>
                      <a:pt x="76" y="95"/>
                      <a:pt x="76" y="95"/>
                    </a:cubicBezTo>
                    <a:cubicBezTo>
                      <a:pt x="76" y="94"/>
                      <a:pt x="77" y="94"/>
                      <a:pt x="77" y="94"/>
                    </a:cubicBezTo>
                    <a:cubicBezTo>
                      <a:pt x="76" y="92"/>
                      <a:pt x="76" y="92"/>
                      <a:pt x="76" y="92"/>
                    </a:cubicBezTo>
                    <a:cubicBezTo>
                      <a:pt x="76" y="91"/>
                      <a:pt x="76" y="91"/>
                      <a:pt x="76" y="91"/>
                    </a:cubicBezTo>
                    <a:cubicBezTo>
                      <a:pt x="78" y="93"/>
                      <a:pt x="78" y="93"/>
                      <a:pt x="78" y="93"/>
                    </a:cubicBezTo>
                    <a:cubicBezTo>
                      <a:pt x="78" y="93"/>
                      <a:pt x="79" y="93"/>
                      <a:pt x="79" y="93"/>
                    </a:cubicBezTo>
                    <a:cubicBezTo>
                      <a:pt x="78" y="90"/>
                      <a:pt x="78" y="90"/>
                      <a:pt x="78" y="90"/>
                    </a:cubicBezTo>
                    <a:cubicBezTo>
                      <a:pt x="78" y="90"/>
                      <a:pt x="78" y="90"/>
                      <a:pt x="78" y="90"/>
                    </a:cubicBezTo>
                    <a:cubicBezTo>
                      <a:pt x="80" y="92"/>
                      <a:pt x="80" y="92"/>
                      <a:pt x="80" y="92"/>
                    </a:cubicBezTo>
                    <a:cubicBezTo>
                      <a:pt x="80" y="92"/>
                      <a:pt x="81" y="92"/>
                      <a:pt x="81" y="92"/>
                    </a:cubicBezTo>
                    <a:cubicBezTo>
                      <a:pt x="79" y="88"/>
                      <a:pt x="79" y="88"/>
                      <a:pt x="79" y="88"/>
                    </a:cubicBezTo>
                    <a:cubicBezTo>
                      <a:pt x="80" y="88"/>
                      <a:pt x="80" y="88"/>
                      <a:pt x="80" y="88"/>
                    </a:cubicBezTo>
                    <a:cubicBezTo>
                      <a:pt x="82" y="91"/>
                      <a:pt x="82" y="91"/>
                      <a:pt x="82" y="91"/>
                    </a:cubicBezTo>
                    <a:cubicBezTo>
                      <a:pt x="82" y="91"/>
                      <a:pt x="82" y="91"/>
                      <a:pt x="83" y="91"/>
                    </a:cubicBezTo>
                    <a:cubicBezTo>
                      <a:pt x="81" y="87"/>
                      <a:pt x="81" y="87"/>
                      <a:pt x="81" y="87"/>
                    </a:cubicBezTo>
                    <a:cubicBezTo>
                      <a:pt x="81" y="86"/>
                      <a:pt x="81" y="86"/>
                      <a:pt x="81" y="86"/>
                    </a:cubicBezTo>
                    <a:cubicBezTo>
                      <a:pt x="83" y="90"/>
                      <a:pt x="83" y="90"/>
                      <a:pt x="83" y="90"/>
                    </a:cubicBezTo>
                    <a:cubicBezTo>
                      <a:pt x="84" y="90"/>
                      <a:pt x="84" y="90"/>
                      <a:pt x="85" y="89"/>
                    </a:cubicBezTo>
                    <a:cubicBezTo>
                      <a:pt x="82" y="85"/>
                      <a:pt x="82" y="85"/>
                      <a:pt x="82" y="85"/>
                    </a:cubicBezTo>
                    <a:cubicBezTo>
                      <a:pt x="83" y="84"/>
                      <a:pt x="83" y="84"/>
                      <a:pt x="83" y="84"/>
                    </a:cubicBezTo>
                    <a:cubicBezTo>
                      <a:pt x="85" y="89"/>
                      <a:pt x="85" y="89"/>
                      <a:pt x="85" y="89"/>
                    </a:cubicBezTo>
                    <a:cubicBezTo>
                      <a:pt x="86" y="89"/>
                      <a:pt x="86" y="89"/>
                      <a:pt x="87" y="88"/>
                    </a:cubicBezTo>
                    <a:cubicBezTo>
                      <a:pt x="84" y="83"/>
                      <a:pt x="84" y="83"/>
                      <a:pt x="84" y="83"/>
                    </a:cubicBezTo>
                    <a:cubicBezTo>
                      <a:pt x="85" y="83"/>
                      <a:pt x="85" y="83"/>
                      <a:pt x="85" y="83"/>
                    </a:cubicBezTo>
                    <a:cubicBezTo>
                      <a:pt x="87" y="88"/>
                      <a:pt x="87" y="88"/>
                      <a:pt x="87" y="88"/>
                    </a:cubicBezTo>
                    <a:cubicBezTo>
                      <a:pt x="88" y="88"/>
                      <a:pt x="88" y="88"/>
                      <a:pt x="89" y="87"/>
                    </a:cubicBezTo>
                    <a:cubicBezTo>
                      <a:pt x="86" y="82"/>
                      <a:pt x="86" y="82"/>
                      <a:pt x="86" y="82"/>
                    </a:cubicBezTo>
                    <a:cubicBezTo>
                      <a:pt x="86" y="82"/>
                      <a:pt x="86" y="82"/>
                      <a:pt x="86" y="82"/>
                    </a:cubicBezTo>
                    <a:cubicBezTo>
                      <a:pt x="89" y="87"/>
                      <a:pt x="89" y="87"/>
                      <a:pt x="89" y="87"/>
                    </a:cubicBezTo>
                    <a:cubicBezTo>
                      <a:pt x="90" y="87"/>
                      <a:pt x="90" y="87"/>
                      <a:pt x="91" y="86"/>
                    </a:cubicBezTo>
                    <a:cubicBezTo>
                      <a:pt x="88" y="81"/>
                      <a:pt x="88" y="81"/>
                      <a:pt x="88" y="81"/>
                    </a:cubicBezTo>
                    <a:cubicBezTo>
                      <a:pt x="88" y="80"/>
                      <a:pt x="88" y="80"/>
                      <a:pt x="88" y="80"/>
                    </a:cubicBezTo>
                    <a:cubicBezTo>
                      <a:pt x="91" y="86"/>
                      <a:pt x="91" y="86"/>
                      <a:pt x="91" y="86"/>
                    </a:cubicBezTo>
                    <a:cubicBezTo>
                      <a:pt x="92" y="86"/>
                      <a:pt x="92" y="86"/>
                      <a:pt x="93" y="85"/>
                    </a:cubicBezTo>
                    <a:cubicBezTo>
                      <a:pt x="90" y="80"/>
                      <a:pt x="90" y="80"/>
                      <a:pt x="90" y="80"/>
                    </a:cubicBezTo>
                    <a:cubicBezTo>
                      <a:pt x="90" y="79"/>
                      <a:pt x="90" y="79"/>
                      <a:pt x="90" y="79"/>
                    </a:cubicBezTo>
                    <a:cubicBezTo>
                      <a:pt x="93" y="85"/>
                      <a:pt x="93" y="85"/>
                      <a:pt x="93" y="85"/>
                    </a:cubicBezTo>
                    <a:cubicBezTo>
                      <a:pt x="94" y="85"/>
                      <a:pt x="94" y="85"/>
                      <a:pt x="95" y="84"/>
                    </a:cubicBezTo>
                    <a:cubicBezTo>
                      <a:pt x="92" y="79"/>
                      <a:pt x="92" y="79"/>
                      <a:pt x="92" y="79"/>
                    </a:cubicBezTo>
                    <a:cubicBezTo>
                      <a:pt x="92" y="79"/>
                      <a:pt x="92" y="79"/>
                      <a:pt x="92" y="79"/>
                    </a:cubicBezTo>
                    <a:cubicBezTo>
                      <a:pt x="95" y="84"/>
                      <a:pt x="95" y="84"/>
                      <a:pt x="95" y="84"/>
                    </a:cubicBezTo>
                    <a:cubicBezTo>
                      <a:pt x="96" y="84"/>
                      <a:pt x="96" y="84"/>
                      <a:pt x="97" y="83"/>
                    </a:cubicBezTo>
                    <a:cubicBezTo>
                      <a:pt x="94" y="78"/>
                      <a:pt x="94" y="78"/>
                      <a:pt x="94" y="78"/>
                    </a:cubicBezTo>
                    <a:cubicBezTo>
                      <a:pt x="95" y="78"/>
                      <a:pt x="95" y="78"/>
                      <a:pt x="95" y="78"/>
                    </a:cubicBezTo>
                    <a:cubicBezTo>
                      <a:pt x="97" y="83"/>
                      <a:pt x="97" y="83"/>
                      <a:pt x="97" y="83"/>
                    </a:cubicBezTo>
                    <a:cubicBezTo>
                      <a:pt x="98" y="83"/>
                      <a:pt x="98" y="83"/>
                      <a:pt x="99" y="83"/>
                    </a:cubicBezTo>
                    <a:cubicBezTo>
                      <a:pt x="96" y="78"/>
                      <a:pt x="96" y="78"/>
                      <a:pt x="96" y="78"/>
                    </a:cubicBezTo>
                    <a:cubicBezTo>
                      <a:pt x="97" y="78"/>
                      <a:pt x="97" y="78"/>
                      <a:pt x="97" y="78"/>
                    </a:cubicBezTo>
                    <a:cubicBezTo>
                      <a:pt x="99" y="82"/>
                      <a:pt x="99" y="82"/>
                      <a:pt x="99" y="82"/>
                    </a:cubicBezTo>
                    <a:cubicBezTo>
                      <a:pt x="100" y="82"/>
                      <a:pt x="100" y="82"/>
                      <a:pt x="101" y="82"/>
                    </a:cubicBezTo>
                    <a:cubicBezTo>
                      <a:pt x="99" y="77"/>
                      <a:pt x="99" y="77"/>
                      <a:pt x="99" y="77"/>
                    </a:cubicBezTo>
                    <a:cubicBezTo>
                      <a:pt x="99" y="77"/>
                      <a:pt x="99" y="77"/>
                      <a:pt x="99" y="77"/>
                    </a:cubicBezTo>
                    <a:cubicBezTo>
                      <a:pt x="101" y="81"/>
                      <a:pt x="101" y="81"/>
                      <a:pt x="101" y="81"/>
                    </a:cubicBezTo>
                    <a:cubicBezTo>
                      <a:pt x="102" y="81"/>
                      <a:pt x="102" y="81"/>
                      <a:pt x="103" y="81"/>
                    </a:cubicBezTo>
                    <a:cubicBezTo>
                      <a:pt x="101" y="77"/>
                      <a:pt x="101" y="77"/>
                      <a:pt x="101" y="77"/>
                    </a:cubicBezTo>
                    <a:cubicBezTo>
                      <a:pt x="101" y="77"/>
                      <a:pt x="101" y="77"/>
                      <a:pt x="101" y="77"/>
                    </a:cubicBezTo>
                    <a:cubicBezTo>
                      <a:pt x="103" y="80"/>
                      <a:pt x="103" y="80"/>
                      <a:pt x="103" y="80"/>
                    </a:cubicBezTo>
                    <a:cubicBezTo>
                      <a:pt x="104" y="80"/>
                      <a:pt x="104" y="80"/>
                      <a:pt x="105" y="80"/>
                    </a:cubicBezTo>
                    <a:cubicBezTo>
                      <a:pt x="103" y="76"/>
                      <a:pt x="103" y="76"/>
                      <a:pt x="103" y="76"/>
                    </a:cubicBezTo>
                    <a:cubicBezTo>
                      <a:pt x="104" y="76"/>
                      <a:pt x="104" y="76"/>
                      <a:pt x="104" y="76"/>
                    </a:cubicBezTo>
                    <a:cubicBezTo>
                      <a:pt x="105" y="80"/>
                      <a:pt x="105" y="80"/>
                      <a:pt x="105" y="80"/>
                    </a:cubicBezTo>
                    <a:cubicBezTo>
                      <a:pt x="106" y="79"/>
                      <a:pt x="106" y="79"/>
                      <a:pt x="107" y="79"/>
                    </a:cubicBezTo>
                    <a:cubicBezTo>
                      <a:pt x="105" y="76"/>
                      <a:pt x="105" y="76"/>
                      <a:pt x="105" y="76"/>
                    </a:cubicBezTo>
                    <a:cubicBezTo>
                      <a:pt x="106" y="76"/>
                      <a:pt x="106" y="76"/>
                      <a:pt x="106" y="76"/>
                    </a:cubicBezTo>
                    <a:cubicBezTo>
                      <a:pt x="107" y="79"/>
                      <a:pt x="107" y="79"/>
                      <a:pt x="107" y="79"/>
                    </a:cubicBezTo>
                    <a:cubicBezTo>
                      <a:pt x="108" y="78"/>
                      <a:pt x="108" y="78"/>
                      <a:pt x="109" y="78"/>
                    </a:cubicBezTo>
                    <a:cubicBezTo>
                      <a:pt x="108" y="76"/>
                      <a:pt x="108" y="76"/>
                      <a:pt x="108" y="76"/>
                    </a:cubicBezTo>
                    <a:cubicBezTo>
                      <a:pt x="108" y="76"/>
                      <a:pt x="108" y="76"/>
                      <a:pt x="108" y="76"/>
                    </a:cubicBezTo>
                    <a:cubicBezTo>
                      <a:pt x="109" y="78"/>
                      <a:pt x="109" y="78"/>
                      <a:pt x="109" y="78"/>
                    </a:cubicBezTo>
                    <a:cubicBezTo>
                      <a:pt x="110" y="78"/>
                      <a:pt x="110" y="77"/>
                      <a:pt x="111" y="77"/>
                    </a:cubicBezTo>
                    <a:cubicBezTo>
                      <a:pt x="110" y="75"/>
                      <a:pt x="110" y="75"/>
                      <a:pt x="110" y="75"/>
                    </a:cubicBezTo>
                    <a:cubicBezTo>
                      <a:pt x="111" y="75"/>
                      <a:pt x="111" y="75"/>
                      <a:pt x="111" y="75"/>
                    </a:cubicBezTo>
                    <a:cubicBezTo>
                      <a:pt x="111" y="77"/>
                      <a:pt x="111" y="77"/>
                      <a:pt x="111" y="77"/>
                    </a:cubicBezTo>
                    <a:cubicBezTo>
                      <a:pt x="112" y="77"/>
                      <a:pt x="112" y="76"/>
                      <a:pt x="113" y="76"/>
                    </a:cubicBezTo>
                    <a:cubicBezTo>
                      <a:pt x="112" y="75"/>
                      <a:pt x="112" y="75"/>
                      <a:pt x="112" y="75"/>
                    </a:cubicBezTo>
                    <a:cubicBezTo>
                      <a:pt x="113" y="75"/>
                      <a:pt x="113" y="75"/>
                      <a:pt x="113" y="75"/>
                    </a:cubicBezTo>
                    <a:cubicBezTo>
                      <a:pt x="113" y="76"/>
                      <a:pt x="113" y="76"/>
                      <a:pt x="113" y="76"/>
                    </a:cubicBezTo>
                    <a:cubicBezTo>
                      <a:pt x="114" y="76"/>
                      <a:pt x="114" y="76"/>
                      <a:pt x="115" y="75"/>
                    </a:cubicBezTo>
                    <a:cubicBezTo>
                      <a:pt x="115" y="75"/>
                      <a:pt x="115" y="75"/>
                      <a:pt x="115" y="75"/>
                    </a:cubicBezTo>
                    <a:cubicBezTo>
                      <a:pt x="115" y="75"/>
                      <a:pt x="115" y="75"/>
                      <a:pt x="115" y="75"/>
                    </a:cubicBezTo>
                    <a:cubicBezTo>
                      <a:pt x="115" y="75"/>
                      <a:pt x="115" y="75"/>
                      <a:pt x="115" y="75"/>
                    </a:cubicBezTo>
                    <a:cubicBezTo>
                      <a:pt x="131" y="69"/>
                      <a:pt x="147" y="64"/>
                      <a:pt x="163" y="60"/>
                    </a:cubicBezTo>
                    <a:cubicBezTo>
                      <a:pt x="164" y="60"/>
                      <a:pt x="164" y="60"/>
                      <a:pt x="164" y="60"/>
                    </a:cubicBezTo>
                    <a:cubicBezTo>
                      <a:pt x="164" y="60"/>
                      <a:pt x="164" y="60"/>
                      <a:pt x="164" y="60"/>
                    </a:cubicBezTo>
                    <a:cubicBezTo>
                      <a:pt x="164" y="60"/>
                      <a:pt x="165" y="60"/>
                      <a:pt x="165" y="60"/>
                    </a:cubicBezTo>
                    <a:cubicBezTo>
                      <a:pt x="165" y="60"/>
                      <a:pt x="165" y="60"/>
                      <a:pt x="165" y="60"/>
                    </a:cubicBezTo>
                    <a:cubicBezTo>
                      <a:pt x="166" y="60"/>
                      <a:pt x="166" y="60"/>
                      <a:pt x="166" y="60"/>
                    </a:cubicBezTo>
                    <a:cubicBezTo>
                      <a:pt x="166" y="60"/>
                      <a:pt x="166" y="60"/>
                      <a:pt x="166" y="60"/>
                    </a:cubicBezTo>
                    <a:cubicBezTo>
                      <a:pt x="166" y="60"/>
                      <a:pt x="167" y="60"/>
                      <a:pt x="167" y="59"/>
                    </a:cubicBezTo>
                    <a:cubicBezTo>
                      <a:pt x="167" y="59"/>
                      <a:pt x="167" y="59"/>
                      <a:pt x="167" y="59"/>
                    </a:cubicBezTo>
                    <a:cubicBezTo>
                      <a:pt x="168" y="59"/>
                      <a:pt x="168" y="59"/>
                      <a:pt x="168" y="59"/>
                    </a:cubicBezTo>
                    <a:cubicBezTo>
                      <a:pt x="168" y="59"/>
                      <a:pt x="168" y="59"/>
                      <a:pt x="168" y="59"/>
                    </a:cubicBezTo>
                    <a:cubicBezTo>
                      <a:pt x="168" y="59"/>
                      <a:pt x="169" y="59"/>
                      <a:pt x="170" y="59"/>
                    </a:cubicBezTo>
                    <a:cubicBezTo>
                      <a:pt x="169" y="59"/>
                      <a:pt x="169" y="59"/>
                      <a:pt x="169" y="59"/>
                    </a:cubicBezTo>
                    <a:cubicBezTo>
                      <a:pt x="170" y="58"/>
                      <a:pt x="170" y="58"/>
                      <a:pt x="170" y="58"/>
                    </a:cubicBezTo>
                    <a:cubicBezTo>
                      <a:pt x="170" y="59"/>
                      <a:pt x="170" y="59"/>
                      <a:pt x="170" y="59"/>
                    </a:cubicBezTo>
                    <a:cubicBezTo>
                      <a:pt x="171" y="59"/>
                      <a:pt x="171" y="59"/>
                      <a:pt x="172" y="59"/>
                    </a:cubicBezTo>
                    <a:cubicBezTo>
                      <a:pt x="172" y="58"/>
                      <a:pt x="172" y="58"/>
                      <a:pt x="172" y="58"/>
                    </a:cubicBezTo>
                    <a:cubicBezTo>
                      <a:pt x="172" y="58"/>
                      <a:pt x="172" y="58"/>
                      <a:pt x="172" y="58"/>
                    </a:cubicBezTo>
                    <a:cubicBezTo>
                      <a:pt x="172" y="58"/>
                      <a:pt x="172" y="58"/>
                      <a:pt x="172" y="58"/>
                    </a:cubicBezTo>
                    <a:cubicBezTo>
                      <a:pt x="173" y="58"/>
                      <a:pt x="173" y="58"/>
                      <a:pt x="174" y="58"/>
                    </a:cubicBezTo>
                    <a:cubicBezTo>
                      <a:pt x="174" y="58"/>
                      <a:pt x="174" y="58"/>
                      <a:pt x="174" y="58"/>
                    </a:cubicBezTo>
                    <a:cubicBezTo>
                      <a:pt x="174" y="57"/>
                      <a:pt x="174" y="57"/>
                      <a:pt x="174" y="57"/>
                    </a:cubicBezTo>
                    <a:cubicBezTo>
                      <a:pt x="174" y="58"/>
                      <a:pt x="174" y="58"/>
                      <a:pt x="174" y="58"/>
                    </a:cubicBezTo>
                    <a:cubicBezTo>
                      <a:pt x="175" y="58"/>
                      <a:pt x="175" y="58"/>
                      <a:pt x="176" y="58"/>
                    </a:cubicBezTo>
                    <a:cubicBezTo>
                      <a:pt x="176" y="57"/>
                      <a:pt x="176" y="57"/>
                      <a:pt x="176" y="57"/>
                    </a:cubicBezTo>
                    <a:cubicBezTo>
                      <a:pt x="176" y="57"/>
                      <a:pt x="176" y="57"/>
                      <a:pt x="176" y="57"/>
                    </a:cubicBezTo>
                    <a:cubicBezTo>
                      <a:pt x="177" y="58"/>
                      <a:pt x="177" y="58"/>
                      <a:pt x="177" y="58"/>
                    </a:cubicBezTo>
                    <a:cubicBezTo>
                      <a:pt x="177" y="58"/>
                      <a:pt x="178" y="57"/>
                      <a:pt x="178" y="57"/>
                    </a:cubicBezTo>
                    <a:cubicBezTo>
                      <a:pt x="178" y="57"/>
                      <a:pt x="178" y="57"/>
                      <a:pt x="178" y="57"/>
                    </a:cubicBezTo>
                    <a:cubicBezTo>
                      <a:pt x="179" y="57"/>
                      <a:pt x="179" y="57"/>
                      <a:pt x="179" y="57"/>
                    </a:cubicBezTo>
                    <a:cubicBezTo>
                      <a:pt x="179" y="57"/>
                      <a:pt x="179" y="57"/>
                      <a:pt x="179" y="57"/>
                    </a:cubicBezTo>
                    <a:cubicBezTo>
                      <a:pt x="179" y="57"/>
                      <a:pt x="180" y="57"/>
                      <a:pt x="180" y="57"/>
                    </a:cubicBezTo>
                    <a:cubicBezTo>
                      <a:pt x="180" y="57"/>
                      <a:pt x="180" y="57"/>
                      <a:pt x="180" y="57"/>
                    </a:cubicBezTo>
                    <a:cubicBezTo>
                      <a:pt x="181" y="57"/>
                      <a:pt x="181" y="57"/>
                      <a:pt x="181" y="57"/>
                    </a:cubicBezTo>
                    <a:cubicBezTo>
                      <a:pt x="181" y="57"/>
                      <a:pt x="181" y="57"/>
                      <a:pt x="181" y="57"/>
                    </a:cubicBezTo>
                    <a:cubicBezTo>
                      <a:pt x="181" y="57"/>
                      <a:pt x="182" y="57"/>
                      <a:pt x="183" y="57"/>
                    </a:cubicBezTo>
                    <a:cubicBezTo>
                      <a:pt x="183" y="57"/>
                      <a:pt x="183" y="57"/>
                      <a:pt x="183" y="57"/>
                    </a:cubicBezTo>
                    <a:cubicBezTo>
                      <a:pt x="183" y="57"/>
                      <a:pt x="183" y="57"/>
                      <a:pt x="183" y="57"/>
                    </a:cubicBezTo>
                    <a:cubicBezTo>
                      <a:pt x="198" y="54"/>
                      <a:pt x="215" y="53"/>
                      <a:pt x="231" y="53"/>
                    </a:cubicBezTo>
                    <a:cubicBezTo>
                      <a:pt x="261" y="53"/>
                      <a:pt x="291" y="57"/>
                      <a:pt x="319" y="66"/>
                    </a:cubicBezTo>
                    <a:cubicBezTo>
                      <a:pt x="319" y="65"/>
                      <a:pt x="319" y="65"/>
                      <a:pt x="319" y="65"/>
                    </a:cubicBezTo>
                    <a:cubicBezTo>
                      <a:pt x="319" y="65"/>
                      <a:pt x="319" y="65"/>
                      <a:pt x="319" y="65"/>
                    </a:cubicBezTo>
                    <a:cubicBezTo>
                      <a:pt x="319" y="66"/>
                      <a:pt x="319" y="66"/>
                      <a:pt x="319" y="66"/>
                    </a:cubicBezTo>
                    <a:cubicBezTo>
                      <a:pt x="319" y="66"/>
                      <a:pt x="320" y="66"/>
                      <a:pt x="320" y="66"/>
                    </a:cubicBezTo>
                    <a:cubicBezTo>
                      <a:pt x="320" y="65"/>
                      <a:pt x="320" y="65"/>
                      <a:pt x="320" y="65"/>
                    </a:cubicBezTo>
                    <a:cubicBezTo>
                      <a:pt x="321" y="65"/>
                      <a:pt x="321" y="65"/>
                      <a:pt x="321" y="65"/>
                    </a:cubicBezTo>
                    <a:cubicBezTo>
                      <a:pt x="321" y="66"/>
                      <a:pt x="321" y="66"/>
                      <a:pt x="321" y="66"/>
                    </a:cubicBezTo>
                    <a:cubicBezTo>
                      <a:pt x="321" y="66"/>
                      <a:pt x="321" y="66"/>
                      <a:pt x="322" y="66"/>
                    </a:cubicBezTo>
                    <a:cubicBezTo>
                      <a:pt x="322" y="66"/>
                      <a:pt x="322" y="66"/>
                      <a:pt x="322" y="66"/>
                    </a:cubicBezTo>
                    <a:cubicBezTo>
                      <a:pt x="322" y="66"/>
                      <a:pt x="322" y="66"/>
                      <a:pt x="322" y="66"/>
                    </a:cubicBezTo>
                    <a:cubicBezTo>
                      <a:pt x="322" y="67"/>
                      <a:pt x="322" y="67"/>
                      <a:pt x="322" y="67"/>
                    </a:cubicBezTo>
                    <a:cubicBezTo>
                      <a:pt x="322" y="67"/>
                      <a:pt x="323" y="67"/>
                      <a:pt x="323" y="67"/>
                    </a:cubicBezTo>
                    <a:cubicBezTo>
                      <a:pt x="323" y="66"/>
                      <a:pt x="323" y="66"/>
                      <a:pt x="323" y="66"/>
                    </a:cubicBezTo>
                    <a:cubicBezTo>
                      <a:pt x="324" y="66"/>
                      <a:pt x="324" y="66"/>
                      <a:pt x="324" y="66"/>
                    </a:cubicBezTo>
                    <a:cubicBezTo>
                      <a:pt x="323" y="67"/>
                      <a:pt x="323" y="67"/>
                      <a:pt x="323" y="67"/>
                    </a:cubicBezTo>
                    <a:cubicBezTo>
                      <a:pt x="324" y="67"/>
                      <a:pt x="324" y="67"/>
                      <a:pt x="325" y="67"/>
                    </a:cubicBezTo>
                    <a:cubicBezTo>
                      <a:pt x="325" y="66"/>
                      <a:pt x="325" y="66"/>
                      <a:pt x="325" y="66"/>
                    </a:cubicBezTo>
                    <a:cubicBezTo>
                      <a:pt x="325" y="67"/>
                      <a:pt x="325" y="67"/>
                      <a:pt x="325" y="67"/>
                    </a:cubicBezTo>
                    <a:cubicBezTo>
                      <a:pt x="325" y="68"/>
                      <a:pt x="325" y="68"/>
                      <a:pt x="325" y="68"/>
                    </a:cubicBezTo>
                    <a:cubicBezTo>
                      <a:pt x="325" y="68"/>
                      <a:pt x="326" y="68"/>
                      <a:pt x="326" y="68"/>
                    </a:cubicBezTo>
                    <a:cubicBezTo>
                      <a:pt x="326" y="67"/>
                      <a:pt x="326" y="67"/>
                      <a:pt x="326" y="67"/>
                    </a:cubicBezTo>
                    <a:cubicBezTo>
                      <a:pt x="327" y="67"/>
                      <a:pt x="327" y="67"/>
                      <a:pt x="327" y="67"/>
                    </a:cubicBezTo>
                    <a:cubicBezTo>
                      <a:pt x="326" y="68"/>
                      <a:pt x="326" y="68"/>
                      <a:pt x="326" y="68"/>
                    </a:cubicBezTo>
                    <a:cubicBezTo>
                      <a:pt x="327" y="68"/>
                      <a:pt x="327" y="68"/>
                      <a:pt x="328" y="68"/>
                    </a:cubicBezTo>
                    <a:cubicBezTo>
                      <a:pt x="328" y="68"/>
                      <a:pt x="328" y="68"/>
                      <a:pt x="328" y="68"/>
                    </a:cubicBezTo>
                    <a:cubicBezTo>
                      <a:pt x="328" y="68"/>
                      <a:pt x="328" y="68"/>
                      <a:pt x="328" y="68"/>
                    </a:cubicBezTo>
                    <a:cubicBezTo>
                      <a:pt x="328" y="68"/>
                      <a:pt x="328" y="68"/>
                      <a:pt x="328" y="68"/>
                    </a:cubicBezTo>
                    <a:cubicBezTo>
                      <a:pt x="328" y="69"/>
                      <a:pt x="329" y="69"/>
                      <a:pt x="329" y="69"/>
                    </a:cubicBezTo>
                    <a:cubicBezTo>
                      <a:pt x="329" y="68"/>
                      <a:pt x="329" y="68"/>
                      <a:pt x="329" y="68"/>
                    </a:cubicBezTo>
                    <a:cubicBezTo>
                      <a:pt x="330" y="68"/>
                      <a:pt x="330" y="68"/>
                      <a:pt x="330" y="68"/>
                    </a:cubicBezTo>
                    <a:cubicBezTo>
                      <a:pt x="329" y="69"/>
                      <a:pt x="329" y="69"/>
                      <a:pt x="329" y="69"/>
                    </a:cubicBezTo>
                    <a:cubicBezTo>
                      <a:pt x="330" y="69"/>
                      <a:pt x="330" y="69"/>
                      <a:pt x="330" y="69"/>
                    </a:cubicBezTo>
                    <a:cubicBezTo>
                      <a:pt x="331" y="69"/>
                      <a:pt x="331" y="69"/>
                      <a:pt x="331" y="69"/>
                    </a:cubicBezTo>
                    <a:cubicBezTo>
                      <a:pt x="331" y="69"/>
                      <a:pt x="331" y="69"/>
                      <a:pt x="331" y="69"/>
                    </a:cubicBezTo>
                    <a:cubicBezTo>
                      <a:pt x="331" y="69"/>
                      <a:pt x="331" y="69"/>
                      <a:pt x="331" y="69"/>
                    </a:cubicBezTo>
                    <a:cubicBezTo>
                      <a:pt x="331" y="70"/>
                      <a:pt x="332" y="70"/>
                      <a:pt x="332" y="70"/>
                    </a:cubicBezTo>
                    <a:cubicBezTo>
                      <a:pt x="332" y="70"/>
                      <a:pt x="332" y="70"/>
                      <a:pt x="332" y="70"/>
                    </a:cubicBezTo>
                    <a:cubicBezTo>
                      <a:pt x="332" y="70"/>
                      <a:pt x="332" y="70"/>
                      <a:pt x="332" y="70"/>
                    </a:cubicBezTo>
                    <a:cubicBezTo>
                      <a:pt x="332" y="70"/>
                      <a:pt x="332" y="70"/>
                      <a:pt x="332" y="70"/>
                    </a:cubicBezTo>
                    <a:cubicBezTo>
                      <a:pt x="352" y="77"/>
                      <a:pt x="371" y="86"/>
                      <a:pt x="389" y="97"/>
                    </a:cubicBezTo>
                    <a:cubicBezTo>
                      <a:pt x="389" y="96"/>
                      <a:pt x="389" y="96"/>
                      <a:pt x="389" y="96"/>
                    </a:cubicBezTo>
                    <a:cubicBezTo>
                      <a:pt x="390" y="96"/>
                      <a:pt x="390" y="96"/>
                      <a:pt x="390" y="96"/>
                    </a:cubicBezTo>
                    <a:cubicBezTo>
                      <a:pt x="390" y="97"/>
                      <a:pt x="390" y="97"/>
                      <a:pt x="390" y="97"/>
                    </a:cubicBezTo>
                    <a:cubicBezTo>
                      <a:pt x="390" y="97"/>
                      <a:pt x="390" y="97"/>
                      <a:pt x="391" y="97"/>
                    </a:cubicBezTo>
                    <a:cubicBezTo>
                      <a:pt x="391" y="97"/>
                      <a:pt x="391" y="97"/>
                      <a:pt x="391" y="97"/>
                    </a:cubicBezTo>
                    <a:cubicBezTo>
                      <a:pt x="391" y="97"/>
                      <a:pt x="391" y="97"/>
                      <a:pt x="391" y="97"/>
                    </a:cubicBezTo>
                    <a:cubicBezTo>
                      <a:pt x="391" y="98"/>
                      <a:pt x="391" y="98"/>
                      <a:pt x="391" y="98"/>
                    </a:cubicBezTo>
                    <a:cubicBezTo>
                      <a:pt x="391" y="98"/>
                      <a:pt x="392" y="98"/>
                      <a:pt x="392" y="98"/>
                    </a:cubicBezTo>
                    <a:cubicBezTo>
                      <a:pt x="393" y="97"/>
                      <a:pt x="393" y="97"/>
                      <a:pt x="393" y="97"/>
                    </a:cubicBezTo>
                    <a:cubicBezTo>
                      <a:pt x="393" y="97"/>
                      <a:pt x="393" y="97"/>
                      <a:pt x="393" y="97"/>
                    </a:cubicBezTo>
                    <a:cubicBezTo>
                      <a:pt x="392" y="98"/>
                      <a:pt x="392" y="98"/>
                      <a:pt x="392" y="98"/>
                    </a:cubicBezTo>
                    <a:cubicBezTo>
                      <a:pt x="393" y="99"/>
                      <a:pt x="393" y="99"/>
                      <a:pt x="393" y="99"/>
                    </a:cubicBezTo>
                    <a:cubicBezTo>
                      <a:pt x="394" y="97"/>
                      <a:pt x="394" y="97"/>
                      <a:pt x="394" y="97"/>
                    </a:cubicBezTo>
                    <a:cubicBezTo>
                      <a:pt x="395" y="97"/>
                      <a:pt x="395" y="97"/>
                      <a:pt x="395" y="97"/>
                    </a:cubicBezTo>
                    <a:cubicBezTo>
                      <a:pt x="393" y="99"/>
                      <a:pt x="393" y="99"/>
                      <a:pt x="393" y="99"/>
                    </a:cubicBezTo>
                    <a:cubicBezTo>
                      <a:pt x="394" y="99"/>
                      <a:pt x="394" y="100"/>
                      <a:pt x="394" y="100"/>
                    </a:cubicBezTo>
                    <a:cubicBezTo>
                      <a:pt x="396" y="98"/>
                      <a:pt x="396" y="98"/>
                      <a:pt x="396" y="98"/>
                    </a:cubicBezTo>
                    <a:cubicBezTo>
                      <a:pt x="396" y="98"/>
                      <a:pt x="396" y="98"/>
                      <a:pt x="396" y="98"/>
                    </a:cubicBezTo>
                    <a:cubicBezTo>
                      <a:pt x="395" y="100"/>
                      <a:pt x="395" y="100"/>
                      <a:pt x="395" y="100"/>
                    </a:cubicBezTo>
                    <a:cubicBezTo>
                      <a:pt x="395" y="100"/>
                      <a:pt x="395" y="100"/>
                      <a:pt x="396" y="101"/>
                    </a:cubicBezTo>
                    <a:cubicBezTo>
                      <a:pt x="398" y="98"/>
                      <a:pt x="398" y="98"/>
                      <a:pt x="398" y="98"/>
                    </a:cubicBezTo>
                    <a:cubicBezTo>
                      <a:pt x="398" y="98"/>
                      <a:pt x="398" y="98"/>
                      <a:pt x="398" y="98"/>
                    </a:cubicBezTo>
                    <a:cubicBezTo>
                      <a:pt x="396" y="101"/>
                      <a:pt x="396" y="101"/>
                      <a:pt x="396" y="101"/>
                    </a:cubicBezTo>
                    <a:cubicBezTo>
                      <a:pt x="396" y="101"/>
                      <a:pt x="397" y="101"/>
                      <a:pt x="397" y="101"/>
                    </a:cubicBezTo>
                    <a:cubicBezTo>
                      <a:pt x="399" y="98"/>
                      <a:pt x="399" y="98"/>
                      <a:pt x="399" y="98"/>
                    </a:cubicBezTo>
                    <a:cubicBezTo>
                      <a:pt x="400" y="98"/>
                      <a:pt x="400" y="98"/>
                      <a:pt x="400" y="98"/>
                    </a:cubicBezTo>
                    <a:cubicBezTo>
                      <a:pt x="397" y="102"/>
                      <a:pt x="397" y="102"/>
                      <a:pt x="397" y="102"/>
                    </a:cubicBezTo>
                    <a:cubicBezTo>
                      <a:pt x="398" y="102"/>
                      <a:pt x="398" y="102"/>
                      <a:pt x="398" y="102"/>
                    </a:cubicBezTo>
                    <a:cubicBezTo>
                      <a:pt x="401" y="98"/>
                      <a:pt x="401" y="98"/>
                      <a:pt x="401" y="98"/>
                    </a:cubicBezTo>
                    <a:cubicBezTo>
                      <a:pt x="401" y="98"/>
                      <a:pt x="401" y="98"/>
                      <a:pt x="401" y="98"/>
                    </a:cubicBezTo>
                    <a:cubicBezTo>
                      <a:pt x="399" y="102"/>
                      <a:pt x="399" y="102"/>
                      <a:pt x="399" y="102"/>
                    </a:cubicBezTo>
                    <a:cubicBezTo>
                      <a:pt x="399" y="103"/>
                      <a:pt x="399" y="103"/>
                      <a:pt x="400" y="103"/>
                    </a:cubicBezTo>
                    <a:cubicBezTo>
                      <a:pt x="402" y="99"/>
                      <a:pt x="402" y="99"/>
                      <a:pt x="402" y="99"/>
                    </a:cubicBezTo>
                    <a:cubicBezTo>
                      <a:pt x="403" y="99"/>
                      <a:pt x="403" y="99"/>
                      <a:pt x="403" y="99"/>
                    </a:cubicBezTo>
                    <a:cubicBezTo>
                      <a:pt x="400" y="103"/>
                      <a:pt x="400" y="103"/>
                      <a:pt x="400" y="103"/>
                    </a:cubicBezTo>
                    <a:cubicBezTo>
                      <a:pt x="400" y="103"/>
                      <a:pt x="401" y="104"/>
                      <a:pt x="401" y="104"/>
                    </a:cubicBezTo>
                    <a:cubicBezTo>
                      <a:pt x="404" y="99"/>
                      <a:pt x="404" y="99"/>
                      <a:pt x="404" y="99"/>
                    </a:cubicBezTo>
                    <a:cubicBezTo>
                      <a:pt x="405" y="99"/>
                      <a:pt x="405" y="99"/>
                      <a:pt x="405" y="99"/>
                    </a:cubicBezTo>
                    <a:cubicBezTo>
                      <a:pt x="401" y="104"/>
                      <a:pt x="401" y="104"/>
                      <a:pt x="401" y="104"/>
                    </a:cubicBezTo>
                    <a:cubicBezTo>
                      <a:pt x="402" y="104"/>
                      <a:pt x="402" y="105"/>
                      <a:pt x="402" y="105"/>
                    </a:cubicBezTo>
                    <a:cubicBezTo>
                      <a:pt x="406" y="99"/>
                      <a:pt x="406" y="99"/>
                      <a:pt x="406" y="99"/>
                    </a:cubicBezTo>
                    <a:cubicBezTo>
                      <a:pt x="406" y="100"/>
                      <a:pt x="406" y="100"/>
                      <a:pt x="406" y="100"/>
                    </a:cubicBezTo>
                    <a:cubicBezTo>
                      <a:pt x="403" y="105"/>
                      <a:pt x="403" y="105"/>
                      <a:pt x="403" y="105"/>
                    </a:cubicBezTo>
                    <a:cubicBezTo>
                      <a:pt x="403" y="105"/>
                      <a:pt x="403" y="105"/>
                      <a:pt x="404" y="106"/>
                    </a:cubicBezTo>
                    <a:cubicBezTo>
                      <a:pt x="407" y="100"/>
                      <a:pt x="407" y="100"/>
                      <a:pt x="407" y="100"/>
                    </a:cubicBezTo>
                    <a:cubicBezTo>
                      <a:pt x="408" y="100"/>
                      <a:pt x="408" y="100"/>
                      <a:pt x="408" y="100"/>
                    </a:cubicBezTo>
                    <a:cubicBezTo>
                      <a:pt x="404" y="106"/>
                      <a:pt x="404" y="106"/>
                      <a:pt x="404" y="106"/>
                    </a:cubicBezTo>
                    <a:cubicBezTo>
                      <a:pt x="404" y="106"/>
                      <a:pt x="404" y="106"/>
                      <a:pt x="405" y="106"/>
                    </a:cubicBezTo>
                    <a:cubicBezTo>
                      <a:pt x="409" y="100"/>
                      <a:pt x="409" y="100"/>
                      <a:pt x="409" y="100"/>
                    </a:cubicBezTo>
                    <a:cubicBezTo>
                      <a:pt x="409" y="100"/>
                      <a:pt x="409" y="100"/>
                      <a:pt x="409" y="100"/>
                    </a:cubicBezTo>
                    <a:cubicBezTo>
                      <a:pt x="405" y="107"/>
                      <a:pt x="405" y="107"/>
                      <a:pt x="405" y="107"/>
                    </a:cubicBezTo>
                    <a:cubicBezTo>
                      <a:pt x="405" y="107"/>
                      <a:pt x="406" y="107"/>
                      <a:pt x="406" y="107"/>
                    </a:cubicBezTo>
                    <a:cubicBezTo>
                      <a:pt x="411" y="101"/>
                      <a:pt x="411" y="101"/>
                      <a:pt x="411" y="101"/>
                    </a:cubicBezTo>
                    <a:cubicBezTo>
                      <a:pt x="411" y="101"/>
                      <a:pt x="411" y="101"/>
                      <a:pt x="411" y="101"/>
                    </a:cubicBezTo>
                    <a:cubicBezTo>
                      <a:pt x="406" y="108"/>
                      <a:pt x="406" y="108"/>
                      <a:pt x="406" y="108"/>
                    </a:cubicBezTo>
                    <a:cubicBezTo>
                      <a:pt x="407" y="108"/>
                      <a:pt x="407" y="108"/>
                      <a:pt x="407" y="108"/>
                    </a:cubicBezTo>
                    <a:cubicBezTo>
                      <a:pt x="412" y="101"/>
                      <a:pt x="412" y="101"/>
                      <a:pt x="412" y="101"/>
                    </a:cubicBezTo>
                    <a:cubicBezTo>
                      <a:pt x="412" y="102"/>
                      <a:pt x="412" y="102"/>
                      <a:pt x="412" y="102"/>
                    </a:cubicBezTo>
                    <a:cubicBezTo>
                      <a:pt x="408" y="108"/>
                      <a:pt x="408" y="108"/>
                      <a:pt x="408" y="108"/>
                    </a:cubicBezTo>
                    <a:cubicBezTo>
                      <a:pt x="408" y="109"/>
                      <a:pt x="408" y="109"/>
                      <a:pt x="409" y="109"/>
                    </a:cubicBezTo>
                    <a:cubicBezTo>
                      <a:pt x="414" y="102"/>
                      <a:pt x="414" y="102"/>
                      <a:pt x="414" y="102"/>
                    </a:cubicBezTo>
                    <a:cubicBezTo>
                      <a:pt x="414" y="102"/>
                      <a:pt x="414" y="102"/>
                      <a:pt x="414" y="102"/>
                    </a:cubicBezTo>
                    <a:cubicBezTo>
                      <a:pt x="409" y="109"/>
                      <a:pt x="409" y="109"/>
                      <a:pt x="409" y="109"/>
                    </a:cubicBezTo>
                    <a:cubicBezTo>
                      <a:pt x="409" y="110"/>
                      <a:pt x="410" y="110"/>
                      <a:pt x="410" y="110"/>
                    </a:cubicBezTo>
                    <a:cubicBezTo>
                      <a:pt x="415" y="103"/>
                      <a:pt x="415" y="103"/>
                      <a:pt x="415" y="103"/>
                    </a:cubicBezTo>
                    <a:cubicBezTo>
                      <a:pt x="415" y="103"/>
                      <a:pt x="415" y="103"/>
                      <a:pt x="415" y="103"/>
                    </a:cubicBezTo>
                    <a:cubicBezTo>
                      <a:pt x="410" y="110"/>
                      <a:pt x="410" y="110"/>
                      <a:pt x="410" y="110"/>
                    </a:cubicBezTo>
                    <a:cubicBezTo>
                      <a:pt x="411" y="110"/>
                      <a:pt x="411" y="111"/>
                      <a:pt x="411" y="111"/>
                    </a:cubicBezTo>
                    <a:cubicBezTo>
                      <a:pt x="416" y="103"/>
                      <a:pt x="416" y="103"/>
                      <a:pt x="416" y="103"/>
                    </a:cubicBezTo>
                    <a:cubicBezTo>
                      <a:pt x="417" y="104"/>
                      <a:pt x="417" y="104"/>
                      <a:pt x="417" y="104"/>
                    </a:cubicBezTo>
                    <a:cubicBezTo>
                      <a:pt x="411" y="111"/>
                      <a:pt x="411" y="111"/>
                      <a:pt x="411" y="111"/>
                    </a:cubicBezTo>
                    <a:cubicBezTo>
                      <a:pt x="412" y="111"/>
                      <a:pt x="412" y="112"/>
                      <a:pt x="412" y="112"/>
                    </a:cubicBezTo>
                    <a:cubicBezTo>
                      <a:pt x="418" y="104"/>
                      <a:pt x="418" y="104"/>
                      <a:pt x="418" y="104"/>
                    </a:cubicBezTo>
                    <a:cubicBezTo>
                      <a:pt x="418" y="104"/>
                      <a:pt x="418" y="104"/>
                      <a:pt x="418" y="104"/>
                    </a:cubicBezTo>
                    <a:cubicBezTo>
                      <a:pt x="413" y="112"/>
                      <a:pt x="413" y="112"/>
                      <a:pt x="413" y="112"/>
                    </a:cubicBezTo>
                    <a:cubicBezTo>
                      <a:pt x="413" y="112"/>
                      <a:pt x="413" y="112"/>
                      <a:pt x="414" y="113"/>
                    </a:cubicBezTo>
                    <a:cubicBezTo>
                      <a:pt x="419" y="105"/>
                      <a:pt x="419" y="105"/>
                      <a:pt x="419" y="105"/>
                    </a:cubicBezTo>
                    <a:cubicBezTo>
                      <a:pt x="420" y="105"/>
                      <a:pt x="420" y="105"/>
                      <a:pt x="420" y="105"/>
                    </a:cubicBezTo>
                    <a:cubicBezTo>
                      <a:pt x="414" y="113"/>
                      <a:pt x="414" y="113"/>
                      <a:pt x="414" y="113"/>
                    </a:cubicBezTo>
                    <a:cubicBezTo>
                      <a:pt x="414" y="113"/>
                      <a:pt x="415" y="113"/>
                      <a:pt x="415" y="114"/>
                    </a:cubicBezTo>
                    <a:cubicBezTo>
                      <a:pt x="420" y="106"/>
                      <a:pt x="420" y="106"/>
                      <a:pt x="420" y="106"/>
                    </a:cubicBezTo>
                    <a:cubicBezTo>
                      <a:pt x="421" y="106"/>
                      <a:pt x="421" y="106"/>
                      <a:pt x="421" y="106"/>
                    </a:cubicBezTo>
                    <a:cubicBezTo>
                      <a:pt x="415" y="114"/>
                      <a:pt x="415" y="114"/>
                      <a:pt x="415" y="114"/>
                    </a:cubicBezTo>
                    <a:cubicBezTo>
                      <a:pt x="415" y="114"/>
                      <a:pt x="416" y="114"/>
                      <a:pt x="416" y="115"/>
                    </a:cubicBezTo>
                    <a:cubicBezTo>
                      <a:pt x="422" y="107"/>
                      <a:pt x="422" y="107"/>
                      <a:pt x="422" y="107"/>
                    </a:cubicBezTo>
                    <a:cubicBezTo>
                      <a:pt x="422" y="107"/>
                      <a:pt x="422" y="107"/>
                      <a:pt x="422" y="107"/>
                    </a:cubicBezTo>
                    <a:cubicBezTo>
                      <a:pt x="416" y="115"/>
                      <a:pt x="416" y="115"/>
                      <a:pt x="416" y="115"/>
                    </a:cubicBezTo>
                    <a:cubicBezTo>
                      <a:pt x="417" y="115"/>
                      <a:pt x="417" y="115"/>
                      <a:pt x="417" y="116"/>
                    </a:cubicBezTo>
                    <a:cubicBezTo>
                      <a:pt x="423" y="108"/>
                      <a:pt x="423" y="108"/>
                      <a:pt x="423" y="108"/>
                    </a:cubicBezTo>
                    <a:cubicBezTo>
                      <a:pt x="423" y="109"/>
                      <a:pt x="423" y="109"/>
                      <a:pt x="423" y="109"/>
                    </a:cubicBezTo>
                    <a:cubicBezTo>
                      <a:pt x="418" y="116"/>
                      <a:pt x="418" y="116"/>
                      <a:pt x="418" y="116"/>
                    </a:cubicBezTo>
                    <a:cubicBezTo>
                      <a:pt x="418" y="116"/>
                      <a:pt x="418" y="116"/>
                      <a:pt x="419" y="116"/>
                    </a:cubicBezTo>
                    <a:cubicBezTo>
                      <a:pt x="424" y="109"/>
                      <a:pt x="424" y="109"/>
                      <a:pt x="424" y="109"/>
                    </a:cubicBezTo>
                    <a:cubicBezTo>
                      <a:pt x="424" y="110"/>
                      <a:pt x="424" y="110"/>
                      <a:pt x="424" y="110"/>
                    </a:cubicBezTo>
                    <a:cubicBezTo>
                      <a:pt x="419" y="117"/>
                      <a:pt x="419" y="117"/>
                      <a:pt x="419" y="117"/>
                    </a:cubicBezTo>
                    <a:cubicBezTo>
                      <a:pt x="419" y="117"/>
                      <a:pt x="420" y="117"/>
                      <a:pt x="420" y="117"/>
                    </a:cubicBezTo>
                    <a:cubicBezTo>
                      <a:pt x="425" y="111"/>
                      <a:pt x="425" y="111"/>
                      <a:pt x="425" y="111"/>
                    </a:cubicBezTo>
                    <a:cubicBezTo>
                      <a:pt x="425" y="111"/>
                      <a:pt x="425" y="111"/>
                      <a:pt x="425" y="111"/>
                    </a:cubicBezTo>
                    <a:cubicBezTo>
                      <a:pt x="420" y="118"/>
                      <a:pt x="420" y="118"/>
                      <a:pt x="420" y="118"/>
                    </a:cubicBezTo>
                    <a:cubicBezTo>
                      <a:pt x="420" y="118"/>
                      <a:pt x="421" y="118"/>
                      <a:pt x="421" y="118"/>
                    </a:cubicBezTo>
                    <a:cubicBezTo>
                      <a:pt x="426" y="112"/>
                      <a:pt x="426" y="112"/>
                      <a:pt x="426" y="112"/>
                    </a:cubicBezTo>
                    <a:cubicBezTo>
                      <a:pt x="426" y="112"/>
                      <a:pt x="426" y="112"/>
                      <a:pt x="426" y="112"/>
                    </a:cubicBezTo>
                    <a:cubicBezTo>
                      <a:pt x="421" y="119"/>
                      <a:pt x="421" y="119"/>
                      <a:pt x="421" y="119"/>
                    </a:cubicBezTo>
                    <a:cubicBezTo>
                      <a:pt x="422" y="119"/>
                      <a:pt x="422" y="119"/>
                      <a:pt x="422" y="119"/>
                    </a:cubicBezTo>
                    <a:cubicBezTo>
                      <a:pt x="427" y="113"/>
                      <a:pt x="427" y="113"/>
                      <a:pt x="427" y="113"/>
                    </a:cubicBezTo>
                    <a:cubicBezTo>
                      <a:pt x="427" y="114"/>
                      <a:pt x="427" y="114"/>
                      <a:pt x="427" y="114"/>
                    </a:cubicBezTo>
                    <a:cubicBezTo>
                      <a:pt x="423" y="120"/>
                      <a:pt x="423" y="120"/>
                      <a:pt x="423" y="120"/>
                    </a:cubicBezTo>
                    <a:cubicBezTo>
                      <a:pt x="423" y="120"/>
                      <a:pt x="423" y="120"/>
                      <a:pt x="423" y="120"/>
                    </a:cubicBezTo>
                    <a:cubicBezTo>
                      <a:pt x="428" y="115"/>
                      <a:pt x="428" y="115"/>
                      <a:pt x="428" y="115"/>
                    </a:cubicBezTo>
                    <a:cubicBezTo>
                      <a:pt x="428" y="115"/>
                      <a:pt x="428" y="115"/>
                      <a:pt x="428" y="115"/>
                    </a:cubicBezTo>
                    <a:cubicBezTo>
                      <a:pt x="424" y="120"/>
                      <a:pt x="424" y="120"/>
                      <a:pt x="424" y="120"/>
                    </a:cubicBezTo>
                    <a:cubicBezTo>
                      <a:pt x="424" y="121"/>
                      <a:pt x="424" y="121"/>
                      <a:pt x="425" y="121"/>
                    </a:cubicBezTo>
                    <a:cubicBezTo>
                      <a:pt x="429" y="116"/>
                      <a:pt x="429" y="116"/>
                      <a:pt x="429" y="116"/>
                    </a:cubicBezTo>
                    <a:cubicBezTo>
                      <a:pt x="429" y="116"/>
                      <a:pt x="429" y="116"/>
                      <a:pt x="429" y="116"/>
                    </a:cubicBezTo>
                    <a:cubicBezTo>
                      <a:pt x="425" y="121"/>
                      <a:pt x="425" y="121"/>
                      <a:pt x="425" y="121"/>
                    </a:cubicBezTo>
                    <a:cubicBezTo>
                      <a:pt x="425" y="122"/>
                      <a:pt x="426" y="122"/>
                      <a:pt x="426" y="122"/>
                    </a:cubicBezTo>
                    <a:cubicBezTo>
                      <a:pt x="430" y="117"/>
                      <a:pt x="430" y="117"/>
                      <a:pt x="430" y="117"/>
                    </a:cubicBezTo>
                    <a:cubicBezTo>
                      <a:pt x="430" y="118"/>
                      <a:pt x="430" y="118"/>
                      <a:pt x="430" y="118"/>
                    </a:cubicBezTo>
                    <a:cubicBezTo>
                      <a:pt x="426" y="122"/>
                      <a:pt x="426" y="122"/>
                      <a:pt x="426" y="122"/>
                    </a:cubicBezTo>
                    <a:cubicBezTo>
                      <a:pt x="426" y="123"/>
                      <a:pt x="427" y="123"/>
                      <a:pt x="427" y="123"/>
                    </a:cubicBezTo>
                    <a:cubicBezTo>
                      <a:pt x="430" y="119"/>
                      <a:pt x="430" y="119"/>
                      <a:pt x="430" y="119"/>
                    </a:cubicBezTo>
                    <a:cubicBezTo>
                      <a:pt x="431" y="119"/>
                      <a:pt x="431" y="119"/>
                      <a:pt x="431" y="119"/>
                    </a:cubicBezTo>
                    <a:cubicBezTo>
                      <a:pt x="427" y="123"/>
                      <a:pt x="427" y="123"/>
                      <a:pt x="427" y="123"/>
                    </a:cubicBezTo>
                    <a:cubicBezTo>
                      <a:pt x="428" y="124"/>
                      <a:pt x="428" y="124"/>
                      <a:pt x="428" y="124"/>
                    </a:cubicBezTo>
                    <a:cubicBezTo>
                      <a:pt x="431" y="120"/>
                      <a:pt x="431" y="120"/>
                      <a:pt x="431" y="120"/>
                    </a:cubicBezTo>
                    <a:cubicBezTo>
                      <a:pt x="432" y="121"/>
                      <a:pt x="432" y="121"/>
                      <a:pt x="432" y="121"/>
                    </a:cubicBezTo>
                    <a:cubicBezTo>
                      <a:pt x="429" y="124"/>
                      <a:pt x="429" y="124"/>
                      <a:pt x="429" y="124"/>
                    </a:cubicBezTo>
                    <a:cubicBezTo>
                      <a:pt x="429" y="125"/>
                      <a:pt x="429" y="125"/>
                      <a:pt x="429" y="125"/>
                    </a:cubicBezTo>
                    <a:cubicBezTo>
                      <a:pt x="432" y="122"/>
                      <a:pt x="432" y="122"/>
                      <a:pt x="432" y="122"/>
                    </a:cubicBezTo>
                    <a:cubicBezTo>
                      <a:pt x="432" y="122"/>
                      <a:pt x="432" y="122"/>
                      <a:pt x="432" y="122"/>
                    </a:cubicBezTo>
                    <a:cubicBezTo>
                      <a:pt x="430" y="125"/>
                      <a:pt x="430" y="125"/>
                      <a:pt x="430" y="125"/>
                    </a:cubicBezTo>
                    <a:cubicBezTo>
                      <a:pt x="430" y="126"/>
                      <a:pt x="430" y="126"/>
                      <a:pt x="431" y="126"/>
                    </a:cubicBezTo>
                    <a:cubicBezTo>
                      <a:pt x="433" y="123"/>
                      <a:pt x="433" y="123"/>
                      <a:pt x="433" y="123"/>
                    </a:cubicBezTo>
                    <a:cubicBezTo>
                      <a:pt x="433" y="124"/>
                      <a:pt x="433" y="124"/>
                      <a:pt x="433" y="124"/>
                    </a:cubicBezTo>
                    <a:cubicBezTo>
                      <a:pt x="431" y="126"/>
                      <a:pt x="431" y="126"/>
                      <a:pt x="431" y="126"/>
                    </a:cubicBezTo>
                    <a:cubicBezTo>
                      <a:pt x="431" y="127"/>
                      <a:pt x="431" y="127"/>
                      <a:pt x="432" y="127"/>
                    </a:cubicBezTo>
                    <a:cubicBezTo>
                      <a:pt x="434" y="125"/>
                      <a:pt x="434" y="125"/>
                      <a:pt x="434" y="125"/>
                    </a:cubicBezTo>
                    <a:cubicBezTo>
                      <a:pt x="434" y="125"/>
                      <a:pt x="434" y="125"/>
                      <a:pt x="434" y="125"/>
                    </a:cubicBezTo>
                    <a:cubicBezTo>
                      <a:pt x="432" y="127"/>
                      <a:pt x="432" y="127"/>
                      <a:pt x="432" y="127"/>
                    </a:cubicBezTo>
                    <a:cubicBezTo>
                      <a:pt x="432" y="128"/>
                      <a:pt x="433" y="128"/>
                      <a:pt x="433" y="128"/>
                    </a:cubicBezTo>
                    <a:cubicBezTo>
                      <a:pt x="434" y="126"/>
                      <a:pt x="434" y="126"/>
                      <a:pt x="434" y="126"/>
                    </a:cubicBezTo>
                    <a:cubicBezTo>
                      <a:pt x="435" y="127"/>
                      <a:pt x="435" y="127"/>
                      <a:pt x="435" y="127"/>
                    </a:cubicBezTo>
                    <a:cubicBezTo>
                      <a:pt x="433" y="128"/>
                      <a:pt x="433" y="128"/>
                      <a:pt x="433" y="128"/>
                    </a:cubicBezTo>
                    <a:cubicBezTo>
                      <a:pt x="434" y="129"/>
                      <a:pt x="434" y="129"/>
                      <a:pt x="434" y="129"/>
                    </a:cubicBezTo>
                    <a:cubicBezTo>
                      <a:pt x="435" y="128"/>
                      <a:pt x="435" y="128"/>
                      <a:pt x="435" y="128"/>
                    </a:cubicBezTo>
                    <a:cubicBezTo>
                      <a:pt x="435" y="128"/>
                      <a:pt x="435" y="128"/>
                      <a:pt x="435" y="128"/>
                    </a:cubicBezTo>
                    <a:cubicBezTo>
                      <a:pt x="434" y="129"/>
                      <a:pt x="434" y="129"/>
                      <a:pt x="434" y="129"/>
                    </a:cubicBezTo>
                    <a:cubicBezTo>
                      <a:pt x="435" y="130"/>
                      <a:pt x="435" y="130"/>
                      <a:pt x="435" y="130"/>
                    </a:cubicBezTo>
                    <a:cubicBezTo>
                      <a:pt x="436" y="129"/>
                      <a:pt x="436" y="129"/>
                      <a:pt x="436" y="129"/>
                    </a:cubicBezTo>
                    <a:cubicBezTo>
                      <a:pt x="436" y="130"/>
                      <a:pt x="436" y="130"/>
                      <a:pt x="436" y="130"/>
                    </a:cubicBezTo>
                    <a:cubicBezTo>
                      <a:pt x="436" y="130"/>
                      <a:pt x="436" y="130"/>
                      <a:pt x="436" y="130"/>
                    </a:cubicBezTo>
                    <a:cubicBezTo>
                      <a:pt x="436" y="131"/>
                      <a:pt x="436" y="131"/>
                      <a:pt x="436" y="131"/>
                    </a:cubicBezTo>
                    <a:cubicBezTo>
                      <a:pt x="437" y="131"/>
                      <a:pt x="437" y="131"/>
                      <a:pt x="437" y="131"/>
                    </a:cubicBezTo>
                    <a:cubicBezTo>
                      <a:pt x="437" y="131"/>
                      <a:pt x="437" y="131"/>
                      <a:pt x="437" y="131"/>
                    </a:cubicBezTo>
                    <a:cubicBezTo>
                      <a:pt x="437" y="131"/>
                      <a:pt x="437" y="131"/>
                      <a:pt x="437" y="131"/>
                    </a:cubicBezTo>
                    <a:cubicBezTo>
                      <a:pt x="438" y="133"/>
                      <a:pt x="440" y="134"/>
                      <a:pt x="441" y="136"/>
                    </a:cubicBezTo>
                    <a:cubicBezTo>
                      <a:pt x="477" y="97"/>
                      <a:pt x="477" y="97"/>
                      <a:pt x="477" y="97"/>
                    </a:cubicBezTo>
                    <a:cubicBezTo>
                      <a:pt x="413" y="36"/>
                      <a:pt x="326" y="0"/>
                      <a:pt x="231" y="0"/>
                    </a:cubicBezTo>
                  </a:path>
                </a:pathLst>
              </a:custGeom>
              <a:solidFill>
                <a:srgbClr val="01AAE5"/>
              </a:solidFill>
              <a:ln>
                <a:noFill/>
              </a:ln>
              <a:extLst/>
            </p:spPr>
            <p:txBody>
              <a:bodyPr/>
              <a:lstStyle/>
              <a:p>
                <a:pPr eaLnBrk="1" hangingPunct="1">
                  <a:defRPr/>
                </a:pPr>
                <a:endParaRPr lang="zh-CN" altLang="en-US" sz="1050"/>
              </a:p>
            </p:txBody>
          </p:sp>
          <p:sp>
            <p:nvSpPr>
              <p:cNvPr id="3379" name="Freeform 2122"/>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380" name="Freeform 2123"/>
              <p:cNvSpPr>
                <a:spLocks/>
              </p:cNvSpPr>
              <p:nvPr/>
            </p:nvSpPr>
            <p:spPr bwMode="auto">
              <a:xfrm>
                <a:off x="17656356" y="2944077"/>
                <a:ext cx="13203"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1" name="Freeform 2124"/>
              <p:cNvSpPr>
                <a:spLocks/>
              </p:cNvSpPr>
              <p:nvPr/>
            </p:nvSpPr>
            <p:spPr bwMode="auto">
              <a:xfrm>
                <a:off x="17669559" y="2944077"/>
                <a:ext cx="0" cy="0"/>
              </a:xfrm>
              <a:custGeom>
                <a:avLst/>
                <a:gdLst>
                  <a:gd name="T0" fmla="*/ 0 h 2"/>
                  <a:gd name="T1" fmla="*/ 1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1"/>
                      <a:pt x="0" y="1"/>
                      <a:pt x="0" y="1"/>
                    </a:cubicBezTo>
                    <a:cubicBezTo>
                      <a:pt x="0" y="1"/>
                      <a:pt x="0" y="1"/>
                      <a:pt x="0" y="2"/>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2" name="Freeform 2125"/>
              <p:cNvSpPr>
                <a:spLocks/>
              </p:cNvSpPr>
              <p:nvPr/>
            </p:nvSpPr>
            <p:spPr bwMode="auto">
              <a:xfrm>
                <a:off x="17669559" y="2944077"/>
                <a:ext cx="13211"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3" name="Oval 2126"/>
              <p:cNvSpPr>
                <a:spLocks noChangeArrowheads="1"/>
              </p:cNvSpPr>
              <p:nvPr/>
            </p:nvSpPr>
            <p:spPr bwMode="auto">
              <a:xfrm>
                <a:off x="17682770" y="2944077"/>
                <a:ext cx="0" cy="0"/>
              </a:xfrm>
              <a:prstGeom prst="ellipse">
                <a:avLst/>
              </a:prstGeom>
              <a:solidFill>
                <a:srgbClr val="02E3FC"/>
              </a:solidFill>
              <a:ln>
                <a:noFill/>
              </a:ln>
              <a:extLst/>
            </p:spPr>
            <p:txBody>
              <a:bodyPr/>
              <a:lstStyle/>
              <a:p>
                <a:pPr eaLnBrk="1" hangingPunct="1">
                  <a:defRPr/>
                </a:pPr>
                <a:endParaRPr lang="zh-CN" altLang="en-US" sz="1050"/>
              </a:p>
            </p:txBody>
          </p:sp>
          <p:sp>
            <p:nvSpPr>
              <p:cNvPr id="3384" name="Oval 2127"/>
              <p:cNvSpPr>
                <a:spLocks noChangeArrowheads="1"/>
              </p:cNvSpPr>
              <p:nvPr/>
            </p:nvSpPr>
            <p:spPr bwMode="auto">
              <a:xfrm>
                <a:off x="17682770" y="2957905"/>
                <a:ext cx="13203" cy="0"/>
              </a:xfrm>
              <a:prstGeom prst="ellipse">
                <a:avLst/>
              </a:prstGeom>
              <a:solidFill>
                <a:srgbClr val="02E3FC"/>
              </a:solidFill>
              <a:ln>
                <a:noFill/>
              </a:ln>
              <a:extLst/>
            </p:spPr>
            <p:txBody>
              <a:bodyPr/>
              <a:lstStyle/>
              <a:p>
                <a:pPr eaLnBrk="1" hangingPunct="1">
                  <a:defRPr/>
                </a:pPr>
                <a:endParaRPr lang="zh-CN" altLang="en-US" sz="1050"/>
              </a:p>
            </p:txBody>
          </p:sp>
          <p:sp>
            <p:nvSpPr>
              <p:cNvPr id="3385" name="Freeform 2128"/>
              <p:cNvSpPr>
                <a:spLocks/>
              </p:cNvSpPr>
              <p:nvPr/>
            </p:nvSpPr>
            <p:spPr bwMode="auto">
              <a:xfrm>
                <a:off x="17682770" y="2944077"/>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386" name="Freeform 2129"/>
              <p:cNvSpPr>
                <a:spLocks/>
              </p:cNvSpPr>
              <p:nvPr/>
            </p:nvSpPr>
            <p:spPr bwMode="auto">
              <a:xfrm>
                <a:off x="17682770" y="2944077"/>
                <a:ext cx="0" cy="0"/>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0"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7" name="Freeform 2130"/>
              <p:cNvSpPr>
                <a:spLocks/>
              </p:cNvSpPr>
              <p:nvPr/>
            </p:nvSpPr>
            <p:spPr bwMode="auto">
              <a:xfrm>
                <a:off x="17656356" y="2944077"/>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8" name="Freeform 2131"/>
              <p:cNvSpPr>
                <a:spLocks/>
              </p:cNvSpPr>
              <p:nvPr/>
            </p:nvSpPr>
            <p:spPr bwMode="auto">
              <a:xfrm>
                <a:off x="17643145" y="2944077"/>
                <a:ext cx="0" cy="0"/>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89" name="Freeform 2132"/>
              <p:cNvSpPr>
                <a:spLocks/>
              </p:cNvSpPr>
              <p:nvPr/>
            </p:nvSpPr>
            <p:spPr bwMode="auto">
              <a:xfrm>
                <a:off x="17643145" y="2944077"/>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390" name="Freeform 2133"/>
              <p:cNvSpPr>
                <a:spLocks/>
              </p:cNvSpPr>
              <p:nvPr/>
            </p:nvSpPr>
            <p:spPr bwMode="auto">
              <a:xfrm>
                <a:off x="18012939" y="3096223"/>
                <a:ext cx="26414" cy="41500"/>
              </a:xfrm>
              <a:custGeom>
                <a:avLst/>
                <a:gdLst>
                  <a:gd name="T0" fmla="*/ 5 w 5"/>
                  <a:gd name="T1" fmla="*/ 0 h 8"/>
                  <a:gd name="T2" fmla="*/ 0 w 5"/>
                  <a:gd name="T3" fmla="*/ 7 h 8"/>
                  <a:gd name="T4" fmla="*/ 0 w 5"/>
                  <a:gd name="T5" fmla="*/ 8 h 8"/>
                  <a:gd name="T6" fmla="*/ 5 w 5"/>
                  <a:gd name="T7" fmla="*/ 1 h 8"/>
                  <a:gd name="T8" fmla="*/ 5 w 5"/>
                  <a:gd name="T9" fmla="*/ 0 h 8"/>
                </a:gdLst>
                <a:ahLst/>
                <a:cxnLst>
                  <a:cxn ang="0">
                    <a:pos x="T0" y="T1"/>
                  </a:cxn>
                  <a:cxn ang="0">
                    <a:pos x="T2" y="T3"/>
                  </a:cxn>
                  <a:cxn ang="0">
                    <a:pos x="T4" y="T5"/>
                  </a:cxn>
                  <a:cxn ang="0">
                    <a:pos x="T6" y="T7"/>
                  </a:cxn>
                  <a:cxn ang="0">
                    <a:pos x="T8" y="T9"/>
                  </a:cxn>
                </a:cxnLst>
                <a:rect l="0" t="0" r="r" b="b"/>
                <a:pathLst>
                  <a:path w="5" h="8">
                    <a:moveTo>
                      <a:pt x="5" y="0"/>
                    </a:moveTo>
                    <a:cubicBezTo>
                      <a:pt x="0" y="7"/>
                      <a:pt x="0" y="7"/>
                      <a:pt x="0" y="7"/>
                    </a:cubicBezTo>
                    <a:cubicBezTo>
                      <a:pt x="0" y="8"/>
                      <a:pt x="0" y="8"/>
                      <a:pt x="0" y="8"/>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391" name="Freeform 2134"/>
              <p:cNvSpPr>
                <a:spLocks/>
              </p:cNvSpPr>
              <p:nvPr/>
            </p:nvSpPr>
            <p:spPr bwMode="auto">
              <a:xfrm>
                <a:off x="18065767" y="3165386"/>
                <a:ext cx="13211" cy="13827"/>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0" y="2"/>
                      <a:pt x="0" y="2"/>
                      <a:pt x="0"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392" name="Freeform 2135"/>
              <p:cNvSpPr>
                <a:spLocks/>
              </p:cNvSpPr>
              <p:nvPr/>
            </p:nvSpPr>
            <p:spPr bwMode="auto">
              <a:xfrm>
                <a:off x="18065767" y="3151550"/>
                <a:ext cx="13211" cy="13836"/>
              </a:xfrm>
              <a:custGeom>
                <a:avLst/>
                <a:gdLst>
                  <a:gd name="T0" fmla="*/ 2 w 2"/>
                  <a:gd name="T1" fmla="*/ 0 h 3"/>
                  <a:gd name="T2" fmla="*/ 0 w 2"/>
                  <a:gd name="T3" fmla="*/ 3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1"/>
                      <a:pt x="2" y="1"/>
                      <a:pt x="2" y="1"/>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393" name="Freeform 2136"/>
              <p:cNvSpPr>
                <a:spLocks/>
              </p:cNvSpPr>
              <p:nvPr/>
            </p:nvSpPr>
            <p:spPr bwMode="auto">
              <a:xfrm>
                <a:off x="18092180" y="3179214"/>
                <a:ext cx="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394" name="Freeform 2137"/>
              <p:cNvSpPr>
                <a:spLocks/>
              </p:cNvSpPr>
              <p:nvPr/>
            </p:nvSpPr>
            <p:spPr bwMode="auto">
              <a:xfrm>
                <a:off x="18078978" y="3179214"/>
                <a:ext cx="13203"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395" name="Freeform 2138"/>
              <p:cNvSpPr>
                <a:spLocks/>
              </p:cNvSpPr>
              <p:nvPr/>
            </p:nvSpPr>
            <p:spPr bwMode="auto">
              <a:xfrm>
                <a:off x="18052564" y="3151550"/>
                <a:ext cx="13203" cy="13836"/>
              </a:xfrm>
              <a:custGeom>
                <a:avLst/>
                <a:gdLst>
                  <a:gd name="T0" fmla="*/ 3 w 3"/>
                  <a:gd name="T1" fmla="*/ 0 h 3"/>
                  <a:gd name="T2" fmla="*/ 0 w 3"/>
                  <a:gd name="T3" fmla="*/ 3 h 3"/>
                  <a:gd name="T4" fmla="*/ 1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0" y="3"/>
                      <a:pt x="0" y="3"/>
                      <a:pt x="0" y="3"/>
                    </a:cubicBezTo>
                    <a:cubicBezTo>
                      <a:pt x="1" y="3"/>
                      <a:pt x="1" y="3"/>
                      <a:pt x="1" y="3"/>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396" name="Freeform 2139"/>
              <p:cNvSpPr>
                <a:spLocks/>
              </p:cNvSpPr>
              <p:nvPr/>
            </p:nvSpPr>
            <p:spPr bwMode="auto">
              <a:xfrm>
                <a:off x="18078978" y="3165386"/>
                <a:ext cx="0" cy="13827"/>
              </a:xfrm>
              <a:custGeom>
                <a:avLst/>
                <a:gdLst>
                  <a:gd name="T0" fmla="*/ 1 w 2"/>
                  <a:gd name="T1" fmla="*/ 0 h 2"/>
                  <a:gd name="T2" fmla="*/ 0 w 2"/>
                  <a:gd name="T3" fmla="*/ 2 h 2"/>
                  <a:gd name="T4" fmla="*/ 0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1"/>
                      <a:pt x="2" y="1"/>
                      <a:pt x="2"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397" name="Freeform 2140"/>
              <p:cNvSpPr>
                <a:spLocks/>
              </p:cNvSpPr>
              <p:nvPr/>
            </p:nvSpPr>
            <p:spPr bwMode="auto">
              <a:xfrm>
                <a:off x="18039353" y="3137723"/>
                <a:ext cx="13211" cy="0"/>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0" y="5"/>
                      <a:pt x="0" y="5"/>
                      <a:pt x="0" y="5"/>
                    </a:cubicBezTo>
                    <a:cubicBezTo>
                      <a:pt x="1" y="5"/>
                      <a:pt x="1" y="5"/>
                      <a:pt x="1" y="5"/>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398" name="Freeform 2141"/>
              <p:cNvSpPr>
                <a:spLocks/>
              </p:cNvSpPr>
              <p:nvPr/>
            </p:nvSpPr>
            <p:spPr bwMode="auto">
              <a:xfrm>
                <a:off x="18052564" y="3137723"/>
                <a:ext cx="13203" cy="27664"/>
              </a:xfrm>
              <a:custGeom>
                <a:avLst/>
                <a:gdLst>
                  <a:gd name="T0" fmla="*/ 3 w 4"/>
                  <a:gd name="T1" fmla="*/ 0 h 4"/>
                  <a:gd name="T2" fmla="*/ 0 w 4"/>
                  <a:gd name="T3" fmla="*/ 4 h 4"/>
                  <a:gd name="T4" fmla="*/ 1 w 4"/>
                  <a:gd name="T5" fmla="*/ 4 h 4"/>
                  <a:gd name="T6" fmla="*/ 4 w 4"/>
                  <a:gd name="T7" fmla="*/ 1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1" y="4"/>
                    </a:cubicBezTo>
                    <a:cubicBezTo>
                      <a:pt x="4" y="1"/>
                      <a:pt x="4" y="1"/>
                      <a:pt x="4" y="1"/>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399" name="Freeform 2142"/>
              <p:cNvSpPr>
                <a:spLocks/>
              </p:cNvSpPr>
              <p:nvPr/>
            </p:nvSpPr>
            <p:spPr bwMode="auto">
              <a:xfrm>
                <a:off x="18039353" y="3123886"/>
                <a:ext cx="0" cy="13836"/>
              </a:xfrm>
              <a:custGeom>
                <a:avLst/>
                <a:gdLst>
                  <a:gd name="T0" fmla="*/ 5 w 5"/>
                  <a:gd name="T1" fmla="*/ 0 h 7"/>
                  <a:gd name="T2" fmla="*/ 0 w 5"/>
                  <a:gd name="T3" fmla="*/ 6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00" name="Freeform 2143"/>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01" name="Freeform 2144"/>
              <p:cNvSpPr>
                <a:spLocks/>
              </p:cNvSpPr>
              <p:nvPr/>
            </p:nvSpPr>
            <p:spPr bwMode="auto">
              <a:xfrm>
                <a:off x="18026150" y="3110059"/>
                <a:ext cx="13203" cy="27664"/>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6"/>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02" name="Freeform 2145"/>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0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3403" name="Freeform 2146"/>
              <p:cNvSpPr>
                <a:spLocks/>
              </p:cNvSpPr>
              <p:nvPr/>
            </p:nvSpPr>
            <p:spPr bwMode="auto">
              <a:xfrm>
                <a:off x="18039353" y="3137723"/>
                <a:ext cx="26414" cy="13827"/>
              </a:xfrm>
              <a:custGeom>
                <a:avLst/>
                <a:gdLst>
                  <a:gd name="T0" fmla="*/ 3 w 4"/>
                  <a:gd name="T1" fmla="*/ 0 h 4"/>
                  <a:gd name="T2" fmla="*/ 0 w 4"/>
                  <a:gd name="T3" fmla="*/ 4 h 4"/>
                  <a:gd name="T4" fmla="*/ 0 w 4"/>
                  <a:gd name="T5" fmla="*/ 4 h 4"/>
                  <a:gd name="T6" fmla="*/ 4 w 4"/>
                  <a:gd name="T7" fmla="*/ 0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0" y="4"/>
                      <a:pt x="0" y="4"/>
                      <a:pt x="0" y="4"/>
                    </a:cubicBezTo>
                    <a:cubicBezTo>
                      <a:pt x="0" y="4"/>
                      <a:pt x="0" y="4"/>
                      <a:pt x="0" y="4"/>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404" name="Freeform 2147"/>
              <p:cNvSpPr>
                <a:spLocks/>
              </p:cNvSpPr>
              <p:nvPr/>
            </p:nvSpPr>
            <p:spPr bwMode="auto">
              <a:xfrm>
                <a:off x="18039353" y="3137723"/>
                <a:ext cx="13211" cy="13827"/>
              </a:xfrm>
              <a:custGeom>
                <a:avLst/>
                <a:gdLst>
                  <a:gd name="T0" fmla="*/ 4 w 4"/>
                  <a:gd name="T1" fmla="*/ 0 h 5"/>
                  <a:gd name="T2" fmla="*/ 0 w 4"/>
                  <a:gd name="T3" fmla="*/ 5 h 5"/>
                  <a:gd name="T4" fmla="*/ 0 w 4"/>
                  <a:gd name="T5" fmla="*/ 5 h 5"/>
                  <a:gd name="T6" fmla="*/ 4 w 4"/>
                  <a:gd name="T7" fmla="*/ 1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0" y="5"/>
                      <a:pt x="0" y="5"/>
                      <a:pt x="0" y="5"/>
                    </a:cubicBezTo>
                    <a:cubicBezTo>
                      <a:pt x="0" y="5"/>
                      <a:pt x="0" y="5"/>
                      <a:pt x="0" y="5"/>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3405" name="Freeform 2148"/>
              <p:cNvSpPr>
                <a:spLocks/>
              </p:cNvSpPr>
              <p:nvPr/>
            </p:nvSpPr>
            <p:spPr bwMode="auto">
              <a:xfrm>
                <a:off x="18078978" y="3179214"/>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06" name="Freeform 2149"/>
              <p:cNvSpPr>
                <a:spLocks/>
              </p:cNvSpPr>
              <p:nvPr/>
            </p:nvSpPr>
            <p:spPr bwMode="auto">
              <a:xfrm>
                <a:off x="17907284" y="3054732"/>
                <a:ext cx="0" cy="0"/>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0" y="1"/>
                      <a:pt x="0" y="1"/>
                    </a:cubicBezTo>
                    <a:cubicBezTo>
                      <a:pt x="0" y="1"/>
                      <a:pt x="0" y="1"/>
                      <a:pt x="1" y="1"/>
                    </a:cubicBezTo>
                    <a:cubicBezTo>
                      <a:pt x="1" y="0"/>
                      <a:pt x="1" y="0"/>
                      <a:pt x="1"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07" name="Freeform 2150"/>
              <p:cNvSpPr>
                <a:spLocks/>
              </p:cNvSpPr>
              <p:nvPr/>
            </p:nvSpPr>
            <p:spPr bwMode="auto">
              <a:xfrm>
                <a:off x="17920495" y="3054732"/>
                <a:ext cx="13203" cy="13827"/>
              </a:xfrm>
              <a:custGeom>
                <a:avLst/>
                <a:gdLst>
                  <a:gd name="T0" fmla="*/ 1 w 2"/>
                  <a:gd name="T1" fmla="*/ 0 h 2"/>
                  <a:gd name="T2" fmla="*/ 0 w 2"/>
                  <a:gd name="T3" fmla="*/ 2 h 2"/>
                  <a:gd name="T4" fmla="*/ 0 w 2"/>
                  <a:gd name="T5" fmla="*/ 2 h 2"/>
                  <a:gd name="T6" fmla="*/ 2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2"/>
                      <a:pt x="0" y="2"/>
                      <a:pt x="0" y="2"/>
                    </a:cubicBezTo>
                    <a:cubicBezTo>
                      <a:pt x="0" y="2"/>
                      <a:pt x="0" y="2"/>
                      <a:pt x="0" y="2"/>
                    </a:cubicBezTo>
                    <a:cubicBezTo>
                      <a:pt x="2" y="0"/>
                      <a:pt x="2" y="0"/>
                      <a:pt x="2"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08" name="Freeform 2151"/>
              <p:cNvSpPr>
                <a:spLocks/>
              </p:cNvSpPr>
              <p:nvPr/>
            </p:nvSpPr>
            <p:spPr bwMode="auto">
              <a:xfrm>
                <a:off x="17907284" y="3054732"/>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09" name="Freeform 2152"/>
              <p:cNvSpPr>
                <a:spLocks/>
              </p:cNvSpPr>
              <p:nvPr/>
            </p:nvSpPr>
            <p:spPr bwMode="auto">
              <a:xfrm>
                <a:off x="17920495" y="3054732"/>
                <a:ext cx="0" cy="0"/>
              </a:xfrm>
              <a:custGeom>
                <a:avLst/>
                <a:gdLst>
                  <a:gd name="T0" fmla="*/ 1 w 1"/>
                  <a:gd name="T1" fmla="*/ 0 h 1"/>
                  <a:gd name="T2" fmla="*/ 0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0" y="1"/>
                      <a:pt x="0" y="1"/>
                      <a:pt x="0" y="1"/>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10" name="Freeform 2153"/>
              <p:cNvSpPr>
                <a:spLocks/>
              </p:cNvSpPr>
              <p:nvPr/>
            </p:nvSpPr>
            <p:spPr bwMode="auto">
              <a:xfrm>
                <a:off x="17920495" y="3054732"/>
                <a:ext cx="13203" cy="13827"/>
              </a:xfrm>
              <a:custGeom>
                <a:avLst/>
                <a:gdLst>
                  <a:gd name="T0" fmla="*/ 2 w 2"/>
                  <a:gd name="T1" fmla="*/ 0 h 2"/>
                  <a:gd name="T2" fmla="*/ 0 w 2"/>
                  <a:gd name="T3" fmla="*/ 2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2"/>
                      <a:pt x="0" y="2"/>
                      <a:pt x="0" y="2"/>
                    </a:cubicBezTo>
                    <a:cubicBezTo>
                      <a:pt x="1" y="2"/>
                      <a:pt x="1" y="2"/>
                      <a:pt x="1" y="2"/>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411" name="Freeform 2154"/>
              <p:cNvSpPr>
                <a:spLocks/>
              </p:cNvSpPr>
              <p:nvPr/>
            </p:nvSpPr>
            <p:spPr bwMode="auto">
              <a:xfrm>
                <a:off x="18012939" y="3096223"/>
                <a:ext cx="26414" cy="41500"/>
              </a:xfrm>
              <a:custGeom>
                <a:avLst/>
                <a:gdLst>
                  <a:gd name="T0" fmla="*/ 6 w 6"/>
                  <a:gd name="T1" fmla="*/ 0 h 8"/>
                  <a:gd name="T2" fmla="*/ 0 w 6"/>
                  <a:gd name="T3" fmla="*/ 8 h 8"/>
                  <a:gd name="T4" fmla="*/ 1 w 6"/>
                  <a:gd name="T5" fmla="*/ 8 h 8"/>
                  <a:gd name="T6" fmla="*/ 6 w 6"/>
                  <a:gd name="T7" fmla="*/ 1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1"/>
                      <a:pt x="6" y="1"/>
                      <a:pt x="6" y="1"/>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3412" name="Freeform 2155"/>
              <p:cNvSpPr>
                <a:spLocks/>
              </p:cNvSpPr>
              <p:nvPr/>
            </p:nvSpPr>
            <p:spPr bwMode="auto">
              <a:xfrm>
                <a:off x="17986525" y="3082395"/>
                <a:ext cx="13211" cy="13827"/>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3" name="Freeform 2156"/>
              <p:cNvSpPr>
                <a:spLocks/>
              </p:cNvSpPr>
              <p:nvPr/>
            </p:nvSpPr>
            <p:spPr bwMode="auto">
              <a:xfrm>
                <a:off x="17986525" y="3082395"/>
                <a:ext cx="13211" cy="27664"/>
              </a:xfrm>
              <a:custGeom>
                <a:avLst/>
                <a:gdLst>
                  <a:gd name="T0" fmla="*/ 5 w 5"/>
                  <a:gd name="T1" fmla="*/ 0 h 7"/>
                  <a:gd name="T2" fmla="*/ 0 w 5"/>
                  <a:gd name="T3" fmla="*/ 7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4" name="Freeform 2157"/>
              <p:cNvSpPr>
                <a:spLocks/>
              </p:cNvSpPr>
              <p:nvPr/>
            </p:nvSpPr>
            <p:spPr bwMode="auto">
              <a:xfrm>
                <a:off x="17973322" y="3082395"/>
                <a:ext cx="26414" cy="13827"/>
              </a:xfrm>
              <a:custGeom>
                <a:avLst/>
                <a:gdLst>
                  <a:gd name="T0" fmla="*/ 5 w 5"/>
                  <a:gd name="T1" fmla="*/ 0 h 7"/>
                  <a:gd name="T2" fmla="*/ 0 w 5"/>
                  <a:gd name="T3" fmla="*/ 7 h 7"/>
                  <a:gd name="T4" fmla="*/ 1 w 5"/>
                  <a:gd name="T5" fmla="*/ 7 h 7"/>
                  <a:gd name="T6" fmla="*/ 5 w 5"/>
                  <a:gd name="T7" fmla="*/ 1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7"/>
                      <a:pt x="0" y="7"/>
                      <a:pt x="0" y="7"/>
                    </a:cubicBezTo>
                    <a:cubicBezTo>
                      <a:pt x="0" y="7"/>
                      <a:pt x="1" y="7"/>
                      <a:pt x="1" y="7"/>
                    </a:cubicBezTo>
                    <a:cubicBezTo>
                      <a:pt x="5" y="1"/>
                      <a:pt x="5" y="1"/>
                      <a:pt x="5"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5" name="Freeform 2158"/>
              <p:cNvSpPr>
                <a:spLocks/>
              </p:cNvSpPr>
              <p:nvPr/>
            </p:nvSpPr>
            <p:spPr bwMode="auto">
              <a:xfrm>
                <a:off x="17999736" y="3082395"/>
                <a:ext cx="13203" cy="27664"/>
              </a:xfrm>
              <a:custGeom>
                <a:avLst/>
                <a:gdLst>
                  <a:gd name="T0" fmla="*/ 5 w 6"/>
                  <a:gd name="T1" fmla="*/ 0 h 8"/>
                  <a:gd name="T2" fmla="*/ 0 w 6"/>
                  <a:gd name="T3" fmla="*/ 8 h 8"/>
                  <a:gd name="T4" fmla="*/ 0 w 6"/>
                  <a:gd name="T5" fmla="*/ 8 h 8"/>
                  <a:gd name="T6" fmla="*/ 6 w 6"/>
                  <a:gd name="T7" fmla="*/ 1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1"/>
                      <a:pt x="6" y="1"/>
                      <a:pt x="6" y="1"/>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6" name="Freeform 2159"/>
              <p:cNvSpPr>
                <a:spLocks/>
              </p:cNvSpPr>
              <p:nvPr/>
            </p:nvSpPr>
            <p:spPr bwMode="auto">
              <a:xfrm>
                <a:off x="17999736" y="3096223"/>
                <a:ext cx="39617" cy="41500"/>
              </a:xfrm>
              <a:custGeom>
                <a:avLst/>
                <a:gdLst>
                  <a:gd name="T0" fmla="*/ 6 w 6"/>
                  <a:gd name="T1" fmla="*/ 0 h 8"/>
                  <a:gd name="T2" fmla="*/ 0 w 6"/>
                  <a:gd name="T3" fmla="*/ 8 h 8"/>
                  <a:gd name="T4" fmla="*/ 0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0" y="8"/>
                      <a:pt x="0"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3417" name="Freeform 2160"/>
              <p:cNvSpPr>
                <a:spLocks/>
              </p:cNvSpPr>
              <p:nvPr/>
            </p:nvSpPr>
            <p:spPr bwMode="auto">
              <a:xfrm>
                <a:off x="17973322" y="3082395"/>
                <a:ext cx="26414" cy="13827"/>
              </a:xfrm>
              <a:custGeom>
                <a:avLst/>
                <a:gdLst>
                  <a:gd name="T0" fmla="*/ 5 w 5"/>
                  <a:gd name="T1" fmla="*/ 0 h 7"/>
                  <a:gd name="T2" fmla="*/ 0 w 5"/>
                  <a:gd name="T3" fmla="*/ 6 h 7"/>
                  <a:gd name="T4" fmla="*/ 0 w 5"/>
                  <a:gd name="T5" fmla="*/ 7 h 7"/>
                  <a:gd name="T6" fmla="*/ 5 w 5"/>
                  <a:gd name="T7" fmla="*/ 0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0" y="6"/>
                      <a:pt x="0" y="6"/>
                      <a:pt x="0" y="6"/>
                    </a:cubicBezTo>
                    <a:cubicBezTo>
                      <a:pt x="0" y="6"/>
                      <a:pt x="0" y="7"/>
                      <a:pt x="0" y="7"/>
                    </a:cubicBezTo>
                    <a:cubicBezTo>
                      <a:pt x="5" y="0"/>
                      <a:pt x="5" y="0"/>
                      <a:pt x="5"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8" name="Freeform 2161"/>
              <p:cNvSpPr>
                <a:spLocks/>
              </p:cNvSpPr>
              <p:nvPr/>
            </p:nvSpPr>
            <p:spPr bwMode="auto">
              <a:xfrm>
                <a:off x="17999736" y="3096223"/>
                <a:ext cx="26414" cy="27664"/>
              </a:xfrm>
              <a:custGeom>
                <a:avLst/>
                <a:gdLst>
                  <a:gd name="T0" fmla="*/ 5 w 6"/>
                  <a:gd name="T1" fmla="*/ 0 h 8"/>
                  <a:gd name="T2" fmla="*/ 0 w 6"/>
                  <a:gd name="T3" fmla="*/ 8 h 8"/>
                  <a:gd name="T4" fmla="*/ 0 w 6"/>
                  <a:gd name="T5" fmla="*/ 8 h 8"/>
                  <a:gd name="T6" fmla="*/ 6 w 6"/>
                  <a:gd name="T7" fmla="*/ 0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0" y="8"/>
                      <a:pt x="0" y="8"/>
                      <a:pt x="0" y="8"/>
                    </a:cubicBezTo>
                    <a:cubicBezTo>
                      <a:pt x="0" y="8"/>
                      <a:pt x="0" y="8"/>
                      <a:pt x="0" y="8"/>
                    </a:cubicBezTo>
                    <a:cubicBezTo>
                      <a:pt x="6" y="0"/>
                      <a:pt x="6" y="0"/>
                      <a:pt x="6" y="0"/>
                    </a:cubicBezTo>
                    <a:cubicBezTo>
                      <a:pt x="5" y="0"/>
                      <a:pt x="5" y="0"/>
                      <a:pt x="5" y="0"/>
                    </a:cubicBezTo>
                  </a:path>
                </a:pathLst>
              </a:custGeom>
              <a:solidFill>
                <a:srgbClr val="02E3FC"/>
              </a:solidFill>
              <a:ln>
                <a:noFill/>
              </a:ln>
              <a:extLst/>
            </p:spPr>
            <p:txBody>
              <a:bodyPr/>
              <a:lstStyle/>
              <a:p>
                <a:pPr eaLnBrk="1" hangingPunct="1">
                  <a:defRPr/>
                </a:pPr>
                <a:endParaRPr lang="zh-CN" altLang="en-US" sz="1050"/>
              </a:p>
            </p:txBody>
          </p:sp>
          <p:sp>
            <p:nvSpPr>
              <p:cNvPr id="3419" name="Freeform 2162"/>
              <p:cNvSpPr>
                <a:spLocks/>
              </p:cNvSpPr>
              <p:nvPr/>
            </p:nvSpPr>
            <p:spPr bwMode="auto">
              <a:xfrm>
                <a:off x="17933697" y="3054732"/>
                <a:ext cx="13211" cy="27664"/>
              </a:xfrm>
              <a:custGeom>
                <a:avLst/>
                <a:gdLst>
                  <a:gd name="T0" fmla="*/ 2 w 2"/>
                  <a:gd name="T1" fmla="*/ 0 h 3"/>
                  <a:gd name="T2" fmla="*/ 0 w 2"/>
                  <a:gd name="T3" fmla="*/ 3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0" y="3"/>
                      <a:pt x="0" y="3"/>
                      <a:pt x="0" y="3"/>
                    </a:cubicBezTo>
                    <a:cubicBezTo>
                      <a:pt x="0" y="3"/>
                      <a:pt x="0" y="3"/>
                      <a:pt x="0" y="3"/>
                    </a:cubicBezTo>
                    <a:cubicBezTo>
                      <a:pt x="2" y="0"/>
                      <a:pt x="2" y="0"/>
                      <a:pt x="2"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420" name="Freeform 2163"/>
              <p:cNvSpPr>
                <a:spLocks/>
              </p:cNvSpPr>
              <p:nvPr/>
            </p:nvSpPr>
            <p:spPr bwMode="auto">
              <a:xfrm>
                <a:off x="17999736" y="3096223"/>
                <a:ext cx="13203" cy="13836"/>
              </a:xfrm>
              <a:custGeom>
                <a:avLst/>
                <a:gdLst>
                  <a:gd name="T0" fmla="*/ 6 w 6"/>
                  <a:gd name="T1" fmla="*/ 0 h 8"/>
                  <a:gd name="T2" fmla="*/ 0 w 6"/>
                  <a:gd name="T3" fmla="*/ 8 h 8"/>
                  <a:gd name="T4" fmla="*/ 1 w 6"/>
                  <a:gd name="T5" fmla="*/ 8 h 8"/>
                  <a:gd name="T6" fmla="*/ 6 w 6"/>
                  <a:gd name="T7" fmla="*/ 0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cubicBezTo>
                      <a:pt x="0" y="8"/>
                      <a:pt x="0" y="8"/>
                      <a:pt x="0" y="8"/>
                    </a:cubicBezTo>
                    <a:cubicBezTo>
                      <a:pt x="0" y="8"/>
                      <a:pt x="1" y="8"/>
                      <a:pt x="1" y="8"/>
                    </a:cubicBezTo>
                    <a:cubicBezTo>
                      <a:pt x="6" y="0"/>
                      <a:pt x="6" y="0"/>
                      <a:pt x="6" y="0"/>
                    </a:cubicBezTo>
                    <a:cubicBezTo>
                      <a:pt x="6" y="0"/>
                      <a:pt x="6" y="0"/>
                      <a:pt x="6" y="0"/>
                    </a:cubicBezTo>
                  </a:path>
                </a:pathLst>
              </a:custGeom>
              <a:solidFill>
                <a:srgbClr val="02E3FC"/>
              </a:solidFill>
              <a:ln>
                <a:noFill/>
              </a:ln>
              <a:extLst/>
            </p:spPr>
            <p:txBody>
              <a:bodyPr/>
              <a:lstStyle/>
              <a:p>
                <a:pPr eaLnBrk="1" hangingPunct="1">
                  <a:defRPr/>
                </a:pPr>
                <a:endParaRPr lang="zh-CN" altLang="en-US" sz="1050"/>
              </a:p>
            </p:txBody>
          </p:sp>
          <p:sp>
            <p:nvSpPr>
              <p:cNvPr id="3421" name="Freeform 2164"/>
              <p:cNvSpPr>
                <a:spLocks/>
              </p:cNvSpPr>
              <p:nvPr/>
            </p:nvSpPr>
            <p:spPr bwMode="auto">
              <a:xfrm>
                <a:off x="17946908" y="3068559"/>
                <a:ext cx="13203" cy="13836"/>
              </a:xfrm>
              <a:custGeom>
                <a:avLst/>
                <a:gdLst>
                  <a:gd name="T0" fmla="*/ 2 w 3"/>
                  <a:gd name="T1" fmla="*/ 0 h 4"/>
                  <a:gd name="T2" fmla="*/ 0 w 3"/>
                  <a:gd name="T3" fmla="*/ 4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4"/>
                      <a:pt x="0" y="4"/>
                      <a:pt x="0" y="4"/>
                    </a:cubicBezTo>
                    <a:cubicBezTo>
                      <a:pt x="0" y="4"/>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422" name="Freeform 2165"/>
              <p:cNvSpPr>
                <a:spLocks/>
              </p:cNvSpPr>
              <p:nvPr/>
            </p:nvSpPr>
            <p:spPr bwMode="auto">
              <a:xfrm>
                <a:off x="17946908" y="3054732"/>
                <a:ext cx="13203" cy="27664"/>
              </a:xfrm>
              <a:custGeom>
                <a:avLst/>
                <a:gdLst>
                  <a:gd name="T0" fmla="*/ 3 w 3"/>
                  <a:gd name="T1" fmla="*/ 0 h 4"/>
                  <a:gd name="T2" fmla="*/ 0 w 3"/>
                  <a:gd name="T3" fmla="*/ 4 h 4"/>
                  <a:gd name="T4" fmla="*/ 1 w 3"/>
                  <a:gd name="T5" fmla="*/ 4 h 4"/>
                  <a:gd name="T6" fmla="*/ 3 w 3"/>
                  <a:gd name="T7" fmla="*/ 0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0" y="4"/>
                      <a:pt x="0" y="4"/>
                      <a:pt x="0" y="4"/>
                    </a:cubicBezTo>
                    <a:cubicBezTo>
                      <a:pt x="0" y="4"/>
                      <a:pt x="1" y="4"/>
                      <a:pt x="1" y="4"/>
                    </a:cubicBezTo>
                    <a:cubicBezTo>
                      <a:pt x="3" y="0"/>
                      <a:pt x="3" y="0"/>
                      <a:pt x="3"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423" name="Freeform 2166"/>
              <p:cNvSpPr>
                <a:spLocks/>
              </p:cNvSpPr>
              <p:nvPr/>
            </p:nvSpPr>
            <p:spPr bwMode="auto">
              <a:xfrm>
                <a:off x="17933697" y="3054732"/>
                <a:ext cx="13211" cy="27664"/>
              </a:xfrm>
              <a:custGeom>
                <a:avLst/>
                <a:gdLst>
                  <a:gd name="T0" fmla="*/ 2 w 3"/>
                  <a:gd name="T1" fmla="*/ 0 h 4"/>
                  <a:gd name="T2" fmla="*/ 0 w 3"/>
                  <a:gd name="T3" fmla="*/ 3 h 4"/>
                  <a:gd name="T4" fmla="*/ 0 w 3"/>
                  <a:gd name="T5" fmla="*/ 4 h 4"/>
                  <a:gd name="T6" fmla="*/ 3 w 3"/>
                  <a:gd name="T7" fmla="*/ 0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3"/>
                      <a:pt x="0" y="3"/>
                      <a:pt x="0" y="3"/>
                    </a:cubicBezTo>
                    <a:cubicBezTo>
                      <a:pt x="0" y="3"/>
                      <a:pt x="0" y="4"/>
                      <a:pt x="0" y="4"/>
                    </a:cubicBezTo>
                    <a:cubicBezTo>
                      <a:pt x="3" y="0"/>
                      <a:pt x="3" y="0"/>
                      <a:pt x="3" y="0"/>
                    </a:cubicBezTo>
                    <a:cubicBezTo>
                      <a:pt x="2" y="0"/>
                      <a:pt x="2" y="0"/>
                      <a:pt x="2" y="0"/>
                    </a:cubicBezTo>
                  </a:path>
                </a:pathLst>
              </a:custGeom>
              <a:solidFill>
                <a:srgbClr val="02E3FC"/>
              </a:solidFill>
              <a:ln>
                <a:noFill/>
              </a:ln>
              <a:extLst/>
            </p:spPr>
            <p:txBody>
              <a:bodyPr/>
              <a:lstStyle/>
              <a:p>
                <a:pPr eaLnBrk="1" hangingPunct="1">
                  <a:defRPr/>
                </a:pPr>
                <a:endParaRPr lang="zh-CN" altLang="en-US" sz="1050"/>
              </a:p>
            </p:txBody>
          </p:sp>
          <p:sp>
            <p:nvSpPr>
              <p:cNvPr id="3424" name="Freeform 2167"/>
              <p:cNvSpPr>
                <a:spLocks/>
              </p:cNvSpPr>
              <p:nvPr/>
            </p:nvSpPr>
            <p:spPr bwMode="auto">
              <a:xfrm>
                <a:off x="17960111" y="3068559"/>
                <a:ext cx="26414" cy="27664"/>
              </a:xfrm>
              <a:custGeom>
                <a:avLst/>
                <a:gdLst>
                  <a:gd name="T0" fmla="*/ 4 w 4"/>
                  <a:gd name="T1" fmla="*/ 0 h 7"/>
                  <a:gd name="T2" fmla="*/ 0 w 4"/>
                  <a:gd name="T3" fmla="*/ 6 h 7"/>
                  <a:gd name="T4" fmla="*/ 0 w 4"/>
                  <a:gd name="T5" fmla="*/ 7 h 7"/>
                  <a:gd name="T6" fmla="*/ 4 w 4"/>
                  <a:gd name="T7" fmla="*/ 0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cubicBezTo>
                      <a:pt x="0" y="6"/>
                      <a:pt x="0" y="6"/>
                      <a:pt x="0" y="6"/>
                    </a:cubicBezTo>
                    <a:cubicBezTo>
                      <a:pt x="0" y="7"/>
                      <a:pt x="0" y="7"/>
                      <a:pt x="0" y="7"/>
                    </a:cubicBezTo>
                    <a:cubicBezTo>
                      <a:pt x="4" y="0"/>
                      <a:pt x="4" y="0"/>
                      <a:pt x="4" y="0"/>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3425" name="Freeform 2168"/>
              <p:cNvSpPr>
                <a:spLocks/>
              </p:cNvSpPr>
              <p:nvPr/>
            </p:nvSpPr>
            <p:spPr bwMode="auto">
              <a:xfrm>
                <a:off x="17960111" y="3068559"/>
                <a:ext cx="13211" cy="27664"/>
              </a:xfrm>
              <a:custGeom>
                <a:avLst/>
                <a:gdLst>
                  <a:gd name="T0" fmla="*/ 3 w 4"/>
                  <a:gd name="T1" fmla="*/ 0 h 6"/>
                  <a:gd name="T2" fmla="*/ 0 w 4"/>
                  <a:gd name="T3" fmla="*/ 6 h 6"/>
                  <a:gd name="T4" fmla="*/ 0 w 4"/>
                  <a:gd name="T5" fmla="*/ 6 h 6"/>
                  <a:gd name="T6" fmla="*/ 4 w 4"/>
                  <a:gd name="T7" fmla="*/ 0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cubicBezTo>
                      <a:pt x="0" y="6"/>
                      <a:pt x="0" y="6"/>
                      <a:pt x="0" y="6"/>
                    </a:cubicBezTo>
                    <a:cubicBezTo>
                      <a:pt x="0" y="6"/>
                      <a:pt x="0" y="6"/>
                      <a:pt x="0" y="6"/>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426" name="Freeform 2169"/>
              <p:cNvSpPr>
                <a:spLocks/>
              </p:cNvSpPr>
              <p:nvPr/>
            </p:nvSpPr>
            <p:spPr bwMode="auto">
              <a:xfrm>
                <a:off x="17960111" y="3068559"/>
                <a:ext cx="0" cy="27664"/>
              </a:xfrm>
              <a:custGeom>
                <a:avLst/>
                <a:gdLst>
                  <a:gd name="T0" fmla="*/ 3 w 4"/>
                  <a:gd name="T1" fmla="*/ 0 h 5"/>
                  <a:gd name="T2" fmla="*/ 0 w 4"/>
                  <a:gd name="T3" fmla="*/ 5 h 5"/>
                  <a:gd name="T4" fmla="*/ 0 w 4"/>
                  <a:gd name="T5" fmla="*/ 5 h 5"/>
                  <a:gd name="T6" fmla="*/ 4 w 4"/>
                  <a:gd name="T7" fmla="*/ 0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0" y="5"/>
                      <a:pt x="0" y="5"/>
                      <a:pt x="0" y="5"/>
                    </a:cubicBezTo>
                    <a:cubicBezTo>
                      <a:pt x="0" y="5"/>
                      <a:pt x="0" y="5"/>
                      <a:pt x="0" y="5"/>
                    </a:cubicBezTo>
                    <a:cubicBezTo>
                      <a:pt x="4" y="0"/>
                      <a:pt x="4" y="0"/>
                      <a:pt x="4" y="0"/>
                    </a:cubicBezTo>
                    <a:cubicBezTo>
                      <a:pt x="3" y="0"/>
                      <a:pt x="3" y="0"/>
                      <a:pt x="3" y="0"/>
                    </a:cubicBezTo>
                  </a:path>
                </a:pathLst>
              </a:custGeom>
              <a:solidFill>
                <a:srgbClr val="02E3FC"/>
              </a:solidFill>
              <a:ln>
                <a:noFill/>
              </a:ln>
              <a:extLst/>
            </p:spPr>
            <p:txBody>
              <a:bodyPr/>
              <a:lstStyle/>
              <a:p>
                <a:pPr eaLnBrk="1" hangingPunct="1">
                  <a:defRPr/>
                </a:pPr>
                <a:endParaRPr lang="zh-CN" altLang="en-US" sz="1050"/>
              </a:p>
            </p:txBody>
          </p:sp>
          <p:sp>
            <p:nvSpPr>
              <p:cNvPr id="3427" name="Freeform 2170"/>
              <p:cNvSpPr>
                <a:spLocks/>
              </p:cNvSpPr>
              <p:nvPr/>
            </p:nvSpPr>
            <p:spPr bwMode="auto">
              <a:xfrm>
                <a:off x="17960111" y="3068559"/>
                <a:ext cx="13211" cy="27664"/>
              </a:xfrm>
              <a:custGeom>
                <a:avLst/>
                <a:gdLst>
                  <a:gd name="T0" fmla="*/ 4 w 4"/>
                  <a:gd name="T1" fmla="*/ 0 h 6"/>
                  <a:gd name="T2" fmla="*/ 0 w 4"/>
                  <a:gd name="T3" fmla="*/ 6 h 6"/>
                  <a:gd name="T4" fmla="*/ 1 w 4"/>
                  <a:gd name="T5" fmla="*/ 6 h 6"/>
                  <a:gd name="T6" fmla="*/ 4 w 4"/>
                  <a:gd name="T7" fmla="*/ 1 h 6"/>
                  <a:gd name="T8" fmla="*/ 4 w 4"/>
                  <a:gd name="T9" fmla="*/ 0 h 6"/>
                </a:gdLst>
                <a:ahLst/>
                <a:cxnLst>
                  <a:cxn ang="0">
                    <a:pos x="T0" y="T1"/>
                  </a:cxn>
                  <a:cxn ang="0">
                    <a:pos x="T2" y="T3"/>
                  </a:cxn>
                  <a:cxn ang="0">
                    <a:pos x="T4" y="T5"/>
                  </a:cxn>
                  <a:cxn ang="0">
                    <a:pos x="T6" y="T7"/>
                  </a:cxn>
                  <a:cxn ang="0">
                    <a:pos x="T8" y="T9"/>
                  </a:cxn>
                </a:cxnLst>
                <a:rect l="0" t="0" r="r" b="b"/>
                <a:pathLst>
                  <a:path w="4" h="6">
                    <a:moveTo>
                      <a:pt x="4" y="0"/>
                    </a:moveTo>
                    <a:cubicBezTo>
                      <a:pt x="0" y="6"/>
                      <a:pt x="0" y="6"/>
                      <a:pt x="0" y="6"/>
                    </a:cubicBezTo>
                    <a:cubicBezTo>
                      <a:pt x="0" y="6"/>
                      <a:pt x="0" y="6"/>
                      <a:pt x="1" y="6"/>
                    </a:cubicBezTo>
                    <a:cubicBezTo>
                      <a:pt x="4" y="1"/>
                      <a:pt x="4" y="1"/>
                      <a:pt x="4" y="1"/>
                    </a:cubicBezTo>
                    <a:cubicBezTo>
                      <a:pt x="4" y="0"/>
                      <a:pt x="4" y="0"/>
                      <a:pt x="4" y="0"/>
                    </a:cubicBezTo>
                  </a:path>
                </a:pathLst>
              </a:custGeom>
              <a:solidFill>
                <a:srgbClr val="02E3FC"/>
              </a:solidFill>
              <a:ln>
                <a:noFill/>
              </a:ln>
              <a:extLst/>
            </p:spPr>
            <p:txBody>
              <a:bodyPr/>
              <a:lstStyle/>
              <a:p>
                <a:pPr eaLnBrk="1" hangingPunct="1">
                  <a:defRPr/>
                </a:pPr>
                <a:endParaRPr lang="zh-CN" altLang="en-US" sz="1050"/>
              </a:p>
            </p:txBody>
          </p:sp>
          <p:sp>
            <p:nvSpPr>
              <p:cNvPr id="3428" name="Freeform 2171"/>
              <p:cNvSpPr>
                <a:spLocks/>
              </p:cNvSpPr>
              <p:nvPr/>
            </p:nvSpPr>
            <p:spPr bwMode="auto">
              <a:xfrm>
                <a:off x="16745075" y="3040895"/>
                <a:ext cx="0" cy="0"/>
              </a:xfrm>
              <a:custGeom>
                <a:avLst/>
                <a:gdLst>
                  <a:gd name="T0" fmla="*/ 0 w 2"/>
                  <a:gd name="T1" fmla="*/ 0 h 3"/>
                  <a:gd name="T2" fmla="*/ 0 w 2"/>
                  <a:gd name="T3" fmla="*/ 0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1" y="3"/>
                      <a:pt x="1" y="3"/>
                      <a:pt x="1" y="3"/>
                    </a:cubicBezTo>
                    <a:cubicBezTo>
                      <a:pt x="1" y="3"/>
                      <a:pt x="1" y="2"/>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29" name="Freeform 2172"/>
              <p:cNvSpPr>
                <a:spLocks/>
              </p:cNvSpPr>
              <p:nvPr/>
            </p:nvSpPr>
            <p:spPr bwMode="auto">
              <a:xfrm>
                <a:off x="16731872" y="3040895"/>
                <a:ext cx="13203" cy="0"/>
              </a:xfrm>
              <a:custGeom>
                <a:avLst/>
                <a:gdLst>
                  <a:gd name="T0" fmla="*/ 0 w 1"/>
                  <a:gd name="T1" fmla="*/ 0 h 2"/>
                  <a:gd name="T2" fmla="*/ 0 w 1"/>
                  <a:gd name="T3" fmla="*/ 1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2"/>
                      <a:pt x="0" y="2"/>
                      <a:pt x="0" y="2"/>
                    </a:cubicBezTo>
                    <a:cubicBezTo>
                      <a:pt x="0"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0" name="Freeform 2173"/>
              <p:cNvSpPr>
                <a:spLocks/>
              </p:cNvSpPr>
              <p:nvPr/>
            </p:nvSpPr>
            <p:spPr bwMode="auto">
              <a:xfrm>
                <a:off x="16745075" y="3040895"/>
                <a:ext cx="0" cy="0"/>
              </a:xfrm>
              <a:custGeom>
                <a:avLst/>
                <a:gdLst>
                  <a:gd name="T0" fmla="*/ 0 w 2"/>
                  <a:gd name="T1" fmla="*/ 0 h 3"/>
                  <a:gd name="T2" fmla="*/ 0 w 2"/>
                  <a:gd name="T3" fmla="*/ 1 h 3"/>
                  <a:gd name="T4" fmla="*/ 1 w 2"/>
                  <a:gd name="T5" fmla="*/ 3 h 3"/>
                  <a:gd name="T6" fmla="*/ 2 w 2"/>
                  <a:gd name="T7" fmla="*/ 2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1"/>
                      <a:pt x="0" y="1"/>
                      <a:pt x="0" y="1"/>
                    </a:cubicBezTo>
                    <a:cubicBezTo>
                      <a:pt x="1" y="3"/>
                      <a:pt x="1" y="3"/>
                      <a:pt x="1" y="3"/>
                    </a:cubicBezTo>
                    <a:cubicBezTo>
                      <a:pt x="1" y="3"/>
                      <a:pt x="1" y="3"/>
                      <a:pt x="2"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1" name="Freeform 2174"/>
              <p:cNvSpPr>
                <a:spLocks/>
              </p:cNvSpPr>
              <p:nvPr/>
            </p:nvSpPr>
            <p:spPr bwMode="auto">
              <a:xfrm>
                <a:off x="16718661" y="3040895"/>
                <a:ext cx="13211"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1" y="1"/>
                      <a:pt x="1"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2" name="Freeform 2175"/>
              <p:cNvSpPr>
                <a:spLocks/>
              </p:cNvSpPr>
              <p:nvPr/>
            </p:nvSpPr>
            <p:spPr bwMode="auto">
              <a:xfrm>
                <a:off x="16745075" y="3013232"/>
                <a:ext cx="13211" cy="27664"/>
              </a:xfrm>
              <a:custGeom>
                <a:avLst/>
                <a:gdLst>
                  <a:gd name="T0" fmla="*/ 0 w 2"/>
                  <a:gd name="T1" fmla="*/ 0 h 5"/>
                  <a:gd name="T2" fmla="*/ 0 w 2"/>
                  <a:gd name="T3" fmla="*/ 1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1"/>
                      <a:pt x="0" y="1"/>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3" name="Freeform 2176"/>
              <p:cNvSpPr>
                <a:spLocks/>
              </p:cNvSpPr>
              <p:nvPr/>
            </p:nvSpPr>
            <p:spPr bwMode="auto">
              <a:xfrm>
                <a:off x="16758286" y="3013232"/>
                <a:ext cx="13203" cy="13836"/>
              </a:xfrm>
              <a:custGeom>
                <a:avLst/>
                <a:gdLst>
                  <a:gd name="T0" fmla="*/ 1 w 3"/>
                  <a:gd name="T1" fmla="*/ 0 h 5"/>
                  <a:gd name="T2" fmla="*/ 0 w 3"/>
                  <a:gd name="T3" fmla="*/ 1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0" y="1"/>
                      <a:pt x="0" y="1"/>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34" name="Freeform 2177"/>
              <p:cNvSpPr>
                <a:spLocks/>
              </p:cNvSpPr>
              <p:nvPr/>
            </p:nvSpPr>
            <p:spPr bwMode="auto">
              <a:xfrm>
                <a:off x="16745075" y="3027068"/>
                <a:ext cx="13211" cy="13827"/>
              </a:xfrm>
              <a:custGeom>
                <a:avLst/>
                <a:gdLst>
                  <a:gd name="T0" fmla="*/ 1 w 3"/>
                  <a:gd name="T1" fmla="*/ 0 h 4"/>
                  <a:gd name="T2" fmla="*/ 0 w 3"/>
                  <a:gd name="T3" fmla="*/ 0 h 4"/>
                  <a:gd name="T4" fmla="*/ 2 w 3"/>
                  <a:gd name="T5" fmla="*/ 4 h 4"/>
                  <a:gd name="T6" fmla="*/ 3 w 3"/>
                  <a:gd name="T7" fmla="*/ 3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0" y="0"/>
                      <a:pt x="0" y="0"/>
                      <a:pt x="0" y="0"/>
                    </a:cubicBezTo>
                    <a:cubicBezTo>
                      <a:pt x="2" y="4"/>
                      <a:pt x="2" y="4"/>
                      <a:pt x="2" y="4"/>
                    </a:cubicBezTo>
                    <a:cubicBezTo>
                      <a:pt x="2" y="3"/>
                      <a:pt x="2" y="3"/>
                      <a:pt x="3"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35" name="Freeform 2178"/>
              <p:cNvSpPr>
                <a:spLocks/>
              </p:cNvSpPr>
              <p:nvPr/>
            </p:nvSpPr>
            <p:spPr bwMode="auto">
              <a:xfrm>
                <a:off x="16718661" y="30547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6" name="Freeform 2179"/>
              <p:cNvSpPr>
                <a:spLocks/>
              </p:cNvSpPr>
              <p:nvPr/>
            </p:nvSpPr>
            <p:spPr bwMode="auto">
              <a:xfrm>
                <a:off x="16758286" y="2999404"/>
                <a:ext cx="26414" cy="27664"/>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37" name="Freeform 2180"/>
              <p:cNvSpPr>
                <a:spLocks/>
              </p:cNvSpPr>
              <p:nvPr/>
            </p:nvSpPr>
            <p:spPr bwMode="auto">
              <a:xfrm>
                <a:off x="17141282" y="290257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38" name="Freeform 2181"/>
              <p:cNvSpPr>
                <a:spLocks/>
              </p:cNvSpPr>
              <p:nvPr/>
            </p:nvSpPr>
            <p:spPr bwMode="auto">
              <a:xfrm>
                <a:off x="17128079"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39" name="Freeform 2182"/>
              <p:cNvSpPr>
                <a:spLocks/>
              </p:cNvSpPr>
              <p:nvPr/>
            </p:nvSpPr>
            <p:spPr bwMode="auto">
              <a:xfrm>
                <a:off x="17062041" y="2916414"/>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0" name="Freeform 2183"/>
              <p:cNvSpPr>
                <a:spLocks/>
              </p:cNvSpPr>
              <p:nvPr/>
            </p:nvSpPr>
            <p:spPr bwMode="auto">
              <a:xfrm>
                <a:off x="17062041" y="2916414"/>
                <a:ext cx="13211"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1" name="Freeform 2184"/>
              <p:cNvSpPr>
                <a:spLocks/>
              </p:cNvSpPr>
              <p:nvPr/>
            </p:nvSpPr>
            <p:spPr bwMode="auto">
              <a:xfrm>
                <a:off x="17075252" y="2916414"/>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2" name="Freeform 2185"/>
              <p:cNvSpPr>
                <a:spLocks/>
              </p:cNvSpPr>
              <p:nvPr/>
            </p:nvSpPr>
            <p:spPr bwMode="auto">
              <a:xfrm>
                <a:off x="17088455" y="2916414"/>
                <a:ext cx="0" cy="0"/>
              </a:xfrm>
              <a:custGeom>
                <a:avLst/>
                <a:gdLst>
                  <a:gd name="T0" fmla="*/ 1 w 1"/>
                  <a:gd name="T1" fmla="*/ 0 h 1"/>
                  <a:gd name="T2" fmla="*/ 0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0" y="1"/>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3" name="Freeform 2186"/>
              <p:cNvSpPr>
                <a:spLocks/>
              </p:cNvSpPr>
              <p:nvPr/>
            </p:nvSpPr>
            <p:spPr bwMode="auto">
              <a:xfrm>
                <a:off x="17114868" y="2902577"/>
                <a:ext cx="0"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0" y="0"/>
                      <a:pt x="1" y="0"/>
                      <a:pt x="1" y="0"/>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4" name="Freeform 2187"/>
              <p:cNvSpPr>
                <a:spLocks/>
              </p:cNvSpPr>
              <p:nvPr/>
            </p:nvSpPr>
            <p:spPr bwMode="auto">
              <a:xfrm>
                <a:off x="17101666" y="2902577"/>
                <a:ext cx="13203" cy="13836"/>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0" y="1"/>
                      <a:pt x="0" y="1"/>
                    </a:cubicBezTo>
                    <a:cubicBezTo>
                      <a:pt x="0" y="1"/>
                      <a:pt x="0" y="1"/>
                      <a:pt x="1"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45" name="Freeform 2188"/>
              <p:cNvSpPr>
                <a:spLocks/>
              </p:cNvSpPr>
              <p:nvPr/>
            </p:nvSpPr>
            <p:spPr bwMode="auto">
              <a:xfrm>
                <a:off x="17101666" y="2916414"/>
                <a:ext cx="0" cy="0"/>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0"/>
                      <a:pt x="0" y="0"/>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46" name="Freeform 2189"/>
              <p:cNvSpPr>
                <a:spLocks/>
              </p:cNvSpPr>
              <p:nvPr/>
            </p:nvSpPr>
            <p:spPr bwMode="auto">
              <a:xfrm>
                <a:off x="17101666" y="2902577"/>
                <a:ext cx="0" cy="13836"/>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1"/>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47" name="Freeform 2190"/>
              <p:cNvSpPr>
                <a:spLocks/>
              </p:cNvSpPr>
              <p:nvPr/>
            </p:nvSpPr>
            <p:spPr bwMode="auto">
              <a:xfrm>
                <a:off x="16837527" y="2985568"/>
                <a:ext cx="13203" cy="13836"/>
              </a:xfrm>
              <a:custGeom>
                <a:avLst/>
                <a:gdLst>
                  <a:gd name="T0" fmla="*/ 1 w 2"/>
                  <a:gd name="T1" fmla="*/ 0 h 3"/>
                  <a:gd name="T2" fmla="*/ 0 w 2"/>
                  <a:gd name="T3" fmla="*/ 0 h 3"/>
                  <a:gd name="T4" fmla="*/ 2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0"/>
                      <a:pt x="0" y="0"/>
                      <a:pt x="0" y="0"/>
                    </a:cubicBezTo>
                    <a:cubicBezTo>
                      <a:pt x="2" y="3"/>
                      <a:pt x="2" y="3"/>
                      <a:pt x="2" y="3"/>
                    </a:cubicBezTo>
                    <a:cubicBezTo>
                      <a:pt x="2" y="3"/>
                      <a:pt x="2" y="3"/>
                      <a:pt x="2" y="3"/>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8" name="Freeform 2191"/>
              <p:cNvSpPr>
                <a:spLocks/>
              </p:cNvSpPr>
              <p:nvPr/>
            </p:nvSpPr>
            <p:spPr bwMode="auto">
              <a:xfrm>
                <a:off x="16877144" y="2971741"/>
                <a:ext cx="0" cy="13827"/>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1" y="1"/>
                      <a:pt x="1" y="1"/>
                      <a:pt x="1" y="1"/>
                    </a:cubicBezTo>
                    <a:cubicBezTo>
                      <a:pt x="1" y="1"/>
                      <a:pt x="1" y="1"/>
                      <a:pt x="1" y="1"/>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49" name="Freeform 2192"/>
              <p:cNvSpPr>
                <a:spLocks/>
              </p:cNvSpPr>
              <p:nvPr/>
            </p:nvSpPr>
            <p:spPr bwMode="auto">
              <a:xfrm>
                <a:off x="16863941" y="2971741"/>
                <a:ext cx="0" cy="13827"/>
              </a:xfrm>
              <a:custGeom>
                <a:avLst/>
                <a:gdLst>
                  <a:gd name="T0" fmla="*/ 1 w 1"/>
                  <a:gd name="T1" fmla="*/ 0 h 2"/>
                  <a:gd name="T2" fmla="*/ 0 w 1"/>
                  <a:gd name="T3" fmla="*/ 0 h 2"/>
                  <a:gd name="T4" fmla="*/ 1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0"/>
                    </a:cubicBezTo>
                    <a:cubicBezTo>
                      <a:pt x="1" y="2"/>
                      <a:pt x="1" y="2"/>
                      <a:pt x="1" y="2"/>
                    </a:cubicBezTo>
                    <a:cubicBezTo>
                      <a:pt x="1" y="2"/>
                      <a:pt x="1" y="2"/>
                      <a:pt x="1" y="2"/>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50" name="Freeform 2193"/>
              <p:cNvSpPr>
                <a:spLocks/>
              </p:cNvSpPr>
              <p:nvPr/>
            </p:nvSpPr>
            <p:spPr bwMode="auto">
              <a:xfrm>
                <a:off x="16850730" y="2985568"/>
                <a:ext cx="13211" cy="0"/>
              </a:xfrm>
              <a:custGeom>
                <a:avLst/>
                <a:gdLst>
                  <a:gd name="T0" fmla="*/ 0 w 1"/>
                  <a:gd name="T1" fmla="*/ 0 h 2"/>
                  <a:gd name="T2" fmla="*/ 0 w 1"/>
                  <a:gd name="T3" fmla="*/ 0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1" y="2"/>
                      <a:pt x="1" y="2"/>
                      <a:pt x="1" y="2"/>
                    </a:cubicBezTo>
                    <a:cubicBezTo>
                      <a:pt x="1" y="2"/>
                      <a:pt x="1" y="2"/>
                      <a:pt x="1" y="2"/>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51" name="Oval 2194"/>
              <p:cNvSpPr>
                <a:spLocks noChangeArrowheads="1"/>
              </p:cNvSpPr>
              <p:nvPr/>
            </p:nvSpPr>
            <p:spPr bwMode="auto">
              <a:xfrm>
                <a:off x="16877144" y="2971741"/>
                <a:ext cx="0" cy="13827"/>
              </a:xfrm>
              <a:prstGeom prst="ellipse">
                <a:avLst/>
              </a:prstGeom>
              <a:solidFill>
                <a:srgbClr val="02E3FC"/>
              </a:solidFill>
              <a:ln>
                <a:noFill/>
              </a:ln>
              <a:extLst/>
            </p:spPr>
            <p:txBody>
              <a:bodyPr/>
              <a:lstStyle/>
              <a:p>
                <a:pPr eaLnBrk="1" hangingPunct="1">
                  <a:defRPr/>
                </a:pPr>
                <a:endParaRPr lang="zh-CN" altLang="en-US" sz="1050"/>
              </a:p>
            </p:txBody>
          </p:sp>
          <p:sp>
            <p:nvSpPr>
              <p:cNvPr id="3452" name="Freeform 2195"/>
              <p:cNvSpPr>
                <a:spLocks/>
              </p:cNvSpPr>
              <p:nvPr/>
            </p:nvSpPr>
            <p:spPr bwMode="auto">
              <a:xfrm>
                <a:off x="16837527" y="2985568"/>
                <a:ext cx="0" cy="13836"/>
              </a:xfrm>
              <a:custGeom>
                <a:avLst/>
                <a:gdLst>
                  <a:gd name="T0" fmla="*/ 1 w 2"/>
                  <a:gd name="T1" fmla="*/ 0 h 4"/>
                  <a:gd name="T2" fmla="*/ 0 w 2"/>
                  <a:gd name="T3" fmla="*/ 0 h 4"/>
                  <a:gd name="T4" fmla="*/ 2 w 2"/>
                  <a:gd name="T5" fmla="*/ 4 h 4"/>
                  <a:gd name="T6" fmla="*/ 2 w 2"/>
                  <a:gd name="T7" fmla="*/ 4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0" y="0"/>
                      <a:pt x="0" y="0"/>
                    </a:cubicBezTo>
                    <a:cubicBezTo>
                      <a:pt x="2" y="4"/>
                      <a:pt x="2" y="4"/>
                      <a:pt x="2" y="4"/>
                    </a:cubicBezTo>
                    <a:cubicBezTo>
                      <a:pt x="2" y="4"/>
                      <a:pt x="2" y="4"/>
                      <a:pt x="2"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53" name="Freeform 2196"/>
              <p:cNvSpPr>
                <a:spLocks/>
              </p:cNvSpPr>
              <p:nvPr/>
            </p:nvSpPr>
            <p:spPr bwMode="auto">
              <a:xfrm>
                <a:off x="16784700" y="2999404"/>
                <a:ext cx="13203"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54" name="Freeform 2197"/>
              <p:cNvSpPr>
                <a:spLocks/>
              </p:cNvSpPr>
              <p:nvPr/>
            </p:nvSpPr>
            <p:spPr bwMode="auto">
              <a:xfrm>
                <a:off x="16784700" y="2999404"/>
                <a:ext cx="13203" cy="13827"/>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55" name="Freeform 2198"/>
              <p:cNvSpPr>
                <a:spLocks/>
              </p:cNvSpPr>
              <p:nvPr/>
            </p:nvSpPr>
            <p:spPr bwMode="auto">
              <a:xfrm>
                <a:off x="16797902" y="2985568"/>
                <a:ext cx="13211" cy="13836"/>
              </a:xfrm>
              <a:custGeom>
                <a:avLst/>
                <a:gdLst>
                  <a:gd name="T0" fmla="*/ 1 w 3"/>
                  <a:gd name="T1" fmla="*/ 0 h 5"/>
                  <a:gd name="T2" fmla="*/ 0 w 3"/>
                  <a:gd name="T3" fmla="*/ 0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5"/>
                      <a:pt x="3" y="5"/>
                      <a:pt x="3" y="5"/>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56" name="Freeform 2199"/>
              <p:cNvSpPr>
                <a:spLocks/>
              </p:cNvSpPr>
              <p:nvPr/>
            </p:nvSpPr>
            <p:spPr bwMode="auto">
              <a:xfrm>
                <a:off x="16784700" y="2999404"/>
                <a:ext cx="0" cy="13827"/>
              </a:xfrm>
              <a:custGeom>
                <a:avLst/>
                <a:gdLst>
                  <a:gd name="T0" fmla="*/ 0 w 3"/>
                  <a:gd name="T1" fmla="*/ 0 h 6"/>
                  <a:gd name="T2" fmla="*/ 0 w 3"/>
                  <a:gd name="T3" fmla="*/ 1 h 6"/>
                  <a:gd name="T4" fmla="*/ 3 w 3"/>
                  <a:gd name="T5" fmla="*/ 6 h 6"/>
                  <a:gd name="T6" fmla="*/ 3 w 3"/>
                  <a:gd name="T7" fmla="*/ 6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cubicBezTo>
                      <a:pt x="0" y="1"/>
                      <a:pt x="0" y="1"/>
                      <a:pt x="0" y="1"/>
                    </a:cubicBezTo>
                    <a:cubicBezTo>
                      <a:pt x="3" y="6"/>
                      <a:pt x="3" y="6"/>
                      <a:pt x="3" y="6"/>
                    </a:cubicBezTo>
                    <a:cubicBezTo>
                      <a:pt x="3" y="6"/>
                      <a:pt x="3" y="6"/>
                      <a:pt x="3" y="6"/>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57" name="Freeform 2200"/>
              <p:cNvSpPr>
                <a:spLocks/>
              </p:cNvSpPr>
              <p:nvPr/>
            </p:nvSpPr>
            <p:spPr bwMode="auto">
              <a:xfrm>
                <a:off x="16811113" y="2985568"/>
                <a:ext cx="13203" cy="13836"/>
              </a:xfrm>
              <a:custGeom>
                <a:avLst/>
                <a:gdLst>
                  <a:gd name="T0" fmla="*/ 1 w 3"/>
                  <a:gd name="T1" fmla="*/ 0 h 5"/>
                  <a:gd name="T2" fmla="*/ 0 w 3"/>
                  <a:gd name="T3" fmla="*/ 0 h 5"/>
                  <a:gd name="T4" fmla="*/ 3 w 3"/>
                  <a:gd name="T5" fmla="*/ 5 h 5"/>
                  <a:gd name="T6" fmla="*/ 3 w 3"/>
                  <a:gd name="T7" fmla="*/ 4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0" y="0"/>
                      <a:pt x="0" y="0"/>
                    </a:cubicBezTo>
                    <a:cubicBezTo>
                      <a:pt x="3" y="5"/>
                      <a:pt x="3" y="5"/>
                      <a:pt x="3" y="5"/>
                    </a:cubicBezTo>
                    <a:cubicBezTo>
                      <a:pt x="3" y="4"/>
                      <a:pt x="3" y="4"/>
                      <a:pt x="3" y="4"/>
                    </a:cubicBezTo>
                    <a:cubicBezTo>
                      <a:pt x="1" y="0"/>
                      <a:pt x="1" y="0"/>
                      <a:pt x="1" y="0"/>
                    </a:cubicBezTo>
                  </a:path>
                </a:pathLst>
              </a:custGeom>
              <a:solidFill>
                <a:srgbClr val="02E3FC"/>
              </a:solidFill>
              <a:ln>
                <a:noFill/>
              </a:ln>
              <a:extLst/>
            </p:spPr>
            <p:txBody>
              <a:bodyPr/>
              <a:lstStyle/>
              <a:p>
                <a:pPr eaLnBrk="1" hangingPunct="1">
                  <a:defRPr/>
                </a:pPr>
                <a:endParaRPr lang="zh-CN" altLang="en-US" sz="1050"/>
              </a:p>
            </p:txBody>
          </p:sp>
          <p:sp>
            <p:nvSpPr>
              <p:cNvPr id="3458" name="Freeform 2201"/>
              <p:cNvSpPr>
                <a:spLocks/>
              </p:cNvSpPr>
              <p:nvPr/>
            </p:nvSpPr>
            <p:spPr bwMode="auto">
              <a:xfrm>
                <a:off x="16837527" y="2985568"/>
                <a:ext cx="0" cy="13836"/>
              </a:xfrm>
              <a:custGeom>
                <a:avLst/>
                <a:gdLst>
                  <a:gd name="T0" fmla="*/ 0 w 2"/>
                  <a:gd name="T1" fmla="*/ 0 h 4"/>
                  <a:gd name="T2" fmla="*/ 0 w 2"/>
                  <a:gd name="T3" fmla="*/ 0 h 4"/>
                  <a:gd name="T4" fmla="*/ 2 w 2"/>
                  <a:gd name="T5" fmla="*/ 4 h 4"/>
                  <a:gd name="T6" fmla="*/ 2 w 2"/>
                  <a:gd name="T7" fmla="*/ 3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0" y="0"/>
                    </a:cubicBezTo>
                    <a:cubicBezTo>
                      <a:pt x="2" y="4"/>
                      <a:pt x="2" y="4"/>
                      <a:pt x="2" y="4"/>
                    </a:cubicBezTo>
                    <a:cubicBezTo>
                      <a:pt x="2" y="4"/>
                      <a:pt x="2" y="4"/>
                      <a:pt x="2" y="3"/>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59" name="Freeform 2202"/>
              <p:cNvSpPr>
                <a:spLocks/>
              </p:cNvSpPr>
              <p:nvPr/>
            </p:nvSpPr>
            <p:spPr bwMode="auto">
              <a:xfrm>
                <a:off x="16824316" y="2985568"/>
                <a:ext cx="13211" cy="13836"/>
              </a:xfrm>
              <a:custGeom>
                <a:avLst/>
                <a:gdLst>
                  <a:gd name="T0" fmla="*/ 0 w 2"/>
                  <a:gd name="T1" fmla="*/ 0 h 5"/>
                  <a:gd name="T2" fmla="*/ 0 w 2"/>
                  <a:gd name="T3" fmla="*/ 0 h 5"/>
                  <a:gd name="T4" fmla="*/ 2 w 2"/>
                  <a:gd name="T5" fmla="*/ 5 h 5"/>
                  <a:gd name="T6" fmla="*/ 2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0"/>
                      <a:pt x="0" y="0"/>
                    </a:cubicBezTo>
                    <a:cubicBezTo>
                      <a:pt x="2" y="5"/>
                      <a:pt x="2" y="5"/>
                      <a:pt x="2" y="5"/>
                    </a:cubicBezTo>
                    <a:cubicBezTo>
                      <a:pt x="2" y="4"/>
                      <a:pt x="2" y="4"/>
                      <a:pt x="2" y="4"/>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60" name="Freeform 2203"/>
              <p:cNvSpPr>
                <a:spLocks/>
              </p:cNvSpPr>
              <p:nvPr/>
            </p:nvSpPr>
            <p:spPr bwMode="auto">
              <a:xfrm>
                <a:off x="16771488" y="2999404"/>
                <a:ext cx="13211" cy="27664"/>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3" y="5"/>
                      <a:pt x="3" y="5"/>
                      <a:pt x="3" y="5"/>
                    </a:cubicBezTo>
                    <a:cubicBezTo>
                      <a:pt x="3" y="5"/>
                      <a:pt x="3" y="5"/>
                      <a:pt x="3" y="5"/>
                    </a:cubicBezTo>
                    <a:cubicBezTo>
                      <a:pt x="0" y="0"/>
                      <a:pt x="0" y="0"/>
                      <a:pt x="0" y="0"/>
                    </a:cubicBezTo>
                  </a:path>
                </a:pathLst>
              </a:custGeom>
              <a:solidFill>
                <a:srgbClr val="02E3FC"/>
              </a:solidFill>
              <a:ln>
                <a:noFill/>
              </a:ln>
              <a:extLst/>
            </p:spPr>
            <p:txBody>
              <a:bodyPr/>
              <a:lstStyle/>
              <a:p>
                <a:pPr eaLnBrk="1" hangingPunct="1">
                  <a:defRPr/>
                </a:pPr>
                <a:endParaRPr lang="zh-CN" altLang="en-US" sz="1050"/>
              </a:p>
            </p:txBody>
          </p:sp>
          <p:sp>
            <p:nvSpPr>
              <p:cNvPr id="3461" name="Freeform 2204"/>
              <p:cNvSpPr>
                <a:spLocks/>
              </p:cNvSpPr>
              <p:nvPr/>
            </p:nvSpPr>
            <p:spPr bwMode="auto">
              <a:xfrm>
                <a:off x="16018698" y="4382586"/>
                <a:ext cx="462238" cy="622427"/>
              </a:xfrm>
              <a:custGeom>
                <a:avLst/>
                <a:gdLst>
                  <a:gd name="T0" fmla="*/ 50 w 126"/>
                  <a:gd name="T1" fmla="*/ 0 h 165"/>
                  <a:gd name="T2" fmla="*/ 0 w 126"/>
                  <a:gd name="T3" fmla="*/ 15 h 165"/>
                  <a:gd name="T4" fmla="*/ 89 w 126"/>
                  <a:gd name="T5" fmla="*/ 165 h 165"/>
                  <a:gd name="T6" fmla="*/ 100 w 126"/>
                  <a:gd name="T7" fmla="*/ 154 h 165"/>
                  <a:gd name="T8" fmla="*/ 44 w 126"/>
                  <a:gd name="T9" fmla="*/ 80 h 165"/>
                  <a:gd name="T10" fmla="*/ 66 w 126"/>
                  <a:gd name="T11" fmla="*/ 68 h 165"/>
                  <a:gd name="T12" fmla="*/ 118 w 126"/>
                  <a:gd name="T13" fmla="*/ 136 h 165"/>
                  <a:gd name="T14" fmla="*/ 126 w 126"/>
                  <a:gd name="T15" fmla="*/ 128 h 165"/>
                  <a:gd name="T16" fmla="*/ 50 w 126"/>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65">
                    <a:moveTo>
                      <a:pt x="50" y="0"/>
                    </a:moveTo>
                    <a:cubicBezTo>
                      <a:pt x="0" y="15"/>
                      <a:pt x="0" y="15"/>
                      <a:pt x="0" y="15"/>
                    </a:cubicBezTo>
                    <a:cubicBezTo>
                      <a:pt x="17" y="72"/>
                      <a:pt x="48" y="124"/>
                      <a:pt x="89" y="165"/>
                    </a:cubicBezTo>
                    <a:cubicBezTo>
                      <a:pt x="100" y="154"/>
                      <a:pt x="100" y="154"/>
                      <a:pt x="100" y="154"/>
                    </a:cubicBezTo>
                    <a:cubicBezTo>
                      <a:pt x="78" y="132"/>
                      <a:pt x="60" y="107"/>
                      <a:pt x="44" y="80"/>
                    </a:cubicBezTo>
                    <a:cubicBezTo>
                      <a:pt x="66" y="68"/>
                      <a:pt x="66" y="68"/>
                      <a:pt x="66" y="68"/>
                    </a:cubicBezTo>
                    <a:cubicBezTo>
                      <a:pt x="80" y="93"/>
                      <a:pt x="98" y="116"/>
                      <a:pt x="118" y="136"/>
                    </a:cubicBezTo>
                    <a:cubicBezTo>
                      <a:pt x="126" y="128"/>
                      <a:pt x="126" y="128"/>
                      <a:pt x="126" y="128"/>
                    </a:cubicBezTo>
                    <a:cubicBezTo>
                      <a:pt x="91" y="93"/>
                      <a:pt x="65" y="49"/>
                      <a:pt x="50" y="0"/>
                    </a:cubicBezTo>
                  </a:path>
                </a:pathLst>
              </a:custGeom>
              <a:solidFill>
                <a:srgbClr val="01AAE5"/>
              </a:solidFill>
              <a:ln>
                <a:noFill/>
              </a:ln>
              <a:extLst/>
            </p:spPr>
            <p:txBody>
              <a:bodyPr/>
              <a:lstStyle/>
              <a:p>
                <a:pPr eaLnBrk="1" hangingPunct="1">
                  <a:defRPr/>
                </a:pPr>
                <a:endParaRPr lang="zh-CN" altLang="en-US" sz="1050"/>
              </a:p>
            </p:txBody>
          </p:sp>
          <p:sp>
            <p:nvSpPr>
              <p:cNvPr id="3462" name="Freeform 2205"/>
              <p:cNvSpPr>
                <a:spLocks/>
              </p:cNvSpPr>
              <p:nvPr/>
            </p:nvSpPr>
            <p:spPr bwMode="auto">
              <a:xfrm>
                <a:off x="18395944" y="3898468"/>
                <a:ext cx="211311" cy="733090"/>
              </a:xfrm>
              <a:custGeom>
                <a:avLst/>
                <a:gdLst>
                  <a:gd name="T0" fmla="*/ 56 w 58"/>
                  <a:gd name="T1" fmla="*/ 0 h 194"/>
                  <a:gd name="T2" fmla="*/ 31 w 58"/>
                  <a:gd name="T3" fmla="*/ 3 h 194"/>
                  <a:gd name="T4" fmla="*/ 33 w 58"/>
                  <a:gd name="T5" fmla="*/ 41 h 194"/>
                  <a:gd name="T6" fmla="*/ 0 w 58"/>
                  <a:gd name="T7" fmla="*/ 183 h 194"/>
                  <a:gd name="T8" fmla="*/ 22 w 58"/>
                  <a:gd name="T9" fmla="*/ 194 h 194"/>
                  <a:gd name="T10" fmla="*/ 58 w 58"/>
                  <a:gd name="T11" fmla="*/ 41 h 194"/>
                  <a:gd name="T12" fmla="*/ 56 w 58"/>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58" h="194">
                    <a:moveTo>
                      <a:pt x="56" y="0"/>
                    </a:moveTo>
                    <a:cubicBezTo>
                      <a:pt x="31" y="3"/>
                      <a:pt x="31" y="3"/>
                      <a:pt x="31" y="3"/>
                    </a:cubicBezTo>
                    <a:cubicBezTo>
                      <a:pt x="32" y="16"/>
                      <a:pt x="33" y="28"/>
                      <a:pt x="33" y="41"/>
                    </a:cubicBezTo>
                    <a:cubicBezTo>
                      <a:pt x="33" y="92"/>
                      <a:pt x="21" y="140"/>
                      <a:pt x="0" y="183"/>
                    </a:cubicBezTo>
                    <a:cubicBezTo>
                      <a:pt x="22" y="194"/>
                      <a:pt x="22" y="194"/>
                      <a:pt x="22" y="194"/>
                    </a:cubicBezTo>
                    <a:cubicBezTo>
                      <a:pt x="45" y="148"/>
                      <a:pt x="58" y="96"/>
                      <a:pt x="58" y="41"/>
                    </a:cubicBezTo>
                    <a:cubicBezTo>
                      <a:pt x="58" y="27"/>
                      <a:pt x="57" y="14"/>
                      <a:pt x="56" y="0"/>
                    </a:cubicBezTo>
                  </a:path>
                </a:pathLst>
              </a:custGeom>
              <a:solidFill>
                <a:srgbClr val="01AAE5"/>
              </a:solidFill>
              <a:ln>
                <a:noFill/>
              </a:ln>
              <a:extLst/>
            </p:spPr>
            <p:txBody>
              <a:bodyPr/>
              <a:lstStyle/>
              <a:p>
                <a:pPr eaLnBrk="1" hangingPunct="1">
                  <a:defRPr/>
                </a:pPr>
                <a:endParaRPr lang="zh-CN" altLang="en-US" sz="1050"/>
              </a:p>
            </p:txBody>
          </p:sp>
          <p:sp>
            <p:nvSpPr>
              <p:cNvPr id="3463" name="Freeform 2206"/>
              <p:cNvSpPr>
                <a:spLocks/>
              </p:cNvSpPr>
              <p:nvPr/>
            </p:nvSpPr>
            <p:spPr bwMode="auto">
              <a:xfrm>
                <a:off x="16124353" y="3040895"/>
                <a:ext cx="422621" cy="539445"/>
              </a:xfrm>
              <a:custGeom>
                <a:avLst/>
                <a:gdLst>
                  <a:gd name="T0" fmla="*/ 97 w 113"/>
                  <a:gd name="T1" fmla="*/ 0 h 141"/>
                  <a:gd name="T2" fmla="*/ 0 w 113"/>
                  <a:gd name="T3" fmla="*/ 131 h 141"/>
                  <a:gd name="T4" fmla="*/ 23 w 113"/>
                  <a:gd name="T5" fmla="*/ 141 h 141"/>
                  <a:gd name="T6" fmla="*/ 113 w 113"/>
                  <a:gd name="T7" fmla="*/ 20 h 141"/>
                  <a:gd name="T8" fmla="*/ 97 w 113"/>
                  <a:gd name="T9" fmla="*/ 0 h 141"/>
                </a:gdLst>
                <a:ahLst/>
                <a:cxnLst>
                  <a:cxn ang="0">
                    <a:pos x="T0" y="T1"/>
                  </a:cxn>
                  <a:cxn ang="0">
                    <a:pos x="T2" y="T3"/>
                  </a:cxn>
                  <a:cxn ang="0">
                    <a:pos x="T4" y="T5"/>
                  </a:cxn>
                  <a:cxn ang="0">
                    <a:pos x="T6" y="T7"/>
                  </a:cxn>
                  <a:cxn ang="0">
                    <a:pos x="T8" y="T9"/>
                  </a:cxn>
                </a:cxnLst>
                <a:rect l="0" t="0" r="r" b="b"/>
                <a:pathLst>
                  <a:path w="113" h="141">
                    <a:moveTo>
                      <a:pt x="97" y="0"/>
                    </a:moveTo>
                    <a:cubicBezTo>
                      <a:pt x="55" y="35"/>
                      <a:pt x="22" y="80"/>
                      <a:pt x="0" y="131"/>
                    </a:cubicBezTo>
                    <a:cubicBezTo>
                      <a:pt x="23" y="141"/>
                      <a:pt x="23" y="141"/>
                      <a:pt x="23" y="141"/>
                    </a:cubicBezTo>
                    <a:cubicBezTo>
                      <a:pt x="43" y="93"/>
                      <a:pt x="74" y="52"/>
                      <a:pt x="113" y="20"/>
                    </a:cubicBezTo>
                    <a:cubicBezTo>
                      <a:pt x="97" y="0"/>
                      <a:pt x="97" y="0"/>
                      <a:pt x="97" y="0"/>
                    </a:cubicBezTo>
                  </a:path>
                </a:pathLst>
              </a:custGeom>
              <a:solidFill>
                <a:srgbClr val="01AAE5"/>
              </a:solidFill>
              <a:ln>
                <a:noFill/>
              </a:ln>
              <a:extLst/>
            </p:spPr>
            <p:txBody>
              <a:bodyPr/>
              <a:lstStyle/>
              <a:p>
                <a:pPr eaLnBrk="1" hangingPunct="1">
                  <a:defRPr/>
                </a:pPr>
                <a:endParaRPr lang="zh-CN" altLang="en-US" sz="1050"/>
              </a:p>
            </p:txBody>
          </p:sp>
          <p:sp>
            <p:nvSpPr>
              <p:cNvPr id="3464" name="Freeform 2207"/>
              <p:cNvSpPr>
                <a:spLocks/>
              </p:cNvSpPr>
              <p:nvPr/>
            </p:nvSpPr>
            <p:spPr bwMode="auto">
              <a:xfrm>
                <a:off x="16480936" y="2764259"/>
                <a:ext cx="1188623" cy="373463"/>
              </a:xfrm>
              <a:custGeom>
                <a:avLst/>
                <a:gdLst>
                  <a:gd name="T0" fmla="*/ 221 w 314"/>
                  <a:gd name="T1" fmla="*/ 0 h 99"/>
                  <a:gd name="T2" fmla="*/ 0 w 314"/>
                  <a:gd name="T3" fmla="*/ 79 h 99"/>
                  <a:gd name="T4" fmla="*/ 16 w 314"/>
                  <a:gd name="T5" fmla="*/ 99 h 99"/>
                  <a:gd name="T6" fmla="*/ 221 w 314"/>
                  <a:gd name="T7" fmla="*/ 25 h 99"/>
                  <a:gd name="T8" fmla="*/ 307 w 314"/>
                  <a:gd name="T9" fmla="*/ 37 h 99"/>
                  <a:gd name="T10" fmla="*/ 314 w 314"/>
                  <a:gd name="T11" fmla="*/ 13 h 99"/>
                  <a:gd name="T12" fmla="*/ 221 w 3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314" h="99">
                    <a:moveTo>
                      <a:pt x="221" y="0"/>
                    </a:moveTo>
                    <a:cubicBezTo>
                      <a:pt x="137" y="0"/>
                      <a:pt x="60" y="30"/>
                      <a:pt x="0" y="79"/>
                    </a:cubicBezTo>
                    <a:cubicBezTo>
                      <a:pt x="16" y="99"/>
                      <a:pt x="16" y="99"/>
                      <a:pt x="16" y="99"/>
                    </a:cubicBezTo>
                    <a:cubicBezTo>
                      <a:pt x="72" y="53"/>
                      <a:pt x="143" y="25"/>
                      <a:pt x="221" y="25"/>
                    </a:cubicBezTo>
                    <a:cubicBezTo>
                      <a:pt x="251" y="25"/>
                      <a:pt x="280" y="29"/>
                      <a:pt x="307" y="37"/>
                    </a:cubicBezTo>
                    <a:cubicBezTo>
                      <a:pt x="314" y="13"/>
                      <a:pt x="314" y="13"/>
                      <a:pt x="314" y="13"/>
                    </a:cubicBezTo>
                    <a:cubicBezTo>
                      <a:pt x="284" y="4"/>
                      <a:pt x="253" y="0"/>
                      <a:pt x="221" y="0"/>
                    </a:cubicBezTo>
                  </a:path>
                </a:pathLst>
              </a:custGeom>
              <a:solidFill>
                <a:srgbClr val="02E3FC"/>
              </a:solidFill>
              <a:ln>
                <a:noFill/>
              </a:ln>
              <a:extLst/>
            </p:spPr>
            <p:txBody>
              <a:bodyPr/>
              <a:lstStyle/>
              <a:p>
                <a:pPr eaLnBrk="1" hangingPunct="1">
                  <a:defRPr/>
                </a:pPr>
                <a:endParaRPr lang="zh-CN" altLang="en-US" sz="1050"/>
              </a:p>
            </p:txBody>
          </p:sp>
          <p:sp>
            <p:nvSpPr>
              <p:cNvPr id="3465" name="Freeform 2208"/>
              <p:cNvSpPr>
                <a:spLocks/>
              </p:cNvSpPr>
              <p:nvPr/>
            </p:nvSpPr>
            <p:spPr bwMode="auto">
              <a:xfrm>
                <a:off x="16388492" y="4894358"/>
                <a:ext cx="1347106" cy="442618"/>
              </a:xfrm>
              <a:custGeom>
                <a:avLst/>
                <a:gdLst>
                  <a:gd name="T0" fmla="*/ 18 w 357"/>
                  <a:gd name="T1" fmla="*/ 0 h 121"/>
                  <a:gd name="T2" fmla="*/ 0 w 357"/>
                  <a:gd name="T3" fmla="*/ 18 h 121"/>
                  <a:gd name="T4" fmla="*/ 247 w 357"/>
                  <a:gd name="T5" fmla="*/ 121 h 121"/>
                  <a:gd name="T6" fmla="*/ 357 w 357"/>
                  <a:gd name="T7" fmla="*/ 104 h 121"/>
                  <a:gd name="T8" fmla="*/ 349 w 357"/>
                  <a:gd name="T9" fmla="*/ 80 h 121"/>
                  <a:gd name="T10" fmla="*/ 247 w 357"/>
                  <a:gd name="T11" fmla="*/ 96 h 121"/>
                  <a:gd name="T12" fmla="*/ 18 w 357"/>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57" h="121">
                    <a:moveTo>
                      <a:pt x="18" y="0"/>
                    </a:moveTo>
                    <a:cubicBezTo>
                      <a:pt x="0" y="18"/>
                      <a:pt x="0" y="18"/>
                      <a:pt x="0" y="18"/>
                    </a:cubicBezTo>
                    <a:cubicBezTo>
                      <a:pt x="63" y="82"/>
                      <a:pt x="150" y="121"/>
                      <a:pt x="247" y="121"/>
                    </a:cubicBezTo>
                    <a:cubicBezTo>
                      <a:pt x="285" y="121"/>
                      <a:pt x="322" y="115"/>
                      <a:pt x="357" y="104"/>
                    </a:cubicBezTo>
                    <a:cubicBezTo>
                      <a:pt x="349" y="80"/>
                      <a:pt x="349" y="80"/>
                      <a:pt x="349" y="80"/>
                    </a:cubicBezTo>
                    <a:cubicBezTo>
                      <a:pt x="317" y="91"/>
                      <a:pt x="282" y="96"/>
                      <a:pt x="247" y="96"/>
                    </a:cubicBezTo>
                    <a:cubicBezTo>
                      <a:pt x="157" y="96"/>
                      <a:pt x="76" y="60"/>
                      <a:pt x="18" y="0"/>
                    </a:cubicBezTo>
                  </a:path>
                </a:pathLst>
              </a:custGeom>
              <a:solidFill>
                <a:srgbClr val="01AAE5"/>
              </a:solidFill>
              <a:ln>
                <a:noFill/>
              </a:ln>
              <a:extLst/>
            </p:spPr>
            <p:txBody>
              <a:bodyPr/>
              <a:lstStyle/>
              <a:p>
                <a:pPr eaLnBrk="1" hangingPunct="1">
                  <a:defRPr/>
                </a:pPr>
                <a:endParaRPr lang="zh-CN" altLang="en-US" sz="1050"/>
              </a:p>
            </p:txBody>
          </p:sp>
          <p:sp>
            <p:nvSpPr>
              <p:cNvPr id="3466" name="Freeform 2209"/>
              <p:cNvSpPr>
                <a:spLocks/>
              </p:cNvSpPr>
              <p:nvPr/>
            </p:nvSpPr>
            <p:spPr bwMode="auto">
              <a:xfrm>
                <a:off x="16177181" y="4631558"/>
                <a:ext cx="277341" cy="331964"/>
              </a:xfrm>
              <a:custGeom>
                <a:avLst/>
                <a:gdLst>
                  <a:gd name="T0" fmla="*/ 22 w 74"/>
                  <a:gd name="T1" fmla="*/ 0 h 86"/>
                  <a:gd name="T2" fmla="*/ 0 w 74"/>
                  <a:gd name="T3" fmla="*/ 12 h 86"/>
                  <a:gd name="T4" fmla="*/ 56 w 74"/>
                  <a:gd name="T5" fmla="*/ 86 h 86"/>
                  <a:gd name="T6" fmla="*/ 74 w 74"/>
                  <a:gd name="T7" fmla="*/ 68 h 86"/>
                  <a:gd name="T8" fmla="*/ 22 w 74"/>
                  <a:gd name="T9" fmla="*/ 0 h 86"/>
                </a:gdLst>
                <a:ahLst/>
                <a:cxnLst>
                  <a:cxn ang="0">
                    <a:pos x="T0" y="T1"/>
                  </a:cxn>
                  <a:cxn ang="0">
                    <a:pos x="T2" y="T3"/>
                  </a:cxn>
                  <a:cxn ang="0">
                    <a:pos x="T4" y="T5"/>
                  </a:cxn>
                  <a:cxn ang="0">
                    <a:pos x="T6" y="T7"/>
                  </a:cxn>
                  <a:cxn ang="0">
                    <a:pos x="T8" y="T9"/>
                  </a:cxn>
                </a:cxnLst>
                <a:rect l="0" t="0" r="r" b="b"/>
                <a:pathLst>
                  <a:path w="74" h="86">
                    <a:moveTo>
                      <a:pt x="22" y="0"/>
                    </a:moveTo>
                    <a:cubicBezTo>
                      <a:pt x="0" y="12"/>
                      <a:pt x="0" y="12"/>
                      <a:pt x="0" y="12"/>
                    </a:cubicBezTo>
                    <a:cubicBezTo>
                      <a:pt x="16" y="39"/>
                      <a:pt x="34" y="64"/>
                      <a:pt x="56" y="86"/>
                    </a:cubicBezTo>
                    <a:cubicBezTo>
                      <a:pt x="74" y="68"/>
                      <a:pt x="74" y="68"/>
                      <a:pt x="74" y="68"/>
                    </a:cubicBezTo>
                    <a:cubicBezTo>
                      <a:pt x="54" y="48"/>
                      <a:pt x="36" y="25"/>
                      <a:pt x="22" y="0"/>
                    </a:cubicBezTo>
                  </a:path>
                </a:pathLst>
              </a:custGeom>
              <a:solidFill>
                <a:srgbClr val="02E3FC"/>
              </a:solidFill>
              <a:ln>
                <a:noFill/>
              </a:ln>
              <a:extLst/>
            </p:spPr>
            <p:txBody>
              <a:bodyPr/>
              <a:lstStyle/>
              <a:p>
                <a:pPr eaLnBrk="1" hangingPunct="1">
                  <a:defRPr/>
                </a:pPr>
                <a:endParaRPr lang="zh-CN" altLang="en-US" sz="1050"/>
              </a:p>
            </p:txBody>
          </p:sp>
          <p:sp>
            <p:nvSpPr>
              <p:cNvPr id="3467" name="Freeform 2210"/>
              <p:cNvSpPr>
                <a:spLocks noEditPoints="1"/>
              </p:cNvSpPr>
              <p:nvPr/>
            </p:nvSpPr>
            <p:spPr bwMode="auto">
              <a:xfrm>
                <a:off x="15847004" y="2584450"/>
                <a:ext cx="2931936" cy="2932344"/>
              </a:xfrm>
              <a:custGeom>
                <a:avLst/>
                <a:gdLst>
                  <a:gd name="T0" fmla="*/ 765 w 782"/>
                  <a:gd name="T1" fmla="*/ 318 h 783"/>
                  <a:gd name="T2" fmla="*/ 742 w 782"/>
                  <a:gd name="T3" fmla="*/ 243 h 783"/>
                  <a:gd name="T4" fmla="*/ 701 w 782"/>
                  <a:gd name="T5" fmla="*/ 174 h 783"/>
                  <a:gd name="T6" fmla="*/ 653 w 782"/>
                  <a:gd name="T7" fmla="*/ 119 h 783"/>
                  <a:gd name="T8" fmla="*/ 592 w 782"/>
                  <a:gd name="T9" fmla="*/ 68 h 783"/>
                  <a:gd name="T10" fmla="*/ 523 w 782"/>
                  <a:gd name="T11" fmla="*/ 31 h 783"/>
                  <a:gd name="T12" fmla="*/ 450 w 782"/>
                  <a:gd name="T13" fmla="*/ 18 h 783"/>
                  <a:gd name="T14" fmla="*/ 384 w 782"/>
                  <a:gd name="T15" fmla="*/ 13 h 783"/>
                  <a:gd name="T16" fmla="*/ 338 w 782"/>
                  <a:gd name="T17" fmla="*/ 14 h 783"/>
                  <a:gd name="T18" fmla="*/ 293 w 782"/>
                  <a:gd name="T19" fmla="*/ 23 h 783"/>
                  <a:gd name="T20" fmla="*/ 225 w 782"/>
                  <a:gd name="T21" fmla="*/ 51 h 783"/>
                  <a:gd name="T22" fmla="*/ 163 w 782"/>
                  <a:gd name="T23" fmla="*/ 89 h 783"/>
                  <a:gd name="T24" fmla="*/ 103 w 782"/>
                  <a:gd name="T25" fmla="*/ 141 h 783"/>
                  <a:gd name="T26" fmla="*/ 59 w 782"/>
                  <a:gd name="T27" fmla="*/ 200 h 783"/>
                  <a:gd name="T28" fmla="*/ 31 w 782"/>
                  <a:gd name="T29" fmla="*/ 274 h 783"/>
                  <a:gd name="T30" fmla="*/ 16 w 782"/>
                  <a:gd name="T31" fmla="*/ 345 h 783"/>
                  <a:gd name="T32" fmla="*/ 11 w 782"/>
                  <a:gd name="T33" fmla="*/ 425 h 783"/>
                  <a:gd name="T34" fmla="*/ 26 w 782"/>
                  <a:gd name="T35" fmla="*/ 502 h 783"/>
                  <a:gd name="T36" fmla="*/ 60 w 782"/>
                  <a:gd name="T37" fmla="*/ 574 h 783"/>
                  <a:gd name="T38" fmla="*/ 91 w 782"/>
                  <a:gd name="T39" fmla="*/ 643 h 783"/>
                  <a:gd name="T40" fmla="*/ 151 w 782"/>
                  <a:gd name="T41" fmla="*/ 688 h 783"/>
                  <a:gd name="T42" fmla="*/ 218 w 782"/>
                  <a:gd name="T43" fmla="*/ 731 h 783"/>
                  <a:gd name="T44" fmla="*/ 293 w 782"/>
                  <a:gd name="T45" fmla="*/ 757 h 783"/>
                  <a:gd name="T46" fmla="*/ 365 w 782"/>
                  <a:gd name="T47" fmla="*/ 769 h 783"/>
                  <a:gd name="T48" fmla="*/ 444 w 782"/>
                  <a:gd name="T49" fmla="*/ 769 h 783"/>
                  <a:gd name="T50" fmla="*/ 521 w 782"/>
                  <a:gd name="T51" fmla="*/ 752 h 783"/>
                  <a:gd name="T52" fmla="*/ 585 w 782"/>
                  <a:gd name="T53" fmla="*/ 716 h 783"/>
                  <a:gd name="T54" fmla="*/ 644 w 782"/>
                  <a:gd name="T55" fmla="*/ 672 h 783"/>
                  <a:gd name="T56" fmla="*/ 699 w 782"/>
                  <a:gd name="T57" fmla="*/ 615 h 783"/>
                  <a:gd name="T58" fmla="*/ 739 w 782"/>
                  <a:gd name="T59" fmla="*/ 547 h 783"/>
                  <a:gd name="T60" fmla="*/ 760 w 782"/>
                  <a:gd name="T61" fmla="*/ 470 h 783"/>
                  <a:gd name="T62" fmla="*/ 769 w 782"/>
                  <a:gd name="T63" fmla="*/ 397 h 783"/>
                  <a:gd name="T64" fmla="*/ 757 w 782"/>
                  <a:gd name="T65" fmla="*/ 462 h 783"/>
                  <a:gd name="T66" fmla="*/ 737 w 782"/>
                  <a:gd name="T67" fmla="*/ 538 h 783"/>
                  <a:gd name="T68" fmla="*/ 702 w 782"/>
                  <a:gd name="T69" fmla="*/ 602 h 783"/>
                  <a:gd name="T70" fmla="*/ 650 w 782"/>
                  <a:gd name="T71" fmla="*/ 660 h 783"/>
                  <a:gd name="T72" fmla="*/ 589 w 782"/>
                  <a:gd name="T73" fmla="*/ 708 h 783"/>
                  <a:gd name="T74" fmla="*/ 520 w 782"/>
                  <a:gd name="T75" fmla="*/ 745 h 783"/>
                  <a:gd name="T76" fmla="*/ 455 w 782"/>
                  <a:gd name="T77" fmla="*/ 762 h 783"/>
                  <a:gd name="T78" fmla="*/ 377 w 782"/>
                  <a:gd name="T79" fmla="*/ 765 h 783"/>
                  <a:gd name="T80" fmla="*/ 301 w 782"/>
                  <a:gd name="T81" fmla="*/ 754 h 783"/>
                  <a:gd name="T82" fmla="*/ 226 w 782"/>
                  <a:gd name="T83" fmla="*/ 730 h 783"/>
                  <a:gd name="T84" fmla="*/ 164 w 782"/>
                  <a:gd name="T85" fmla="*/ 692 h 783"/>
                  <a:gd name="T86" fmla="*/ 109 w 782"/>
                  <a:gd name="T87" fmla="*/ 636 h 783"/>
                  <a:gd name="T88" fmla="*/ 70 w 782"/>
                  <a:gd name="T89" fmla="*/ 576 h 783"/>
                  <a:gd name="T90" fmla="*/ 33 w 782"/>
                  <a:gd name="T91" fmla="*/ 508 h 783"/>
                  <a:gd name="T92" fmla="*/ 17 w 782"/>
                  <a:gd name="T93" fmla="*/ 437 h 783"/>
                  <a:gd name="T94" fmla="*/ 19 w 782"/>
                  <a:gd name="T95" fmla="*/ 358 h 783"/>
                  <a:gd name="T96" fmla="*/ 34 w 782"/>
                  <a:gd name="T97" fmla="*/ 282 h 783"/>
                  <a:gd name="T98" fmla="*/ 62 w 782"/>
                  <a:gd name="T99" fmla="*/ 209 h 783"/>
                  <a:gd name="T100" fmla="*/ 113 w 782"/>
                  <a:gd name="T101" fmla="*/ 158 h 783"/>
                  <a:gd name="T102" fmla="*/ 156 w 782"/>
                  <a:gd name="T103" fmla="*/ 101 h 783"/>
                  <a:gd name="T104" fmla="*/ 221 w 782"/>
                  <a:gd name="T105" fmla="*/ 58 h 783"/>
                  <a:gd name="T106" fmla="*/ 293 w 782"/>
                  <a:gd name="T107" fmla="*/ 27 h 783"/>
                  <a:gd name="T108" fmla="*/ 359 w 782"/>
                  <a:gd name="T109" fmla="*/ 19 h 783"/>
                  <a:gd name="T110" fmla="*/ 436 w 782"/>
                  <a:gd name="T111" fmla="*/ 17 h 783"/>
                  <a:gd name="T112" fmla="*/ 507 w 782"/>
                  <a:gd name="T113" fmla="*/ 33 h 783"/>
                  <a:gd name="T114" fmla="*/ 576 w 782"/>
                  <a:gd name="T115" fmla="*/ 70 h 783"/>
                  <a:gd name="T116" fmla="*/ 635 w 782"/>
                  <a:gd name="T117" fmla="*/ 109 h 783"/>
                  <a:gd name="T118" fmla="*/ 691 w 782"/>
                  <a:gd name="T119" fmla="*/ 164 h 783"/>
                  <a:gd name="T120" fmla="*/ 729 w 782"/>
                  <a:gd name="T121" fmla="*/ 226 h 783"/>
                  <a:gd name="T122" fmla="*/ 753 w 782"/>
                  <a:gd name="T123" fmla="*/ 301 h 783"/>
                  <a:gd name="T124" fmla="*/ 764 w 782"/>
                  <a:gd name="T125" fmla="*/ 37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2" h="783">
                    <a:moveTo>
                      <a:pt x="782" y="391"/>
                    </a:moveTo>
                    <a:cubicBezTo>
                      <a:pt x="774" y="391"/>
                      <a:pt x="774" y="391"/>
                      <a:pt x="774" y="391"/>
                    </a:cubicBezTo>
                    <a:cubicBezTo>
                      <a:pt x="774" y="390"/>
                      <a:pt x="774" y="390"/>
                      <a:pt x="774" y="390"/>
                    </a:cubicBezTo>
                    <a:cubicBezTo>
                      <a:pt x="769" y="390"/>
                      <a:pt x="769" y="390"/>
                      <a:pt x="769" y="390"/>
                    </a:cubicBezTo>
                    <a:cubicBezTo>
                      <a:pt x="769" y="389"/>
                      <a:pt x="769" y="387"/>
                      <a:pt x="769" y="385"/>
                    </a:cubicBezTo>
                    <a:cubicBezTo>
                      <a:pt x="772" y="385"/>
                      <a:pt x="772" y="385"/>
                      <a:pt x="772" y="385"/>
                    </a:cubicBezTo>
                    <a:cubicBezTo>
                      <a:pt x="772" y="384"/>
                      <a:pt x="772" y="384"/>
                      <a:pt x="772" y="384"/>
                    </a:cubicBezTo>
                    <a:cubicBezTo>
                      <a:pt x="769" y="384"/>
                      <a:pt x="769" y="384"/>
                      <a:pt x="769" y="384"/>
                    </a:cubicBezTo>
                    <a:cubicBezTo>
                      <a:pt x="769" y="382"/>
                      <a:pt x="768" y="380"/>
                      <a:pt x="768" y="378"/>
                    </a:cubicBezTo>
                    <a:cubicBezTo>
                      <a:pt x="771" y="378"/>
                      <a:pt x="771" y="378"/>
                      <a:pt x="771" y="378"/>
                    </a:cubicBezTo>
                    <a:cubicBezTo>
                      <a:pt x="771" y="377"/>
                      <a:pt x="771" y="377"/>
                      <a:pt x="771" y="377"/>
                    </a:cubicBezTo>
                    <a:cubicBezTo>
                      <a:pt x="768" y="378"/>
                      <a:pt x="768" y="378"/>
                      <a:pt x="768" y="378"/>
                    </a:cubicBezTo>
                    <a:cubicBezTo>
                      <a:pt x="768" y="376"/>
                      <a:pt x="768" y="374"/>
                      <a:pt x="768" y="372"/>
                    </a:cubicBezTo>
                    <a:cubicBezTo>
                      <a:pt x="771" y="372"/>
                      <a:pt x="771" y="372"/>
                      <a:pt x="771" y="372"/>
                    </a:cubicBezTo>
                    <a:cubicBezTo>
                      <a:pt x="771" y="371"/>
                      <a:pt x="771" y="371"/>
                      <a:pt x="771" y="371"/>
                    </a:cubicBezTo>
                    <a:cubicBezTo>
                      <a:pt x="768" y="371"/>
                      <a:pt x="768" y="371"/>
                      <a:pt x="768" y="371"/>
                    </a:cubicBezTo>
                    <a:cubicBezTo>
                      <a:pt x="768" y="369"/>
                      <a:pt x="768" y="367"/>
                      <a:pt x="768" y="365"/>
                    </a:cubicBezTo>
                    <a:cubicBezTo>
                      <a:pt x="771" y="365"/>
                      <a:pt x="771" y="365"/>
                      <a:pt x="771" y="365"/>
                    </a:cubicBezTo>
                    <a:cubicBezTo>
                      <a:pt x="771" y="364"/>
                      <a:pt x="771" y="364"/>
                      <a:pt x="771" y="364"/>
                    </a:cubicBezTo>
                    <a:cubicBezTo>
                      <a:pt x="768" y="364"/>
                      <a:pt x="768" y="364"/>
                      <a:pt x="768" y="364"/>
                    </a:cubicBezTo>
                    <a:cubicBezTo>
                      <a:pt x="768" y="362"/>
                      <a:pt x="767" y="361"/>
                      <a:pt x="767" y="359"/>
                    </a:cubicBezTo>
                    <a:cubicBezTo>
                      <a:pt x="770" y="358"/>
                      <a:pt x="770" y="358"/>
                      <a:pt x="770" y="358"/>
                    </a:cubicBezTo>
                    <a:cubicBezTo>
                      <a:pt x="770" y="358"/>
                      <a:pt x="770" y="358"/>
                      <a:pt x="770" y="358"/>
                    </a:cubicBezTo>
                    <a:cubicBezTo>
                      <a:pt x="767" y="358"/>
                      <a:pt x="767" y="358"/>
                      <a:pt x="767" y="358"/>
                    </a:cubicBezTo>
                    <a:cubicBezTo>
                      <a:pt x="767" y="356"/>
                      <a:pt x="767" y="354"/>
                      <a:pt x="767" y="352"/>
                    </a:cubicBezTo>
                    <a:cubicBezTo>
                      <a:pt x="770" y="352"/>
                      <a:pt x="770" y="352"/>
                      <a:pt x="770" y="352"/>
                    </a:cubicBezTo>
                    <a:cubicBezTo>
                      <a:pt x="770" y="351"/>
                      <a:pt x="770" y="351"/>
                      <a:pt x="770" y="351"/>
                    </a:cubicBezTo>
                    <a:cubicBezTo>
                      <a:pt x="767" y="351"/>
                      <a:pt x="767" y="351"/>
                      <a:pt x="767" y="351"/>
                    </a:cubicBezTo>
                    <a:cubicBezTo>
                      <a:pt x="766" y="349"/>
                      <a:pt x="766" y="347"/>
                      <a:pt x="766" y="345"/>
                    </a:cubicBezTo>
                    <a:cubicBezTo>
                      <a:pt x="769" y="345"/>
                      <a:pt x="769" y="345"/>
                      <a:pt x="769" y="345"/>
                    </a:cubicBezTo>
                    <a:cubicBezTo>
                      <a:pt x="769" y="344"/>
                      <a:pt x="769" y="344"/>
                      <a:pt x="769" y="344"/>
                    </a:cubicBezTo>
                    <a:cubicBezTo>
                      <a:pt x="766" y="345"/>
                      <a:pt x="766" y="345"/>
                      <a:pt x="766" y="345"/>
                    </a:cubicBezTo>
                    <a:cubicBezTo>
                      <a:pt x="766" y="343"/>
                      <a:pt x="765" y="341"/>
                      <a:pt x="765" y="339"/>
                    </a:cubicBezTo>
                    <a:cubicBezTo>
                      <a:pt x="768" y="339"/>
                      <a:pt x="768" y="339"/>
                      <a:pt x="768" y="339"/>
                    </a:cubicBezTo>
                    <a:cubicBezTo>
                      <a:pt x="768" y="338"/>
                      <a:pt x="768" y="338"/>
                      <a:pt x="768" y="338"/>
                    </a:cubicBezTo>
                    <a:cubicBezTo>
                      <a:pt x="765" y="338"/>
                      <a:pt x="765" y="338"/>
                      <a:pt x="765" y="338"/>
                    </a:cubicBezTo>
                    <a:cubicBezTo>
                      <a:pt x="765" y="336"/>
                      <a:pt x="764" y="334"/>
                      <a:pt x="764" y="332"/>
                    </a:cubicBezTo>
                    <a:cubicBezTo>
                      <a:pt x="767" y="332"/>
                      <a:pt x="767" y="332"/>
                      <a:pt x="767" y="332"/>
                    </a:cubicBezTo>
                    <a:cubicBezTo>
                      <a:pt x="767" y="331"/>
                      <a:pt x="767" y="331"/>
                      <a:pt x="767" y="331"/>
                    </a:cubicBezTo>
                    <a:cubicBezTo>
                      <a:pt x="764" y="332"/>
                      <a:pt x="764" y="332"/>
                      <a:pt x="764" y="332"/>
                    </a:cubicBezTo>
                    <a:cubicBezTo>
                      <a:pt x="764" y="330"/>
                      <a:pt x="763" y="328"/>
                      <a:pt x="763" y="326"/>
                    </a:cubicBezTo>
                    <a:cubicBezTo>
                      <a:pt x="768" y="325"/>
                      <a:pt x="768" y="325"/>
                      <a:pt x="768" y="325"/>
                    </a:cubicBezTo>
                    <a:cubicBezTo>
                      <a:pt x="768" y="325"/>
                      <a:pt x="768" y="325"/>
                      <a:pt x="768" y="325"/>
                    </a:cubicBezTo>
                    <a:cubicBezTo>
                      <a:pt x="776" y="324"/>
                      <a:pt x="776" y="324"/>
                      <a:pt x="776" y="324"/>
                    </a:cubicBezTo>
                    <a:cubicBezTo>
                      <a:pt x="776" y="323"/>
                      <a:pt x="776" y="323"/>
                      <a:pt x="776" y="323"/>
                    </a:cubicBezTo>
                    <a:cubicBezTo>
                      <a:pt x="768" y="324"/>
                      <a:pt x="768" y="324"/>
                      <a:pt x="768" y="324"/>
                    </a:cubicBezTo>
                    <a:cubicBezTo>
                      <a:pt x="768" y="324"/>
                      <a:pt x="768" y="324"/>
                      <a:pt x="768" y="324"/>
                    </a:cubicBezTo>
                    <a:cubicBezTo>
                      <a:pt x="763" y="325"/>
                      <a:pt x="763" y="325"/>
                      <a:pt x="763" y="325"/>
                    </a:cubicBezTo>
                    <a:cubicBezTo>
                      <a:pt x="763" y="323"/>
                      <a:pt x="762" y="321"/>
                      <a:pt x="762" y="319"/>
                    </a:cubicBezTo>
                    <a:cubicBezTo>
                      <a:pt x="765" y="319"/>
                      <a:pt x="765" y="319"/>
                      <a:pt x="765" y="319"/>
                    </a:cubicBezTo>
                    <a:cubicBezTo>
                      <a:pt x="765" y="318"/>
                      <a:pt x="765" y="318"/>
                      <a:pt x="765" y="318"/>
                    </a:cubicBezTo>
                    <a:cubicBezTo>
                      <a:pt x="762" y="319"/>
                      <a:pt x="762" y="319"/>
                      <a:pt x="762" y="319"/>
                    </a:cubicBezTo>
                    <a:cubicBezTo>
                      <a:pt x="761" y="317"/>
                      <a:pt x="761" y="315"/>
                      <a:pt x="761" y="313"/>
                    </a:cubicBezTo>
                    <a:cubicBezTo>
                      <a:pt x="763" y="312"/>
                      <a:pt x="763" y="312"/>
                      <a:pt x="763" y="312"/>
                    </a:cubicBezTo>
                    <a:cubicBezTo>
                      <a:pt x="763" y="312"/>
                      <a:pt x="763" y="312"/>
                      <a:pt x="763" y="312"/>
                    </a:cubicBezTo>
                    <a:cubicBezTo>
                      <a:pt x="760" y="312"/>
                      <a:pt x="760" y="312"/>
                      <a:pt x="760" y="312"/>
                    </a:cubicBezTo>
                    <a:cubicBezTo>
                      <a:pt x="760" y="310"/>
                      <a:pt x="760" y="308"/>
                      <a:pt x="759" y="306"/>
                    </a:cubicBezTo>
                    <a:cubicBezTo>
                      <a:pt x="762" y="306"/>
                      <a:pt x="762" y="306"/>
                      <a:pt x="762" y="306"/>
                    </a:cubicBezTo>
                    <a:cubicBezTo>
                      <a:pt x="762" y="305"/>
                      <a:pt x="762" y="305"/>
                      <a:pt x="762" y="305"/>
                    </a:cubicBezTo>
                    <a:cubicBezTo>
                      <a:pt x="759" y="306"/>
                      <a:pt x="759" y="306"/>
                      <a:pt x="759" y="306"/>
                    </a:cubicBezTo>
                    <a:cubicBezTo>
                      <a:pt x="759" y="304"/>
                      <a:pt x="758" y="302"/>
                      <a:pt x="758" y="300"/>
                    </a:cubicBezTo>
                    <a:cubicBezTo>
                      <a:pt x="760" y="299"/>
                      <a:pt x="760" y="299"/>
                      <a:pt x="760" y="299"/>
                    </a:cubicBezTo>
                    <a:cubicBezTo>
                      <a:pt x="760" y="299"/>
                      <a:pt x="760" y="299"/>
                      <a:pt x="760" y="299"/>
                    </a:cubicBezTo>
                    <a:cubicBezTo>
                      <a:pt x="757" y="299"/>
                      <a:pt x="757" y="299"/>
                      <a:pt x="757" y="299"/>
                    </a:cubicBezTo>
                    <a:cubicBezTo>
                      <a:pt x="757" y="297"/>
                      <a:pt x="757" y="295"/>
                      <a:pt x="756" y="294"/>
                    </a:cubicBezTo>
                    <a:cubicBezTo>
                      <a:pt x="759" y="293"/>
                      <a:pt x="759" y="293"/>
                      <a:pt x="759" y="293"/>
                    </a:cubicBezTo>
                    <a:cubicBezTo>
                      <a:pt x="759" y="292"/>
                      <a:pt x="759" y="292"/>
                      <a:pt x="759" y="292"/>
                    </a:cubicBezTo>
                    <a:cubicBezTo>
                      <a:pt x="756" y="293"/>
                      <a:pt x="756" y="293"/>
                      <a:pt x="756" y="293"/>
                    </a:cubicBezTo>
                    <a:cubicBezTo>
                      <a:pt x="755" y="291"/>
                      <a:pt x="755" y="289"/>
                      <a:pt x="754" y="287"/>
                    </a:cubicBezTo>
                    <a:cubicBezTo>
                      <a:pt x="757" y="286"/>
                      <a:pt x="757" y="286"/>
                      <a:pt x="757" y="286"/>
                    </a:cubicBezTo>
                    <a:cubicBezTo>
                      <a:pt x="757" y="286"/>
                      <a:pt x="757" y="286"/>
                      <a:pt x="757" y="286"/>
                    </a:cubicBezTo>
                    <a:cubicBezTo>
                      <a:pt x="754" y="287"/>
                      <a:pt x="754" y="287"/>
                      <a:pt x="754" y="287"/>
                    </a:cubicBezTo>
                    <a:cubicBezTo>
                      <a:pt x="754" y="285"/>
                      <a:pt x="753" y="283"/>
                      <a:pt x="752" y="281"/>
                    </a:cubicBezTo>
                    <a:cubicBezTo>
                      <a:pt x="755" y="280"/>
                      <a:pt x="755" y="280"/>
                      <a:pt x="755" y="280"/>
                    </a:cubicBezTo>
                    <a:cubicBezTo>
                      <a:pt x="755" y="279"/>
                      <a:pt x="755" y="279"/>
                      <a:pt x="755" y="279"/>
                    </a:cubicBezTo>
                    <a:cubicBezTo>
                      <a:pt x="752" y="280"/>
                      <a:pt x="752" y="280"/>
                      <a:pt x="752" y="280"/>
                    </a:cubicBezTo>
                    <a:cubicBezTo>
                      <a:pt x="752" y="278"/>
                      <a:pt x="751" y="276"/>
                      <a:pt x="750" y="275"/>
                    </a:cubicBezTo>
                    <a:cubicBezTo>
                      <a:pt x="753" y="274"/>
                      <a:pt x="753" y="274"/>
                      <a:pt x="753" y="274"/>
                    </a:cubicBezTo>
                    <a:cubicBezTo>
                      <a:pt x="753" y="273"/>
                      <a:pt x="753" y="273"/>
                      <a:pt x="753" y="273"/>
                    </a:cubicBezTo>
                    <a:cubicBezTo>
                      <a:pt x="750" y="274"/>
                      <a:pt x="750" y="274"/>
                      <a:pt x="750" y="274"/>
                    </a:cubicBezTo>
                    <a:cubicBezTo>
                      <a:pt x="750" y="272"/>
                      <a:pt x="749" y="270"/>
                      <a:pt x="748" y="268"/>
                    </a:cubicBezTo>
                    <a:cubicBezTo>
                      <a:pt x="751" y="267"/>
                      <a:pt x="751" y="267"/>
                      <a:pt x="751" y="267"/>
                    </a:cubicBezTo>
                    <a:cubicBezTo>
                      <a:pt x="751" y="267"/>
                      <a:pt x="751" y="267"/>
                      <a:pt x="751" y="267"/>
                    </a:cubicBezTo>
                    <a:cubicBezTo>
                      <a:pt x="748" y="268"/>
                      <a:pt x="748" y="268"/>
                      <a:pt x="748" y="268"/>
                    </a:cubicBezTo>
                    <a:cubicBezTo>
                      <a:pt x="748" y="266"/>
                      <a:pt x="747" y="264"/>
                      <a:pt x="746" y="263"/>
                    </a:cubicBezTo>
                    <a:cubicBezTo>
                      <a:pt x="751" y="261"/>
                      <a:pt x="751" y="261"/>
                      <a:pt x="751" y="261"/>
                    </a:cubicBezTo>
                    <a:cubicBezTo>
                      <a:pt x="751" y="260"/>
                      <a:pt x="751" y="260"/>
                      <a:pt x="751" y="260"/>
                    </a:cubicBezTo>
                    <a:cubicBezTo>
                      <a:pt x="758" y="258"/>
                      <a:pt x="758" y="258"/>
                      <a:pt x="758" y="258"/>
                    </a:cubicBezTo>
                    <a:cubicBezTo>
                      <a:pt x="758" y="257"/>
                      <a:pt x="758" y="257"/>
                      <a:pt x="758" y="257"/>
                    </a:cubicBezTo>
                    <a:cubicBezTo>
                      <a:pt x="751" y="260"/>
                      <a:pt x="751" y="260"/>
                      <a:pt x="751" y="260"/>
                    </a:cubicBezTo>
                    <a:cubicBezTo>
                      <a:pt x="751" y="259"/>
                      <a:pt x="751" y="259"/>
                      <a:pt x="751" y="259"/>
                    </a:cubicBezTo>
                    <a:cubicBezTo>
                      <a:pt x="746" y="261"/>
                      <a:pt x="746" y="261"/>
                      <a:pt x="746" y="261"/>
                    </a:cubicBezTo>
                    <a:cubicBezTo>
                      <a:pt x="745" y="259"/>
                      <a:pt x="745" y="258"/>
                      <a:pt x="744" y="256"/>
                    </a:cubicBezTo>
                    <a:cubicBezTo>
                      <a:pt x="747" y="255"/>
                      <a:pt x="747" y="255"/>
                      <a:pt x="747" y="255"/>
                    </a:cubicBezTo>
                    <a:cubicBezTo>
                      <a:pt x="746" y="254"/>
                      <a:pt x="746" y="254"/>
                      <a:pt x="746" y="254"/>
                    </a:cubicBezTo>
                    <a:cubicBezTo>
                      <a:pt x="744" y="255"/>
                      <a:pt x="744" y="255"/>
                      <a:pt x="744" y="255"/>
                    </a:cubicBezTo>
                    <a:cubicBezTo>
                      <a:pt x="743" y="253"/>
                      <a:pt x="742" y="252"/>
                      <a:pt x="741" y="250"/>
                    </a:cubicBezTo>
                    <a:cubicBezTo>
                      <a:pt x="744" y="249"/>
                      <a:pt x="744" y="249"/>
                      <a:pt x="744" y="249"/>
                    </a:cubicBezTo>
                    <a:cubicBezTo>
                      <a:pt x="744" y="248"/>
                      <a:pt x="744" y="248"/>
                      <a:pt x="744" y="248"/>
                    </a:cubicBezTo>
                    <a:cubicBezTo>
                      <a:pt x="741" y="249"/>
                      <a:pt x="741" y="249"/>
                      <a:pt x="741" y="249"/>
                    </a:cubicBezTo>
                    <a:cubicBezTo>
                      <a:pt x="740" y="247"/>
                      <a:pt x="740" y="245"/>
                      <a:pt x="739" y="244"/>
                    </a:cubicBezTo>
                    <a:cubicBezTo>
                      <a:pt x="742" y="243"/>
                      <a:pt x="742" y="243"/>
                      <a:pt x="742" y="243"/>
                    </a:cubicBezTo>
                    <a:cubicBezTo>
                      <a:pt x="741" y="242"/>
                      <a:pt x="741" y="242"/>
                      <a:pt x="741" y="242"/>
                    </a:cubicBezTo>
                    <a:cubicBezTo>
                      <a:pt x="739" y="243"/>
                      <a:pt x="739" y="243"/>
                      <a:pt x="739" y="243"/>
                    </a:cubicBezTo>
                    <a:cubicBezTo>
                      <a:pt x="738" y="241"/>
                      <a:pt x="737" y="239"/>
                      <a:pt x="736" y="238"/>
                    </a:cubicBezTo>
                    <a:cubicBezTo>
                      <a:pt x="739" y="236"/>
                      <a:pt x="739" y="236"/>
                      <a:pt x="739" y="236"/>
                    </a:cubicBezTo>
                    <a:cubicBezTo>
                      <a:pt x="739" y="236"/>
                      <a:pt x="739" y="236"/>
                      <a:pt x="739" y="236"/>
                    </a:cubicBezTo>
                    <a:cubicBezTo>
                      <a:pt x="736" y="237"/>
                      <a:pt x="736" y="237"/>
                      <a:pt x="736" y="237"/>
                    </a:cubicBezTo>
                    <a:cubicBezTo>
                      <a:pt x="735" y="235"/>
                      <a:pt x="734" y="233"/>
                      <a:pt x="734" y="232"/>
                    </a:cubicBezTo>
                    <a:cubicBezTo>
                      <a:pt x="736" y="230"/>
                      <a:pt x="736" y="230"/>
                      <a:pt x="736" y="230"/>
                    </a:cubicBezTo>
                    <a:cubicBezTo>
                      <a:pt x="736" y="230"/>
                      <a:pt x="736" y="230"/>
                      <a:pt x="736" y="230"/>
                    </a:cubicBezTo>
                    <a:cubicBezTo>
                      <a:pt x="733" y="231"/>
                      <a:pt x="733" y="231"/>
                      <a:pt x="733" y="231"/>
                    </a:cubicBezTo>
                    <a:cubicBezTo>
                      <a:pt x="732" y="229"/>
                      <a:pt x="732" y="227"/>
                      <a:pt x="731" y="226"/>
                    </a:cubicBezTo>
                    <a:cubicBezTo>
                      <a:pt x="733" y="224"/>
                      <a:pt x="733" y="224"/>
                      <a:pt x="733" y="224"/>
                    </a:cubicBezTo>
                    <a:cubicBezTo>
                      <a:pt x="733" y="224"/>
                      <a:pt x="733" y="224"/>
                      <a:pt x="733" y="224"/>
                    </a:cubicBezTo>
                    <a:cubicBezTo>
                      <a:pt x="730" y="225"/>
                      <a:pt x="730" y="225"/>
                      <a:pt x="730" y="225"/>
                    </a:cubicBezTo>
                    <a:cubicBezTo>
                      <a:pt x="730" y="223"/>
                      <a:pt x="729" y="221"/>
                      <a:pt x="728" y="220"/>
                    </a:cubicBezTo>
                    <a:cubicBezTo>
                      <a:pt x="730" y="218"/>
                      <a:pt x="730" y="218"/>
                      <a:pt x="730" y="218"/>
                    </a:cubicBezTo>
                    <a:cubicBezTo>
                      <a:pt x="730" y="218"/>
                      <a:pt x="730" y="218"/>
                      <a:pt x="730" y="218"/>
                    </a:cubicBezTo>
                    <a:cubicBezTo>
                      <a:pt x="727" y="219"/>
                      <a:pt x="727" y="219"/>
                      <a:pt x="727" y="219"/>
                    </a:cubicBezTo>
                    <a:cubicBezTo>
                      <a:pt x="727" y="217"/>
                      <a:pt x="726" y="216"/>
                      <a:pt x="725" y="214"/>
                    </a:cubicBezTo>
                    <a:cubicBezTo>
                      <a:pt x="727" y="213"/>
                      <a:pt x="727" y="213"/>
                      <a:pt x="727" y="213"/>
                    </a:cubicBezTo>
                    <a:cubicBezTo>
                      <a:pt x="727" y="212"/>
                      <a:pt x="727" y="212"/>
                      <a:pt x="727" y="212"/>
                    </a:cubicBezTo>
                    <a:cubicBezTo>
                      <a:pt x="724" y="213"/>
                      <a:pt x="724" y="213"/>
                      <a:pt x="724" y="213"/>
                    </a:cubicBezTo>
                    <a:cubicBezTo>
                      <a:pt x="723" y="211"/>
                      <a:pt x="723" y="210"/>
                      <a:pt x="722" y="208"/>
                    </a:cubicBezTo>
                    <a:cubicBezTo>
                      <a:pt x="724" y="207"/>
                      <a:pt x="724" y="207"/>
                      <a:pt x="724" y="207"/>
                    </a:cubicBezTo>
                    <a:cubicBezTo>
                      <a:pt x="724" y="206"/>
                      <a:pt x="724" y="206"/>
                      <a:pt x="724" y="206"/>
                    </a:cubicBezTo>
                    <a:cubicBezTo>
                      <a:pt x="721" y="207"/>
                      <a:pt x="721" y="207"/>
                      <a:pt x="721" y="207"/>
                    </a:cubicBezTo>
                    <a:cubicBezTo>
                      <a:pt x="720" y="206"/>
                      <a:pt x="719" y="204"/>
                      <a:pt x="719" y="203"/>
                    </a:cubicBezTo>
                    <a:cubicBezTo>
                      <a:pt x="723" y="200"/>
                      <a:pt x="723" y="200"/>
                      <a:pt x="723" y="200"/>
                    </a:cubicBezTo>
                    <a:cubicBezTo>
                      <a:pt x="723" y="200"/>
                      <a:pt x="723" y="200"/>
                      <a:pt x="723" y="200"/>
                    </a:cubicBezTo>
                    <a:cubicBezTo>
                      <a:pt x="730" y="196"/>
                      <a:pt x="730" y="196"/>
                      <a:pt x="730" y="196"/>
                    </a:cubicBezTo>
                    <a:cubicBezTo>
                      <a:pt x="729" y="195"/>
                      <a:pt x="729" y="195"/>
                      <a:pt x="729" y="195"/>
                    </a:cubicBezTo>
                    <a:cubicBezTo>
                      <a:pt x="723" y="199"/>
                      <a:pt x="723" y="199"/>
                      <a:pt x="723" y="199"/>
                    </a:cubicBezTo>
                    <a:cubicBezTo>
                      <a:pt x="722" y="199"/>
                      <a:pt x="722" y="199"/>
                      <a:pt x="722" y="199"/>
                    </a:cubicBezTo>
                    <a:cubicBezTo>
                      <a:pt x="718" y="201"/>
                      <a:pt x="718" y="201"/>
                      <a:pt x="718" y="201"/>
                    </a:cubicBezTo>
                    <a:cubicBezTo>
                      <a:pt x="717" y="200"/>
                      <a:pt x="716" y="198"/>
                      <a:pt x="715" y="197"/>
                    </a:cubicBezTo>
                    <a:cubicBezTo>
                      <a:pt x="717" y="195"/>
                      <a:pt x="717" y="195"/>
                      <a:pt x="717" y="195"/>
                    </a:cubicBezTo>
                    <a:cubicBezTo>
                      <a:pt x="717" y="194"/>
                      <a:pt x="717" y="194"/>
                      <a:pt x="717" y="194"/>
                    </a:cubicBezTo>
                    <a:cubicBezTo>
                      <a:pt x="715" y="196"/>
                      <a:pt x="715" y="196"/>
                      <a:pt x="715" y="196"/>
                    </a:cubicBezTo>
                    <a:cubicBezTo>
                      <a:pt x="714" y="194"/>
                      <a:pt x="713" y="193"/>
                      <a:pt x="712" y="191"/>
                    </a:cubicBezTo>
                    <a:cubicBezTo>
                      <a:pt x="714" y="189"/>
                      <a:pt x="714" y="189"/>
                      <a:pt x="714" y="189"/>
                    </a:cubicBezTo>
                    <a:cubicBezTo>
                      <a:pt x="714" y="189"/>
                      <a:pt x="714" y="189"/>
                      <a:pt x="714" y="189"/>
                    </a:cubicBezTo>
                    <a:cubicBezTo>
                      <a:pt x="711" y="190"/>
                      <a:pt x="711" y="190"/>
                      <a:pt x="711" y="190"/>
                    </a:cubicBezTo>
                    <a:cubicBezTo>
                      <a:pt x="710" y="189"/>
                      <a:pt x="709" y="187"/>
                      <a:pt x="708" y="185"/>
                    </a:cubicBezTo>
                    <a:cubicBezTo>
                      <a:pt x="710" y="184"/>
                      <a:pt x="710" y="184"/>
                      <a:pt x="710" y="184"/>
                    </a:cubicBezTo>
                    <a:cubicBezTo>
                      <a:pt x="710" y="183"/>
                      <a:pt x="710" y="183"/>
                      <a:pt x="710" y="183"/>
                    </a:cubicBezTo>
                    <a:cubicBezTo>
                      <a:pt x="708" y="185"/>
                      <a:pt x="708" y="185"/>
                      <a:pt x="708" y="185"/>
                    </a:cubicBezTo>
                    <a:cubicBezTo>
                      <a:pt x="707" y="183"/>
                      <a:pt x="705" y="182"/>
                      <a:pt x="704" y="180"/>
                    </a:cubicBezTo>
                    <a:cubicBezTo>
                      <a:pt x="707" y="178"/>
                      <a:pt x="707" y="178"/>
                      <a:pt x="707" y="178"/>
                    </a:cubicBezTo>
                    <a:cubicBezTo>
                      <a:pt x="706" y="178"/>
                      <a:pt x="706" y="178"/>
                      <a:pt x="706" y="178"/>
                    </a:cubicBezTo>
                    <a:cubicBezTo>
                      <a:pt x="704" y="179"/>
                      <a:pt x="704" y="179"/>
                      <a:pt x="704" y="179"/>
                    </a:cubicBezTo>
                    <a:cubicBezTo>
                      <a:pt x="703" y="178"/>
                      <a:pt x="702" y="176"/>
                      <a:pt x="701" y="174"/>
                    </a:cubicBezTo>
                    <a:cubicBezTo>
                      <a:pt x="703" y="173"/>
                      <a:pt x="703" y="173"/>
                      <a:pt x="703" y="173"/>
                    </a:cubicBezTo>
                    <a:cubicBezTo>
                      <a:pt x="703" y="172"/>
                      <a:pt x="703" y="172"/>
                      <a:pt x="703" y="172"/>
                    </a:cubicBezTo>
                    <a:cubicBezTo>
                      <a:pt x="700" y="174"/>
                      <a:pt x="700" y="174"/>
                      <a:pt x="700" y="174"/>
                    </a:cubicBezTo>
                    <a:cubicBezTo>
                      <a:pt x="699" y="172"/>
                      <a:pt x="698" y="171"/>
                      <a:pt x="697" y="169"/>
                    </a:cubicBezTo>
                    <a:cubicBezTo>
                      <a:pt x="699" y="167"/>
                      <a:pt x="699" y="167"/>
                      <a:pt x="699" y="167"/>
                    </a:cubicBezTo>
                    <a:cubicBezTo>
                      <a:pt x="699" y="167"/>
                      <a:pt x="699" y="167"/>
                      <a:pt x="699" y="167"/>
                    </a:cubicBezTo>
                    <a:cubicBezTo>
                      <a:pt x="696" y="169"/>
                      <a:pt x="696" y="169"/>
                      <a:pt x="696" y="169"/>
                    </a:cubicBezTo>
                    <a:cubicBezTo>
                      <a:pt x="695" y="167"/>
                      <a:pt x="694" y="165"/>
                      <a:pt x="693" y="164"/>
                    </a:cubicBezTo>
                    <a:cubicBezTo>
                      <a:pt x="695" y="162"/>
                      <a:pt x="695" y="162"/>
                      <a:pt x="695" y="162"/>
                    </a:cubicBezTo>
                    <a:cubicBezTo>
                      <a:pt x="695" y="161"/>
                      <a:pt x="695" y="161"/>
                      <a:pt x="695" y="161"/>
                    </a:cubicBezTo>
                    <a:cubicBezTo>
                      <a:pt x="692" y="163"/>
                      <a:pt x="692" y="163"/>
                      <a:pt x="692" y="163"/>
                    </a:cubicBezTo>
                    <a:cubicBezTo>
                      <a:pt x="691" y="162"/>
                      <a:pt x="690" y="160"/>
                      <a:pt x="689" y="159"/>
                    </a:cubicBezTo>
                    <a:cubicBezTo>
                      <a:pt x="691" y="157"/>
                      <a:pt x="691" y="157"/>
                      <a:pt x="691" y="157"/>
                    </a:cubicBezTo>
                    <a:cubicBezTo>
                      <a:pt x="691" y="156"/>
                      <a:pt x="691" y="156"/>
                      <a:pt x="691" y="156"/>
                    </a:cubicBezTo>
                    <a:cubicBezTo>
                      <a:pt x="688" y="158"/>
                      <a:pt x="688" y="158"/>
                      <a:pt x="688" y="158"/>
                    </a:cubicBezTo>
                    <a:cubicBezTo>
                      <a:pt x="687" y="156"/>
                      <a:pt x="686" y="155"/>
                      <a:pt x="685" y="153"/>
                    </a:cubicBezTo>
                    <a:cubicBezTo>
                      <a:pt x="687" y="152"/>
                      <a:pt x="687" y="152"/>
                      <a:pt x="687" y="152"/>
                    </a:cubicBezTo>
                    <a:cubicBezTo>
                      <a:pt x="687" y="151"/>
                      <a:pt x="687" y="151"/>
                      <a:pt x="687" y="151"/>
                    </a:cubicBezTo>
                    <a:cubicBezTo>
                      <a:pt x="684" y="153"/>
                      <a:pt x="684" y="153"/>
                      <a:pt x="684" y="153"/>
                    </a:cubicBezTo>
                    <a:cubicBezTo>
                      <a:pt x="683" y="151"/>
                      <a:pt x="682" y="150"/>
                      <a:pt x="681" y="149"/>
                    </a:cubicBezTo>
                    <a:cubicBezTo>
                      <a:pt x="685" y="145"/>
                      <a:pt x="685" y="145"/>
                      <a:pt x="685" y="145"/>
                    </a:cubicBezTo>
                    <a:cubicBezTo>
                      <a:pt x="685" y="145"/>
                      <a:pt x="685" y="145"/>
                      <a:pt x="685" y="145"/>
                    </a:cubicBezTo>
                    <a:cubicBezTo>
                      <a:pt x="691" y="140"/>
                      <a:pt x="691" y="140"/>
                      <a:pt x="691" y="140"/>
                    </a:cubicBezTo>
                    <a:cubicBezTo>
                      <a:pt x="690" y="139"/>
                      <a:pt x="690" y="139"/>
                      <a:pt x="690" y="139"/>
                    </a:cubicBezTo>
                    <a:cubicBezTo>
                      <a:pt x="684" y="144"/>
                      <a:pt x="684" y="144"/>
                      <a:pt x="684" y="144"/>
                    </a:cubicBezTo>
                    <a:cubicBezTo>
                      <a:pt x="684" y="144"/>
                      <a:pt x="684" y="144"/>
                      <a:pt x="684" y="144"/>
                    </a:cubicBezTo>
                    <a:cubicBezTo>
                      <a:pt x="680" y="147"/>
                      <a:pt x="680" y="147"/>
                      <a:pt x="680" y="147"/>
                    </a:cubicBezTo>
                    <a:cubicBezTo>
                      <a:pt x="679" y="146"/>
                      <a:pt x="677" y="145"/>
                      <a:pt x="676" y="143"/>
                    </a:cubicBezTo>
                    <a:cubicBezTo>
                      <a:pt x="678" y="141"/>
                      <a:pt x="678" y="141"/>
                      <a:pt x="678" y="141"/>
                    </a:cubicBezTo>
                    <a:cubicBezTo>
                      <a:pt x="678" y="141"/>
                      <a:pt x="678" y="141"/>
                      <a:pt x="678" y="141"/>
                    </a:cubicBezTo>
                    <a:cubicBezTo>
                      <a:pt x="676" y="143"/>
                      <a:pt x="676" y="143"/>
                      <a:pt x="676" y="143"/>
                    </a:cubicBezTo>
                    <a:cubicBezTo>
                      <a:pt x="674" y="141"/>
                      <a:pt x="673" y="140"/>
                      <a:pt x="672" y="138"/>
                    </a:cubicBezTo>
                    <a:cubicBezTo>
                      <a:pt x="674" y="136"/>
                      <a:pt x="674" y="136"/>
                      <a:pt x="674" y="136"/>
                    </a:cubicBezTo>
                    <a:cubicBezTo>
                      <a:pt x="674" y="136"/>
                      <a:pt x="674" y="136"/>
                      <a:pt x="674" y="136"/>
                    </a:cubicBezTo>
                    <a:cubicBezTo>
                      <a:pt x="671" y="138"/>
                      <a:pt x="671" y="138"/>
                      <a:pt x="671" y="138"/>
                    </a:cubicBezTo>
                    <a:cubicBezTo>
                      <a:pt x="670" y="136"/>
                      <a:pt x="669" y="135"/>
                      <a:pt x="667" y="134"/>
                    </a:cubicBezTo>
                    <a:cubicBezTo>
                      <a:pt x="670" y="131"/>
                      <a:pt x="670" y="131"/>
                      <a:pt x="670" y="131"/>
                    </a:cubicBezTo>
                    <a:cubicBezTo>
                      <a:pt x="669" y="131"/>
                      <a:pt x="669" y="131"/>
                      <a:pt x="669" y="131"/>
                    </a:cubicBezTo>
                    <a:cubicBezTo>
                      <a:pt x="667" y="133"/>
                      <a:pt x="667" y="133"/>
                      <a:pt x="667" y="133"/>
                    </a:cubicBezTo>
                    <a:cubicBezTo>
                      <a:pt x="666" y="132"/>
                      <a:pt x="664" y="130"/>
                      <a:pt x="663" y="129"/>
                    </a:cubicBezTo>
                    <a:cubicBezTo>
                      <a:pt x="665" y="127"/>
                      <a:pt x="665" y="127"/>
                      <a:pt x="665" y="127"/>
                    </a:cubicBezTo>
                    <a:cubicBezTo>
                      <a:pt x="664" y="126"/>
                      <a:pt x="664" y="126"/>
                      <a:pt x="664" y="126"/>
                    </a:cubicBezTo>
                    <a:cubicBezTo>
                      <a:pt x="662" y="128"/>
                      <a:pt x="662" y="128"/>
                      <a:pt x="662" y="128"/>
                    </a:cubicBezTo>
                    <a:cubicBezTo>
                      <a:pt x="661" y="127"/>
                      <a:pt x="660" y="125"/>
                      <a:pt x="658" y="124"/>
                    </a:cubicBezTo>
                    <a:cubicBezTo>
                      <a:pt x="660" y="122"/>
                      <a:pt x="660" y="122"/>
                      <a:pt x="660" y="122"/>
                    </a:cubicBezTo>
                    <a:cubicBezTo>
                      <a:pt x="660" y="121"/>
                      <a:pt x="660" y="121"/>
                      <a:pt x="660" y="121"/>
                    </a:cubicBezTo>
                    <a:cubicBezTo>
                      <a:pt x="658" y="123"/>
                      <a:pt x="658" y="123"/>
                      <a:pt x="658" y="123"/>
                    </a:cubicBezTo>
                    <a:cubicBezTo>
                      <a:pt x="656" y="122"/>
                      <a:pt x="655" y="121"/>
                      <a:pt x="654" y="119"/>
                    </a:cubicBezTo>
                    <a:cubicBezTo>
                      <a:pt x="656" y="117"/>
                      <a:pt x="656" y="117"/>
                      <a:pt x="656" y="117"/>
                    </a:cubicBezTo>
                    <a:cubicBezTo>
                      <a:pt x="655" y="117"/>
                      <a:pt x="655" y="117"/>
                      <a:pt x="655" y="117"/>
                    </a:cubicBezTo>
                    <a:cubicBezTo>
                      <a:pt x="653" y="119"/>
                      <a:pt x="653" y="119"/>
                      <a:pt x="653" y="119"/>
                    </a:cubicBezTo>
                    <a:cubicBezTo>
                      <a:pt x="652" y="117"/>
                      <a:pt x="650" y="116"/>
                      <a:pt x="649" y="115"/>
                    </a:cubicBezTo>
                    <a:cubicBezTo>
                      <a:pt x="651" y="113"/>
                      <a:pt x="651" y="113"/>
                      <a:pt x="651" y="113"/>
                    </a:cubicBezTo>
                    <a:cubicBezTo>
                      <a:pt x="650" y="112"/>
                      <a:pt x="650" y="112"/>
                      <a:pt x="650" y="112"/>
                    </a:cubicBezTo>
                    <a:cubicBezTo>
                      <a:pt x="648" y="114"/>
                      <a:pt x="648" y="114"/>
                      <a:pt x="648" y="114"/>
                    </a:cubicBezTo>
                    <a:cubicBezTo>
                      <a:pt x="647" y="113"/>
                      <a:pt x="645" y="112"/>
                      <a:pt x="644" y="110"/>
                    </a:cubicBezTo>
                    <a:cubicBezTo>
                      <a:pt x="646" y="108"/>
                      <a:pt x="646" y="108"/>
                      <a:pt x="646" y="108"/>
                    </a:cubicBezTo>
                    <a:cubicBezTo>
                      <a:pt x="645" y="108"/>
                      <a:pt x="645" y="108"/>
                      <a:pt x="645" y="108"/>
                    </a:cubicBezTo>
                    <a:cubicBezTo>
                      <a:pt x="643" y="110"/>
                      <a:pt x="643" y="110"/>
                      <a:pt x="643" y="110"/>
                    </a:cubicBezTo>
                    <a:cubicBezTo>
                      <a:pt x="642" y="109"/>
                      <a:pt x="640" y="107"/>
                      <a:pt x="639" y="106"/>
                    </a:cubicBezTo>
                    <a:cubicBezTo>
                      <a:pt x="641" y="104"/>
                      <a:pt x="641" y="104"/>
                      <a:pt x="641" y="104"/>
                    </a:cubicBezTo>
                    <a:cubicBezTo>
                      <a:pt x="640" y="103"/>
                      <a:pt x="640" y="103"/>
                      <a:pt x="640" y="103"/>
                    </a:cubicBezTo>
                    <a:cubicBezTo>
                      <a:pt x="638" y="105"/>
                      <a:pt x="638" y="105"/>
                      <a:pt x="638" y="105"/>
                    </a:cubicBezTo>
                    <a:cubicBezTo>
                      <a:pt x="637" y="104"/>
                      <a:pt x="636" y="103"/>
                      <a:pt x="634" y="102"/>
                    </a:cubicBezTo>
                    <a:cubicBezTo>
                      <a:pt x="638" y="98"/>
                      <a:pt x="638" y="98"/>
                      <a:pt x="638" y="98"/>
                    </a:cubicBezTo>
                    <a:cubicBezTo>
                      <a:pt x="637" y="97"/>
                      <a:pt x="637" y="97"/>
                      <a:pt x="637" y="97"/>
                    </a:cubicBezTo>
                    <a:cubicBezTo>
                      <a:pt x="642" y="91"/>
                      <a:pt x="642" y="91"/>
                      <a:pt x="642" y="91"/>
                    </a:cubicBezTo>
                    <a:cubicBezTo>
                      <a:pt x="642" y="91"/>
                      <a:pt x="642" y="91"/>
                      <a:pt x="642" y="91"/>
                    </a:cubicBezTo>
                    <a:cubicBezTo>
                      <a:pt x="637" y="97"/>
                      <a:pt x="637" y="97"/>
                      <a:pt x="637" y="97"/>
                    </a:cubicBezTo>
                    <a:cubicBezTo>
                      <a:pt x="637" y="97"/>
                      <a:pt x="637" y="97"/>
                      <a:pt x="637" y="97"/>
                    </a:cubicBezTo>
                    <a:cubicBezTo>
                      <a:pt x="633" y="101"/>
                      <a:pt x="633" y="101"/>
                      <a:pt x="633" y="101"/>
                    </a:cubicBezTo>
                    <a:cubicBezTo>
                      <a:pt x="632" y="100"/>
                      <a:pt x="630" y="99"/>
                      <a:pt x="629" y="97"/>
                    </a:cubicBezTo>
                    <a:cubicBezTo>
                      <a:pt x="631" y="95"/>
                      <a:pt x="631" y="95"/>
                      <a:pt x="631" y="95"/>
                    </a:cubicBezTo>
                    <a:cubicBezTo>
                      <a:pt x="630" y="95"/>
                      <a:pt x="630" y="95"/>
                      <a:pt x="630" y="95"/>
                    </a:cubicBezTo>
                    <a:cubicBezTo>
                      <a:pt x="628" y="97"/>
                      <a:pt x="628" y="97"/>
                      <a:pt x="628" y="97"/>
                    </a:cubicBezTo>
                    <a:cubicBezTo>
                      <a:pt x="627" y="96"/>
                      <a:pt x="625" y="95"/>
                      <a:pt x="624" y="93"/>
                    </a:cubicBezTo>
                    <a:cubicBezTo>
                      <a:pt x="626" y="91"/>
                      <a:pt x="626" y="91"/>
                      <a:pt x="626" y="91"/>
                    </a:cubicBezTo>
                    <a:cubicBezTo>
                      <a:pt x="625" y="90"/>
                      <a:pt x="625" y="90"/>
                      <a:pt x="625" y="90"/>
                    </a:cubicBezTo>
                    <a:cubicBezTo>
                      <a:pt x="623" y="93"/>
                      <a:pt x="623" y="93"/>
                      <a:pt x="623" y="93"/>
                    </a:cubicBezTo>
                    <a:cubicBezTo>
                      <a:pt x="622" y="92"/>
                      <a:pt x="620" y="90"/>
                      <a:pt x="619" y="89"/>
                    </a:cubicBezTo>
                    <a:cubicBezTo>
                      <a:pt x="620" y="87"/>
                      <a:pt x="620" y="87"/>
                      <a:pt x="620" y="87"/>
                    </a:cubicBezTo>
                    <a:cubicBezTo>
                      <a:pt x="620" y="86"/>
                      <a:pt x="620" y="86"/>
                      <a:pt x="620" y="86"/>
                    </a:cubicBezTo>
                    <a:cubicBezTo>
                      <a:pt x="618" y="89"/>
                      <a:pt x="618" y="89"/>
                      <a:pt x="618" y="89"/>
                    </a:cubicBezTo>
                    <a:cubicBezTo>
                      <a:pt x="616" y="88"/>
                      <a:pt x="615" y="86"/>
                      <a:pt x="613" y="85"/>
                    </a:cubicBezTo>
                    <a:cubicBezTo>
                      <a:pt x="615" y="83"/>
                      <a:pt x="615" y="83"/>
                      <a:pt x="615" y="83"/>
                    </a:cubicBezTo>
                    <a:cubicBezTo>
                      <a:pt x="614" y="82"/>
                      <a:pt x="614" y="82"/>
                      <a:pt x="614" y="82"/>
                    </a:cubicBezTo>
                    <a:cubicBezTo>
                      <a:pt x="613" y="85"/>
                      <a:pt x="613" y="85"/>
                      <a:pt x="613" y="85"/>
                    </a:cubicBezTo>
                    <a:cubicBezTo>
                      <a:pt x="611" y="84"/>
                      <a:pt x="609" y="83"/>
                      <a:pt x="608" y="81"/>
                    </a:cubicBezTo>
                    <a:cubicBezTo>
                      <a:pt x="610" y="79"/>
                      <a:pt x="610" y="79"/>
                      <a:pt x="610" y="79"/>
                    </a:cubicBezTo>
                    <a:cubicBezTo>
                      <a:pt x="609" y="79"/>
                      <a:pt x="609" y="79"/>
                      <a:pt x="609" y="79"/>
                    </a:cubicBezTo>
                    <a:cubicBezTo>
                      <a:pt x="607" y="81"/>
                      <a:pt x="607" y="81"/>
                      <a:pt x="607" y="81"/>
                    </a:cubicBezTo>
                    <a:cubicBezTo>
                      <a:pt x="606" y="80"/>
                      <a:pt x="604" y="79"/>
                      <a:pt x="602" y="78"/>
                    </a:cubicBezTo>
                    <a:cubicBezTo>
                      <a:pt x="604" y="75"/>
                      <a:pt x="604" y="75"/>
                      <a:pt x="604" y="75"/>
                    </a:cubicBezTo>
                    <a:cubicBezTo>
                      <a:pt x="603" y="75"/>
                      <a:pt x="603" y="75"/>
                      <a:pt x="603" y="75"/>
                    </a:cubicBezTo>
                    <a:cubicBezTo>
                      <a:pt x="602" y="77"/>
                      <a:pt x="602" y="77"/>
                      <a:pt x="602" y="77"/>
                    </a:cubicBezTo>
                    <a:cubicBezTo>
                      <a:pt x="600" y="76"/>
                      <a:pt x="599" y="75"/>
                      <a:pt x="597" y="74"/>
                    </a:cubicBezTo>
                    <a:cubicBezTo>
                      <a:pt x="599" y="72"/>
                      <a:pt x="599" y="72"/>
                      <a:pt x="599" y="72"/>
                    </a:cubicBezTo>
                    <a:cubicBezTo>
                      <a:pt x="598" y="71"/>
                      <a:pt x="598" y="71"/>
                      <a:pt x="598" y="71"/>
                    </a:cubicBezTo>
                    <a:cubicBezTo>
                      <a:pt x="596" y="74"/>
                      <a:pt x="596" y="74"/>
                      <a:pt x="596" y="74"/>
                    </a:cubicBezTo>
                    <a:cubicBezTo>
                      <a:pt x="595" y="73"/>
                      <a:pt x="593" y="72"/>
                      <a:pt x="591" y="70"/>
                    </a:cubicBezTo>
                    <a:cubicBezTo>
                      <a:pt x="593" y="68"/>
                      <a:pt x="593" y="68"/>
                      <a:pt x="593" y="68"/>
                    </a:cubicBezTo>
                    <a:cubicBezTo>
                      <a:pt x="592" y="68"/>
                      <a:pt x="592" y="68"/>
                      <a:pt x="592" y="68"/>
                    </a:cubicBezTo>
                    <a:cubicBezTo>
                      <a:pt x="591" y="70"/>
                      <a:pt x="591" y="70"/>
                      <a:pt x="591" y="70"/>
                    </a:cubicBezTo>
                    <a:cubicBezTo>
                      <a:pt x="589" y="69"/>
                      <a:pt x="587" y="68"/>
                      <a:pt x="586" y="67"/>
                    </a:cubicBezTo>
                    <a:cubicBezTo>
                      <a:pt x="587" y="65"/>
                      <a:pt x="587" y="65"/>
                      <a:pt x="587" y="65"/>
                    </a:cubicBezTo>
                    <a:cubicBezTo>
                      <a:pt x="587" y="64"/>
                      <a:pt x="587" y="64"/>
                      <a:pt x="587" y="64"/>
                    </a:cubicBezTo>
                    <a:cubicBezTo>
                      <a:pt x="585" y="67"/>
                      <a:pt x="585" y="67"/>
                      <a:pt x="585" y="67"/>
                    </a:cubicBezTo>
                    <a:cubicBezTo>
                      <a:pt x="584" y="66"/>
                      <a:pt x="582" y="65"/>
                      <a:pt x="581" y="64"/>
                    </a:cubicBezTo>
                    <a:cubicBezTo>
                      <a:pt x="583" y="59"/>
                      <a:pt x="583" y="59"/>
                      <a:pt x="583" y="59"/>
                    </a:cubicBezTo>
                    <a:cubicBezTo>
                      <a:pt x="583" y="59"/>
                      <a:pt x="583" y="59"/>
                      <a:pt x="583" y="59"/>
                    </a:cubicBezTo>
                    <a:cubicBezTo>
                      <a:pt x="587" y="52"/>
                      <a:pt x="587" y="52"/>
                      <a:pt x="587" y="52"/>
                    </a:cubicBezTo>
                    <a:cubicBezTo>
                      <a:pt x="586" y="52"/>
                      <a:pt x="586" y="52"/>
                      <a:pt x="586" y="52"/>
                    </a:cubicBezTo>
                    <a:cubicBezTo>
                      <a:pt x="582" y="59"/>
                      <a:pt x="582" y="59"/>
                      <a:pt x="582" y="59"/>
                    </a:cubicBezTo>
                    <a:cubicBezTo>
                      <a:pt x="582" y="58"/>
                      <a:pt x="582" y="58"/>
                      <a:pt x="582" y="58"/>
                    </a:cubicBezTo>
                    <a:cubicBezTo>
                      <a:pt x="579" y="63"/>
                      <a:pt x="579" y="63"/>
                      <a:pt x="579" y="63"/>
                    </a:cubicBezTo>
                    <a:cubicBezTo>
                      <a:pt x="577" y="62"/>
                      <a:pt x="576" y="61"/>
                      <a:pt x="574" y="60"/>
                    </a:cubicBezTo>
                    <a:cubicBezTo>
                      <a:pt x="576" y="58"/>
                      <a:pt x="576" y="58"/>
                      <a:pt x="576" y="58"/>
                    </a:cubicBezTo>
                    <a:cubicBezTo>
                      <a:pt x="575" y="57"/>
                      <a:pt x="575" y="57"/>
                      <a:pt x="575" y="57"/>
                    </a:cubicBezTo>
                    <a:cubicBezTo>
                      <a:pt x="574" y="60"/>
                      <a:pt x="574" y="60"/>
                      <a:pt x="574" y="60"/>
                    </a:cubicBezTo>
                    <a:cubicBezTo>
                      <a:pt x="572" y="59"/>
                      <a:pt x="570" y="58"/>
                      <a:pt x="569" y="57"/>
                    </a:cubicBezTo>
                    <a:cubicBezTo>
                      <a:pt x="570" y="55"/>
                      <a:pt x="570" y="55"/>
                      <a:pt x="570" y="55"/>
                    </a:cubicBezTo>
                    <a:cubicBezTo>
                      <a:pt x="569" y="54"/>
                      <a:pt x="569" y="54"/>
                      <a:pt x="569" y="54"/>
                    </a:cubicBezTo>
                    <a:cubicBezTo>
                      <a:pt x="568" y="57"/>
                      <a:pt x="568" y="57"/>
                      <a:pt x="568" y="57"/>
                    </a:cubicBezTo>
                    <a:cubicBezTo>
                      <a:pt x="566" y="56"/>
                      <a:pt x="564" y="55"/>
                      <a:pt x="563" y="54"/>
                    </a:cubicBezTo>
                    <a:cubicBezTo>
                      <a:pt x="564" y="52"/>
                      <a:pt x="564" y="52"/>
                      <a:pt x="564" y="52"/>
                    </a:cubicBezTo>
                    <a:cubicBezTo>
                      <a:pt x="563" y="51"/>
                      <a:pt x="563" y="51"/>
                      <a:pt x="563" y="51"/>
                    </a:cubicBezTo>
                    <a:cubicBezTo>
                      <a:pt x="562" y="54"/>
                      <a:pt x="562" y="54"/>
                      <a:pt x="562" y="54"/>
                    </a:cubicBezTo>
                    <a:cubicBezTo>
                      <a:pt x="560" y="53"/>
                      <a:pt x="559" y="52"/>
                      <a:pt x="557" y="51"/>
                    </a:cubicBezTo>
                    <a:cubicBezTo>
                      <a:pt x="558" y="49"/>
                      <a:pt x="558" y="49"/>
                      <a:pt x="558" y="49"/>
                    </a:cubicBezTo>
                    <a:cubicBezTo>
                      <a:pt x="557" y="48"/>
                      <a:pt x="557" y="48"/>
                      <a:pt x="557" y="48"/>
                    </a:cubicBezTo>
                    <a:cubicBezTo>
                      <a:pt x="556" y="51"/>
                      <a:pt x="556" y="51"/>
                      <a:pt x="556" y="51"/>
                    </a:cubicBezTo>
                    <a:cubicBezTo>
                      <a:pt x="554" y="50"/>
                      <a:pt x="553" y="49"/>
                      <a:pt x="551" y="48"/>
                    </a:cubicBezTo>
                    <a:cubicBezTo>
                      <a:pt x="552" y="46"/>
                      <a:pt x="552" y="46"/>
                      <a:pt x="552" y="46"/>
                    </a:cubicBezTo>
                    <a:cubicBezTo>
                      <a:pt x="551" y="45"/>
                      <a:pt x="551" y="45"/>
                      <a:pt x="551" y="45"/>
                    </a:cubicBezTo>
                    <a:cubicBezTo>
                      <a:pt x="550" y="48"/>
                      <a:pt x="550" y="48"/>
                      <a:pt x="550" y="48"/>
                    </a:cubicBezTo>
                    <a:cubicBezTo>
                      <a:pt x="548" y="47"/>
                      <a:pt x="547" y="46"/>
                      <a:pt x="545" y="46"/>
                    </a:cubicBezTo>
                    <a:cubicBezTo>
                      <a:pt x="546" y="43"/>
                      <a:pt x="546" y="43"/>
                      <a:pt x="546" y="43"/>
                    </a:cubicBezTo>
                    <a:cubicBezTo>
                      <a:pt x="545" y="43"/>
                      <a:pt x="545" y="43"/>
                      <a:pt x="545" y="43"/>
                    </a:cubicBezTo>
                    <a:cubicBezTo>
                      <a:pt x="544" y="45"/>
                      <a:pt x="544" y="45"/>
                      <a:pt x="544" y="45"/>
                    </a:cubicBezTo>
                    <a:cubicBezTo>
                      <a:pt x="542" y="44"/>
                      <a:pt x="541" y="44"/>
                      <a:pt x="539" y="43"/>
                    </a:cubicBezTo>
                    <a:cubicBezTo>
                      <a:pt x="540" y="40"/>
                      <a:pt x="540" y="40"/>
                      <a:pt x="540" y="40"/>
                    </a:cubicBezTo>
                    <a:cubicBezTo>
                      <a:pt x="539" y="40"/>
                      <a:pt x="539" y="40"/>
                      <a:pt x="539" y="40"/>
                    </a:cubicBezTo>
                    <a:cubicBezTo>
                      <a:pt x="538" y="43"/>
                      <a:pt x="538" y="43"/>
                      <a:pt x="538" y="43"/>
                    </a:cubicBezTo>
                    <a:cubicBezTo>
                      <a:pt x="536" y="42"/>
                      <a:pt x="535" y="41"/>
                      <a:pt x="533" y="40"/>
                    </a:cubicBezTo>
                    <a:cubicBezTo>
                      <a:pt x="534" y="38"/>
                      <a:pt x="534" y="38"/>
                      <a:pt x="534" y="38"/>
                    </a:cubicBezTo>
                    <a:cubicBezTo>
                      <a:pt x="533" y="38"/>
                      <a:pt x="533" y="38"/>
                      <a:pt x="533" y="38"/>
                    </a:cubicBezTo>
                    <a:cubicBezTo>
                      <a:pt x="532" y="40"/>
                      <a:pt x="532" y="40"/>
                      <a:pt x="532" y="40"/>
                    </a:cubicBezTo>
                    <a:cubicBezTo>
                      <a:pt x="530" y="39"/>
                      <a:pt x="528" y="39"/>
                      <a:pt x="527" y="38"/>
                    </a:cubicBezTo>
                    <a:cubicBezTo>
                      <a:pt x="528" y="35"/>
                      <a:pt x="528" y="35"/>
                      <a:pt x="528" y="35"/>
                    </a:cubicBezTo>
                    <a:cubicBezTo>
                      <a:pt x="527" y="35"/>
                      <a:pt x="527" y="35"/>
                      <a:pt x="527" y="35"/>
                    </a:cubicBezTo>
                    <a:cubicBezTo>
                      <a:pt x="526" y="38"/>
                      <a:pt x="526" y="38"/>
                      <a:pt x="526" y="38"/>
                    </a:cubicBezTo>
                    <a:cubicBezTo>
                      <a:pt x="524" y="37"/>
                      <a:pt x="523" y="36"/>
                      <a:pt x="521" y="36"/>
                    </a:cubicBezTo>
                    <a:cubicBezTo>
                      <a:pt x="523" y="31"/>
                      <a:pt x="523" y="31"/>
                      <a:pt x="523" y="31"/>
                    </a:cubicBezTo>
                    <a:cubicBezTo>
                      <a:pt x="522" y="31"/>
                      <a:pt x="522" y="31"/>
                      <a:pt x="522" y="31"/>
                    </a:cubicBezTo>
                    <a:cubicBezTo>
                      <a:pt x="525" y="23"/>
                      <a:pt x="525" y="23"/>
                      <a:pt x="525" y="23"/>
                    </a:cubicBezTo>
                    <a:cubicBezTo>
                      <a:pt x="524" y="23"/>
                      <a:pt x="524" y="23"/>
                      <a:pt x="524" y="23"/>
                    </a:cubicBezTo>
                    <a:cubicBezTo>
                      <a:pt x="522" y="30"/>
                      <a:pt x="522" y="30"/>
                      <a:pt x="522" y="30"/>
                    </a:cubicBezTo>
                    <a:cubicBezTo>
                      <a:pt x="521" y="30"/>
                      <a:pt x="521" y="30"/>
                      <a:pt x="521" y="30"/>
                    </a:cubicBezTo>
                    <a:cubicBezTo>
                      <a:pt x="519" y="35"/>
                      <a:pt x="519" y="35"/>
                      <a:pt x="519" y="35"/>
                    </a:cubicBezTo>
                    <a:cubicBezTo>
                      <a:pt x="518" y="35"/>
                      <a:pt x="516" y="34"/>
                      <a:pt x="514" y="33"/>
                    </a:cubicBezTo>
                    <a:cubicBezTo>
                      <a:pt x="515" y="31"/>
                      <a:pt x="515" y="31"/>
                      <a:pt x="515" y="31"/>
                    </a:cubicBezTo>
                    <a:cubicBezTo>
                      <a:pt x="514" y="31"/>
                      <a:pt x="514" y="31"/>
                      <a:pt x="514" y="31"/>
                    </a:cubicBezTo>
                    <a:cubicBezTo>
                      <a:pt x="514" y="33"/>
                      <a:pt x="514" y="33"/>
                      <a:pt x="514" y="33"/>
                    </a:cubicBezTo>
                    <a:cubicBezTo>
                      <a:pt x="512" y="33"/>
                      <a:pt x="510" y="32"/>
                      <a:pt x="508" y="31"/>
                    </a:cubicBezTo>
                    <a:cubicBezTo>
                      <a:pt x="509" y="29"/>
                      <a:pt x="509" y="29"/>
                      <a:pt x="509" y="29"/>
                    </a:cubicBezTo>
                    <a:cubicBezTo>
                      <a:pt x="508" y="28"/>
                      <a:pt x="508" y="28"/>
                      <a:pt x="508" y="28"/>
                    </a:cubicBezTo>
                    <a:cubicBezTo>
                      <a:pt x="507" y="31"/>
                      <a:pt x="507" y="31"/>
                      <a:pt x="507" y="31"/>
                    </a:cubicBezTo>
                    <a:cubicBezTo>
                      <a:pt x="505" y="31"/>
                      <a:pt x="504" y="30"/>
                      <a:pt x="502" y="29"/>
                    </a:cubicBezTo>
                    <a:cubicBezTo>
                      <a:pt x="503" y="27"/>
                      <a:pt x="503" y="27"/>
                      <a:pt x="503" y="27"/>
                    </a:cubicBezTo>
                    <a:cubicBezTo>
                      <a:pt x="502" y="26"/>
                      <a:pt x="502" y="26"/>
                      <a:pt x="502" y="26"/>
                    </a:cubicBezTo>
                    <a:cubicBezTo>
                      <a:pt x="501" y="29"/>
                      <a:pt x="501" y="29"/>
                      <a:pt x="501" y="29"/>
                    </a:cubicBezTo>
                    <a:cubicBezTo>
                      <a:pt x="499" y="29"/>
                      <a:pt x="497" y="28"/>
                      <a:pt x="495" y="28"/>
                    </a:cubicBezTo>
                    <a:cubicBezTo>
                      <a:pt x="496" y="25"/>
                      <a:pt x="496" y="25"/>
                      <a:pt x="496" y="25"/>
                    </a:cubicBezTo>
                    <a:cubicBezTo>
                      <a:pt x="495" y="25"/>
                      <a:pt x="495" y="25"/>
                      <a:pt x="495" y="25"/>
                    </a:cubicBezTo>
                    <a:cubicBezTo>
                      <a:pt x="495" y="27"/>
                      <a:pt x="495" y="27"/>
                      <a:pt x="495" y="27"/>
                    </a:cubicBezTo>
                    <a:cubicBezTo>
                      <a:pt x="493" y="27"/>
                      <a:pt x="491" y="26"/>
                      <a:pt x="489" y="26"/>
                    </a:cubicBezTo>
                    <a:cubicBezTo>
                      <a:pt x="490" y="23"/>
                      <a:pt x="490" y="23"/>
                      <a:pt x="490" y="23"/>
                    </a:cubicBezTo>
                    <a:cubicBezTo>
                      <a:pt x="489" y="23"/>
                      <a:pt x="489" y="23"/>
                      <a:pt x="489" y="23"/>
                    </a:cubicBezTo>
                    <a:cubicBezTo>
                      <a:pt x="488" y="26"/>
                      <a:pt x="488" y="26"/>
                      <a:pt x="488" y="26"/>
                    </a:cubicBezTo>
                    <a:cubicBezTo>
                      <a:pt x="486" y="25"/>
                      <a:pt x="485" y="25"/>
                      <a:pt x="483" y="24"/>
                    </a:cubicBezTo>
                    <a:cubicBezTo>
                      <a:pt x="483" y="21"/>
                      <a:pt x="483" y="21"/>
                      <a:pt x="483" y="21"/>
                    </a:cubicBezTo>
                    <a:cubicBezTo>
                      <a:pt x="483" y="21"/>
                      <a:pt x="483" y="21"/>
                      <a:pt x="483" y="21"/>
                    </a:cubicBezTo>
                    <a:cubicBezTo>
                      <a:pt x="482" y="24"/>
                      <a:pt x="482" y="24"/>
                      <a:pt x="482" y="24"/>
                    </a:cubicBezTo>
                    <a:cubicBezTo>
                      <a:pt x="480" y="23"/>
                      <a:pt x="478" y="23"/>
                      <a:pt x="476" y="23"/>
                    </a:cubicBezTo>
                    <a:cubicBezTo>
                      <a:pt x="477" y="20"/>
                      <a:pt x="477" y="20"/>
                      <a:pt x="477" y="20"/>
                    </a:cubicBezTo>
                    <a:cubicBezTo>
                      <a:pt x="476" y="20"/>
                      <a:pt x="476" y="20"/>
                      <a:pt x="476" y="20"/>
                    </a:cubicBezTo>
                    <a:cubicBezTo>
                      <a:pt x="475" y="22"/>
                      <a:pt x="475" y="22"/>
                      <a:pt x="475" y="22"/>
                    </a:cubicBezTo>
                    <a:cubicBezTo>
                      <a:pt x="474" y="22"/>
                      <a:pt x="472" y="22"/>
                      <a:pt x="470" y="21"/>
                    </a:cubicBezTo>
                    <a:cubicBezTo>
                      <a:pt x="470" y="18"/>
                      <a:pt x="470" y="18"/>
                      <a:pt x="470" y="18"/>
                    </a:cubicBezTo>
                    <a:cubicBezTo>
                      <a:pt x="470" y="18"/>
                      <a:pt x="470" y="18"/>
                      <a:pt x="470" y="18"/>
                    </a:cubicBezTo>
                    <a:cubicBezTo>
                      <a:pt x="469" y="21"/>
                      <a:pt x="469" y="21"/>
                      <a:pt x="469" y="21"/>
                    </a:cubicBezTo>
                    <a:cubicBezTo>
                      <a:pt x="467" y="21"/>
                      <a:pt x="465" y="20"/>
                      <a:pt x="463" y="20"/>
                    </a:cubicBezTo>
                    <a:cubicBezTo>
                      <a:pt x="464" y="17"/>
                      <a:pt x="464" y="17"/>
                      <a:pt x="464" y="17"/>
                    </a:cubicBezTo>
                    <a:cubicBezTo>
                      <a:pt x="463" y="17"/>
                      <a:pt x="463" y="17"/>
                      <a:pt x="463" y="17"/>
                    </a:cubicBezTo>
                    <a:cubicBezTo>
                      <a:pt x="463" y="20"/>
                      <a:pt x="463" y="20"/>
                      <a:pt x="463" y="20"/>
                    </a:cubicBezTo>
                    <a:cubicBezTo>
                      <a:pt x="461" y="19"/>
                      <a:pt x="459" y="19"/>
                      <a:pt x="457" y="19"/>
                    </a:cubicBezTo>
                    <a:cubicBezTo>
                      <a:pt x="458" y="13"/>
                      <a:pt x="458" y="13"/>
                      <a:pt x="458" y="13"/>
                    </a:cubicBezTo>
                    <a:cubicBezTo>
                      <a:pt x="458" y="13"/>
                      <a:pt x="458" y="13"/>
                      <a:pt x="458" y="13"/>
                    </a:cubicBezTo>
                    <a:cubicBezTo>
                      <a:pt x="459" y="6"/>
                      <a:pt x="459" y="6"/>
                      <a:pt x="459" y="6"/>
                    </a:cubicBezTo>
                    <a:cubicBezTo>
                      <a:pt x="458" y="6"/>
                      <a:pt x="458" y="6"/>
                      <a:pt x="458" y="6"/>
                    </a:cubicBezTo>
                    <a:cubicBezTo>
                      <a:pt x="457" y="13"/>
                      <a:pt x="457" y="13"/>
                      <a:pt x="457" y="13"/>
                    </a:cubicBezTo>
                    <a:cubicBezTo>
                      <a:pt x="456" y="13"/>
                      <a:pt x="456" y="13"/>
                      <a:pt x="456" y="13"/>
                    </a:cubicBezTo>
                    <a:cubicBezTo>
                      <a:pt x="456" y="18"/>
                      <a:pt x="456" y="18"/>
                      <a:pt x="456" y="18"/>
                    </a:cubicBezTo>
                    <a:cubicBezTo>
                      <a:pt x="454" y="18"/>
                      <a:pt x="452" y="18"/>
                      <a:pt x="450" y="18"/>
                    </a:cubicBezTo>
                    <a:cubicBezTo>
                      <a:pt x="451" y="15"/>
                      <a:pt x="451" y="15"/>
                      <a:pt x="451" y="15"/>
                    </a:cubicBezTo>
                    <a:cubicBezTo>
                      <a:pt x="450" y="15"/>
                      <a:pt x="450" y="15"/>
                      <a:pt x="450" y="15"/>
                    </a:cubicBezTo>
                    <a:cubicBezTo>
                      <a:pt x="450" y="17"/>
                      <a:pt x="450" y="17"/>
                      <a:pt x="450" y="17"/>
                    </a:cubicBezTo>
                    <a:cubicBezTo>
                      <a:pt x="448" y="17"/>
                      <a:pt x="446" y="17"/>
                      <a:pt x="444" y="17"/>
                    </a:cubicBezTo>
                    <a:cubicBezTo>
                      <a:pt x="444" y="14"/>
                      <a:pt x="444" y="14"/>
                      <a:pt x="444" y="14"/>
                    </a:cubicBezTo>
                    <a:cubicBezTo>
                      <a:pt x="443" y="14"/>
                      <a:pt x="443" y="14"/>
                      <a:pt x="443" y="14"/>
                    </a:cubicBezTo>
                    <a:cubicBezTo>
                      <a:pt x="443" y="16"/>
                      <a:pt x="443" y="16"/>
                      <a:pt x="443" y="16"/>
                    </a:cubicBezTo>
                    <a:cubicBezTo>
                      <a:pt x="441" y="16"/>
                      <a:pt x="439" y="16"/>
                      <a:pt x="437" y="16"/>
                    </a:cubicBezTo>
                    <a:cubicBezTo>
                      <a:pt x="438" y="13"/>
                      <a:pt x="438" y="13"/>
                      <a:pt x="438" y="13"/>
                    </a:cubicBezTo>
                    <a:cubicBezTo>
                      <a:pt x="437" y="13"/>
                      <a:pt x="437" y="13"/>
                      <a:pt x="437" y="13"/>
                    </a:cubicBezTo>
                    <a:cubicBezTo>
                      <a:pt x="436" y="16"/>
                      <a:pt x="436" y="16"/>
                      <a:pt x="436" y="16"/>
                    </a:cubicBezTo>
                    <a:cubicBezTo>
                      <a:pt x="435" y="15"/>
                      <a:pt x="433" y="15"/>
                      <a:pt x="431" y="15"/>
                    </a:cubicBezTo>
                    <a:cubicBezTo>
                      <a:pt x="431" y="12"/>
                      <a:pt x="431" y="12"/>
                      <a:pt x="431" y="12"/>
                    </a:cubicBezTo>
                    <a:cubicBezTo>
                      <a:pt x="430" y="12"/>
                      <a:pt x="430" y="12"/>
                      <a:pt x="430" y="12"/>
                    </a:cubicBezTo>
                    <a:cubicBezTo>
                      <a:pt x="430" y="15"/>
                      <a:pt x="430" y="15"/>
                      <a:pt x="430" y="15"/>
                    </a:cubicBezTo>
                    <a:cubicBezTo>
                      <a:pt x="428" y="15"/>
                      <a:pt x="426" y="15"/>
                      <a:pt x="424" y="14"/>
                    </a:cubicBezTo>
                    <a:cubicBezTo>
                      <a:pt x="424" y="11"/>
                      <a:pt x="424" y="11"/>
                      <a:pt x="424" y="11"/>
                    </a:cubicBezTo>
                    <a:cubicBezTo>
                      <a:pt x="424" y="11"/>
                      <a:pt x="424" y="11"/>
                      <a:pt x="424" y="11"/>
                    </a:cubicBezTo>
                    <a:cubicBezTo>
                      <a:pt x="423" y="14"/>
                      <a:pt x="423" y="14"/>
                      <a:pt x="423" y="14"/>
                    </a:cubicBezTo>
                    <a:cubicBezTo>
                      <a:pt x="421" y="14"/>
                      <a:pt x="419" y="14"/>
                      <a:pt x="418" y="14"/>
                    </a:cubicBezTo>
                    <a:cubicBezTo>
                      <a:pt x="418" y="11"/>
                      <a:pt x="418" y="11"/>
                      <a:pt x="418" y="11"/>
                    </a:cubicBezTo>
                    <a:cubicBezTo>
                      <a:pt x="417" y="11"/>
                      <a:pt x="417" y="11"/>
                      <a:pt x="417" y="11"/>
                    </a:cubicBezTo>
                    <a:cubicBezTo>
                      <a:pt x="417" y="14"/>
                      <a:pt x="417" y="14"/>
                      <a:pt x="417" y="14"/>
                    </a:cubicBezTo>
                    <a:cubicBezTo>
                      <a:pt x="415" y="14"/>
                      <a:pt x="413" y="14"/>
                      <a:pt x="411" y="13"/>
                    </a:cubicBezTo>
                    <a:cubicBezTo>
                      <a:pt x="411" y="10"/>
                      <a:pt x="411" y="10"/>
                      <a:pt x="411" y="10"/>
                    </a:cubicBezTo>
                    <a:cubicBezTo>
                      <a:pt x="410" y="10"/>
                      <a:pt x="410" y="10"/>
                      <a:pt x="410" y="10"/>
                    </a:cubicBezTo>
                    <a:cubicBezTo>
                      <a:pt x="410" y="13"/>
                      <a:pt x="410" y="13"/>
                      <a:pt x="410" y="13"/>
                    </a:cubicBezTo>
                    <a:cubicBezTo>
                      <a:pt x="408" y="13"/>
                      <a:pt x="406" y="13"/>
                      <a:pt x="404" y="13"/>
                    </a:cubicBezTo>
                    <a:cubicBezTo>
                      <a:pt x="405" y="10"/>
                      <a:pt x="405" y="10"/>
                      <a:pt x="405" y="10"/>
                    </a:cubicBezTo>
                    <a:cubicBezTo>
                      <a:pt x="404" y="10"/>
                      <a:pt x="404" y="10"/>
                      <a:pt x="404" y="10"/>
                    </a:cubicBezTo>
                    <a:cubicBezTo>
                      <a:pt x="404" y="13"/>
                      <a:pt x="404" y="13"/>
                      <a:pt x="404" y="13"/>
                    </a:cubicBezTo>
                    <a:cubicBezTo>
                      <a:pt x="402" y="13"/>
                      <a:pt x="400" y="13"/>
                      <a:pt x="398" y="13"/>
                    </a:cubicBezTo>
                    <a:cubicBezTo>
                      <a:pt x="398" y="10"/>
                      <a:pt x="398" y="10"/>
                      <a:pt x="398" y="10"/>
                    </a:cubicBezTo>
                    <a:cubicBezTo>
                      <a:pt x="397" y="10"/>
                      <a:pt x="397" y="10"/>
                      <a:pt x="397" y="10"/>
                    </a:cubicBezTo>
                    <a:cubicBezTo>
                      <a:pt x="397" y="13"/>
                      <a:pt x="397" y="13"/>
                      <a:pt x="397" y="13"/>
                    </a:cubicBezTo>
                    <a:cubicBezTo>
                      <a:pt x="395" y="13"/>
                      <a:pt x="393" y="13"/>
                      <a:pt x="392" y="13"/>
                    </a:cubicBezTo>
                    <a:cubicBezTo>
                      <a:pt x="392" y="7"/>
                      <a:pt x="392" y="7"/>
                      <a:pt x="392" y="7"/>
                    </a:cubicBezTo>
                    <a:cubicBezTo>
                      <a:pt x="391" y="7"/>
                      <a:pt x="391" y="7"/>
                      <a:pt x="391" y="7"/>
                    </a:cubicBezTo>
                    <a:cubicBezTo>
                      <a:pt x="391" y="0"/>
                      <a:pt x="391" y="0"/>
                      <a:pt x="391" y="0"/>
                    </a:cubicBezTo>
                    <a:cubicBezTo>
                      <a:pt x="390" y="0"/>
                      <a:pt x="390" y="0"/>
                      <a:pt x="390" y="0"/>
                    </a:cubicBezTo>
                    <a:cubicBezTo>
                      <a:pt x="390" y="7"/>
                      <a:pt x="390" y="7"/>
                      <a:pt x="390" y="7"/>
                    </a:cubicBezTo>
                    <a:cubicBezTo>
                      <a:pt x="390" y="7"/>
                      <a:pt x="390" y="7"/>
                      <a:pt x="390" y="7"/>
                    </a:cubicBezTo>
                    <a:cubicBezTo>
                      <a:pt x="390" y="13"/>
                      <a:pt x="390" y="13"/>
                      <a:pt x="390" y="13"/>
                    </a:cubicBezTo>
                    <a:cubicBezTo>
                      <a:pt x="388" y="13"/>
                      <a:pt x="386" y="13"/>
                      <a:pt x="385" y="13"/>
                    </a:cubicBezTo>
                    <a:cubicBezTo>
                      <a:pt x="385" y="10"/>
                      <a:pt x="385" y="10"/>
                      <a:pt x="385" y="10"/>
                    </a:cubicBezTo>
                    <a:cubicBezTo>
                      <a:pt x="385" y="10"/>
                      <a:pt x="385" y="10"/>
                      <a:pt x="385" y="10"/>
                    </a:cubicBezTo>
                    <a:cubicBezTo>
                      <a:pt x="385" y="10"/>
                      <a:pt x="385" y="10"/>
                      <a:pt x="385" y="10"/>
                    </a:cubicBezTo>
                    <a:cubicBezTo>
                      <a:pt x="385" y="10"/>
                      <a:pt x="385" y="10"/>
                      <a:pt x="385" y="10"/>
                    </a:cubicBezTo>
                    <a:cubicBezTo>
                      <a:pt x="384" y="10"/>
                      <a:pt x="384" y="10"/>
                      <a:pt x="384" y="10"/>
                    </a:cubicBezTo>
                    <a:cubicBezTo>
                      <a:pt x="384" y="10"/>
                      <a:pt x="384" y="10"/>
                      <a:pt x="384" y="10"/>
                    </a:cubicBezTo>
                    <a:cubicBezTo>
                      <a:pt x="384" y="13"/>
                      <a:pt x="384" y="13"/>
                      <a:pt x="384" y="13"/>
                    </a:cubicBezTo>
                    <a:cubicBezTo>
                      <a:pt x="382" y="13"/>
                      <a:pt x="380" y="13"/>
                      <a:pt x="378" y="13"/>
                    </a:cubicBezTo>
                    <a:cubicBezTo>
                      <a:pt x="378" y="10"/>
                      <a:pt x="378" y="10"/>
                      <a:pt x="378" y="10"/>
                    </a:cubicBezTo>
                    <a:cubicBezTo>
                      <a:pt x="378" y="10"/>
                      <a:pt x="378" y="10"/>
                      <a:pt x="378" y="10"/>
                    </a:cubicBezTo>
                    <a:cubicBezTo>
                      <a:pt x="378" y="10"/>
                      <a:pt x="378" y="10"/>
                      <a:pt x="378" y="10"/>
                    </a:cubicBezTo>
                    <a:cubicBezTo>
                      <a:pt x="377" y="10"/>
                      <a:pt x="377" y="10"/>
                      <a:pt x="377" y="10"/>
                    </a:cubicBezTo>
                    <a:cubicBezTo>
                      <a:pt x="377" y="10"/>
                      <a:pt x="377" y="10"/>
                      <a:pt x="377" y="10"/>
                    </a:cubicBezTo>
                    <a:cubicBezTo>
                      <a:pt x="377" y="10"/>
                      <a:pt x="377" y="10"/>
                      <a:pt x="377" y="10"/>
                    </a:cubicBezTo>
                    <a:cubicBezTo>
                      <a:pt x="377" y="13"/>
                      <a:pt x="377" y="13"/>
                      <a:pt x="377" y="13"/>
                    </a:cubicBezTo>
                    <a:cubicBezTo>
                      <a:pt x="375" y="13"/>
                      <a:pt x="373" y="13"/>
                      <a:pt x="371" y="13"/>
                    </a:cubicBezTo>
                    <a:cubicBezTo>
                      <a:pt x="371" y="10"/>
                      <a:pt x="371" y="10"/>
                      <a:pt x="371" y="10"/>
                    </a:cubicBezTo>
                    <a:cubicBezTo>
                      <a:pt x="371" y="10"/>
                      <a:pt x="371" y="10"/>
                      <a:pt x="371" y="10"/>
                    </a:cubicBezTo>
                    <a:cubicBezTo>
                      <a:pt x="371" y="10"/>
                      <a:pt x="371" y="10"/>
                      <a:pt x="371" y="10"/>
                    </a:cubicBezTo>
                    <a:cubicBezTo>
                      <a:pt x="370" y="10"/>
                      <a:pt x="370" y="10"/>
                      <a:pt x="370" y="10"/>
                    </a:cubicBezTo>
                    <a:cubicBezTo>
                      <a:pt x="370" y="10"/>
                      <a:pt x="370" y="10"/>
                      <a:pt x="370" y="10"/>
                    </a:cubicBezTo>
                    <a:cubicBezTo>
                      <a:pt x="370" y="10"/>
                      <a:pt x="370" y="10"/>
                      <a:pt x="370" y="10"/>
                    </a:cubicBezTo>
                    <a:cubicBezTo>
                      <a:pt x="371" y="13"/>
                      <a:pt x="371" y="13"/>
                      <a:pt x="371" y="13"/>
                    </a:cubicBezTo>
                    <a:cubicBezTo>
                      <a:pt x="369" y="14"/>
                      <a:pt x="367" y="14"/>
                      <a:pt x="365" y="14"/>
                    </a:cubicBezTo>
                    <a:cubicBezTo>
                      <a:pt x="365" y="11"/>
                      <a:pt x="365" y="11"/>
                      <a:pt x="365" y="11"/>
                    </a:cubicBezTo>
                    <a:cubicBezTo>
                      <a:pt x="365" y="11"/>
                      <a:pt x="365" y="11"/>
                      <a:pt x="365" y="11"/>
                    </a:cubicBezTo>
                    <a:cubicBezTo>
                      <a:pt x="365" y="11"/>
                      <a:pt x="365" y="11"/>
                      <a:pt x="365" y="11"/>
                    </a:cubicBezTo>
                    <a:cubicBezTo>
                      <a:pt x="364" y="11"/>
                      <a:pt x="364" y="11"/>
                      <a:pt x="364" y="11"/>
                    </a:cubicBezTo>
                    <a:cubicBezTo>
                      <a:pt x="364" y="11"/>
                      <a:pt x="364" y="11"/>
                      <a:pt x="364" y="11"/>
                    </a:cubicBezTo>
                    <a:cubicBezTo>
                      <a:pt x="364" y="11"/>
                      <a:pt x="364" y="11"/>
                      <a:pt x="364" y="11"/>
                    </a:cubicBezTo>
                    <a:cubicBezTo>
                      <a:pt x="364" y="14"/>
                      <a:pt x="364" y="14"/>
                      <a:pt x="364" y="14"/>
                    </a:cubicBezTo>
                    <a:cubicBezTo>
                      <a:pt x="362" y="14"/>
                      <a:pt x="360" y="14"/>
                      <a:pt x="358" y="14"/>
                    </a:cubicBezTo>
                    <a:cubicBezTo>
                      <a:pt x="358" y="11"/>
                      <a:pt x="358" y="11"/>
                      <a:pt x="358" y="11"/>
                    </a:cubicBezTo>
                    <a:cubicBezTo>
                      <a:pt x="358" y="11"/>
                      <a:pt x="358" y="11"/>
                      <a:pt x="358" y="11"/>
                    </a:cubicBezTo>
                    <a:cubicBezTo>
                      <a:pt x="358" y="11"/>
                      <a:pt x="358" y="11"/>
                      <a:pt x="358" y="11"/>
                    </a:cubicBezTo>
                    <a:cubicBezTo>
                      <a:pt x="357" y="11"/>
                      <a:pt x="357" y="11"/>
                      <a:pt x="357" y="11"/>
                    </a:cubicBezTo>
                    <a:cubicBezTo>
                      <a:pt x="357" y="11"/>
                      <a:pt x="357" y="11"/>
                      <a:pt x="357" y="11"/>
                    </a:cubicBezTo>
                    <a:cubicBezTo>
                      <a:pt x="357" y="11"/>
                      <a:pt x="357" y="11"/>
                      <a:pt x="357" y="11"/>
                    </a:cubicBezTo>
                    <a:cubicBezTo>
                      <a:pt x="357" y="14"/>
                      <a:pt x="357" y="14"/>
                      <a:pt x="357" y="14"/>
                    </a:cubicBezTo>
                    <a:cubicBezTo>
                      <a:pt x="356" y="15"/>
                      <a:pt x="354" y="15"/>
                      <a:pt x="352" y="15"/>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2"/>
                      <a:pt x="351" y="12"/>
                      <a:pt x="351" y="12"/>
                    </a:cubicBezTo>
                    <a:cubicBezTo>
                      <a:pt x="351" y="15"/>
                      <a:pt x="351" y="15"/>
                      <a:pt x="351" y="15"/>
                    </a:cubicBezTo>
                    <a:cubicBezTo>
                      <a:pt x="349" y="15"/>
                      <a:pt x="347" y="15"/>
                      <a:pt x="345" y="16"/>
                    </a:cubicBezTo>
                    <a:cubicBezTo>
                      <a:pt x="345" y="13"/>
                      <a:pt x="345" y="13"/>
                      <a:pt x="345" y="13"/>
                    </a:cubicBezTo>
                    <a:cubicBezTo>
                      <a:pt x="345" y="13"/>
                      <a:pt x="345" y="13"/>
                      <a:pt x="345" y="13"/>
                    </a:cubicBezTo>
                    <a:cubicBezTo>
                      <a:pt x="345" y="13"/>
                      <a:pt x="345" y="13"/>
                      <a:pt x="345" y="13"/>
                    </a:cubicBezTo>
                    <a:cubicBezTo>
                      <a:pt x="344" y="13"/>
                      <a:pt x="344" y="13"/>
                      <a:pt x="344" y="13"/>
                    </a:cubicBezTo>
                    <a:cubicBezTo>
                      <a:pt x="344" y="13"/>
                      <a:pt x="344" y="13"/>
                      <a:pt x="344" y="13"/>
                    </a:cubicBezTo>
                    <a:cubicBezTo>
                      <a:pt x="344" y="13"/>
                      <a:pt x="344" y="13"/>
                      <a:pt x="344" y="13"/>
                    </a:cubicBezTo>
                    <a:cubicBezTo>
                      <a:pt x="344" y="16"/>
                      <a:pt x="344" y="16"/>
                      <a:pt x="344" y="16"/>
                    </a:cubicBezTo>
                    <a:cubicBezTo>
                      <a:pt x="342" y="16"/>
                      <a:pt x="341" y="16"/>
                      <a:pt x="339" y="16"/>
                    </a:cubicBezTo>
                    <a:cubicBezTo>
                      <a:pt x="338" y="14"/>
                      <a:pt x="338" y="14"/>
                      <a:pt x="338" y="14"/>
                    </a:cubicBezTo>
                    <a:cubicBezTo>
                      <a:pt x="338" y="14"/>
                      <a:pt x="338" y="14"/>
                      <a:pt x="338" y="14"/>
                    </a:cubicBezTo>
                    <a:cubicBezTo>
                      <a:pt x="337" y="14"/>
                      <a:pt x="337" y="14"/>
                      <a:pt x="337" y="14"/>
                    </a:cubicBezTo>
                    <a:cubicBezTo>
                      <a:pt x="337" y="14"/>
                      <a:pt x="337" y="14"/>
                      <a:pt x="337" y="14"/>
                    </a:cubicBezTo>
                    <a:cubicBezTo>
                      <a:pt x="338" y="17"/>
                      <a:pt x="338" y="17"/>
                      <a:pt x="338" y="17"/>
                    </a:cubicBezTo>
                    <a:cubicBezTo>
                      <a:pt x="336" y="17"/>
                      <a:pt x="334" y="17"/>
                      <a:pt x="332" y="17"/>
                    </a:cubicBezTo>
                    <a:cubicBezTo>
                      <a:pt x="332" y="15"/>
                      <a:pt x="332" y="15"/>
                      <a:pt x="332" y="15"/>
                    </a:cubicBezTo>
                    <a:cubicBezTo>
                      <a:pt x="332" y="15"/>
                      <a:pt x="332" y="15"/>
                      <a:pt x="332" y="15"/>
                    </a:cubicBezTo>
                    <a:cubicBezTo>
                      <a:pt x="332" y="15"/>
                      <a:pt x="332" y="15"/>
                      <a:pt x="332" y="15"/>
                    </a:cubicBezTo>
                    <a:cubicBezTo>
                      <a:pt x="331" y="15"/>
                      <a:pt x="331" y="15"/>
                      <a:pt x="331" y="15"/>
                    </a:cubicBezTo>
                    <a:cubicBezTo>
                      <a:pt x="331" y="15"/>
                      <a:pt x="331" y="15"/>
                      <a:pt x="331" y="15"/>
                    </a:cubicBezTo>
                    <a:cubicBezTo>
                      <a:pt x="331" y="15"/>
                      <a:pt x="331" y="15"/>
                      <a:pt x="331" y="15"/>
                    </a:cubicBezTo>
                    <a:cubicBezTo>
                      <a:pt x="331" y="18"/>
                      <a:pt x="331" y="18"/>
                      <a:pt x="331" y="18"/>
                    </a:cubicBezTo>
                    <a:cubicBezTo>
                      <a:pt x="330" y="18"/>
                      <a:pt x="328" y="18"/>
                      <a:pt x="326" y="18"/>
                    </a:cubicBezTo>
                    <a:cubicBezTo>
                      <a:pt x="325" y="13"/>
                      <a:pt x="325" y="13"/>
                      <a:pt x="325" y="13"/>
                    </a:cubicBezTo>
                    <a:cubicBezTo>
                      <a:pt x="325" y="13"/>
                      <a:pt x="325" y="13"/>
                      <a:pt x="325" y="13"/>
                    </a:cubicBezTo>
                    <a:cubicBezTo>
                      <a:pt x="323" y="6"/>
                      <a:pt x="323" y="6"/>
                      <a:pt x="323" y="6"/>
                    </a:cubicBezTo>
                    <a:cubicBezTo>
                      <a:pt x="323" y="6"/>
                      <a:pt x="323" y="6"/>
                      <a:pt x="323" y="6"/>
                    </a:cubicBezTo>
                    <a:cubicBezTo>
                      <a:pt x="324" y="13"/>
                      <a:pt x="324" y="13"/>
                      <a:pt x="324" y="13"/>
                    </a:cubicBezTo>
                    <a:cubicBezTo>
                      <a:pt x="323" y="13"/>
                      <a:pt x="323" y="13"/>
                      <a:pt x="323" y="13"/>
                    </a:cubicBezTo>
                    <a:cubicBezTo>
                      <a:pt x="324" y="19"/>
                      <a:pt x="324" y="19"/>
                      <a:pt x="324" y="19"/>
                    </a:cubicBezTo>
                    <a:cubicBezTo>
                      <a:pt x="323" y="19"/>
                      <a:pt x="321" y="19"/>
                      <a:pt x="319" y="20"/>
                    </a:cubicBezTo>
                    <a:cubicBezTo>
                      <a:pt x="319" y="17"/>
                      <a:pt x="319" y="17"/>
                      <a:pt x="319" y="17"/>
                    </a:cubicBezTo>
                    <a:cubicBezTo>
                      <a:pt x="319" y="17"/>
                      <a:pt x="319" y="17"/>
                      <a:pt x="319" y="17"/>
                    </a:cubicBezTo>
                    <a:cubicBezTo>
                      <a:pt x="318" y="17"/>
                      <a:pt x="318" y="17"/>
                      <a:pt x="318" y="17"/>
                    </a:cubicBezTo>
                    <a:cubicBezTo>
                      <a:pt x="318" y="17"/>
                      <a:pt x="318" y="17"/>
                      <a:pt x="318" y="17"/>
                    </a:cubicBezTo>
                    <a:cubicBezTo>
                      <a:pt x="318" y="17"/>
                      <a:pt x="318" y="17"/>
                      <a:pt x="318" y="17"/>
                    </a:cubicBezTo>
                    <a:cubicBezTo>
                      <a:pt x="318" y="17"/>
                      <a:pt x="318" y="17"/>
                      <a:pt x="318" y="17"/>
                    </a:cubicBezTo>
                    <a:cubicBezTo>
                      <a:pt x="318" y="20"/>
                      <a:pt x="318" y="20"/>
                      <a:pt x="318" y="20"/>
                    </a:cubicBezTo>
                    <a:cubicBezTo>
                      <a:pt x="316" y="20"/>
                      <a:pt x="315" y="21"/>
                      <a:pt x="313" y="21"/>
                    </a:cubicBezTo>
                    <a:cubicBezTo>
                      <a:pt x="312" y="18"/>
                      <a:pt x="312" y="18"/>
                      <a:pt x="312" y="18"/>
                    </a:cubicBezTo>
                    <a:cubicBezTo>
                      <a:pt x="312" y="18"/>
                      <a:pt x="312" y="18"/>
                      <a:pt x="312" y="18"/>
                    </a:cubicBezTo>
                    <a:cubicBezTo>
                      <a:pt x="312" y="18"/>
                      <a:pt x="312" y="18"/>
                      <a:pt x="312" y="18"/>
                    </a:cubicBezTo>
                    <a:cubicBezTo>
                      <a:pt x="312" y="18"/>
                      <a:pt x="312" y="18"/>
                      <a:pt x="312" y="18"/>
                    </a:cubicBezTo>
                    <a:cubicBezTo>
                      <a:pt x="311" y="18"/>
                      <a:pt x="311" y="18"/>
                      <a:pt x="311" y="18"/>
                    </a:cubicBezTo>
                    <a:cubicBezTo>
                      <a:pt x="311" y="18"/>
                      <a:pt x="311" y="18"/>
                      <a:pt x="311" y="18"/>
                    </a:cubicBezTo>
                    <a:cubicBezTo>
                      <a:pt x="312" y="21"/>
                      <a:pt x="312" y="21"/>
                      <a:pt x="312" y="21"/>
                    </a:cubicBezTo>
                    <a:cubicBezTo>
                      <a:pt x="310" y="22"/>
                      <a:pt x="308" y="22"/>
                      <a:pt x="306" y="22"/>
                    </a:cubicBezTo>
                    <a:cubicBezTo>
                      <a:pt x="306" y="20"/>
                      <a:pt x="306" y="20"/>
                      <a:pt x="306" y="20"/>
                    </a:cubicBezTo>
                    <a:cubicBezTo>
                      <a:pt x="306" y="20"/>
                      <a:pt x="306" y="20"/>
                      <a:pt x="306" y="20"/>
                    </a:cubicBezTo>
                    <a:cubicBezTo>
                      <a:pt x="305" y="20"/>
                      <a:pt x="305" y="20"/>
                      <a:pt x="305" y="20"/>
                    </a:cubicBezTo>
                    <a:cubicBezTo>
                      <a:pt x="305" y="20"/>
                      <a:pt x="305" y="20"/>
                      <a:pt x="305" y="20"/>
                    </a:cubicBezTo>
                    <a:cubicBezTo>
                      <a:pt x="305" y="20"/>
                      <a:pt x="305" y="20"/>
                      <a:pt x="305" y="20"/>
                    </a:cubicBezTo>
                    <a:cubicBezTo>
                      <a:pt x="305" y="23"/>
                      <a:pt x="305" y="23"/>
                      <a:pt x="305" y="23"/>
                    </a:cubicBezTo>
                    <a:cubicBezTo>
                      <a:pt x="304" y="23"/>
                      <a:pt x="302" y="23"/>
                      <a:pt x="300" y="24"/>
                    </a:cubicBezTo>
                    <a:cubicBezTo>
                      <a:pt x="299" y="21"/>
                      <a:pt x="299" y="21"/>
                      <a:pt x="299" y="21"/>
                    </a:cubicBezTo>
                    <a:cubicBezTo>
                      <a:pt x="299" y="21"/>
                      <a:pt x="299" y="21"/>
                      <a:pt x="299" y="21"/>
                    </a:cubicBezTo>
                    <a:cubicBezTo>
                      <a:pt x="299" y="21"/>
                      <a:pt x="299" y="21"/>
                      <a:pt x="299" y="21"/>
                    </a:cubicBezTo>
                    <a:cubicBezTo>
                      <a:pt x="298" y="21"/>
                      <a:pt x="298" y="21"/>
                      <a:pt x="298" y="21"/>
                    </a:cubicBezTo>
                    <a:cubicBezTo>
                      <a:pt x="298" y="21"/>
                      <a:pt x="298" y="21"/>
                      <a:pt x="298" y="21"/>
                    </a:cubicBezTo>
                    <a:cubicBezTo>
                      <a:pt x="299" y="24"/>
                      <a:pt x="299" y="24"/>
                      <a:pt x="299" y="24"/>
                    </a:cubicBezTo>
                    <a:cubicBezTo>
                      <a:pt x="297" y="25"/>
                      <a:pt x="295" y="25"/>
                      <a:pt x="293" y="26"/>
                    </a:cubicBezTo>
                    <a:cubicBezTo>
                      <a:pt x="293" y="23"/>
                      <a:pt x="293" y="23"/>
                      <a:pt x="293" y="23"/>
                    </a:cubicBezTo>
                    <a:cubicBezTo>
                      <a:pt x="293" y="23"/>
                      <a:pt x="293" y="23"/>
                      <a:pt x="293" y="23"/>
                    </a:cubicBezTo>
                    <a:cubicBezTo>
                      <a:pt x="293" y="23"/>
                      <a:pt x="293" y="23"/>
                      <a:pt x="293" y="23"/>
                    </a:cubicBezTo>
                    <a:cubicBezTo>
                      <a:pt x="292" y="23"/>
                      <a:pt x="292" y="23"/>
                      <a:pt x="292" y="23"/>
                    </a:cubicBezTo>
                    <a:cubicBezTo>
                      <a:pt x="292" y="23"/>
                      <a:pt x="292" y="23"/>
                      <a:pt x="292" y="23"/>
                    </a:cubicBezTo>
                    <a:cubicBezTo>
                      <a:pt x="292" y="23"/>
                      <a:pt x="292" y="23"/>
                      <a:pt x="292" y="23"/>
                    </a:cubicBezTo>
                    <a:cubicBezTo>
                      <a:pt x="293" y="26"/>
                      <a:pt x="293" y="26"/>
                      <a:pt x="293" y="26"/>
                    </a:cubicBezTo>
                    <a:cubicBezTo>
                      <a:pt x="291" y="26"/>
                      <a:pt x="289" y="27"/>
                      <a:pt x="287" y="27"/>
                    </a:cubicBezTo>
                    <a:cubicBezTo>
                      <a:pt x="286" y="25"/>
                      <a:pt x="286" y="25"/>
                      <a:pt x="286" y="25"/>
                    </a:cubicBezTo>
                    <a:cubicBezTo>
                      <a:pt x="285" y="25"/>
                      <a:pt x="285" y="25"/>
                      <a:pt x="285" y="25"/>
                    </a:cubicBezTo>
                    <a:cubicBezTo>
                      <a:pt x="286" y="28"/>
                      <a:pt x="286" y="28"/>
                      <a:pt x="286" y="28"/>
                    </a:cubicBezTo>
                    <a:cubicBezTo>
                      <a:pt x="284" y="28"/>
                      <a:pt x="283" y="29"/>
                      <a:pt x="281" y="29"/>
                    </a:cubicBezTo>
                    <a:cubicBezTo>
                      <a:pt x="280" y="26"/>
                      <a:pt x="280" y="26"/>
                      <a:pt x="280" y="26"/>
                    </a:cubicBezTo>
                    <a:cubicBezTo>
                      <a:pt x="279" y="27"/>
                      <a:pt x="279" y="27"/>
                      <a:pt x="279" y="27"/>
                    </a:cubicBezTo>
                    <a:cubicBezTo>
                      <a:pt x="280" y="29"/>
                      <a:pt x="280" y="29"/>
                      <a:pt x="280" y="29"/>
                    </a:cubicBezTo>
                    <a:cubicBezTo>
                      <a:pt x="278" y="30"/>
                      <a:pt x="276" y="31"/>
                      <a:pt x="274" y="31"/>
                    </a:cubicBezTo>
                    <a:cubicBezTo>
                      <a:pt x="274" y="28"/>
                      <a:pt x="274" y="28"/>
                      <a:pt x="274" y="28"/>
                    </a:cubicBezTo>
                    <a:cubicBezTo>
                      <a:pt x="273" y="29"/>
                      <a:pt x="273" y="29"/>
                      <a:pt x="273" y="29"/>
                    </a:cubicBezTo>
                    <a:cubicBezTo>
                      <a:pt x="274" y="31"/>
                      <a:pt x="274" y="31"/>
                      <a:pt x="274" y="31"/>
                    </a:cubicBezTo>
                    <a:cubicBezTo>
                      <a:pt x="272" y="32"/>
                      <a:pt x="270" y="33"/>
                      <a:pt x="268" y="33"/>
                    </a:cubicBezTo>
                    <a:cubicBezTo>
                      <a:pt x="267" y="31"/>
                      <a:pt x="267" y="31"/>
                      <a:pt x="267" y="31"/>
                    </a:cubicBezTo>
                    <a:cubicBezTo>
                      <a:pt x="266" y="31"/>
                      <a:pt x="266" y="31"/>
                      <a:pt x="266" y="31"/>
                    </a:cubicBezTo>
                    <a:cubicBezTo>
                      <a:pt x="267" y="33"/>
                      <a:pt x="267" y="33"/>
                      <a:pt x="267" y="33"/>
                    </a:cubicBezTo>
                    <a:cubicBezTo>
                      <a:pt x="266" y="34"/>
                      <a:pt x="264" y="35"/>
                      <a:pt x="262" y="35"/>
                    </a:cubicBezTo>
                    <a:cubicBezTo>
                      <a:pt x="261" y="30"/>
                      <a:pt x="261" y="30"/>
                      <a:pt x="261" y="30"/>
                    </a:cubicBezTo>
                    <a:cubicBezTo>
                      <a:pt x="260" y="30"/>
                      <a:pt x="260" y="30"/>
                      <a:pt x="260" y="30"/>
                    </a:cubicBezTo>
                    <a:cubicBezTo>
                      <a:pt x="257" y="23"/>
                      <a:pt x="257" y="23"/>
                      <a:pt x="257" y="23"/>
                    </a:cubicBezTo>
                    <a:cubicBezTo>
                      <a:pt x="257" y="23"/>
                      <a:pt x="257" y="23"/>
                      <a:pt x="257" y="23"/>
                    </a:cubicBezTo>
                    <a:cubicBezTo>
                      <a:pt x="259" y="31"/>
                      <a:pt x="259" y="31"/>
                      <a:pt x="259" y="31"/>
                    </a:cubicBezTo>
                    <a:cubicBezTo>
                      <a:pt x="259" y="31"/>
                      <a:pt x="259" y="31"/>
                      <a:pt x="259" y="31"/>
                    </a:cubicBezTo>
                    <a:cubicBezTo>
                      <a:pt x="261" y="36"/>
                      <a:pt x="261" y="36"/>
                      <a:pt x="261" y="36"/>
                    </a:cubicBezTo>
                    <a:cubicBezTo>
                      <a:pt x="259" y="36"/>
                      <a:pt x="257" y="37"/>
                      <a:pt x="256" y="38"/>
                    </a:cubicBezTo>
                    <a:cubicBezTo>
                      <a:pt x="255" y="35"/>
                      <a:pt x="255" y="35"/>
                      <a:pt x="255" y="35"/>
                    </a:cubicBezTo>
                    <a:cubicBezTo>
                      <a:pt x="254" y="35"/>
                      <a:pt x="254" y="35"/>
                      <a:pt x="254" y="35"/>
                    </a:cubicBezTo>
                    <a:cubicBezTo>
                      <a:pt x="255" y="38"/>
                      <a:pt x="255" y="38"/>
                      <a:pt x="255" y="38"/>
                    </a:cubicBezTo>
                    <a:cubicBezTo>
                      <a:pt x="253" y="39"/>
                      <a:pt x="251" y="39"/>
                      <a:pt x="250" y="40"/>
                    </a:cubicBezTo>
                    <a:cubicBezTo>
                      <a:pt x="249" y="38"/>
                      <a:pt x="249" y="38"/>
                      <a:pt x="249" y="38"/>
                    </a:cubicBezTo>
                    <a:cubicBezTo>
                      <a:pt x="248" y="38"/>
                      <a:pt x="248" y="38"/>
                      <a:pt x="248" y="38"/>
                    </a:cubicBezTo>
                    <a:cubicBezTo>
                      <a:pt x="249" y="40"/>
                      <a:pt x="249" y="40"/>
                      <a:pt x="249" y="40"/>
                    </a:cubicBezTo>
                    <a:cubicBezTo>
                      <a:pt x="247" y="41"/>
                      <a:pt x="245" y="42"/>
                      <a:pt x="243" y="43"/>
                    </a:cubicBezTo>
                    <a:cubicBezTo>
                      <a:pt x="242" y="40"/>
                      <a:pt x="242" y="40"/>
                      <a:pt x="242" y="40"/>
                    </a:cubicBezTo>
                    <a:cubicBezTo>
                      <a:pt x="242" y="40"/>
                      <a:pt x="242" y="40"/>
                      <a:pt x="242" y="40"/>
                    </a:cubicBezTo>
                    <a:cubicBezTo>
                      <a:pt x="243" y="43"/>
                      <a:pt x="243" y="43"/>
                      <a:pt x="243" y="43"/>
                    </a:cubicBezTo>
                    <a:cubicBezTo>
                      <a:pt x="241" y="44"/>
                      <a:pt x="239" y="44"/>
                      <a:pt x="237" y="45"/>
                    </a:cubicBezTo>
                    <a:cubicBezTo>
                      <a:pt x="236" y="43"/>
                      <a:pt x="236" y="43"/>
                      <a:pt x="236" y="43"/>
                    </a:cubicBezTo>
                    <a:cubicBezTo>
                      <a:pt x="236" y="43"/>
                      <a:pt x="236" y="43"/>
                      <a:pt x="236" y="43"/>
                    </a:cubicBezTo>
                    <a:cubicBezTo>
                      <a:pt x="237" y="46"/>
                      <a:pt x="237" y="46"/>
                      <a:pt x="237" y="46"/>
                    </a:cubicBezTo>
                    <a:cubicBezTo>
                      <a:pt x="235" y="46"/>
                      <a:pt x="233" y="47"/>
                      <a:pt x="231" y="48"/>
                    </a:cubicBezTo>
                    <a:cubicBezTo>
                      <a:pt x="230" y="45"/>
                      <a:pt x="230" y="45"/>
                      <a:pt x="230" y="45"/>
                    </a:cubicBezTo>
                    <a:cubicBezTo>
                      <a:pt x="230" y="46"/>
                      <a:pt x="230" y="46"/>
                      <a:pt x="230" y="46"/>
                    </a:cubicBezTo>
                    <a:cubicBezTo>
                      <a:pt x="231" y="48"/>
                      <a:pt x="231" y="48"/>
                      <a:pt x="231" y="48"/>
                    </a:cubicBezTo>
                    <a:cubicBezTo>
                      <a:pt x="229" y="49"/>
                      <a:pt x="227" y="50"/>
                      <a:pt x="225" y="51"/>
                    </a:cubicBezTo>
                    <a:cubicBezTo>
                      <a:pt x="224" y="48"/>
                      <a:pt x="224" y="48"/>
                      <a:pt x="224" y="48"/>
                    </a:cubicBezTo>
                    <a:cubicBezTo>
                      <a:pt x="224" y="49"/>
                      <a:pt x="224" y="49"/>
                      <a:pt x="224" y="49"/>
                    </a:cubicBezTo>
                    <a:cubicBezTo>
                      <a:pt x="225" y="51"/>
                      <a:pt x="225" y="51"/>
                      <a:pt x="225" y="51"/>
                    </a:cubicBezTo>
                    <a:cubicBezTo>
                      <a:pt x="223" y="52"/>
                      <a:pt x="221" y="53"/>
                      <a:pt x="220" y="54"/>
                    </a:cubicBezTo>
                    <a:cubicBezTo>
                      <a:pt x="218" y="51"/>
                      <a:pt x="218" y="51"/>
                      <a:pt x="218" y="51"/>
                    </a:cubicBezTo>
                    <a:cubicBezTo>
                      <a:pt x="218" y="52"/>
                      <a:pt x="218" y="52"/>
                      <a:pt x="218" y="52"/>
                    </a:cubicBezTo>
                    <a:cubicBezTo>
                      <a:pt x="219" y="54"/>
                      <a:pt x="219" y="54"/>
                      <a:pt x="219" y="54"/>
                    </a:cubicBezTo>
                    <a:cubicBezTo>
                      <a:pt x="217" y="55"/>
                      <a:pt x="215" y="56"/>
                      <a:pt x="214" y="57"/>
                    </a:cubicBezTo>
                    <a:cubicBezTo>
                      <a:pt x="212" y="54"/>
                      <a:pt x="212" y="54"/>
                      <a:pt x="212" y="54"/>
                    </a:cubicBezTo>
                    <a:cubicBezTo>
                      <a:pt x="212" y="55"/>
                      <a:pt x="212" y="55"/>
                      <a:pt x="212" y="55"/>
                    </a:cubicBezTo>
                    <a:cubicBezTo>
                      <a:pt x="213" y="57"/>
                      <a:pt x="213" y="57"/>
                      <a:pt x="213" y="57"/>
                    </a:cubicBezTo>
                    <a:cubicBezTo>
                      <a:pt x="211" y="58"/>
                      <a:pt x="210" y="59"/>
                      <a:pt x="208" y="60"/>
                    </a:cubicBezTo>
                    <a:cubicBezTo>
                      <a:pt x="207" y="58"/>
                      <a:pt x="207" y="58"/>
                      <a:pt x="207" y="58"/>
                    </a:cubicBezTo>
                    <a:cubicBezTo>
                      <a:pt x="206" y="58"/>
                      <a:pt x="206" y="58"/>
                      <a:pt x="206" y="58"/>
                    </a:cubicBezTo>
                    <a:cubicBezTo>
                      <a:pt x="207" y="60"/>
                      <a:pt x="207" y="60"/>
                      <a:pt x="207" y="60"/>
                    </a:cubicBezTo>
                    <a:cubicBezTo>
                      <a:pt x="206" y="61"/>
                      <a:pt x="204" y="62"/>
                      <a:pt x="203" y="63"/>
                    </a:cubicBezTo>
                    <a:cubicBezTo>
                      <a:pt x="200" y="58"/>
                      <a:pt x="200" y="58"/>
                      <a:pt x="200" y="58"/>
                    </a:cubicBezTo>
                    <a:cubicBezTo>
                      <a:pt x="199" y="59"/>
                      <a:pt x="199" y="59"/>
                      <a:pt x="199" y="59"/>
                    </a:cubicBezTo>
                    <a:cubicBezTo>
                      <a:pt x="196" y="52"/>
                      <a:pt x="196" y="52"/>
                      <a:pt x="196" y="52"/>
                    </a:cubicBezTo>
                    <a:cubicBezTo>
                      <a:pt x="195" y="52"/>
                      <a:pt x="195" y="52"/>
                      <a:pt x="195" y="52"/>
                    </a:cubicBezTo>
                    <a:cubicBezTo>
                      <a:pt x="199" y="59"/>
                      <a:pt x="199" y="59"/>
                      <a:pt x="199" y="59"/>
                    </a:cubicBezTo>
                    <a:cubicBezTo>
                      <a:pt x="198" y="59"/>
                      <a:pt x="198" y="59"/>
                      <a:pt x="198" y="59"/>
                    </a:cubicBezTo>
                    <a:cubicBezTo>
                      <a:pt x="201" y="64"/>
                      <a:pt x="201" y="64"/>
                      <a:pt x="201" y="64"/>
                    </a:cubicBezTo>
                    <a:cubicBezTo>
                      <a:pt x="200" y="65"/>
                      <a:pt x="198" y="66"/>
                      <a:pt x="196" y="67"/>
                    </a:cubicBezTo>
                    <a:cubicBezTo>
                      <a:pt x="195" y="64"/>
                      <a:pt x="195" y="64"/>
                      <a:pt x="195" y="64"/>
                    </a:cubicBezTo>
                    <a:cubicBezTo>
                      <a:pt x="194" y="65"/>
                      <a:pt x="194" y="65"/>
                      <a:pt x="194" y="65"/>
                    </a:cubicBezTo>
                    <a:cubicBezTo>
                      <a:pt x="196" y="67"/>
                      <a:pt x="196" y="67"/>
                      <a:pt x="196" y="67"/>
                    </a:cubicBezTo>
                    <a:cubicBezTo>
                      <a:pt x="194" y="68"/>
                      <a:pt x="193" y="69"/>
                      <a:pt x="191" y="70"/>
                    </a:cubicBezTo>
                    <a:cubicBezTo>
                      <a:pt x="189" y="68"/>
                      <a:pt x="189" y="68"/>
                      <a:pt x="189" y="68"/>
                    </a:cubicBezTo>
                    <a:cubicBezTo>
                      <a:pt x="189" y="68"/>
                      <a:pt x="189" y="68"/>
                      <a:pt x="189" y="68"/>
                    </a:cubicBezTo>
                    <a:cubicBezTo>
                      <a:pt x="190" y="70"/>
                      <a:pt x="190" y="70"/>
                      <a:pt x="190" y="70"/>
                    </a:cubicBezTo>
                    <a:cubicBezTo>
                      <a:pt x="189" y="72"/>
                      <a:pt x="187" y="73"/>
                      <a:pt x="185" y="74"/>
                    </a:cubicBezTo>
                    <a:cubicBezTo>
                      <a:pt x="184" y="71"/>
                      <a:pt x="184" y="71"/>
                      <a:pt x="184" y="71"/>
                    </a:cubicBezTo>
                    <a:cubicBezTo>
                      <a:pt x="183" y="72"/>
                      <a:pt x="183" y="72"/>
                      <a:pt x="183" y="72"/>
                    </a:cubicBezTo>
                    <a:cubicBezTo>
                      <a:pt x="185" y="74"/>
                      <a:pt x="185" y="74"/>
                      <a:pt x="185" y="74"/>
                    </a:cubicBezTo>
                    <a:cubicBezTo>
                      <a:pt x="183" y="75"/>
                      <a:pt x="181" y="76"/>
                      <a:pt x="180" y="77"/>
                    </a:cubicBezTo>
                    <a:cubicBezTo>
                      <a:pt x="178" y="75"/>
                      <a:pt x="178" y="75"/>
                      <a:pt x="178" y="75"/>
                    </a:cubicBezTo>
                    <a:cubicBezTo>
                      <a:pt x="178" y="75"/>
                      <a:pt x="178" y="75"/>
                      <a:pt x="178" y="75"/>
                    </a:cubicBezTo>
                    <a:cubicBezTo>
                      <a:pt x="179" y="78"/>
                      <a:pt x="179" y="78"/>
                      <a:pt x="179" y="78"/>
                    </a:cubicBezTo>
                    <a:cubicBezTo>
                      <a:pt x="178" y="79"/>
                      <a:pt x="176" y="80"/>
                      <a:pt x="174" y="81"/>
                    </a:cubicBezTo>
                    <a:cubicBezTo>
                      <a:pt x="173" y="79"/>
                      <a:pt x="173" y="79"/>
                      <a:pt x="173" y="79"/>
                    </a:cubicBezTo>
                    <a:cubicBezTo>
                      <a:pt x="172" y="79"/>
                      <a:pt x="172" y="79"/>
                      <a:pt x="172" y="79"/>
                    </a:cubicBezTo>
                    <a:cubicBezTo>
                      <a:pt x="174" y="81"/>
                      <a:pt x="174" y="81"/>
                      <a:pt x="174" y="81"/>
                    </a:cubicBezTo>
                    <a:cubicBezTo>
                      <a:pt x="172" y="83"/>
                      <a:pt x="171" y="84"/>
                      <a:pt x="169" y="85"/>
                    </a:cubicBezTo>
                    <a:cubicBezTo>
                      <a:pt x="167" y="82"/>
                      <a:pt x="167" y="82"/>
                      <a:pt x="167" y="82"/>
                    </a:cubicBezTo>
                    <a:cubicBezTo>
                      <a:pt x="167" y="83"/>
                      <a:pt x="167" y="83"/>
                      <a:pt x="167" y="83"/>
                    </a:cubicBezTo>
                    <a:cubicBezTo>
                      <a:pt x="168" y="85"/>
                      <a:pt x="168" y="85"/>
                      <a:pt x="168" y="85"/>
                    </a:cubicBezTo>
                    <a:cubicBezTo>
                      <a:pt x="167" y="86"/>
                      <a:pt x="165" y="88"/>
                      <a:pt x="164" y="89"/>
                    </a:cubicBezTo>
                    <a:cubicBezTo>
                      <a:pt x="162" y="86"/>
                      <a:pt x="162" y="86"/>
                      <a:pt x="162" y="86"/>
                    </a:cubicBezTo>
                    <a:cubicBezTo>
                      <a:pt x="161" y="87"/>
                      <a:pt x="161" y="87"/>
                      <a:pt x="161" y="87"/>
                    </a:cubicBezTo>
                    <a:cubicBezTo>
                      <a:pt x="163" y="89"/>
                      <a:pt x="163" y="89"/>
                      <a:pt x="163" y="89"/>
                    </a:cubicBezTo>
                    <a:cubicBezTo>
                      <a:pt x="162" y="90"/>
                      <a:pt x="160" y="92"/>
                      <a:pt x="158" y="93"/>
                    </a:cubicBezTo>
                    <a:cubicBezTo>
                      <a:pt x="157" y="91"/>
                      <a:pt x="157" y="91"/>
                      <a:pt x="157" y="91"/>
                    </a:cubicBezTo>
                    <a:cubicBezTo>
                      <a:pt x="156" y="91"/>
                      <a:pt x="156" y="91"/>
                      <a:pt x="156" y="91"/>
                    </a:cubicBezTo>
                    <a:cubicBezTo>
                      <a:pt x="158" y="93"/>
                      <a:pt x="158" y="93"/>
                      <a:pt x="158" y="93"/>
                    </a:cubicBezTo>
                    <a:cubicBezTo>
                      <a:pt x="156" y="95"/>
                      <a:pt x="155" y="96"/>
                      <a:pt x="153" y="97"/>
                    </a:cubicBezTo>
                    <a:cubicBezTo>
                      <a:pt x="151" y="95"/>
                      <a:pt x="151" y="95"/>
                      <a:pt x="151" y="95"/>
                    </a:cubicBezTo>
                    <a:cubicBezTo>
                      <a:pt x="151" y="95"/>
                      <a:pt x="151" y="95"/>
                      <a:pt x="151" y="95"/>
                    </a:cubicBezTo>
                    <a:cubicBezTo>
                      <a:pt x="153" y="97"/>
                      <a:pt x="153" y="97"/>
                      <a:pt x="153" y="97"/>
                    </a:cubicBezTo>
                    <a:cubicBezTo>
                      <a:pt x="151" y="99"/>
                      <a:pt x="150" y="100"/>
                      <a:pt x="149" y="101"/>
                    </a:cubicBezTo>
                    <a:cubicBezTo>
                      <a:pt x="145" y="97"/>
                      <a:pt x="145" y="97"/>
                      <a:pt x="145" y="97"/>
                    </a:cubicBezTo>
                    <a:cubicBezTo>
                      <a:pt x="145" y="97"/>
                      <a:pt x="145" y="97"/>
                      <a:pt x="145" y="97"/>
                    </a:cubicBezTo>
                    <a:cubicBezTo>
                      <a:pt x="140" y="91"/>
                      <a:pt x="140" y="91"/>
                      <a:pt x="140" y="91"/>
                    </a:cubicBezTo>
                    <a:cubicBezTo>
                      <a:pt x="139" y="91"/>
                      <a:pt x="139" y="91"/>
                      <a:pt x="139" y="91"/>
                    </a:cubicBezTo>
                    <a:cubicBezTo>
                      <a:pt x="144" y="97"/>
                      <a:pt x="144" y="97"/>
                      <a:pt x="144" y="97"/>
                    </a:cubicBezTo>
                    <a:cubicBezTo>
                      <a:pt x="144" y="98"/>
                      <a:pt x="144" y="98"/>
                      <a:pt x="144" y="98"/>
                    </a:cubicBezTo>
                    <a:cubicBezTo>
                      <a:pt x="147" y="102"/>
                      <a:pt x="147" y="102"/>
                      <a:pt x="147" y="102"/>
                    </a:cubicBezTo>
                    <a:cubicBezTo>
                      <a:pt x="146" y="103"/>
                      <a:pt x="145" y="104"/>
                      <a:pt x="143" y="105"/>
                    </a:cubicBezTo>
                    <a:cubicBezTo>
                      <a:pt x="141" y="103"/>
                      <a:pt x="141" y="103"/>
                      <a:pt x="141" y="103"/>
                    </a:cubicBezTo>
                    <a:cubicBezTo>
                      <a:pt x="141" y="104"/>
                      <a:pt x="141" y="104"/>
                      <a:pt x="141" y="104"/>
                    </a:cubicBezTo>
                    <a:cubicBezTo>
                      <a:pt x="143" y="106"/>
                      <a:pt x="143" y="106"/>
                      <a:pt x="143" y="106"/>
                    </a:cubicBezTo>
                    <a:cubicBezTo>
                      <a:pt x="141" y="107"/>
                      <a:pt x="140" y="109"/>
                      <a:pt x="138" y="110"/>
                    </a:cubicBezTo>
                    <a:cubicBezTo>
                      <a:pt x="136" y="108"/>
                      <a:pt x="136" y="108"/>
                      <a:pt x="136" y="108"/>
                    </a:cubicBezTo>
                    <a:cubicBezTo>
                      <a:pt x="136" y="108"/>
                      <a:pt x="136" y="108"/>
                      <a:pt x="136" y="108"/>
                    </a:cubicBezTo>
                    <a:cubicBezTo>
                      <a:pt x="138" y="110"/>
                      <a:pt x="138" y="110"/>
                      <a:pt x="138" y="110"/>
                    </a:cubicBezTo>
                    <a:cubicBezTo>
                      <a:pt x="136" y="112"/>
                      <a:pt x="135" y="113"/>
                      <a:pt x="133" y="114"/>
                    </a:cubicBezTo>
                    <a:cubicBezTo>
                      <a:pt x="131" y="112"/>
                      <a:pt x="131" y="112"/>
                      <a:pt x="131" y="112"/>
                    </a:cubicBezTo>
                    <a:cubicBezTo>
                      <a:pt x="131" y="113"/>
                      <a:pt x="131" y="113"/>
                      <a:pt x="131" y="113"/>
                    </a:cubicBezTo>
                    <a:cubicBezTo>
                      <a:pt x="133" y="115"/>
                      <a:pt x="133" y="115"/>
                      <a:pt x="133" y="115"/>
                    </a:cubicBezTo>
                    <a:cubicBezTo>
                      <a:pt x="131" y="116"/>
                      <a:pt x="130" y="117"/>
                      <a:pt x="129" y="119"/>
                    </a:cubicBezTo>
                    <a:cubicBezTo>
                      <a:pt x="127" y="117"/>
                      <a:pt x="127" y="117"/>
                      <a:pt x="127" y="117"/>
                    </a:cubicBezTo>
                    <a:cubicBezTo>
                      <a:pt x="126" y="117"/>
                      <a:pt x="126" y="117"/>
                      <a:pt x="126" y="117"/>
                    </a:cubicBezTo>
                    <a:cubicBezTo>
                      <a:pt x="128" y="119"/>
                      <a:pt x="128" y="119"/>
                      <a:pt x="128" y="119"/>
                    </a:cubicBezTo>
                    <a:cubicBezTo>
                      <a:pt x="127" y="121"/>
                      <a:pt x="125" y="122"/>
                      <a:pt x="124" y="123"/>
                    </a:cubicBezTo>
                    <a:cubicBezTo>
                      <a:pt x="122" y="121"/>
                      <a:pt x="122" y="121"/>
                      <a:pt x="122" y="121"/>
                    </a:cubicBezTo>
                    <a:cubicBezTo>
                      <a:pt x="121" y="122"/>
                      <a:pt x="121" y="122"/>
                      <a:pt x="121" y="122"/>
                    </a:cubicBezTo>
                    <a:cubicBezTo>
                      <a:pt x="123" y="124"/>
                      <a:pt x="123" y="124"/>
                      <a:pt x="123" y="124"/>
                    </a:cubicBezTo>
                    <a:cubicBezTo>
                      <a:pt x="122" y="125"/>
                      <a:pt x="121" y="127"/>
                      <a:pt x="119" y="128"/>
                    </a:cubicBezTo>
                    <a:cubicBezTo>
                      <a:pt x="117" y="126"/>
                      <a:pt x="117" y="126"/>
                      <a:pt x="117" y="126"/>
                    </a:cubicBezTo>
                    <a:cubicBezTo>
                      <a:pt x="117" y="127"/>
                      <a:pt x="117" y="127"/>
                      <a:pt x="117" y="127"/>
                    </a:cubicBezTo>
                    <a:cubicBezTo>
                      <a:pt x="119" y="129"/>
                      <a:pt x="119" y="129"/>
                      <a:pt x="119" y="129"/>
                    </a:cubicBezTo>
                    <a:cubicBezTo>
                      <a:pt x="117" y="130"/>
                      <a:pt x="116" y="132"/>
                      <a:pt x="115" y="133"/>
                    </a:cubicBezTo>
                    <a:cubicBezTo>
                      <a:pt x="113" y="131"/>
                      <a:pt x="113" y="131"/>
                      <a:pt x="113" y="131"/>
                    </a:cubicBezTo>
                    <a:cubicBezTo>
                      <a:pt x="112" y="131"/>
                      <a:pt x="112" y="131"/>
                      <a:pt x="112" y="131"/>
                    </a:cubicBezTo>
                    <a:cubicBezTo>
                      <a:pt x="114" y="134"/>
                      <a:pt x="114" y="134"/>
                      <a:pt x="114" y="134"/>
                    </a:cubicBezTo>
                    <a:cubicBezTo>
                      <a:pt x="113" y="135"/>
                      <a:pt x="112" y="136"/>
                      <a:pt x="110" y="138"/>
                    </a:cubicBezTo>
                    <a:cubicBezTo>
                      <a:pt x="108" y="136"/>
                      <a:pt x="108" y="136"/>
                      <a:pt x="108" y="136"/>
                    </a:cubicBezTo>
                    <a:cubicBezTo>
                      <a:pt x="108" y="136"/>
                      <a:pt x="108" y="136"/>
                      <a:pt x="108" y="136"/>
                    </a:cubicBezTo>
                    <a:cubicBezTo>
                      <a:pt x="110" y="138"/>
                      <a:pt x="110" y="138"/>
                      <a:pt x="110" y="138"/>
                    </a:cubicBezTo>
                    <a:cubicBezTo>
                      <a:pt x="108" y="140"/>
                      <a:pt x="107" y="141"/>
                      <a:pt x="106" y="143"/>
                    </a:cubicBezTo>
                    <a:cubicBezTo>
                      <a:pt x="104" y="141"/>
                      <a:pt x="104" y="141"/>
                      <a:pt x="104" y="141"/>
                    </a:cubicBezTo>
                    <a:cubicBezTo>
                      <a:pt x="103" y="141"/>
                      <a:pt x="103" y="141"/>
                      <a:pt x="103" y="141"/>
                    </a:cubicBezTo>
                    <a:cubicBezTo>
                      <a:pt x="105" y="143"/>
                      <a:pt x="105" y="143"/>
                      <a:pt x="105" y="143"/>
                    </a:cubicBezTo>
                    <a:cubicBezTo>
                      <a:pt x="104" y="145"/>
                      <a:pt x="103" y="146"/>
                      <a:pt x="102" y="147"/>
                    </a:cubicBezTo>
                    <a:cubicBezTo>
                      <a:pt x="98" y="144"/>
                      <a:pt x="98" y="144"/>
                      <a:pt x="98" y="144"/>
                    </a:cubicBezTo>
                    <a:cubicBezTo>
                      <a:pt x="97" y="144"/>
                      <a:pt x="97" y="144"/>
                      <a:pt x="97" y="144"/>
                    </a:cubicBezTo>
                    <a:cubicBezTo>
                      <a:pt x="91" y="139"/>
                      <a:pt x="91" y="139"/>
                      <a:pt x="91" y="139"/>
                    </a:cubicBezTo>
                    <a:cubicBezTo>
                      <a:pt x="91" y="140"/>
                      <a:pt x="91" y="140"/>
                      <a:pt x="91" y="140"/>
                    </a:cubicBezTo>
                    <a:cubicBezTo>
                      <a:pt x="97" y="145"/>
                      <a:pt x="97" y="145"/>
                      <a:pt x="97" y="145"/>
                    </a:cubicBezTo>
                    <a:cubicBezTo>
                      <a:pt x="97" y="145"/>
                      <a:pt x="97" y="145"/>
                      <a:pt x="97" y="145"/>
                    </a:cubicBezTo>
                    <a:cubicBezTo>
                      <a:pt x="101" y="149"/>
                      <a:pt x="101" y="149"/>
                      <a:pt x="101" y="149"/>
                    </a:cubicBezTo>
                    <a:cubicBezTo>
                      <a:pt x="100" y="150"/>
                      <a:pt x="99" y="151"/>
                      <a:pt x="97" y="153"/>
                    </a:cubicBezTo>
                    <a:cubicBezTo>
                      <a:pt x="95" y="151"/>
                      <a:pt x="95" y="151"/>
                      <a:pt x="95" y="151"/>
                    </a:cubicBezTo>
                    <a:cubicBezTo>
                      <a:pt x="95" y="152"/>
                      <a:pt x="95" y="152"/>
                      <a:pt x="95" y="152"/>
                    </a:cubicBezTo>
                    <a:cubicBezTo>
                      <a:pt x="97" y="153"/>
                      <a:pt x="97" y="153"/>
                      <a:pt x="97" y="153"/>
                    </a:cubicBezTo>
                    <a:cubicBezTo>
                      <a:pt x="96" y="155"/>
                      <a:pt x="94" y="156"/>
                      <a:pt x="93" y="158"/>
                    </a:cubicBezTo>
                    <a:cubicBezTo>
                      <a:pt x="91" y="156"/>
                      <a:pt x="91" y="156"/>
                      <a:pt x="91" y="156"/>
                    </a:cubicBezTo>
                    <a:cubicBezTo>
                      <a:pt x="90" y="157"/>
                      <a:pt x="90" y="157"/>
                      <a:pt x="90" y="157"/>
                    </a:cubicBezTo>
                    <a:cubicBezTo>
                      <a:pt x="93" y="159"/>
                      <a:pt x="93" y="159"/>
                      <a:pt x="93" y="159"/>
                    </a:cubicBezTo>
                    <a:cubicBezTo>
                      <a:pt x="92" y="160"/>
                      <a:pt x="90" y="162"/>
                      <a:pt x="89" y="163"/>
                    </a:cubicBezTo>
                    <a:cubicBezTo>
                      <a:pt x="87" y="161"/>
                      <a:pt x="87" y="161"/>
                      <a:pt x="87" y="161"/>
                    </a:cubicBezTo>
                    <a:cubicBezTo>
                      <a:pt x="86" y="162"/>
                      <a:pt x="86" y="162"/>
                      <a:pt x="86" y="162"/>
                    </a:cubicBezTo>
                    <a:cubicBezTo>
                      <a:pt x="89" y="164"/>
                      <a:pt x="89" y="164"/>
                      <a:pt x="89" y="164"/>
                    </a:cubicBezTo>
                    <a:cubicBezTo>
                      <a:pt x="88" y="165"/>
                      <a:pt x="86" y="167"/>
                      <a:pt x="85" y="168"/>
                    </a:cubicBezTo>
                    <a:cubicBezTo>
                      <a:pt x="83" y="167"/>
                      <a:pt x="83" y="167"/>
                      <a:pt x="83" y="167"/>
                    </a:cubicBezTo>
                    <a:cubicBezTo>
                      <a:pt x="82" y="167"/>
                      <a:pt x="82" y="167"/>
                      <a:pt x="82" y="167"/>
                    </a:cubicBezTo>
                    <a:cubicBezTo>
                      <a:pt x="85" y="169"/>
                      <a:pt x="85" y="169"/>
                      <a:pt x="85" y="169"/>
                    </a:cubicBezTo>
                    <a:cubicBezTo>
                      <a:pt x="84" y="171"/>
                      <a:pt x="83" y="172"/>
                      <a:pt x="81" y="174"/>
                    </a:cubicBezTo>
                    <a:cubicBezTo>
                      <a:pt x="79" y="172"/>
                      <a:pt x="79" y="172"/>
                      <a:pt x="79" y="172"/>
                    </a:cubicBezTo>
                    <a:cubicBezTo>
                      <a:pt x="79" y="173"/>
                      <a:pt x="79" y="173"/>
                      <a:pt x="79" y="173"/>
                    </a:cubicBezTo>
                    <a:cubicBezTo>
                      <a:pt x="81" y="174"/>
                      <a:pt x="81" y="174"/>
                      <a:pt x="81" y="174"/>
                    </a:cubicBezTo>
                    <a:cubicBezTo>
                      <a:pt x="80" y="176"/>
                      <a:pt x="79" y="178"/>
                      <a:pt x="78" y="179"/>
                    </a:cubicBezTo>
                    <a:cubicBezTo>
                      <a:pt x="75" y="178"/>
                      <a:pt x="75" y="178"/>
                      <a:pt x="75" y="178"/>
                    </a:cubicBezTo>
                    <a:cubicBezTo>
                      <a:pt x="75" y="178"/>
                      <a:pt x="75" y="178"/>
                      <a:pt x="75" y="178"/>
                    </a:cubicBezTo>
                    <a:cubicBezTo>
                      <a:pt x="77" y="180"/>
                      <a:pt x="77" y="180"/>
                      <a:pt x="77" y="180"/>
                    </a:cubicBezTo>
                    <a:cubicBezTo>
                      <a:pt x="76" y="182"/>
                      <a:pt x="75" y="183"/>
                      <a:pt x="74" y="185"/>
                    </a:cubicBezTo>
                    <a:cubicBezTo>
                      <a:pt x="72" y="183"/>
                      <a:pt x="72" y="183"/>
                      <a:pt x="72" y="183"/>
                    </a:cubicBezTo>
                    <a:cubicBezTo>
                      <a:pt x="71" y="184"/>
                      <a:pt x="71" y="184"/>
                      <a:pt x="71" y="184"/>
                    </a:cubicBezTo>
                    <a:cubicBezTo>
                      <a:pt x="74" y="185"/>
                      <a:pt x="74" y="185"/>
                      <a:pt x="74" y="185"/>
                    </a:cubicBezTo>
                    <a:cubicBezTo>
                      <a:pt x="73" y="187"/>
                      <a:pt x="72" y="189"/>
                      <a:pt x="70" y="190"/>
                    </a:cubicBezTo>
                    <a:cubicBezTo>
                      <a:pt x="68" y="189"/>
                      <a:pt x="68" y="189"/>
                      <a:pt x="68" y="189"/>
                    </a:cubicBezTo>
                    <a:cubicBezTo>
                      <a:pt x="68" y="189"/>
                      <a:pt x="68" y="189"/>
                      <a:pt x="68" y="189"/>
                    </a:cubicBezTo>
                    <a:cubicBezTo>
                      <a:pt x="70" y="191"/>
                      <a:pt x="70" y="191"/>
                      <a:pt x="70" y="191"/>
                    </a:cubicBezTo>
                    <a:cubicBezTo>
                      <a:pt x="69" y="193"/>
                      <a:pt x="68" y="194"/>
                      <a:pt x="67" y="196"/>
                    </a:cubicBezTo>
                    <a:cubicBezTo>
                      <a:pt x="65" y="194"/>
                      <a:pt x="65" y="194"/>
                      <a:pt x="65" y="194"/>
                    </a:cubicBezTo>
                    <a:cubicBezTo>
                      <a:pt x="64" y="195"/>
                      <a:pt x="64" y="195"/>
                      <a:pt x="64" y="195"/>
                    </a:cubicBezTo>
                    <a:cubicBezTo>
                      <a:pt x="67" y="197"/>
                      <a:pt x="67" y="197"/>
                      <a:pt x="67" y="197"/>
                    </a:cubicBezTo>
                    <a:cubicBezTo>
                      <a:pt x="66" y="198"/>
                      <a:pt x="65" y="200"/>
                      <a:pt x="64" y="201"/>
                    </a:cubicBezTo>
                    <a:cubicBezTo>
                      <a:pt x="59" y="199"/>
                      <a:pt x="59" y="199"/>
                      <a:pt x="59" y="199"/>
                    </a:cubicBezTo>
                    <a:cubicBezTo>
                      <a:pt x="59" y="199"/>
                      <a:pt x="59" y="199"/>
                      <a:pt x="59" y="199"/>
                    </a:cubicBezTo>
                    <a:cubicBezTo>
                      <a:pt x="52" y="195"/>
                      <a:pt x="52" y="195"/>
                      <a:pt x="52" y="195"/>
                    </a:cubicBezTo>
                    <a:cubicBezTo>
                      <a:pt x="52" y="196"/>
                      <a:pt x="52" y="196"/>
                      <a:pt x="52" y="196"/>
                    </a:cubicBezTo>
                    <a:cubicBezTo>
                      <a:pt x="59" y="200"/>
                      <a:pt x="59" y="200"/>
                      <a:pt x="59" y="200"/>
                    </a:cubicBezTo>
                    <a:cubicBezTo>
                      <a:pt x="58" y="200"/>
                      <a:pt x="58" y="200"/>
                      <a:pt x="58" y="200"/>
                    </a:cubicBezTo>
                    <a:cubicBezTo>
                      <a:pt x="63" y="203"/>
                      <a:pt x="63" y="203"/>
                      <a:pt x="63" y="203"/>
                    </a:cubicBezTo>
                    <a:cubicBezTo>
                      <a:pt x="62" y="204"/>
                      <a:pt x="61" y="206"/>
                      <a:pt x="60" y="207"/>
                    </a:cubicBezTo>
                    <a:cubicBezTo>
                      <a:pt x="58" y="206"/>
                      <a:pt x="58" y="206"/>
                      <a:pt x="58" y="206"/>
                    </a:cubicBezTo>
                    <a:cubicBezTo>
                      <a:pt x="58" y="207"/>
                      <a:pt x="58" y="207"/>
                      <a:pt x="58" y="207"/>
                    </a:cubicBezTo>
                    <a:cubicBezTo>
                      <a:pt x="60" y="208"/>
                      <a:pt x="60" y="208"/>
                      <a:pt x="60" y="208"/>
                    </a:cubicBezTo>
                    <a:cubicBezTo>
                      <a:pt x="59" y="210"/>
                      <a:pt x="58" y="211"/>
                      <a:pt x="57" y="213"/>
                    </a:cubicBezTo>
                    <a:cubicBezTo>
                      <a:pt x="55" y="212"/>
                      <a:pt x="55" y="212"/>
                      <a:pt x="55" y="212"/>
                    </a:cubicBezTo>
                    <a:cubicBezTo>
                      <a:pt x="54" y="213"/>
                      <a:pt x="54" y="213"/>
                      <a:pt x="54" y="213"/>
                    </a:cubicBezTo>
                    <a:cubicBezTo>
                      <a:pt x="57" y="214"/>
                      <a:pt x="57" y="214"/>
                      <a:pt x="57" y="214"/>
                    </a:cubicBezTo>
                    <a:cubicBezTo>
                      <a:pt x="56" y="216"/>
                      <a:pt x="55" y="217"/>
                      <a:pt x="54" y="219"/>
                    </a:cubicBezTo>
                    <a:cubicBezTo>
                      <a:pt x="52" y="218"/>
                      <a:pt x="52" y="218"/>
                      <a:pt x="52" y="218"/>
                    </a:cubicBezTo>
                    <a:cubicBezTo>
                      <a:pt x="51" y="218"/>
                      <a:pt x="51" y="218"/>
                      <a:pt x="51" y="218"/>
                    </a:cubicBezTo>
                    <a:cubicBezTo>
                      <a:pt x="54" y="220"/>
                      <a:pt x="54" y="220"/>
                      <a:pt x="54" y="220"/>
                    </a:cubicBezTo>
                    <a:cubicBezTo>
                      <a:pt x="53" y="221"/>
                      <a:pt x="52" y="223"/>
                      <a:pt x="51" y="225"/>
                    </a:cubicBezTo>
                    <a:cubicBezTo>
                      <a:pt x="49" y="224"/>
                      <a:pt x="49" y="224"/>
                      <a:pt x="49" y="224"/>
                    </a:cubicBezTo>
                    <a:cubicBezTo>
                      <a:pt x="48" y="224"/>
                      <a:pt x="48" y="224"/>
                      <a:pt x="48" y="224"/>
                    </a:cubicBezTo>
                    <a:cubicBezTo>
                      <a:pt x="51" y="226"/>
                      <a:pt x="51" y="226"/>
                      <a:pt x="51" y="226"/>
                    </a:cubicBezTo>
                    <a:cubicBezTo>
                      <a:pt x="50" y="227"/>
                      <a:pt x="49" y="229"/>
                      <a:pt x="48" y="231"/>
                    </a:cubicBezTo>
                    <a:cubicBezTo>
                      <a:pt x="46" y="230"/>
                      <a:pt x="46" y="230"/>
                      <a:pt x="46" y="230"/>
                    </a:cubicBezTo>
                    <a:cubicBezTo>
                      <a:pt x="45" y="230"/>
                      <a:pt x="45" y="230"/>
                      <a:pt x="45" y="230"/>
                    </a:cubicBezTo>
                    <a:cubicBezTo>
                      <a:pt x="48" y="232"/>
                      <a:pt x="48" y="232"/>
                      <a:pt x="48" y="232"/>
                    </a:cubicBezTo>
                    <a:cubicBezTo>
                      <a:pt x="47" y="233"/>
                      <a:pt x="46" y="235"/>
                      <a:pt x="46" y="237"/>
                    </a:cubicBezTo>
                    <a:cubicBezTo>
                      <a:pt x="43" y="236"/>
                      <a:pt x="43" y="236"/>
                      <a:pt x="43" y="236"/>
                    </a:cubicBezTo>
                    <a:cubicBezTo>
                      <a:pt x="43" y="236"/>
                      <a:pt x="43" y="236"/>
                      <a:pt x="43" y="236"/>
                    </a:cubicBezTo>
                    <a:cubicBezTo>
                      <a:pt x="45" y="238"/>
                      <a:pt x="45" y="238"/>
                      <a:pt x="45" y="238"/>
                    </a:cubicBezTo>
                    <a:cubicBezTo>
                      <a:pt x="45" y="239"/>
                      <a:pt x="44" y="241"/>
                      <a:pt x="43" y="243"/>
                    </a:cubicBezTo>
                    <a:cubicBezTo>
                      <a:pt x="40" y="242"/>
                      <a:pt x="40" y="242"/>
                      <a:pt x="40" y="242"/>
                    </a:cubicBezTo>
                    <a:cubicBezTo>
                      <a:pt x="40" y="243"/>
                      <a:pt x="40" y="243"/>
                      <a:pt x="40" y="243"/>
                    </a:cubicBezTo>
                    <a:cubicBezTo>
                      <a:pt x="43" y="244"/>
                      <a:pt x="43" y="244"/>
                      <a:pt x="43" y="244"/>
                    </a:cubicBezTo>
                    <a:cubicBezTo>
                      <a:pt x="42" y="245"/>
                      <a:pt x="41" y="247"/>
                      <a:pt x="40" y="249"/>
                    </a:cubicBezTo>
                    <a:cubicBezTo>
                      <a:pt x="38" y="248"/>
                      <a:pt x="38" y="248"/>
                      <a:pt x="38" y="248"/>
                    </a:cubicBezTo>
                    <a:cubicBezTo>
                      <a:pt x="38" y="249"/>
                      <a:pt x="38" y="249"/>
                      <a:pt x="38" y="249"/>
                    </a:cubicBezTo>
                    <a:cubicBezTo>
                      <a:pt x="40" y="250"/>
                      <a:pt x="40" y="250"/>
                      <a:pt x="40" y="250"/>
                    </a:cubicBezTo>
                    <a:cubicBezTo>
                      <a:pt x="39" y="252"/>
                      <a:pt x="39" y="253"/>
                      <a:pt x="38" y="255"/>
                    </a:cubicBezTo>
                    <a:cubicBezTo>
                      <a:pt x="35" y="254"/>
                      <a:pt x="35" y="254"/>
                      <a:pt x="35" y="254"/>
                    </a:cubicBezTo>
                    <a:cubicBezTo>
                      <a:pt x="35" y="255"/>
                      <a:pt x="35" y="255"/>
                      <a:pt x="35" y="255"/>
                    </a:cubicBezTo>
                    <a:cubicBezTo>
                      <a:pt x="38" y="256"/>
                      <a:pt x="38" y="256"/>
                      <a:pt x="38" y="256"/>
                    </a:cubicBezTo>
                    <a:cubicBezTo>
                      <a:pt x="37" y="258"/>
                      <a:pt x="37" y="259"/>
                      <a:pt x="36" y="261"/>
                    </a:cubicBezTo>
                    <a:cubicBezTo>
                      <a:pt x="31" y="259"/>
                      <a:pt x="31" y="259"/>
                      <a:pt x="31" y="259"/>
                    </a:cubicBezTo>
                    <a:cubicBezTo>
                      <a:pt x="31" y="260"/>
                      <a:pt x="31" y="260"/>
                      <a:pt x="31" y="260"/>
                    </a:cubicBezTo>
                    <a:cubicBezTo>
                      <a:pt x="23" y="257"/>
                      <a:pt x="23" y="257"/>
                      <a:pt x="23" y="257"/>
                    </a:cubicBezTo>
                    <a:cubicBezTo>
                      <a:pt x="23" y="258"/>
                      <a:pt x="23" y="258"/>
                      <a:pt x="23" y="258"/>
                    </a:cubicBezTo>
                    <a:cubicBezTo>
                      <a:pt x="30" y="260"/>
                      <a:pt x="30" y="260"/>
                      <a:pt x="30" y="260"/>
                    </a:cubicBezTo>
                    <a:cubicBezTo>
                      <a:pt x="30" y="261"/>
                      <a:pt x="30" y="261"/>
                      <a:pt x="30" y="261"/>
                    </a:cubicBezTo>
                    <a:cubicBezTo>
                      <a:pt x="35" y="263"/>
                      <a:pt x="35" y="263"/>
                      <a:pt x="35" y="263"/>
                    </a:cubicBezTo>
                    <a:cubicBezTo>
                      <a:pt x="35" y="264"/>
                      <a:pt x="34" y="266"/>
                      <a:pt x="34" y="268"/>
                    </a:cubicBezTo>
                    <a:cubicBezTo>
                      <a:pt x="31" y="267"/>
                      <a:pt x="31" y="267"/>
                      <a:pt x="31" y="267"/>
                    </a:cubicBezTo>
                    <a:cubicBezTo>
                      <a:pt x="31" y="267"/>
                      <a:pt x="31" y="267"/>
                      <a:pt x="31" y="267"/>
                    </a:cubicBezTo>
                    <a:cubicBezTo>
                      <a:pt x="33" y="268"/>
                      <a:pt x="33" y="268"/>
                      <a:pt x="33" y="268"/>
                    </a:cubicBezTo>
                    <a:cubicBezTo>
                      <a:pt x="33" y="270"/>
                      <a:pt x="32" y="272"/>
                      <a:pt x="31" y="274"/>
                    </a:cubicBezTo>
                    <a:cubicBezTo>
                      <a:pt x="29" y="273"/>
                      <a:pt x="29" y="273"/>
                      <a:pt x="29" y="273"/>
                    </a:cubicBezTo>
                    <a:cubicBezTo>
                      <a:pt x="28" y="274"/>
                      <a:pt x="28" y="274"/>
                      <a:pt x="28" y="274"/>
                    </a:cubicBezTo>
                    <a:cubicBezTo>
                      <a:pt x="31" y="275"/>
                      <a:pt x="31" y="275"/>
                      <a:pt x="31" y="275"/>
                    </a:cubicBezTo>
                    <a:cubicBezTo>
                      <a:pt x="31" y="276"/>
                      <a:pt x="30" y="278"/>
                      <a:pt x="29" y="280"/>
                    </a:cubicBezTo>
                    <a:cubicBezTo>
                      <a:pt x="27" y="279"/>
                      <a:pt x="27" y="279"/>
                      <a:pt x="27" y="279"/>
                    </a:cubicBezTo>
                    <a:cubicBezTo>
                      <a:pt x="26" y="280"/>
                      <a:pt x="26" y="280"/>
                      <a:pt x="26" y="280"/>
                    </a:cubicBezTo>
                    <a:cubicBezTo>
                      <a:pt x="29" y="281"/>
                      <a:pt x="29" y="281"/>
                      <a:pt x="29" y="281"/>
                    </a:cubicBezTo>
                    <a:cubicBezTo>
                      <a:pt x="29" y="283"/>
                      <a:pt x="28" y="285"/>
                      <a:pt x="28" y="286"/>
                    </a:cubicBezTo>
                    <a:cubicBezTo>
                      <a:pt x="25" y="286"/>
                      <a:pt x="25" y="286"/>
                      <a:pt x="25" y="286"/>
                    </a:cubicBezTo>
                    <a:cubicBezTo>
                      <a:pt x="25" y="286"/>
                      <a:pt x="25" y="286"/>
                      <a:pt x="25" y="286"/>
                    </a:cubicBezTo>
                    <a:cubicBezTo>
                      <a:pt x="27" y="287"/>
                      <a:pt x="27" y="287"/>
                      <a:pt x="27" y="287"/>
                    </a:cubicBezTo>
                    <a:cubicBezTo>
                      <a:pt x="27" y="289"/>
                      <a:pt x="26" y="291"/>
                      <a:pt x="26" y="293"/>
                    </a:cubicBezTo>
                    <a:cubicBezTo>
                      <a:pt x="23" y="292"/>
                      <a:pt x="23" y="292"/>
                      <a:pt x="23" y="292"/>
                    </a:cubicBezTo>
                    <a:cubicBezTo>
                      <a:pt x="23" y="293"/>
                      <a:pt x="23" y="293"/>
                      <a:pt x="23" y="293"/>
                    </a:cubicBezTo>
                    <a:cubicBezTo>
                      <a:pt x="26" y="294"/>
                      <a:pt x="26" y="294"/>
                      <a:pt x="26" y="294"/>
                    </a:cubicBezTo>
                    <a:cubicBezTo>
                      <a:pt x="25" y="295"/>
                      <a:pt x="25" y="297"/>
                      <a:pt x="24" y="299"/>
                    </a:cubicBezTo>
                    <a:cubicBezTo>
                      <a:pt x="21" y="299"/>
                      <a:pt x="21" y="299"/>
                      <a:pt x="21" y="299"/>
                    </a:cubicBezTo>
                    <a:cubicBezTo>
                      <a:pt x="21" y="299"/>
                      <a:pt x="21" y="299"/>
                      <a:pt x="21" y="299"/>
                    </a:cubicBezTo>
                    <a:cubicBezTo>
                      <a:pt x="24" y="300"/>
                      <a:pt x="24" y="300"/>
                      <a:pt x="24" y="300"/>
                    </a:cubicBezTo>
                    <a:cubicBezTo>
                      <a:pt x="23" y="302"/>
                      <a:pt x="23" y="304"/>
                      <a:pt x="23" y="306"/>
                    </a:cubicBezTo>
                    <a:cubicBezTo>
                      <a:pt x="20" y="305"/>
                      <a:pt x="20" y="305"/>
                      <a:pt x="20" y="305"/>
                    </a:cubicBezTo>
                    <a:cubicBezTo>
                      <a:pt x="20" y="306"/>
                      <a:pt x="20" y="306"/>
                      <a:pt x="20" y="306"/>
                    </a:cubicBezTo>
                    <a:cubicBezTo>
                      <a:pt x="22" y="306"/>
                      <a:pt x="22" y="306"/>
                      <a:pt x="22" y="306"/>
                    </a:cubicBezTo>
                    <a:cubicBezTo>
                      <a:pt x="22" y="308"/>
                      <a:pt x="22" y="310"/>
                      <a:pt x="21" y="312"/>
                    </a:cubicBezTo>
                    <a:cubicBezTo>
                      <a:pt x="18" y="312"/>
                      <a:pt x="18" y="312"/>
                      <a:pt x="18" y="312"/>
                    </a:cubicBezTo>
                    <a:cubicBezTo>
                      <a:pt x="18" y="312"/>
                      <a:pt x="18" y="312"/>
                      <a:pt x="18" y="312"/>
                    </a:cubicBezTo>
                    <a:cubicBezTo>
                      <a:pt x="21" y="313"/>
                      <a:pt x="21" y="313"/>
                      <a:pt x="21" y="313"/>
                    </a:cubicBezTo>
                    <a:cubicBezTo>
                      <a:pt x="21" y="315"/>
                      <a:pt x="20" y="317"/>
                      <a:pt x="20" y="319"/>
                    </a:cubicBezTo>
                    <a:cubicBezTo>
                      <a:pt x="17" y="318"/>
                      <a:pt x="17" y="318"/>
                      <a:pt x="17" y="318"/>
                    </a:cubicBezTo>
                    <a:cubicBezTo>
                      <a:pt x="17" y="319"/>
                      <a:pt x="17" y="319"/>
                      <a:pt x="17" y="319"/>
                    </a:cubicBezTo>
                    <a:cubicBezTo>
                      <a:pt x="20" y="319"/>
                      <a:pt x="20" y="319"/>
                      <a:pt x="20" y="319"/>
                    </a:cubicBezTo>
                    <a:cubicBezTo>
                      <a:pt x="19" y="321"/>
                      <a:pt x="19" y="323"/>
                      <a:pt x="19" y="325"/>
                    </a:cubicBezTo>
                    <a:cubicBezTo>
                      <a:pt x="13" y="324"/>
                      <a:pt x="13" y="324"/>
                      <a:pt x="13" y="324"/>
                    </a:cubicBezTo>
                    <a:cubicBezTo>
                      <a:pt x="13" y="324"/>
                      <a:pt x="13" y="324"/>
                      <a:pt x="13" y="324"/>
                    </a:cubicBezTo>
                    <a:cubicBezTo>
                      <a:pt x="6" y="323"/>
                      <a:pt x="6" y="323"/>
                      <a:pt x="6" y="323"/>
                    </a:cubicBezTo>
                    <a:cubicBezTo>
                      <a:pt x="6" y="324"/>
                      <a:pt x="6" y="324"/>
                      <a:pt x="6" y="324"/>
                    </a:cubicBezTo>
                    <a:cubicBezTo>
                      <a:pt x="13" y="325"/>
                      <a:pt x="13" y="325"/>
                      <a:pt x="13" y="325"/>
                    </a:cubicBezTo>
                    <a:cubicBezTo>
                      <a:pt x="13" y="325"/>
                      <a:pt x="13" y="325"/>
                      <a:pt x="13" y="325"/>
                    </a:cubicBezTo>
                    <a:cubicBezTo>
                      <a:pt x="18" y="326"/>
                      <a:pt x="18" y="326"/>
                      <a:pt x="18" y="326"/>
                    </a:cubicBezTo>
                    <a:cubicBezTo>
                      <a:pt x="18" y="328"/>
                      <a:pt x="18" y="330"/>
                      <a:pt x="18" y="332"/>
                    </a:cubicBezTo>
                    <a:cubicBezTo>
                      <a:pt x="15" y="331"/>
                      <a:pt x="15" y="331"/>
                      <a:pt x="15" y="331"/>
                    </a:cubicBezTo>
                    <a:cubicBezTo>
                      <a:pt x="15" y="332"/>
                      <a:pt x="15" y="332"/>
                      <a:pt x="15" y="332"/>
                    </a:cubicBezTo>
                    <a:cubicBezTo>
                      <a:pt x="18" y="332"/>
                      <a:pt x="18" y="332"/>
                      <a:pt x="18" y="332"/>
                    </a:cubicBezTo>
                    <a:cubicBezTo>
                      <a:pt x="17" y="334"/>
                      <a:pt x="17" y="336"/>
                      <a:pt x="17" y="338"/>
                    </a:cubicBezTo>
                    <a:cubicBezTo>
                      <a:pt x="14" y="338"/>
                      <a:pt x="14" y="338"/>
                      <a:pt x="14" y="338"/>
                    </a:cubicBezTo>
                    <a:cubicBezTo>
                      <a:pt x="14" y="339"/>
                      <a:pt x="14" y="339"/>
                      <a:pt x="14" y="339"/>
                    </a:cubicBezTo>
                    <a:cubicBezTo>
                      <a:pt x="17" y="339"/>
                      <a:pt x="17" y="339"/>
                      <a:pt x="17" y="339"/>
                    </a:cubicBezTo>
                    <a:cubicBezTo>
                      <a:pt x="16" y="341"/>
                      <a:pt x="16" y="343"/>
                      <a:pt x="16" y="345"/>
                    </a:cubicBezTo>
                    <a:cubicBezTo>
                      <a:pt x="13" y="344"/>
                      <a:pt x="13" y="344"/>
                      <a:pt x="13" y="344"/>
                    </a:cubicBezTo>
                    <a:cubicBezTo>
                      <a:pt x="13" y="345"/>
                      <a:pt x="13" y="345"/>
                      <a:pt x="13" y="345"/>
                    </a:cubicBezTo>
                    <a:cubicBezTo>
                      <a:pt x="16" y="345"/>
                      <a:pt x="16" y="345"/>
                      <a:pt x="16" y="345"/>
                    </a:cubicBezTo>
                    <a:cubicBezTo>
                      <a:pt x="15" y="347"/>
                      <a:pt x="15" y="349"/>
                      <a:pt x="15" y="351"/>
                    </a:cubicBezTo>
                    <a:cubicBezTo>
                      <a:pt x="12" y="351"/>
                      <a:pt x="12" y="351"/>
                      <a:pt x="12" y="351"/>
                    </a:cubicBezTo>
                    <a:cubicBezTo>
                      <a:pt x="12" y="352"/>
                      <a:pt x="12" y="352"/>
                      <a:pt x="12" y="352"/>
                    </a:cubicBezTo>
                    <a:cubicBezTo>
                      <a:pt x="15" y="352"/>
                      <a:pt x="15" y="352"/>
                      <a:pt x="15" y="352"/>
                    </a:cubicBezTo>
                    <a:cubicBezTo>
                      <a:pt x="15" y="354"/>
                      <a:pt x="15" y="356"/>
                      <a:pt x="14" y="358"/>
                    </a:cubicBezTo>
                    <a:cubicBezTo>
                      <a:pt x="11" y="358"/>
                      <a:pt x="11" y="358"/>
                      <a:pt x="11" y="358"/>
                    </a:cubicBezTo>
                    <a:cubicBezTo>
                      <a:pt x="11" y="358"/>
                      <a:pt x="11" y="358"/>
                      <a:pt x="11" y="358"/>
                    </a:cubicBezTo>
                    <a:cubicBezTo>
                      <a:pt x="14" y="359"/>
                      <a:pt x="14" y="359"/>
                      <a:pt x="14" y="359"/>
                    </a:cubicBezTo>
                    <a:cubicBezTo>
                      <a:pt x="14" y="361"/>
                      <a:pt x="14" y="362"/>
                      <a:pt x="14" y="364"/>
                    </a:cubicBezTo>
                    <a:cubicBezTo>
                      <a:pt x="11" y="364"/>
                      <a:pt x="11" y="364"/>
                      <a:pt x="11" y="364"/>
                    </a:cubicBezTo>
                    <a:cubicBezTo>
                      <a:pt x="11" y="365"/>
                      <a:pt x="11" y="365"/>
                      <a:pt x="11" y="365"/>
                    </a:cubicBezTo>
                    <a:cubicBezTo>
                      <a:pt x="14" y="365"/>
                      <a:pt x="14" y="365"/>
                      <a:pt x="14" y="365"/>
                    </a:cubicBezTo>
                    <a:cubicBezTo>
                      <a:pt x="14" y="367"/>
                      <a:pt x="14" y="369"/>
                      <a:pt x="14" y="371"/>
                    </a:cubicBezTo>
                    <a:cubicBezTo>
                      <a:pt x="11" y="371"/>
                      <a:pt x="11" y="371"/>
                      <a:pt x="11" y="371"/>
                    </a:cubicBezTo>
                    <a:cubicBezTo>
                      <a:pt x="10" y="372"/>
                      <a:pt x="10" y="372"/>
                      <a:pt x="10" y="372"/>
                    </a:cubicBezTo>
                    <a:cubicBezTo>
                      <a:pt x="13" y="372"/>
                      <a:pt x="13" y="372"/>
                      <a:pt x="13" y="372"/>
                    </a:cubicBezTo>
                    <a:cubicBezTo>
                      <a:pt x="13" y="374"/>
                      <a:pt x="13" y="376"/>
                      <a:pt x="13" y="378"/>
                    </a:cubicBezTo>
                    <a:cubicBezTo>
                      <a:pt x="10" y="377"/>
                      <a:pt x="10" y="377"/>
                      <a:pt x="10" y="377"/>
                    </a:cubicBezTo>
                    <a:cubicBezTo>
                      <a:pt x="10" y="378"/>
                      <a:pt x="10" y="378"/>
                      <a:pt x="10" y="378"/>
                    </a:cubicBezTo>
                    <a:cubicBezTo>
                      <a:pt x="13" y="378"/>
                      <a:pt x="13" y="378"/>
                      <a:pt x="13" y="378"/>
                    </a:cubicBezTo>
                    <a:cubicBezTo>
                      <a:pt x="13" y="380"/>
                      <a:pt x="13" y="382"/>
                      <a:pt x="13" y="384"/>
                    </a:cubicBezTo>
                    <a:cubicBezTo>
                      <a:pt x="10" y="384"/>
                      <a:pt x="10" y="384"/>
                      <a:pt x="10" y="384"/>
                    </a:cubicBezTo>
                    <a:cubicBezTo>
                      <a:pt x="10" y="385"/>
                      <a:pt x="10" y="385"/>
                      <a:pt x="10" y="385"/>
                    </a:cubicBezTo>
                    <a:cubicBezTo>
                      <a:pt x="13" y="385"/>
                      <a:pt x="13" y="385"/>
                      <a:pt x="13" y="385"/>
                    </a:cubicBezTo>
                    <a:cubicBezTo>
                      <a:pt x="13" y="387"/>
                      <a:pt x="13" y="389"/>
                      <a:pt x="13" y="390"/>
                    </a:cubicBezTo>
                    <a:cubicBezTo>
                      <a:pt x="7" y="390"/>
                      <a:pt x="7" y="390"/>
                      <a:pt x="7" y="390"/>
                    </a:cubicBezTo>
                    <a:cubicBezTo>
                      <a:pt x="7" y="391"/>
                      <a:pt x="7" y="391"/>
                      <a:pt x="7" y="391"/>
                    </a:cubicBezTo>
                    <a:cubicBezTo>
                      <a:pt x="0" y="391"/>
                      <a:pt x="0" y="391"/>
                      <a:pt x="0" y="391"/>
                    </a:cubicBezTo>
                    <a:cubicBezTo>
                      <a:pt x="0" y="392"/>
                      <a:pt x="0" y="392"/>
                      <a:pt x="0" y="392"/>
                    </a:cubicBezTo>
                    <a:cubicBezTo>
                      <a:pt x="7" y="392"/>
                      <a:pt x="7" y="392"/>
                      <a:pt x="7" y="392"/>
                    </a:cubicBezTo>
                    <a:cubicBezTo>
                      <a:pt x="7" y="392"/>
                      <a:pt x="7" y="392"/>
                      <a:pt x="7" y="392"/>
                    </a:cubicBezTo>
                    <a:cubicBezTo>
                      <a:pt x="13" y="392"/>
                      <a:pt x="13" y="392"/>
                      <a:pt x="13" y="392"/>
                    </a:cubicBezTo>
                    <a:cubicBezTo>
                      <a:pt x="13" y="394"/>
                      <a:pt x="13" y="396"/>
                      <a:pt x="13" y="397"/>
                    </a:cubicBezTo>
                    <a:cubicBezTo>
                      <a:pt x="10" y="397"/>
                      <a:pt x="10" y="397"/>
                      <a:pt x="10" y="397"/>
                    </a:cubicBezTo>
                    <a:cubicBezTo>
                      <a:pt x="10" y="398"/>
                      <a:pt x="10" y="398"/>
                      <a:pt x="10" y="398"/>
                    </a:cubicBezTo>
                    <a:cubicBezTo>
                      <a:pt x="13" y="398"/>
                      <a:pt x="13" y="398"/>
                      <a:pt x="13" y="398"/>
                    </a:cubicBezTo>
                    <a:cubicBezTo>
                      <a:pt x="13" y="400"/>
                      <a:pt x="13" y="402"/>
                      <a:pt x="13" y="404"/>
                    </a:cubicBezTo>
                    <a:cubicBezTo>
                      <a:pt x="10" y="404"/>
                      <a:pt x="10" y="404"/>
                      <a:pt x="10" y="404"/>
                    </a:cubicBezTo>
                    <a:cubicBezTo>
                      <a:pt x="10" y="405"/>
                      <a:pt x="10" y="405"/>
                      <a:pt x="10" y="405"/>
                    </a:cubicBezTo>
                    <a:cubicBezTo>
                      <a:pt x="13" y="405"/>
                      <a:pt x="13" y="405"/>
                      <a:pt x="13" y="405"/>
                    </a:cubicBezTo>
                    <a:cubicBezTo>
                      <a:pt x="13" y="407"/>
                      <a:pt x="13" y="409"/>
                      <a:pt x="13" y="411"/>
                    </a:cubicBezTo>
                    <a:cubicBezTo>
                      <a:pt x="10" y="411"/>
                      <a:pt x="10" y="411"/>
                      <a:pt x="10" y="411"/>
                    </a:cubicBezTo>
                    <a:cubicBezTo>
                      <a:pt x="11" y="412"/>
                      <a:pt x="11" y="412"/>
                      <a:pt x="11" y="412"/>
                    </a:cubicBezTo>
                    <a:cubicBezTo>
                      <a:pt x="14" y="411"/>
                      <a:pt x="14" y="411"/>
                      <a:pt x="14" y="411"/>
                    </a:cubicBezTo>
                    <a:cubicBezTo>
                      <a:pt x="14" y="413"/>
                      <a:pt x="14" y="415"/>
                      <a:pt x="14" y="417"/>
                    </a:cubicBezTo>
                    <a:cubicBezTo>
                      <a:pt x="11" y="417"/>
                      <a:pt x="11" y="417"/>
                      <a:pt x="11" y="417"/>
                    </a:cubicBezTo>
                    <a:cubicBezTo>
                      <a:pt x="11" y="418"/>
                      <a:pt x="11" y="418"/>
                      <a:pt x="11" y="418"/>
                    </a:cubicBezTo>
                    <a:cubicBezTo>
                      <a:pt x="14" y="418"/>
                      <a:pt x="14" y="418"/>
                      <a:pt x="14" y="418"/>
                    </a:cubicBezTo>
                    <a:cubicBezTo>
                      <a:pt x="14" y="420"/>
                      <a:pt x="14" y="422"/>
                      <a:pt x="14" y="424"/>
                    </a:cubicBezTo>
                    <a:cubicBezTo>
                      <a:pt x="11" y="424"/>
                      <a:pt x="11" y="424"/>
                      <a:pt x="11" y="424"/>
                    </a:cubicBezTo>
                    <a:cubicBezTo>
                      <a:pt x="11" y="425"/>
                      <a:pt x="11" y="425"/>
                      <a:pt x="11" y="425"/>
                    </a:cubicBezTo>
                    <a:cubicBezTo>
                      <a:pt x="14" y="425"/>
                      <a:pt x="14" y="425"/>
                      <a:pt x="14" y="425"/>
                    </a:cubicBezTo>
                    <a:cubicBezTo>
                      <a:pt x="15" y="426"/>
                      <a:pt x="15" y="428"/>
                      <a:pt x="15" y="430"/>
                    </a:cubicBezTo>
                    <a:cubicBezTo>
                      <a:pt x="12" y="431"/>
                      <a:pt x="12" y="431"/>
                      <a:pt x="12" y="431"/>
                    </a:cubicBezTo>
                    <a:cubicBezTo>
                      <a:pt x="12" y="431"/>
                      <a:pt x="12" y="431"/>
                      <a:pt x="12" y="431"/>
                    </a:cubicBezTo>
                    <a:cubicBezTo>
                      <a:pt x="15" y="431"/>
                      <a:pt x="15" y="431"/>
                      <a:pt x="15" y="431"/>
                    </a:cubicBezTo>
                    <a:cubicBezTo>
                      <a:pt x="15" y="433"/>
                      <a:pt x="15" y="435"/>
                      <a:pt x="16" y="437"/>
                    </a:cubicBezTo>
                    <a:cubicBezTo>
                      <a:pt x="13" y="437"/>
                      <a:pt x="13" y="437"/>
                      <a:pt x="13" y="437"/>
                    </a:cubicBezTo>
                    <a:cubicBezTo>
                      <a:pt x="13" y="438"/>
                      <a:pt x="13" y="438"/>
                      <a:pt x="13" y="438"/>
                    </a:cubicBezTo>
                    <a:cubicBezTo>
                      <a:pt x="16" y="438"/>
                      <a:pt x="16" y="438"/>
                      <a:pt x="16" y="438"/>
                    </a:cubicBezTo>
                    <a:cubicBezTo>
                      <a:pt x="16" y="440"/>
                      <a:pt x="16" y="442"/>
                      <a:pt x="17" y="443"/>
                    </a:cubicBezTo>
                    <a:cubicBezTo>
                      <a:pt x="14" y="444"/>
                      <a:pt x="14" y="444"/>
                      <a:pt x="14" y="444"/>
                    </a:cubicBezTo>
                    <a:cubicBezTo>
                      <a:pt x="14" y="445"/>
                      <a:pt x="14" y="445"/>
                      <a:pt x="14" y="445"/>
                    </a:cubicBezTo>
                    <a:cubicBezTo>
                      <a:pt x="17" y="444"/>
                      <a:pt x="17" y="444"/>
                      <a:pt x="17" y="444"/>
                    </a:cubicBezTo>
                    <a:cubicBezTo>
                      <a:pt x="17" y="446"/>
                      <a:pt x="17" y="448"/>
                      <a:pt x="18" y="450"/>
                    </a:cubicBezTo>
                    <a:cubicBezTo>
                      <a:pt x="15" y="450"/>
                      <a:pt x="15" y="450"/>
                      <a:pt x="15" y="450"/>
                    </a:cubicBezTo>
                    <a:cubicBezTo>
                      <a:pt x="15" y="451"/>
                      <a:pt x="15" y="451"/>
                      <a:pt x="15" y="451"/>
                    </a:cubicBezTo>
                    <a:cubicBezTo>
                      <a:pt x="18" y="451"/>
                      <a:pt x="18" y="451"/>
                      <a:pt x="18" y="451"/>
                    </a:cubicBezTo>
                    <a:cubicBezTo>
                      <a:pt x="18" y="452"/>
                      <a:pt x="18" y="454"/>
                      <a:pt x="18" y="456"/>
                    </a:cubicBezTo>
                    <a:cubicBezTo>
                      <a:pt x="13" y="457"/>
                      <a:pt x="13" y="457"/>
                      <a:pt x="13" y="457"/>
                    </a:cubicBezTo>
                    <a:cubicBezTo>
                      <a:pt x="13" y="457"/>
                      <a:pt x="13" y="457"/>
                      <a:pt x="13" y="457"/>
                    </a:cubicBezTo>
                    <a:cubicBezTo>
                      <a:pt x="6" y="459"/>
                      <a:pt x="6" y="459"/>
                      <a:pt x="6" y="459"/>
                    </a:cubicBezTo>
                    <a:cubicBezTo>
                      <a:pt x="6" y="460"/>
                      <a:pt x="6" y="460"/>
                      <a:pt x="6" y="460"/>
                    </a:cubicBezTo>
                    <a:cubicBezTo>
                      <a:pt x="13" y="458"/>
                      <a:pt x="13" y="458"/>
                      <a:pt x="13" y="458"/>
                    </a:cubicBezTo>
                    <a:cubicBezTo>
                      <a:pt x="13" y="459"/>
                      <a:pt x="13" y="459"/>
                      <a:pt x="13" y="459"/>
                    </a:cubicBezTo>
                    <a:cubicBezTo>
                      <a:pt x="19" y="458"/>
                      <a:pt x="19" y="458"/>
                      <a:pt x="19" y="458"/>
                    </a:cubicBezTo>
                    <a:cubicBezTo>
                      <a:pt x="19" y="460"/>
                      <a:pt x="19" y="461"/>
                      <a:pt x="20" y="463"/>
                    </a:cubicBezTo>
                    <a:cubicBezTo>
                      <a:pt x="17" y="464"/>
                      <a:pt x="17" y="464"/>
                      <a:pt x="17" y="464"/>
                    </a:cubicBezTo>
                    <a:cubicBezTo>
                      <a:pt x="17" y="464"/>
                      <a:pt x="17" y="464"/>
                      <a:pt x="17" y="464"/>
                    </a:cubicBezTo>
                    <a:cubicBezTo>
                      <a:pt x="20" y="464"/>
                      <a:pt x="20" y="464"/>
                      <a:pt x="20" y="464"/>
                    </a:cubicBezTo>
                    <a:cubicBezTo>
                      <a:pt x="20" y="466"/>
                      <a:pt x="21" y="468"/>
                      <a:pt x="21" y="469"/>
                    </a:cubicBezTo>
                    <a:cubicBezTo>
                      <a:pt x="18" y="470"/>
                      <a:pt x="18" y="470"/>
                      <a:pt x="18" y="470"/>
                    </a:cubicBezTo>
                    <a:cubicBezTo>
                      <a:pt x="18" y="471"/>
                      <a:pt x="18" y="471"/>
                      <a:pt x="18" y="471"/>
                    </a:cubicBezTo>
                    <a:cubicBezTo>
                      <a:pt x="21" y="470"/>
                      <a:pt x="21" y="470"/>
                      <a:pt x="21" y="470"/>
                    </a:cubicBezTo>
                    <a:cubicBezTo>
                      <a:pt x="22" y="472"/>
                      <a:pt x="22" y="474"/>
                      <a:pt x="22" y="476"/>
                    </a:cubicBezTo>
                    <a:cubicBezTo>
                      <a:pt x="20" y="477"/>
                      <a:pt x="20" y="477"/>
                      <a:pt x="20" y="477"/>
                    </a:cubicBezTo>
                    <a:cubicBezTo>
                      <a:pt x="20" y="477"/>
                      <a:pt x="20" y="477"/>
                      <a:pt x="20" y="477"/>
                    </a:cubicBezTo>
                    <a:cubicBezTo>
                      <a:pt x="23" y="477"/>
                      <a:pt x="23" y="477"/>
                      <a:pt x="23" y="477"/>
                    </a:cubicBezTo>
                    <a:cubicBezTo>
                      <a:pt x="23" y="479"/>
                      <a:pt x="23" y="480"/>
                      <a:pt x="24" y="482"/>
                    </a:cubicBezTo>
                    <a:cubicBezTo>
                      <a:pt x="21" y="483"/>
                      <a:pt x="21" y="483"/>
                      <a:pt x="21" y="483"/>
                    </a:cubicBezTo>
                    <a:cubicBezTo>
                      <a:pt x="21" y="484"/>
                      <a:pt x="21" y="484"/>
                      <a:pt x="21" y="484"/>
                    </a:cubicBezTo>
                    <a:cubicBezTo>
                      <a:pt x="24" y="483"/>
                      <a:pt x="24" y="483"/>
                      <a:pt x="24" y="483"/>
                    </a:cubicBezTo>
                    <a:cubicBezTo>
                      <a:pt x="25" y="485"/>
                      <a:pt x="25" y="487"/>
                      <a:pt x="26" y="489"/>
                    </a:cubicBezTo>
                    <a:cubicBezTo>
                      <a:pt x="23" y="489"/>
                      <a:pt x="23" y="489"/>
                      <a:pt x="23" y="489"/>
                    </a:cubicBezTo>
                    <a:cubicBezTo>
                      <a:pt x="23" y="490"/>
                      <a:pt x="23" y="490"/>
                      <a:pt x="23" y="490"/>
                    </a:cubicBezTo>
                    <a:cubicBezTo>
                      <a:pt x="26" y="489"/>
                      <a:pt x="26" y="489"/>
                      <a:pt x="26" y="489"/>
                    </a:cubicBezTo>
                    <a:cubicBezTo>
                      <a:pt x="26" y="491"/>
                      <a:pt x="27" y="493"/>
                      <a:pt x="27" y="495"/>
                    </a:cubicBezTo>
                    <a:cubicBezTo>
                      <a:pt x="25" y="496"/>
                      <a:pt x="25" y="496"/>
                      <a:pt x="25" y="496"/>
                    </a:cubicBezTo>
                    <a:cubicBezTo>
                      <a:pt x="25" y="497"/>
                      <a:pt x="25" y="497"/>
                      <a:pt x="25" y="497"/>
                    </a:cubicBezTo>
                    <a:cubicBezTo>
                      <a:pt x="28" y="496"/>
                      <a:pt x="28" y="496"/>
                      <a:pt x="28" y="496"/>
                    </a:cubicBezTo>
                    <a:cubicBezTo>
                      <a:pt x="28" y="498"/>
                      <a:pt x="29" y="500"/>
                      <a:pt x="29" y="501"/>
                    </a:cubicBezTo>
                    <a:cubicBezTo>
                      <a:pt x="26" y="502"/>
                      <a:pt x="26" y="502"/>
                      <a:pt x="26" y="502"/>
                    </a:cubicBezTo>
                    <a:cubicBezTo>
                      <a:pt x="27" y="503"/>
                      <a:pt x="27" y="503"/>
                      <a:pt x="27" y="503"/>
                    </a:cubicBezTo>
                    <a:cubicBezTo>
                      <a:pt x="29" y="502"/>
                      <a:pt x="29" y="502"/>
                      <a:pt x="29" y="502"/>
                    </a:cubicBezTo>
                    <a:cubicBezTo>
                      <a:pt x="30" y="504"/>
                      <a:pt x="31" y="506"/>
                      <a:pt x="31" y="508"/>
                    </a:cubicBezTo>
                    <a:cubicBezTo>
                      <a:pt x="28" y="509"/>
                      <a:pt x="28" y="509"/>
                      <a:pt x="28" y="509"/>
                    </a:cubicBezTo>
                    <a:cubicBezTo>
                      <a:pt x="29" y="509"/>
                      <a:pt x="29" y="509"/>
                      <a:pt x="29" y="509"/>
                    </a:cubicBezTo>
                    <a:cubicBezTo>
                      <a:pt x="31" y="508"/>
                      <a:pt x="31" y="508"/>
                      <a:pt x="31" y="508"/>
                    </a:cubicBezTo>
                    <a:cubicBezTo>
                      <a:pt x="32" y="510"/>
                      <a:pt x="33" y="512"/>
                      <a:pt x="33" y="514"/>
                    </a:cubicBezTo>
                    <a:cubicBezTo>
                      <a:pt x="31" y="515"/>
                      <a:pt x="31" y="515"/>
                      <a:pt x="31" y="515"/>
                    </a:cubicBezTo>
                    <a:cubicBezTo>
                      <a:pt x="31" y="516"/>
                      <a:pt x="31" y="516"/>
                      <a:pt x="31" y="516"/>
                    </a:cubicBezTo>
                    <a:cubicBezTo>
                      <a:pt x="34" y="515"/>
                      <a:pt x="34" y="515"/>
                      <a:pt x="34" y="515"/>
                    </a:cubicBezTo>
                    <a:cubicBezTo>
                      <a:pt x="34" y="516"/>
                      <a:pt x="35" y="518"/>
                      <a:pt x="35" y="520"/>
                    </a:cubicBezTo>
                    <a:cubicBezTo>
                      <a:pt x="30" y="522"/>
                      <a:pt x="30" y="522"/>
                      <a:pt x="30" y="522"/>
                    </a:cubicBezTo>
                    <a:cubicBezTo>
                      <a:pt x="30" y="522"/>
                      <a:pt x="30" y="522"/>
                      <a:pt x="30" y="522"/>
                    </a:cubicBezTo>
                    <a:cubicBezTo>
                      <a:pt x="23" y="525"/>
                      <a:pt x="23" y="525"/>
                      <a:pt x="23" y="525"/>
                    </a:cubicBezTo>
                    <a:cubicBezTo>
                      <a:pt x="23" y="525"/>
                      <a:pt x="23" y="525"/>
                      <a:pt x="23" y="525"/>
                    </a:cubicBezTo>
                    <a:cubicBezTo>
                      <a:pt x="31" y="523"/>
                      <a:pt x="31" y="523"/>
                      <a:pt x="31" y="523"/>
                    </a:cubicBezTo>
                    <a:cubicBezTo>
                      <a:pt x="31" y="523"/>
                      <a:pt x="31" y="523"/>
                      <a:pt x="31" y="523"/>
                    </a:cubicBezTo>
                    <a:cubicBezTo>
                      <a:pt x="36" y="521"/>
                      <a:pt x="36" y="521"/>
                      <a:pt x="36" y="521"/>
                    </a:cubicBezTo>
                    <a:cubicBezTo>
                      <a:pt x="37" y="523"/>
                      <a:pt x="37" y="525"/>
                      <a:pt x="38" y="526"/>
                    </a:cubicBezTo>
                    <a:cubicBezTo>
                      <a:pt x="35" y="527"/>
                      <a:pt x="35" y="527"/>
                      <a:pt x="35" y="527"/>
                    </a:cubicBezTo>
                    <a:cubicBezTo>
                      <a:pt x="35" y="528"/>
                      <a:pt x="35" y="528"/>
                      <a:pt x="35" y="528"/>
                    </a:cubicBezTo>
                    <a:cubicBezTo>
                      <a:pt x="38" y="527"/>
                      <a:pt x="38" y="527"/>
                      <a:pt x="38" y="527"/>
                    </a:cubicBezTo>
                    <a:cubicBezTo>
                      <a:pt x="39" y="529"/>
                      <a:pt x="39" y="531"/>
                      <a:pt x="40" y="533"/>
                    </a:cubicBezTo>
                    <a:cubicBezTo>
                      <a:pt x="38" y="534"/>
                      <a:pt x="38" y="534"/>
                      <a:pt x="38" y="534"/>
                    </a:cubicBezTo>
                    <a:cubicBezTo>
                      <a:pt x="38" y="534"/>
                      <a:pt x="38" y="534"/>
                      <a:pt x="38" y="534"/>
                    </a:cubicBezTo>
                    <a:cubicBezTo>
                      <a:pt x="40" y="533"/>
                      <a:pt x="40" y="533"/>
                      <a:pt x="40" y="533"/>
                    </a:cubicBezTo>
                    <a:cubicBezTo>
                      <a:pt x="41" y="535"/>
                      <a:pt x="42" y="537"/>
                      <a:pt x="43" y="539"/>
                    </a:cubicBezTo>
                    <a:cubicBezTo>
                      <a:pt x="40" y="540"/>
                      <a:pt x="40" y="540"/>
                      <a:pt x="40" y="540"/>
                    </a:cubicBezTo>
                    <a:cubicBezTo>
                      <a:pt x="40" y="541"/>
                      <a:pt x="40" y="541"/>
                      <a:pt x="40" y="541"/>
                    </a:cubicBezTo>
                    <a:cubicBezTo>
                      <a:pt x="43" y="539"/>
                      <a:pt x="43" y="539"/>
                      <a:pt x="43" y="539"/>
                    </a:cubicBezTo>
                    <a:cubicBezTo>
                      <a:pt x="44" y="541"/>
                      <a:pt x="45" y="543"/>
                      <a:pt x="45" y="545"/>
                    </a:cubicBezTo>
                    <a:cubicBezTo>
                      <a:pt x="43" y="546"/>
                      <a:pt x="43" y="546"/>
                      <a:pt x="43" y="546"/>
                    </a:cubicBezTo>
                    <a:cubicBezTo>
                      <a:pt x="43" y="547"/>
                      <a:pt x="43" y="547"/>
                      <a:pt x="43" y="547"/>
                    </a:cubicBezTo>
                    <a:cubicBezTo>
                      <a:pt x="46" y="545"/>
                      <a:pt x="46" y="545"/>
                      <a:pt x="46" y="545"/>
                    </a:cubicBezTo>
                    <a:cubicBezTo>
                      <a:pt x="46" y="547"/>
                      <a:pt x="47" y="549"/>
                      <a:pt x="48" y="551"/>
                    </a:cubicBezTo>
                    <a:cubicBezTo>
                      <a:pt x="45" y="552"/>
                      <a:pt x="45" y="552"/>
                      <a:pt x="45" y="552"/>
                    </a:cubicBezTo>
                    <a:cubicBezTo>
                      <a:pt x="46" y="553"/>
                      <a:pt x="46" y="553"/>
                      <a:pt x="46" y="553"/>
                    </a:cubicBezTo>
                    <a:cubicBezTo>
                      <a:pt x="48" y="551"/>
                      <a:pt x="48" y="551"/>
                      <a:pt x="48" y="551"/>
                    </a:cubicBezTo>
                    <a:cubicBezTo>
                      <a:pt x="49" y="553"/>
                      <a:pt x="50" y="555"/>
                      <a:pt x="51" y="557"/>
                    </a:cubicBezTo>
                    <a:cubicBezTo>
                      <a:pt x="48" y="558"/>
                      <a:pt x="48" y="558"/>
                      <a:pt x="48" y="558"/>
                    </a:cubicBezTo>
                    <a:cubicBezTo>
                      <a:pt x="49" y="559"/>
                      <a:pt x="49" y="559"/>
                      <a:pt x="49" y="559"/>
                    </a:cubicBezTo>
                    <a:cubicBezTo>
                      <a:pt x="51" y="557"/>
                      <a:pt x="51" y="557"/>
                      <a:pt x="51" y="557"/>
                    </a:cubicBezTo>
                    <a:cubicBezTo>
                      <a:pt x="52" y="559"/>
                      <a:pt x="53" y="561"/>
                      <a:pt x="54" y="563"/>
                    </a:cubicBezTo>
                    <a:cubicBezTo>
                      <a:pt x="51" y="564"/>
                      <a:pt x="51" y="564"/>
                      <a:pt x="51" y="564"/>
                    </a:cubicBezTo>
                    <a:cubicBezTo>
                      <a:pt x="52" y="565"/>
                      <a:pt x="52" y="565"/>
                      <a:pt x="52" y="565"/>
                    </a:cubicBezTo>
                    <a:cubicBezTo>
                      <a:pt x="54" y="563"/>
                      <a:pt x="54" y="563"/>
                      <a:pt x="54" y="563"/>
                    </a:cubicBezTo>
                    <a:cubicBezTo>
                      <a:pt x="55" y="565"/>
                      <a:pt x="56" y="567"/>
                      <a:pt x="57" y="568"/>
                    </a:cubicBezTo>
                    <a:cubicBezTo>
                      <a:pt x="54" y="570"/>
                      <a:pt x="54" y="570"/>
                      <a:pt x="54" y="570"/>
                    </a:cubicBezTo>
                    <a:cubicBezTo>
                      <a:pt x="55" y="571"/>
                      <a:pt x="55" y="571"/>
                      <a:pt x="55" y="571"/>
                    </a:cubicBezTo>
                    <a:cubicBezTo>
                      <a:pt x="57" y="569"/>
                      <a:pt x="57" y="569"/>
                      <a:pt x="57" y="569"/>
                    </a:cubicBezTo>
                    <a:cubicBezTo>
                      <a:pt x="58" y="571"/>
                      <a:pt x="59" y="573"/>
                      <a:pt x="60" y="574"/>
                    </a:cubicBezTo>
                    <a:cubicBezTo>
                      <a:pt x="58" y="576"/>
                      <a:pt x="58" y="576"/>
                      <a:pt x="58" y="576"/>
                    </a:cubicBezTo>
                    <a:cubicBezTo>
                      <a:pt x="58" y="576"/>
                      <a:pt x="58" y="576"/>
                      <a:pt x="58" y="576"/>
                    </a:cubicBezTo>
                    <a:cubicBezTo>
                      <a:pt x="60" y="575"/>
                      <a:pt x="60" y="575"/>
                      <a:pt x="60" y="575"/>
                    </a:cubicBezTo>
                    <a:cubicBezTo>
                      <a:pt x="61" y="577"/>
                      <a:pt x="62" y="578"/>
                      <a:pt x="63" y="580"/>
                    </a:cubicBezTo>
                    <a:cubicBezTo>
                      <a:pt x="58" y="582"/>
                      <a:pt x="58" y="582"/>
                      <a:pt x="58" y="582"/>
                    </a:cubicBezTo>
                    <a:cubicBezTo>
                      <a:pt x="59" y="583"/>
                      <a:pt x="59" y="583"/>
                      <a:pt x="59" y="583"/>
                    </a:cubicBezTo>
                    <a:cubicBezTo>
                      <a:pt x="52" y="587"/>
                      <a:pt x="52" y="587"/>
                      <a:pt x="52" y="587"/>
                    </a:cubicBezTo>
                    <a:cubicBezTo>
                      <a:pt x="52" y="587"/>
                      <a:pt x="52" y="587"/>
                      <a:pt x="52" y="587"/>
                    </a:cubicBezTo>
                    <a:cubicBezTo>
                      <a:pt x="59" y="583"/>
                      <a:pt x="59" y="583"/>
                      <a:pt x="59" y="583"/>
                    </a:cubicBezTo>
                    <a:cubicBezTo>
                      <a:pt x="59" y="584"/>
                      <a:pt x="59" y="584"/>
                      <a:pt x="59" y="584"/>
                    </a:cubicBezTo>
                    <a:cubicBezTo>
                      <a:pt x="64" y="581"/>
                      <a:pt x="64" y="581"/>
                      <a:pt x="64" y="581"/>
                    </a:cubicBezTo>
                    <a:cubicBezTo>
                      <a:pt x="65" y="583"/>
                      <a:pt x="66" y="584"/>
                      <a:pt x="67" y="586"/>
                    </a:cubicBezTo>
                    <a:cubicBezTo>
                      <a:pt x="64" y="587"/>
                      <a:pt x="64" y="587"/>
                      <a:pt x="64" y="587"/>
                    </a:cubicBezTo>
                    <a:cubicBezTo>
                      <a:pt x="65" y="588"/>
                      <a:pt x="65" y="588"/>
                      <a:pt x="65" y="588"/>
                    </a:cubicBezTo>
                    <a:cubicBezTo>
                      <a:pt x="67" y="586"/>
                      <a:pt x="67" y="586"/>
                      <a:pt x="67" y="586"/>
                    </a:cubicBezTo>
                    <a:cubicBezTo>
                      <a:pt x="68" y="588"/>
                      <a:pt x="69" y="590"/>
                      <a:pt x="70" y="591"/>
                    </a:cubicBezTo>
                    <a:cubicBezTo>
                      <a:pt x="68" y="593"/>
                      <a:pt x="68" y="593"/>
                      <a:pt x="68" y="593"/>
                    </a:cubicBezTo>
                    <a:cubicBezTo>
                      <a:pt x="68" y="594"/>
                      <a:pt x="68" y="594"/>
                      <a:pt x="68" y="594"/>
                    </a:cubicBezTo>
                    <a:cubicBezTo>
                      <a:pt x="70" y="592"/>
                      <a:pt x="70" y="592"/>
                      <a:pt x="70" y="592"/>
                    </a:cubicBezTo>
                    <a:cubicBezTo>
                      <a:pt x="72" y="594"/>
                      <a:pt x="73" y="595"/>
                      <a:pt x="74" y="597"/>
                    </a:cubicBezTo>
                    <a:cubicBezTo>
                      <a:pt x="71" y="599"/>
                      <a:pt x="71" y="599"/>
                      <a:pt x="71" y="599"/>
                    </a:cubicBezTo>
                    <a:cubicBezTo>
                      <a:pt x="72" y="599"/>
                      <a:pt x="72" y="599"/>
                      <a:pt x="72" y="599"/>
                    </a:cubicBezTo>
                    <a:cubicBezTo>
                      <a:pt x="74" y="598"/>
                      <a:pt x="74" y="598"/>
                      <a:pt x="74" y="598"/>
                    </a:cubicBezTo>
                    <a:cubicBezTo>
                      <a:pt x="75" y="599"/>
                      <a:pt x="76" y="601"/>
                      <a:pt x="77" y="602"/>
                    </a:cubicBezTo>
                    <a:cubicBezTo>
                      <a:pt x="75" y="604"/>
                      <a:pt x="75" y="604"/>
                      <a:pt x="75" y="604"/>
                    </a:cubicBezTo>
                    <a:cubicBezTo>
                      <a:pt x="75" y="605"/>
                      <a:pt x="75" y="605"/>
                      <a:pt x="75" y="605"/>
                    </a:cubicBezTo>
                    <a:cubicBezTo>
                      <a:pt x="78" y="603"/>
                      <a:pt x="78" y="603"/>
                      <a:pt x="78" y="603"/>
                    </a:cubicBezTo>
                    <a:cubicBezTo>
                      <a:pt x="79" y="605"/>
                      <a:pt x="80" y="606"/>
                      <a:pt x="81" y="608"/>
                    </a:cubicBezTo>
                    <a:cubicBezTo>
                      <a:pt x="79" y="610"/>
                      <a:pt x="79" y="610"/>
                      <a:pt x="79" y="610"/>
                    </a:cubicBezTo>
                    <a:cubicBezTo>
                      <a:pt x="79" y="610"/>
                      <a:pt x="79" y="610"/>
                      <a:pt x="79" y="610"/>
                    </a:cubicBezTo>
                    <a:cubicBezTo>
                      <a:pt x="81" y="609"/>
                      <a:pt x="81" y="609"/>
                      <a:pt x="81" y="609"/>
                    </a:cubicBezTo>
                    <a:cubicBezTo>
                      <a:pt x="83" y="610"/>
                      <a:pt x="84" y="612"/>
                      <a:pt x="85" y="613"/>
                    </a:cubicBezTo>
                    <a:cubicBezTo>
                      <a:pt x="82" y="615"/>
                      <a:pt x="82" y="615"/>
                      <a:pt x="82" y="615"/>
                    </a:cubicBezTo>
                    <a:cubicBezTo>
                      <a:pt x="83" y="616"/>
                      <a:pt x="83" y="616"/>
                      <a:pt x="83" y="616"/>
                    </a:cubicBezTo>
                    <a:cubicBezTo>
                      <a:pt x="85" y="614"/>
                      <a:pt x="85" y="614"/>
                      <a:pt x="85" y="614"/>
                    </a:cubicBezTo>
                    <a:cubicBezTo>
                      <a:pt x="86" y="615"/>
                      <a:pt x="88" y="617"/>
                      <a:pt x="89" y="619"/>
                    </a:cubicBezTo>
                    <a:cubicBezTo>
                      <a:pt x="86" y="620"/>
                      <a:pt x="86" y="620"/>
                      <a:pt x="86" y="620"/>
                    </a:cubicBezTo>
                    <a:cubicBezTo>
                      <a:pt x="87" y="621"/>
                      <a:pt x="87" y="621"/>
                      <a:pt x="87" y="621"/>
                    </a:cubicBezTo>
                    <a:cubicBezTo>
                      <a:pt x="89" y="619"/>
                      <a:pt x="89" y="619"/>
                      <a:pt x="89" y="619"/>
                    </a:cubicBezTo>
                    <a:cubicBezTo>
                      <a:pt x="90" y="621"/>
                      <a:pt x="92" y="622"/>
                      <a:pt x="93" y="624"/>
                    </a:cubicBezTo>
                    <a:cubicBezTo>
                      <a:pt x="90" y="626"/>
                      <a:pt x="90" y="626"/>
                      <a:pt x="90" y="626"/>
                    </a:cubicBezTo>
                    <a:cubicBezTo>
                      <a:pt x="91" y="626"/>
                      <a:pt x="91" y="626"/>
                      <a:pt x="91" y="626"/>
                    </a:cubicBezTo>
                    <a:cubicBezTo>
                      <a:pt x="93" y="624"/>
                      <a:pt x="93" y="624"/>
                      <a:pt x="93" y="624"/>
                    </a:cubicBezTo>
                    <a:cubicBezTo>
                      <a:pt x="94" y="626"/>
                      <a:pt x="96" y="627"/>
                      <a:pt x="97" y="629"/>
                    </a:cubicBezTo>
                    <a:cubicBezTo>
                      <a:pt x="95" y="631"/>
                      <a:pt x="95" y="631"/>
                      <a:pt x="95" y="631"/>
                    </a:cubicBezTo>
                    <a:cubicBezTo>
                      <a:pt x="95" y="631"/>
                      <a:pt x="95" y="631"/>
                      <a:pt x="95" y="631"/>
                    </a:cubicBezTo>
                    <a:cubicBezTo>
                      <a:pt x="97" y="630"/>
                      <a:pt x="97" y="630"/>
                      <a:pt x="97" y="630"/>
                    </a:cubicBezTo>
                    <a:cubicBezTo>
                      <a:pt x="99" y="631"/>
                      <a:pt x="100" y="632"/>
                      <a:pt x="101" y="634"/>
                    </a:cubicBezTo>
                    <a:cubicBezTo>
                      <a:pt x="97" y="637"/>
                      <a:pt x="97" y="637"/>
                      <a:pt x="97" y="637"/>
                    </a:cubicBezTo>
                    <a:cubicBezTo>
                      <a:pt x="97" y="638"/>
                      <a:pt x="97" y="638"/>
                      <a:pt x="97" y="638"/>
                    </a:cubicBezTo>
                    <a:cubicBezTo>
                      <a:pt x="91" y="643"/>
                      <a:pt x="91" y="643"/>
                      <a:pt x="91" y="643"/>
                    </a:cubicBezTo>
                    <a:cubicBezTo>
                      <a:pt x="91" y="643"/>
                      <a:pt x="91" y="643"/>
                      <a:pt x="91" y="643"/>
                    </a:cubicBezTo>
                    <a:cubicBezTo>
                      <a:pt x="97" y="638"/>
                      <a:pt x="97" y="638"/>
                      <a:pt x="97" y="638"/>
                    </a:cubicBezTo>
                    <a:cubicBezTo>
                      <a:pt x="98" y="639"/>
                      <a:pt x="98" y="639"/>
                      <a:pt x="98" y="639"/>
                    </a:cubicBezTo>
                    <a:cubicBezTo>
                      <a:pt x="102" y="635"/>
                      <a:pt x="102" y="635"/>
                      <a:pt x="102" y="635"/>
                    </a:cubicBezTo>
                    <a:cubicBezTo>
                      <a:pt x="103" y="636"/>
                      <a:pt x="104" y="638"/>
                      <a:pt x="105" y="639"/>
                    </a:cubicBezTo>
                    <a:cubicBezTo>
                      <a:pt x="103" y="641"/>
                      <a:pt x="103" y="641"/>
                      <a:pt x="103" y="641"/>
                    </a:cubicBezTo>
                    <a:cubicBezTo>
                      <a:pt x="104" y="642"/>
                      <a:pt x="104" y="642"/>
                      <a:pt x="104" y="642"/>
                    </a:cubicBezTo>
                    <a:cubicBezTo>
                      <a:pt x="106" y="640"/>
                      <a:pt x="106" y="640"/>
                      <a:pt x="106" y="640"/>
                    </a:cubicBezTo>
                    <a:cubicBezTo>
                      <a:pt x="107" y="641"/>
                      <a:pt x="108" y="643"/>
                      <a:pt x="110" y="644"/>
                    </a:cubicBezTo>
                    <a:cubicBezTo>
                      <a:pt x="108" y="646"/>
                      <a:pt x="108" y="646"/>
                      <a:pt x="108" y="646"/>
                    </a:cubicBezTo>
                    <a:cubicBezTo>
                      <a:pt x="108" y="647"/>
                      <a:pt x="108" y="647"/>
                      <a:pt x="108" y="647"/>
                    </a:cubicBezTo>
                    <a:cubicBezTo>
                      <a:pt x="110" y="645"/>
                      <a:pt x="110" y="645"/>
                      <a:pt x="110" y="645"/>
                    </a:cubicBezTo>
                    <a:cubicBezTo>
                      <a:pt x="112" y="646"/>
                      <a:pt x="113" y="647"/>
                      <a:pt x="114" y="649"/>
                    </a:cubicBezTo>
                    <a:cubicBezTo>
                      <a:pt x="112" y="651"/>
                      <a:pt x="112" y="651"/>
                      <a:pt x="112" y="651"/>
                    </a:cubicBezTo>
                    <a:cubicBezTo>
                      <a:pt x="113" y="651"/>
                      <a:pt x="113" y="651"/>
                      <a:pt x="113" y="651"/>
                    </a:cubicBezTo>
                    <a:cubicBezTo>
                      <a:pt x="115" y="649"/>
                      <a:pt x="115" y="649"/>
                      <a:pt x="115" y="649"/>
                    </a:cubicBezTo>
                    <a:cubicBezTo>
                      <a:pt x="116" y="651"/>
                      <a:pt x="117" y="652"/>
                      <a:pt x="119" y="654"/>
                    </a:cubicBezTo>
                    <a:cubicBezTo>
                      <a:pt x="117" y="656"/>
                      <a:pt x="117" y="656"/>
                      <a:pt x="117" y="656"/>
                    </a:cubicBezTo>
                    <a:cubicBezTo>
                      <a:pt x="117" y="656"/>
                      <a:pt x="117" y="656"/>
                      <a:pt x="117" y="656"/>
                    </a:cubicBezTo>
                    <a:cubicBezTo>
                      <a:pt x="119" y="654"/>
                      <a:pt x="119" y="654"/>
                      <a:pt x="119" y="654"/>
                    </a:cubicBezTo>
                    <a:cubicBezTo>
                      <a:pt x="121" y="656"/>
                      <a:pt x="122" y="657"/>
                      <a:pt x="123" y="658"/>
                    </a:cubicBezTo>
                    <a:cubicBezTo>
                      <a:pt x="121" y="661"/>
                      <a:pt x="121" y="661"/>
                      <a:pt x="121" y="661"/>
                    </a:cubicBezTo>
                    <a:cubicBezTo>
                      <a:pt x="122" y="661"/>
                      <a:pt x="122" y="661"/>
                      <a:pt x="122" y="661"/>
                    </a:cubicBezTo>
                    <a:cubicBezTo>
                      <a:pt x="124" y="659"/>
                      <a:pt x="124" y="659"/>
                      <a:pt x="124" y="659"/>
                    </a:cubicBezTo>
                    <a:cubicBezTo>
                      <a:pt x="125" y="660"/>
                      <a:pt x="127" y="662"/>
                      <a:pt x="128" y="663"/>
                    </a:cubicBezTo>
                    <a:cubicBezTo>
                      <a:pt x="126" y="665"/>
                      <a:pt x="126" y="665"/>
                      <a:pt x="126" y="665"/>
                    </a:cubicBezTo>
                    <a:cubicBezTo>
                      <a:pt x="127" y="666"/>
                      <a:pt x="127" y="666"/>
                      <a:pt x="127" y="666"/>
                    </a:cubicBezTo>
                    <a:cubicBezTo>
                      <a:pt x="129" y="664"/>
                      <a:pt x="129" y="664"/>
                      <a:pt x="129" y="664"/>
                    </a:cubicBezTo>
                    <a:cubicBezTo>
                      <a:pt x="130" y="665"/>
                      <a:pt x="131" y="666"/>
                      <a:pt x="133" y="668"/>
                    </a:cubicBezTo>
                    <a:cubicBezTo>
                      <a:pt x="131" y="670"/>
                      <a:pt x="131" y="670"/>
                      <a:pt x="131" y="670"/>
                    </a:cubicBezTo>
                    <a:cubicBezTo>
                      <a:pt x="131" y="670"/>
                      <a:pt x="131" y="670"/>
                      <a:pt x="131" y="670"/>
                    </a:cubicBezTo>
                    <a:cubicBezTo>
                      <a:pt x="133" y="668"/>
                      <a:pt x="133" y="668"/>
                      <a:pt x="133" y="668"/>
                    </a:cubicBezTo>
                    <a:cubicBezTo>
                      <a:pt x="135" y="669"/>
                      <a:pt x="136" y="671"/>
                      <a:pt x="138" y="672"/>
                    </a:cubicBezTo>
                    <a:cubicBezTo>
                      <a:pt x="136" y="674"/>
                      <a:pt x="136" y="674"/>
                      <a:pt x="136" y="674"/>
                    </a:cubicBezTo>
                    <a:cubicBezTo>
                      <a:pt x="136" y="675"/>
                      <a:pt x="136" y="675"/>
                      <a:pt x="136" y="675"/>
                    </a:cubicBezTo>
                    <a:cubicBezTo>
                      <a:pt x="138" y="673"/>
                      <a:pt x="138" y="673"/>
                      <a:pt x="138" y="673"/>
                    </a:cubicBezTo>
                    <a:cubicBezTo>
                      <a:pt x="140" y="674"/>
                      <a:pt x="141" y="675"/>
                      <a:pt x="143" y="676"/>
                    </a:cubicBezTo>
                    <a:cubicBezTo>
                      <a:pt x="141" y="679"/>
                      <a:pt x="141" y="679"/>
                      <a:pt x="141" y="679"/>
                    </a:cubicBezTo>
                    <a:cubicBezTo>
                      <a:pt x="141" y="679"/>
                      <a:pt x="141" y="679"/>
                      <a:pt x="141" y="679"/>
                    </a:cubicBezTo>
                    <a:cubicBezTo>
                      <a:pt x="143" y="677"/>
                      <a:pt x="143" y="677"/>
                      <a:pt x="143" y="677"/>
                    </a:cubicBezTo>
                    <a:cubicBezTo>
                      <a:pt x="145" y="678"/>
                      <a:pt x="146" y="679"/>
                      <a:pt x="147" y="680"/>
                    </a:cubicBezTo>
                    <a:cubicBezTo>
                      <a:pt x="144" y="685"/>
                      <a:pt x="144" y="685"/>
                      <a:pt x="144" y="685"/>
                    </a:cubicBezTo>
                    <a:cubicBezTo>
                      <a:pt x="144" y="685"/>
                      <a:pt x="144" y="685"/>
                      <a:pt x="144" y="685"/>
                    </a:cubicBezTo>
                    <a:cubicBezTo>
                      <a:pt x="139" y="691"/>
                      <a:pt x="139" y="691"/>
                      <a:pt x="139" y="691"/>
                    </a:cubicBezTo>
                    <a:cubicBezTo>
                      <a:pt x="140" y="691"/>
                      <a:pt x="140" y="691"/>
                      <a:pt x="140" y="691"/>
                    </a:cubicBezTo>
                    <a:cubicBezTo>
                      <a:pt x="145" y="685"/>
                      <a:pt x="145" y="685"/>
                      <a:pt x="145" y="685"/>
                    </a:cubicBezTo>
                    <a:cubicBezTo>
                      <a:pt x="145" y="686"/>
                      <a:pt x="145" y="686"/>
                      <a:pt x="145" y="686"/>
                    </a:cubicBezTo>
                    <a:cubicBezTo>
                      <a:pt x="149" y="682"/>
                      <a:pt x="149" y="682"/>
                      <a:pt x="149" y="682"/>
                    </a:cubicBezTo>
                    <a:cubicBezTo>
                      <a:pt x="150" y="683"/>
                      <a:pt x="151" y="684"/>
                      <a:pt x="153" y="685"/>
                    </a:cubicBezTo>
                    <a:cubicBezTo>
                      <a:pt x="151" y="687"/>
                      <a:pt x="151" y="687"/>
                      <a:pt x="151" y="687"/>
                    </a:cubicBezTo>
                    <a:cubicBezTo>
                      <a:pt x="151" y="688"/>
                      <a:pt x="151" y="688"/>
                      <a:pt x="151" y="688"/>
                    </a:cubicBezTo>
                    <a:cubicBezTo>
                      <a:pt x="153" y="685"/>
                      <a:pt x="153" y="685"/>
                      <a:pt x="153" y="685"/>
                    </a:cubicBezTo>
                    <a:cubicBezTo>
                      <a:pt x="155" y="687"/>
                      <a:pt x="156" y="688"/>
                      <a:pt x="158" y="689"/>
                    </a:cubicBezTo>
                    <a:cubicBezTo>
                      <a:pt x="156" y="691"/>
                      <a:pt x="156" y="691"/>
                      <a:pt x="156" y="691"/>
                    </a:cubicBezTo>
                    <a:cubicBezTo>
                      <a:pt x="157" y="692"/>
                      <a:pt x="157" y="692"/>
                      <a:pt x="157" y="692"/>
                    </a:cubicBezTo>
                    <a:cubicBezTo>
                      <a:pt x="158" y="690"/>
                      <a:pt x="158" y="690"/>
                      <a:pt x="158" y="690"/>
                    </a:cubicBezTo>
                    <a:cubicBezTo>
                      <a:pt x="160" y="691"/>
                      <a:pt x="162" y="692"/>
                      <a:pt x="163" y="693"/>
                    </a:cubicBezTo>
                    <a:cubicBezTo>
                      <a:pt x="161" y="695"/>
                      <a:pt x="161" y="695"/>
                      <a:pt x="161" y="695"/>
                    </a:cubicBezTo>
                    <a:cubicBezTo>
                      <a:pt x="162" y="696"/>
                      <a:pt x="162" y="696"/>
                      <a:pt x="162" y="696"/>
                    </a:cubicBezTo>
                    <a:cubicBezTo>
                      <a:pt x="164" y="694"/>
                      <a:pt x="164" y="694"/>
                      <a:pt x="164" y="694"/>
                    </a:cubicBezTo>
                    <a:cubicBezTo>
                      <a:pt x="165" y="695"/>
                      <a:pt x="167" y="696"/>
                      <a:pt x="168" y="697"/>
                    </a:cubicBezTo>
                    <a:cubicBezTo>
                      <a:pt x="167" y="699"/>
                      <a:pt x="167" y="699"/>
                      <a:pt x="167" y="699"/>
                    </a:cubicBezTo>
                    <a:cubicBezTo>
                      <a:pt x="167" y="700"/>
                      <a:pt x="167" y="700"/>
                      <a:pt x="167" y="700"/>
                    </a:cubicBezTo>
                    <a:cubicBezTo>
                      <a:pt x="169" y="697"/>
                      <a:pt x="169" y="697"/>
                      <a:pt x="169" y="697"/>
                    </a:cubicBezTo>
                    <a:cubicBezTo>
                      <a:pt x="171" y="699"/>
                      <a:pt x="172" y="700"/>
                      <a:pt x="174" y="701"/>
                    </a:cubicBezTo>
                    <a:cubicBezTo>
                      <a:pt x="172" y="703"/>
                      <a:pt x="172" y="703"/>
                      <a:pt x="172" y="703"/>
                    </a:cubicBezTo>
                    <a:cubicBezTo>
                      <a:pt x="173" y="704"/>
                      <a:pt x="173" y="704"/>
                      <a:pt x="173" y="704"/>
                    </a:cubicBezTo>
                    <a:cubicBezTo>
                      <a:pt x="174" y="701"/>
                      <a:pt x="174" y="701"/>
                      <a:pt x="174" y="701"/>
                    </a:cubicBezTo>
                    <a:cubicBezTo>
                      <a:pt x="176" y="702"/>
                      <a:pt x="178" y="704"/>
                      <a:pt x="179" y="705"/>
                    </a:cubicBezTo>
                    <a:cubicBezTo>
                      <a:pt x="178" y="707"/>
                      <a:pt x="178" y="707"/>
                      <a:pt x="178" y="707"/>
                    </a:cubicBezTo>
                    <a:cubicBezTo>
                      <a:pt x="178" y="708"/>
                      <a:pt x="178" y="708"/>
                      <a:pt x="178" y="708"/>
                    </a:cubicBezTo>
                    <a:cubicBezTo>
                      <a:pt x="180" y="705"/>
                      <a:pt x="180" y="705"/>
                      <a:pt x="180" y="705"/>
                    </a:cubicBezTo>
                    <a:cubicBezTo>
                      <a:pt x="181" y="706"/>
                      <a:pt x="183" y="707"/>
                      <a:pt x="185" y="708"/>
                    </a:cubicBezTo>
                    <a:cubicBezTo>
                      <a:pt x="183" y="711"/>
                      <a:pt x="183" y="711"/>
                      <a:pt x="183" y="711"/>
                    </a:cubicBezTo>
                    <a:cubicBezTo>
                      <a:pt x="184" y="711"/>
                      <a:pt x="184" y="711"/>
                      <a:pt x="184" y="711"/>
                    </a:cubicBezTo>
                    <a:cubicBezTo>
                      <a:pt x="185" y="709"/>
                      <a:pt x="185" y="709"/>
                      <a:pt x="185" y="709"/>
                    </a:cubicBezTo>
                    <a:cubicBezTo>
                      <a:pt x="187" y="710"/>
                      <a:pt x="189" y="711"/>
                      <a:pt x="190" y="712"/>
                    </a:cubicBezTo>
                    <a:cubicBezTo>
                      <a:pt x="189" y="714"/>
                      <a:pt x="189" y="714"/>
                      <a:pt x="189" y="714"/>
                    </a:cubicBezTo>
                    <a:cubicBezTo>
                      <a:pt x="189" y="715"/>
                      <a:pt x="189" y="715"/>
                      <a:pt x="189" y="715"/>
                    </a:cubicBezTo>
                    <a:cubicBezTo>
                      <a:pt x="191" y="712"/>
                      <a:pt x="191" y="712"/>
                      <a:pt x="191" y="712"/>
                    </a:cubicBezTo>
                    <a:cubicBezTo>
                      <a:pt x="193" y="713"/>
                      <a:pt x="194" y="714"/>
                      <a:pt x="196" y="715"/>
                    </a:cubicBezTo>
                    <a:cubicBezTo>
                      <a:pt x="194" y="718"/>
                      <a:pt x="194" y="718"/>
                      <a:pt x="194" y="718"/>
                    </a:cubicBezTo>
                    <a:cubicBezTo>
                      <a:pt x="195" y="718"/>
                      <a:pt x="195" y="718"/>
                      <a:pt x="195" y="718"/>
                    </a:cubicBezTo>
                    <a:cubicBezTo>
                      <a:pt x="196" y="716"/>
                      <a:pt x="196" y="716"/>
                      <a:pt x="196" y="716"/>
                    </a:cubicBezTo>
                    <a:cubicBezTo>
                      <a:pt x="198" y="717"/>
                      <a:pt x="200" y="718"/>
                      <a:pt x="201" y="718"/>
                    </a:cubicBezTo>
                    <a:cubicBezTo>
                      <a:pt x="198" y="723"/>
                      <a:pt x="198" y="723"/>
                      <a:pt x="198" y="723"/>
                    </a:cubicBezTo>
                    <a:cubicBezTo>
                      <a:pt x="199" y="723"/>
                      <a:pt x="199" y="723"/>
                      <a:pt x="199" y="723"/>
                    </a:cubicBezTo>
                    <a:cubicBezTo>
                      <a:pt x="195" y="730"/>
                      <a:pt x="195" y="730"/>
                      <a:pt x="195" y="730"/>
                    </a:cubicBezTo>
                    <a:cubicBezTo>
                      <a:pt x="196" y="730"/>
                      <a:pt x="196" y="730"/>
                      <a:pt x="196" y="730"/>
                    </a:cubicBezTo>
                    <a:cubicBezTo>
                      <a:pt x="199" y="724"/>
                      <a:pt x="199" y="724"/>
                      <a:pt x="199" y="724"/>
                    </a:cubicBezTo>
                    <a:cubicBezTo>
                      <a:pt x="200" y="724"/>
                      <a:pt x="200" y="724"/>
                      <a:pt x="200" y="724"/>
                    </a:cubicBezTo>
                    <a:cubicBezTo>
                      <a:pt x="203" y="719"/>
                      <a:pt x="203" y="719"/>
                      <a:pt x="203" y="719"/>
                    </a:cubicBezTo>
                    <a:cubicBezTo>
                      <a:pt x="204" y="720"/>
                      <a:pt x="206" y="721"/>
                      <a:pt x="207" y="722"/>
                    </a:cubicBezTo>
                    <a:cubicBezTo>
                      <a:pt x="206" y="724"/>
                      <a:pt x="206" y="724"/>
                      <a:pt x="206" y="724"/>
                    </a:cubicBezTo>
                    <a:cubicBezTo>
                      <a:pt x="207" y="725"/>
                      <a:pt x="207" y="725"/>
                      <a:pt x="207" y="725"/>
                    </a:cubicBezTo>
                    <a:cubicBezTo>
                      <a:pt x="208" y="722"/>
                      <a:pt x="208" y="722"/>
                      <a:pt x="208" y="722"/>
                    </a:cubicBezTo>
                    <a:cubicBezTo>
                      <a:pt x="210" y="723"/>
                      <a:pt x="211" y="724"/>
                      <a:pt x="213" y="725"/>
                    </a:cubicBezTo>
                    <a:cubicBezTo>
                      <a:pt x="212" y="728"/>
                      <a:pt x="212" y="728"/>
                      <a:pt x="212" y="728"/>
                    </a:cubicBezTo>
                    <a:cubicBezTo>
                      <a:pt x="212" y="728"/>
                      <a:pt x="212" y="728"/>
                      <a:pt x="212" y="728"/>
                    </a:cubicBezTo>
                    <a:cubicBezTo>
                      <a:pt x="214" y="726"/>
                      <a:pt x="214" y="726"/>
                      <a:pt x="214" y="726"/>
                    </a:cubicBezTo>
                    <a:cubicBezTo>
                      <a:pt x="215" y="726"/>
                      <a:pt x="217" y="727"/>
                      <a:pt x="219" y="728"/>
                    </a:cubicBezTo>
                    <a:cubicBezTo>
                      <a:pt x="218" y="731"/>
                      <a:pt x="218" y="731"/>
                      <a:pt x="218" y="731"/>
                    </a:cubicBezTo>
                    <a:cubicBezTo>
                      <a:pt x="218" y="731"/>
                      <a:pt x="218" y="731"/>
                      <a:pt x="218" y="731"/>
                    </a:cubicBezTo>
                    <a:cubicBezTo>
                      <a:pt x="220" y="729"/>
                      <a:pt x="220" y="729"/>
                      <a:pt x="220" y="729"/>
                    </a:cubicBezTo>
                    <a:cubicBezTo>
                      <a:pt x="221" y="729"/>
                      <a:pt x="223" y="730"/>
                      <a:pt x="225" y="731"/>
                    </a:cubicBezTo>
                    <a:cubicBezTo>
                      <a:pt x="224" y="734"/>
                      <a:pt x="224" y="734"/>
                      <a:pt x="224" y="734"/>
                    </a:cubicBezTo>
                    <a:cubicBezTo>
                      <a:pt x="224" y="734"/>
                      <a:pt x="224" y="734"/>
                      <a:pt x="224" y="734"/>
                    </a:cubicBezTo>
                    <a:cubicBezTo>
                      <a:pt x="225" y="731"/>
                      <a:pt x="225" y="731"/>
                      <a:pt x="225" y="731"/>
                    </a:cubicBezTo>
                    <a:cubicBezTo>
                      <a:pt x="227" y="732"/>
                      <a:pt x="229" y="733"/>
                      <a:pt x="231" y="734"/>
                    </a:cubicBezTo>
                    <a:cubicBezTo>
                      <a:pt x="230" y="737"/>
                      <a:pt x="230" y="737"/>
                      <a:pt x="230" y="737"/>
                    </a:cubicBezTo>
                    <a:cubicBezTo>
                      <a:pt x="230" y="737"/>
                      <a:pt x="230" y="737"/>
                      <a:pt x="230" y="737"/>
                    </a:cubicBezTo>
                    <a:cubicBezTo>
                      <a:pt x="231" y="734"/>
                      <a:pt x="231" y="734"/>
                      <a:pt x="231" y="734"/>
                    </a:cubicBezTo>
                    <a:cubicBezTo>
                      <a:pt x="233" y="735"/>
                      <a:pt x="235" y="736"/>
                      <a:pt x="237" y="737"/>
                    </a:cubicBezTo>
                    <a:cubicBezTo>
                      <a:pt x="236" y="739"/>
                      <a:pt x="236" y="739"/>
                      <a:pt x="236" y="739"/>
                    </a:cubicBezTo>
                    <a:cubicBezTo>
                      <a:pt x="236" y="740"/>
                      <a:pt x="236" y="740"/>
                      <a:pt x="236" y="740"/>
                    </a:cubicBezTo>
                    <a:cubicBezTo>
                      <a:pt x="237" y="737"/>
                      <a:pt x="237" y="737"/>
                      <a:pt x="237" y="737"/>
                    </a:cubicBezTo>
                    <a:cubicBezTo>
                      <a:pt x="239" y="738"/>
                      <a:pt x="241" y="739"/>
                      <a:pt x="243" y="739"/>
                    </a:cubicBezTo>
                    <a:cubicBezTo>
                      <a:pt x="242" y="742"/>
                      <a:pt x="242" y="742"/>
                      <a:pt x="242" y="742"/>
                    </a:cubicBezTo>
                    <a:cubicBezTo>
                      <a:pt x="242" y="742"/>
                      <a:pt x="242" y="742"/>
                      <a:pt x="242" y="742"/>
                    </a:cubicBezTo>
                    <a:cubicBezTo>
                      <a:pt x="243" y="740"/>
                      <a:pt x="243" y="740"/>
                      <a:pt x="243" y="740"/>
                    </a:cubicBezTo>
                    <a:cubicBezTo>
                      <a:pt x="245" y="740"/>
                      <a:pt x="247" y="741"/>
                      <a:pt x="249" y="742"/>
                    </a:cubicBezTo>
                    <a:cubicBezTo>
                      <a:pt x="248" y="745"/>
                      <a:pt x="248" y="745"/>
                      <a:pt x="248" y="745"/>
                    </a:cubicBezTo>
                    <a:cubicBezTo>
                      <a:pt x="249" y="745"/>
                      <a:pt x="249" y="745"/>
                      <a:pt x="249" y="745"/>
                    </a:cubicBezTo>
                    <a:cubicBezTo>
                      <a:pt x="250" y="742"/>
                      <a:pt x="250" y="742"/>
                      <a:pt x="250" y="742"/>
                    </a:cubicBezTo>
                    <a:cubicBezTo>
                      <a:pt x="251" y="743"/>
                      <a:pt x="253" y="744"/>
                      <a:pt x="255" y="744"/>
                    </a:cubicBezTo>
                    <a:cubicBezTo>
                      <a:pt x="254" y="747"/>
                      <a:pt x="254" y="747"/>
                      <a:pt x="254" y="747"/>
                    </a:cubicBezTo>
                    <a:cubicBezTo>
                      <a:pt x="255" y="747"/>
                      <a:pt x="255" y="747"/>
                      <a:pt x="255" y="747"/>
                    </a:cubicBezTo>
                    <a:cubicBezTo>
                      <a:pt x="256" y="745"/>
                      <a:pt x="256" y="745"/>
                      <a:pt x="256" y="745"/>
                    </a:cubicBezTo>
                    <a:cubicBezTo>
                      <a:pt x="257" y="745"/>
                      <a:pt x="259" y="746"/>
                      <a:pt x="261" y="746"/>
                    </a:cubicBezTo>
                    <a:cubicBezTo>
                      <a:pt x="259" y="752"/>
                      <a:pt x="259" y="752"/>
                      <a:pt x="259" y="752"/>
                    </a:cubicBezTo>
                    <a:cubicBezTo>
                      <a:pt x="259" y="752"/>
                      <a:pt x="259" y="752"/>
                      <a:pt x="259" y="752"/>
                    </a:cubicBezTo>
                    <a:cubicBezTo>
                      <a:pt x="257" y="759"/>
                      <a:pt x="257" y="759"/>
                      <a:pt x="257" y="759"/>
                    </a:cubicBezTo>
                    <a:cubicBezTo>
                      <a:pt x="257" y="759"/>
                      <a:pt x="257" y="759"/>
                      <a:pt x="257" y="759"/>
                    </a:cubicBezTo>
                    <a:cubicBezTo>
                      <a:pt x="260" y="752"/>
                      <a:pt x="260" y="752"/>
                      <a:pt x="260" y="752"/>
                    </a:cubicBezTo>
                    <a:cubicBezTo>
                      <a:pt x="261" y="752"/>
                      <a:pt x="261" y="752"/>
                      <a:pt x="261" y="752"/>
                    </a:cubicBezTo>
                    <a:cubicBezTo>
                      <a:pt x="262" y="747"/>
                      <a:pt x="262" y="747"/>
                      <a:pt x="262" y="747"/>
                    </a:cubicBezTo>
                    <a:cubicBezTo>
                      <a:pt x="264" y="748"/>
                      <a:pt x="266" y="748"/>
                      <a:pt x="267" y="749"/>
                    </a:cubicBezTo>
                    <a:cubicBezTo>
                      <a:pt x="266" y="752"/>
                      <a:pt x="266" y="752"/>
                      <a:pt x="266" y="752"/>
                    </a:cubicBezTo>
                    <a:cubicBezTo>
                      <a:pt x="267" y="752"/>
                      <a:pt x="267" y="752"/>
                      <a:pt x="267" y="752"/>
                    </a:cubicBezTo>
                    <a:cubicBezTo>
                      <a:pt x="268" y="749"/>
                      <a:pt x="268" y="749"/>
                      <a:pt x="268" y="749"/>
                    </a:cubicBezTo>
                    <a:cubicBezTo>
                      <a:pt x="270" y="750"/>
                      <a:pt x="272" y="750"/>
                      <a:pt x="274" y="751"/>
                    </a:cubicBezTo>
                    <a:cubicBezTo>
                      <a:pt x="273" y="754"/>
                      <a:pt x="273" y="754"/>
                      <a:pt x="273" y="754"/>
                    </a:cubicBezTo>
                    <a:cubicBezTo>
                      <a:pt x="274" y="754"/>
                      <a:pt x="274" y="754"/>
                      <a:pt x="274" y="754"/>
                    </a:cubicBezTo>
                    <a:cubicBezTo>
                      <a:pt x="274" y="751"/>
                      <a:pt x="274" y="751"/>
                      <a:pt x="274" y="751"/>
                    </a:cubicBezTo>
                    <a:cubicBezTo>
                      <a:pt x="276" y="752"/>
                      <a:pt x="278" y="752"/>
                      <a:pt x="280" y="753"/>
                    </a:cubicBezTo>
                    <a:cubicBezTo>
                      <a:pt x="279" y="756"/>
                      <a:pt x="279" y="756"/>
                      <a:pt x="279" y="756"/>
                    </a:cubicBezTo>
                    <a:cubicBezTo>
                      <a:pt x="280" y="756"/>
                      <a:pt x="280" y="756"/>
                      <a:pt x="280" y="756"/>
                    </a:cubicBezTo>
                    <a:cubicBezTo>
                      <a:pt x="281" y="753"/>
                      <a:pt x="281" y="753"/>
                      <a:pt x="281" y="753"/>
                    </a:cubicBezTo>
                    <a:cubicBezTo>
                      <a:pt x="283" y="754"/>
                      <a:pt x="284" y="754"/>
                      <a:pt x="286" y="755"/>
                    </a:cubicBezTo>
                    <a:cubicBezTo>
                      <a:pt x="285" y="758"/>
                      <a:pt x="285" y="758"/>
                      <a:pt x="285" y="758"/>
                    </a:cubicBezTo>
                    <a:cubicBezTo>
                      <a:pt x="286" y="758"/>
                      <a:pt x="286" y="758"/>
                      <a:pt x="286" y="758"/>
                    </a:cubicBezTo>
                    <a:cubicBezTo>
                      <a:pt x="287" y="755"/>
                      <a:pt x="287" y="755"/>
                      <a:pt x="287" y="755"/>
                    </a:cubicBezTo>
                    <a:cubicBezTo>
                      <a:pt x="289" y="756"/>
                      <a:pt x="291" y="756"/>
                      <a:pt x="293" y="757"/>
                    </a:cubicBezTo>
                    <a:cubicBezTo>
                      <a:pt x="292" y="759"/>
                      <a:pt x="292" y="759"/>
                      <a:pt x="292" y="759"/>
                    </a:cubicBezTo>
                    <a:cubicBezTo>
                      <a:pt x="293" y="760"/>
                      <a:pt x="293" y="760"/>
                      <a:pt x="293" y="760"/>
                    </a:cubicBezTo>
                    <a:cubicBezTo>
                      <a:pt x="293" y="757"/>
                      <a:pt x="293" y="757"/>
                      <a:pt x="293" y="757"/>
                    </a:cubicBezTo>
                    <a:cubicBezTo>
                      <a:pt x="295" y="757"/>
                      <a:pt x="297" y="758"/>
                      <a:pt x="299" y="758"/>
                    </a:cubicBezTo>
                    <a:cubicBezTo>
                      <a:pt x="298" y="761"/>
                      <a:pt x="298" y="761"/>
                      <a:pt x="298" y="761"/>
                    </a:cubicBezTo>
                    <a:cubicBezTo>
                      <a:pt x="299" y="761"/>
                      <a:pt x="299" y="761"/>
                      <a:pt x="299" y="761"/>
                    </a:cubicBezTo>
                    <a:cubicBezTo>
                      <a:pt x="300" y="758"/>
                      <a:pt x="300" y="758"/>
                      <a:pt x="300" y="758"/>
                    </a:cubicBezTo>
                    <a:cubicBezTo>
                      <a:pt x="302" y="759"/>
                      <a:pt x="304" y="759"/>
                      <a:pt x="305" y="760"/>
                    </a:cubicBezTo>
                    <a:cubicBezTo>
                      <a:pt x="305" y="763"/>
                      <a:pt x="305" y="763"/>
                      <a:pt x="305" y="763"/>
                    </a:cubicBezTo>
                    <a:cubicBezTo>
                      <a:pt x="306" y="763"/>
                      <a:pt x="306" y="763"/>
                      <a:pt x="306" y="763"/>
                    </a:cubicBezTo>
                    <a:cubicBezTo>
                      <a:pt x="306" y="760"/>
                      <a:pt x="306" y="760"/>
                      <a:pt x="306" y="760"/>
                    </a:cubicBezTo>
                    <a:cubicBezTo>
                      <a:pt x="308" y="760"/>
                      <a:pt x="310" y="761"/>
                      <a:pt x="312" y="761"/>
                    </a:cubicBezTo>
                    <a:cubicBezTo>
                      <a:pt x="311" y="764"/>
                      <a:pt x="311" y="764"/>
                      <a:pt x="311" y="764"/>
                    </a:cubicBezTo>
                    <a:cubicBezTo>
                      <a:pt x="312" y="764"/>
                      <a:pt x="312" y="764"/>
                      <a:pt x="312" y="764"/>
                    </a:cubicBezTo>
                    <a:cubicBezTo>
                      <a:pt x="313" y="761"/>
                      <a:pt x="313" y="761"/>
                      <a:pt x="313" y="761"/>
                    </a:cubicBezTo>
                    <a:cubicBezTo>
                      <a:pt x="315" y="762"/>
                      <a:pt x="316" y="762"/>
                      <a:pt x="318" y="763"/>
                    </a:cubicBezTo>
                    <a:cubicBezTo>
                      <a:pt x="318" y="765"/>
                      <a:pt x="318" y="765"/>
                      <a:pt x="318" y="765"/>
                    </a:cubicBezTo>
                    <a:cubicBezTo>
                      <a:pt x="319" y="766"/>
                      <a:pt x="319" y="766"/>
                      <a:pt x="319" y="766"/>
                    </a:cubicBezTo>
                    <a:cubicBezTo>
                      <a:pt x="319" y="763"/>
                      <a:pt x="319" y="763"/>
                      <a:pt x="319" y="763"/>
                    </a:cubicBezTo>
                    <a:cubicBezTo>
                      <a:pt x="321" y="763"/>
                      <a:pt x="323" y="763"/>
                      <a:pt x="324" y="764"/>
                    </a:cubicBezTo>
                    <a:cubicBezTo>
                      <a:pt x="323" y="769"/>
                      <a:pt x="323" y="769"/>
                      <a:pt x="323" y="769"/>
                    </a:cubicBezTo>
                    <a:cubicBezTo>
                      <a:pt x="324" y="769"/>
                      <a:pt x="324" y="769"/>
                      <a:pt x="324" y="769"/>
                    </a:cubicBezTo>
                    <a:cubicBezTo>
                      <a:pt x="323" y="777"/>
                      <a:pt x="323" y="777"/>
                      <a:pt x="323" y="777"/>
                    </a:cubicBezTo>
                    <a:cubicBezTo>
                      <a:pt x="323" y="777"/>
                      <a:pt x="323" y="777"/>
                      <a:pt x="323" y="777"/>
                    </a:cubicBezTo>
                    <a:cubicBezTo>
                      <a:pt x="325" y="769"/>
                      <a:pt x="325" y="769"/>
                      <a:pt x="325" y="769"/>
                    </a:cubicBezTo>
                    <a:cubicBezTo>
                      <a:pt x="325" y="769"/>
                      <a:pt x="325" y="769"/>
                      <a:pt x="325" y="769"/>
                    </a:cubicBezTo>
                    <a:cubicBezTo>
                      <a:pt x="326" y="764"/>
                      <a:pt x="326" y="764"/>
                      <a:pt x="326" y="764"/>
                    </a:cubicBezTo>
                    <a:cubicBezTo>
                      <a:pt x="328" y="764"/>
                      <a:pt x="330" y="765"/>
                      <a:pt x="331" y="765"/>
                    </a:cubicBezTo>
                    <a:cubicBezTo>
                      <a:pt x="331" y="768"/>
                      <a:pt x="331" y="768"/>
                      <a:pt x="331" y="768"/>
                    </a:cubicBezTo>
                    <a:cubicBezTo>
                      <a:pt x="332" y="768"/>
                      <a:pt x="332" y="768"/>
                      <a:pt x="332" y="768"/>
                    </a:cubicBezTo>
                    <a:cubicBezTo>
                      <a:pt x="332" y="765"/>
                      <a:pt x="332" y="765"/>
                      <a:pt x="332" y="765"/>
                    </a:cubicBezTo>
                    <a:cubicBezTo>
                      <a:pt x="334" y="765"/>
                      <a:pt x="336" y="765"/>
                      <a:pt x="338" y="766"/>
                    </a:cubicBezTo>
                    <a:cubicBezTo>
                      <a:pt x="337" y="769"/>
                      <a:pt x="337" y="769"/>
                      <a:pt x="337" y="769"/>
                    </a:cubicBezTo>
                    <a:cubicBezTo>
                      <a:pt x="338" y="769"/>
                      <a:pt x="338" y="769"/>
                      <a:pt x="338" y="769"/>
                    </a:cubicBezTo>
                    <a:cubicBezTo>
                      <a:pt x="339" y="766"/>
                      <a:pt x="339" y="766"/>
                      <a:pt x="339" y="766"/>
                    </a:cubicBezTo>
                    <a:cubicBezTo>
                      <a:pt x="341" y="766"/>
                      <a:pt x="342" y="766"/>
                      <a:pt x="344" y="767"/>
                    </a:cubicBezTo>
                    <a:cubicBezTo>
                      <a:pt x="344" y="770"/>
                      <a:pt x="344" y="770"/>
                      <a:pt x="344" y="770"/>
                    </a:cubicBezTo>
                    <a:cubicBezTo>
                      <a:pt x="345" y="770"/>
                      <a:pt x="345" y="770"/>
                      <a:pt x="345" y="770"/>
                    </a:cubicBezTo>
                    <a:cubicBezTo>
                      <a:pt x="345" y="767"/>
                      <a:pt x="345" y="767"/>
                      <a:pt x="345" y="767"/>
                    </a:cubicBezTo>
                    <a:cubicBezTo>
                      <a:pt x="347" y="767"/>
                      <a:pt x="349" y="767"/>
                      <a:pt x="351" y="767"/>
                    </a:cubicBezTo>
                    <a:cubicBezTo>
                      <a:pt x="351" y="770"/>
                      <a:pt x="351" y="770"/>
                      <a:pt x="351" y="770"/>
                    </a:cubicBezTo>
                    <a:cubicBezTo>
                      <a:pt x="351" y="770"/>
                      <a:pt x="351" y="770"/>
                      <a:pt x="351" y="770"/>
                    </a:cubicBezTo>
                    <a:cubicBezTo>
                      <a:pt x="352" y="767"/>
                      <a:pt x="352" y="767"/>
                      <a:pt x="352" y="767"/>
                    </a:cubicBezTo>
                    <a:cubicBezTo>
                      <a:pt x="354" y="768"/>
                      <a:pt x="356" y="768"/>
                      <a:pt x="357" y="768"/>
                    </a:cubicBezTo>
                    <a:cubicBezTo>
                      <a:pt x="357" y="771"/>
                      <a:pt x="357" y="771"/>
                      <a:pt x="357" y="771"/>
                    </a:cubicBezTo>
                    <a:cubicBezTo>
                      <a:pt x="358" y="771"/>
                      <a:pt x="358" y="771"/>
                      <a:pt x="358" y="771"/>
                    </a:cubicBezTo>
                    <a:cubicBezTo>
                      <a:pt x="358" y="768"/>
                      <a:pt x="358" y="768"/>
                      <a:pt x="358" y="768"/>
                    </a:cubicBezTo>
                    <a:cubicBezTo>
                      <a:pt x="360" y="768"/>
                      <a:pt x="362" y="768"/>
                      <a:pt x="364" y="769"/>
                    </a:cubicBezTo>
                    <a:cubicBezTo>
                      <a:pt x="364" y="772"/>
                      <a:pt x="364" y="772"/>
                      <a:pt x="364" y="772"/>
                    </a:cubicBezTo>
                    <a:cubicBezTo>
                      <a:pt x="365" y="772"/>
                      <a:pt x="365" y="772"/>
                      <a:pt x="365" y="772"/>
                    </a:cubicBezTo>
                    <a:cubicBezTo>
                      <a:pt x="365" y="769"/>
                      <a:pt x="365" y="769"/>
                      <a:pt x="365" y="769"/>
                    </a:cubicBezTo>
                    <a:cubicBezTo>
                      <a:pt x="367" y="769"/>
                      <a:pt x="369" y="769"/>
                      <a:pt x="371" y="769"/>
                    </a:cubicBezTo>
                    <a:cubicBezTo>
                      <a:pt x="370" y="772"/>
                      <a:pt x="370" y="772"/>
                      <a:pt x="370" y="772"/>
                    </a:cubicBezTo>
                    <a:cubicBezTo>
                      <a:pt x="371" y="772"/>
                      <a:pt x="371" y="772"/>
                      <a:pt x="371" y="772"/>
                    </a:cubicBezTo>
                    <a:cubicBezTo>
                      <a:pt x="371" y="769"/>
                      <a:pt x="371" y="769"/>
                      <a:pt x="371" y="769"/>
                    </a:cubicBezTo>
                    <a:cubicBezTo>
                      <a:pt x="373" y="769"/>
                      <a:pt x="375" y="769"/>
                      <a:pt x="377" y="769"/>
                    </a:cubicBezTo>
                    <a:cubicBezTo>
                      <a:pt x="377" y="772"/>
                      <a:pt x="377" y="772"/>
                      <a:pt x="377" y="772"/>
                    </a:cubicBezTo>
                    <a:cubicBezTo>
                      <a:pt x="378" y="772"/>
                      <a:pt x="378" y="772"/>
                      <a:pt x="378" y="772"/>
                    </a:cubicBezTo>
                    <a:cubicBezTo>
                      <a:pt x="378" y="769"/>
                      <a:pt x="378" y="769"/>
                      <a:pt x="378" y="769"/>
                    </a:cubicBezTo>
                    <a:cubicBezTo>
                      <a:pt x="380" y="769"/>
                      <a:pt x="382" y="769"/>
                      <a:pt x="384" y="769"/>
                    </a:cubicBezTo>
                    <a:cubicBezTo>
                      <a:pt x="384" y="772"/>
                      <a:pt x="384" y="772"/>
                      <a:pt x="384" y="772"/>
                    </a:cubicBezTo>
                    <a:cubicBezTo>
                      <a:pt x="385" y="772"/>
                      <a:pt x="385" y="772"/>
                      <a:pt x="385" y="772"/>
                    </a:cubicBezTo>
                    <a:cubicBezTo>
                      <a:pt x="385" y="769"/>
                      <a:pt x="385" y="769"/>
                      <a:pt x="385" y="769"/>
                    </a:cubicBezTo>
                    <a:cubicBezTo>
                      <a:pt x="386" y="769"/>
                      <a:pt x="388" y="769"/>
                      <a:pt x="390" y="769"/>
                    </a:cubicBezTo>
                    <a:cubicBezTo>
                      <a:pt x="390" y="775"/>
                      <a:pt x="390" y="775"/>
                      <a:pt x="390" y="775"/>
                    </a:cubicBezTo>
                    <a:cubicBezTo>
                      <a:pt x="390" y="775"/>
                      <a:pt x="390" y="775"/>
                      <a:pt x="390" y="775"/>
                    </a:cubicBezTo>
                    <a:cubicBezTo>
                      <a:pt x="390" y="783"/>
                      <a:pt x="390" y="783"/>
                      <a:pt x="390" y="783"/>
                    </a:cubicBezTo>
                    <a:cubicBezTo>
                      <a:pt x="391" y="783"/>
                      <a:pt x="391" y="783"/>
                      <a:pt x="391" y="783"/>
                    </a:cubicBezTo>
                    <a:cubicBezTo>
                      <a:pt x="391" y="775"/>
                      <a:pt x="391" y="775"/>
                      <a:pt x="391" y="775"/>
                    </a:cubicBezTo>
                    <a:cubicBezTo>
                      <a:pt x="392" y="775"/>
                      <a:pt x="392" y="775"/>
                      <a:pt x="392" y="775"/>
                    </a:cubicBezTo>
                    <a:cubicBezTo>
                      <a:pt x="392" y="769"/>
                      <a:pt x="392" y="769"/>
                      <a:pt x="392" y="769"/>
                    </a:cubicBezTo>
                    <a:cubicBezTo>
                      <a:pt x="393" y="769"/>
                      <a:pt x="395" y="769"/>
                      <a:pt x="397" y="769"/>
                    </a:cubicBezTo>
                    <a:cubicBezTo>
                      <a:pt x="397" y="772"/>
                      <a:pt x="397" y="772"/>
                      <a:pt x="397" y="772"/>
                    </a:cubicBezTo>
                    <a:cubicBezTo>
                      <a:pt x="398" y="772"/>
                      <a:pt x="398" y="772"/>
                      <a:pt x="398" y="772"/>
                    </a:cubicBezTo>
                    <a:cubicBezTo>
                      <a:pt x="398" y="769"/>
                      <a:pt x="398" y="769"/>
                      <a:pt x="398" y="769"/>
                    </a:cubicBezTo>
                    <a:cubicBezTo>
                      <a:pt x="400" y="769"/>
                      <a:pt x="402" y="769"/>
                      <a:pt x="404" y="769"/>
                    </a:cubicBezTo>
                    <a:cubicBezTo>
                      <a:pt x="404" y="772"/>
                      <a:pt x="404" y="772"/>
                      <a:pt x="404" y="772"/>
                    </a:cubicBezTo>
                    <a:cubicBezTo>
                      <a:pt x="404" y="772"/>
                      <a:pt x="404" y="772"/>
                      <a:pt x="404" y="772"/>
                    </a:cubicBezTo>
                    <a:cubicBezTo>
                      <a:pt x="404" y="769"/>
                      <a:pt x="404" y="769"/>
                      <a:pt x="404" y="769"/>
                    </a:cubicBezTo>
                    <a:cubicBezTo>
                      <a:pt x="406" y="769"/>
                      <a:pt x="408" y="769"/>
                      <a:pt x="410" y="769"/>
                    </a:cubicBezTo>
                    <a:cubicBezTo>
                      <a:pt x="410" y="772"/>
                      <a:pt x="410" y="772"/>
                      <a:pt x="410" y="772"/>
                    </a:cubicBezTo>
                    <a:cubicBezTo>
                      <a:pt x="411" y="772"/>
                      <a:pt x="411" y="772"/>
                      <a:pt x="411" y="772"/>
                    </a:cubicBezTo>
                    <a:cubicBezTo>
                      <a:pt x="411" y="769"/>
                      <a:pt x="411" y="769"/>
                      <a:pt x="411" y="769"/>
                    </a:cubicBezTo>
                    <a:cubicBezTo>
                      <a:pt x="413" y="769"/>
                      <a:pt x="415" y="769"/>
                      <a:pt x="417" y="769"/>
                    </a:cubicBezTo>
                    <a:cubicBezTo>
                      <a:pt x="417" y="772"/>
                      <a:pt x="417" y="772"/>
                      <a:pt x="417" y="772"/>
                    </a:cubicBezTo>
                    <a:cubicBezTo>
                      <a:pt x="418" y="772"/>
                      <a:pt x="418" y="772"/>
                      <a:pt x="418" y="772"/>
                    </a:cubicBezTo>
                    <a:cubicBezTo>
                      <a:pt x="418" y="769"/>
                      <a:pt x="418" y="769"/>
                      <a:pt x="418" y="769"/>
                    </a:cubicBezTo>
                    <a:cubicBezTo>
                      <a:pt x="419" y="768"/>
                      <a:pt x="421" y="768"/>
                      <a:pt x="423" y="768"/>
                    </a:cubicBezTo>
                    <a:cubicBezTo>
                      <a:pt x="424" y="771"/>
                      <a:pt x="424" y="771"/>
                      <a:pt x="424" y="771"/>
                    </a:cubicBezTo>
                    <a:cubicBezTo>
                      <a:pt x="424" y="771"/>
                      <a:pt x="424" y="771"/>
                      <a:pt x="424" y="771"/>
                    </a:cubicBezTo>
                    <a:cubicBezTo>
                      <a:pt x="424" y="768"/>
                      <a:pt x="424" y="768"/>
                      <a:pt x="424" y="768"/>
                    </a:cubicBezTo>
                    <a:cubicBezTo>
                      <a:pt x="426" y="768"/>
                      <a:pt x="428" y="768"/>
                      <a:pt x="430" y="767"/>
                    </a:cubicBezTo>
                    <a:cubicBezTo>
                      <a:pt x="430" y="770"/>
                      <a:pt x="430" y="770"/>
                      <a:pt x="430" y="770"/>
                    </a:cubicBezTo>
                    <a:cubicBezTo>
                      <a:pt x="431" y="770"/>
                      <a:pt x="431" y="770"/>
                      <a:pt x="431" y="770"/>
                    </a:cubicBezTo>
                    <a:cubicBezTo>
                      <a:pt x="431" y="767"/>
                      <a:pt x="431" y="767"/>
                      <a:pt x="431" y="767"/>
                    </a:cubicBezTo>
                    <a:cubicBezTo>
                      <a:pt x="433" y="767"/>
                      <a:pt x="435" y="767"/>
                      <a:pt x="436" y="767"/>
                    </a:cubicBezTo>
                    <a:cubicBezTo>
                      <a:pt x="437" y="770"/>
                      <a:pt x="437" y="770"/>
                      <a:pt x="437" y="770"/>
                    </a:cubicBezTo>
                    <a:cubicBezTo>
                      <a:pt x="438" y="770"/>
                      <a:pt x="438" y="770"/>
                      <a:pt x="438" y="770"/>
                    </a:cubicBezTo>
                    <a:cubicBezTo>
                      <a:pt x="437" y="767"/>
                      <a:pt x="437" y="767"/>
                      <a:pt x="437" y="767"/>
                    </a:cubicBezTo>
                    <a:cubicBezTo>
                      <a:pt x="439" y="766"/>
                      <a:pt x="441" y="766"/>
                      <a:pt x="443" y="766"/>
                    </a:cubicBezTo>
                    <a:cubicBezTo>
                      <a:pt x="443" y="769"/>
                      <a:pt x="443" y="769"/>
                      <a:pt x="443" y="769"/>
                    </a:cubicBezTo>
                    <a:cubicBezTo>
                      <a:pt x="444" y="769"/>
                      <a:pt x="444" y="769"/>
                      <a:pt x="444" y="769"/>
                    </a:cubicBezTo>
                    <a:cubicBezTo>
                      <a:pt x="444" y="766"/>
                      <a:pt x="444" y="766"/>
                      <a:pt x="444" y="766"/>
                    </a:cubicBezTo>
                    <a:cubicBezTo>
                      <a:pt x="446" y="765"/>
                      <a:pt x="448" y="765"/>
                      <a:pt x="450" y="765"/>
                    </a:cubicBezTo>
                    <a:cubicBezTo>
                      <a:pt x="450" y="768"/>
                      <a:pt x="450" y="768"/>
                      <a:pt x="450" y="768"/>
                    </a:cubicBezTo>
                    <a:cubicBezTo>
                      <a:pt x="451" y="768"/>
                      <a:pt x="451" y="768"/>
                      <a:pt x="451" y="768"/>
                    </a:cubicBezTo>
                    <a:cubicBezTo>
                      <a:pt x="450" y="765"/>
                      <a:pt x="450" y="765"/>
                      <a:pt x="450" y="765"/>
                    </a:cubicBezTo>
                    <a:cubicBezTo>
                      <a:pt x="452" y="765"/>
                      <a:pt x="454" y="764"/>
                      <a:pt x="456" y="764"/>
                    </a:cubicBezTo>
                    <a:cubicBezTo>
                      <a:pt x="456" y="769"/>
                      <a:pt x="456" y="769"/>
                      <a:pt x="456" y="769"/>
                    </a:cubicBezTo>
                    <a:cubicBezTo>
                      <a:pt x="457" y="769"/>
                      <a:pt x="457" y="769"/>
                      <a:pt x="457" y="769"/>
                    </a:cubicBezTo>
                    <a:cubicBezTo>
                      <a:pt x="458" y="777"/>
                      <a:pt x="458" y="777"/>
                      <a:pt x="458" y="777"/>
                    </a:cubicBezTo>
                    <a:cubicBezTo>
                      <a:pt x="459" y="777"/>
                      <a:pt x="459" y="777"/>
                      <a:pt x="459" y="777"/>
                    </a:cubicBezTo>
                    <a:cubicBezTo>
                      <a:pt x="458" y="769"/>
                      <a:pt x="458" y="769"/>
                      <a:pt x="458" y="769"/>
                    </a:cubicBezTo>
                    <a:cubicBezTo>
                      <a:pt x="458" y="769"/>
                      <a:pt x="458" y="769"/>
                      <a:pt x="458" y="769"/>
                    </a:cubicBezTo>
                    <a:cubicBezTo>
                      <a:pt x="457" y="764"/>
                      <a:pt x="457" y="764"/>
                      <a:pt x="457" y="764"/>
                    </a:cubicBezTo>
                    <a:cubicBezTo>
                      <a:pt x="459" y="763"/>
                      <a:pt x="461" y="763"/>
                      <a:pt x="463" y="763"/>
                    </a:cubicBezTo>
                    <a:cubicBezTo>
                      <a:pt x="463" y="766"/>
                      <a:pt x="463" y="766"/>
                      <a:pt x="463" y="766"/>
                    </a:cubicBezTo>
                    <a:cubicBezTo>
                      <a:pt x="464" y="765"/>
                      <a:pt x="464" y="765"/>
                      <a:pt x="464" y="765"/>
                    </a:cubicBezTo>
                    <a:cubicBezTo>
                      <a:pt x="463" y="763"/>
                      <a:pt x="463" y="763"/>
                      <a:pt x="463" y="763"/>
                    </a:cubicBezTo>
                    <a:cubicBezTo>
                      <a:pt x="465" y="762"/>
                      <a:pt x="467" y="762"/>
                      <a:pt x="469" y="761"/>
                    </a:cubicBezTo>
                    <a:cubicBezTo>
                      <a:pt x="470" y="764"/>
                      <a:pt x="470" y="764"/>
                      <a:pt x="470" y="764"/>
                    </a:cubicBezTo>
                    <a:cubicBezTo>
                      <a:pt x="470" y="764"/>
                      <a:pt x="470" y="764"/>
                      <a:pt x="470" y="764"/>
                    </a:cubicBezTo>
                    <a:cubicBezTo>
                      <a:pt x="470" y="761"/>
                      <a:pt x="470" y="761"/>
                      <a:pt x="470" y="761"/>
                    </a:cubicBezTo>
                    <a:cubicBezTo>
                      <a:pt x="472" y="761"/>
                      <a:pt x="474" y="760"/>
                      <a:pt x="475" y="760"/>
                    </a:cubicBezTo>
                    <a:cubicBezTo>
                      <a:pt x="476" y="763"/>
                      <a:pt x="476" y="763"/>
                      <a:pt x="476" y="763"/>
                    </a:cubicBezTo>
                    <a:cubicBezTo>
                      <a:pt x="477" y="763"/>
                      <a:pt x="477" y="763"/>
                      <a:pt x="477" y="763"/>
                    </a:cubicBezTo>
                    <a:cubicBezTo>
                      <a:pt x="476" y="760"/>
                      <a:pt x="476" y="760"/>
                      <a:pt x="476" y="760"/>
                    </a:cubicBezTo>
                    <a:cubicBezTo>
                      <a:pt x="478" y="759"/>
                      <a:pt x="480" y="759"/>
                      <a:pt x="482" y="758"/>
                    </a:cubicBezTo>
                    <a:cubicBezTo>
                      <a:pt x="483" y="761"/>
                      <a:pt x="483" y="761"/>
                      <a:pt x="483" y="761"/>
                    </a:cubicBezTo>
                    <a:cubicBezTo>
                      <a:pt x="483" y="761"/>
                      <a:pt x="483" y="761"/>
                      <a:pt x="483" y="761"/>
                    </a:cubicBezTo>
                    <a:cubicBezTo>
                      <a:pt x="483" y="758"/>
                      <a:pt x="483" y="758"/>
                      <a:pt x="483" y="758"/>
                    </a:cubicBezTo>
                    <a:cubicBezTo>
                      <a:pt x="485" y="758"/>
                      <a:pt x="486" y="757"/>
                      <a:pt x="488" y="757"/>
                    </a:cubicBezTo>
                    <a:cubicBezTo>
                      <a:pt x="489" y="760"/>
                      <a:pt x="489" y="760"/>
                      <a:pt x="489" y="760"/>
                    </a:cubicBezTo>
                    <a:cubicBezTo>
                      <a:pt x="490" y="759"/>
                      <a:pt x="490" y="759"/>
                      <a:pt x="490" y="759"/>
                    </a:cubicBezTo>
                    <a:cubicBezTo>
                      <a:pt x="489" y="757"/>
                      <a:pt x="489" y="757"/>
                      <a:pt x="489" y="757"/>
                    </a:cubicBezTo>
                    <a:cubicBezTo>
                      <a:pt x="491" y="756"/>
                      <a:pt x="493" y="756"/>
                      <a:pt x="495" y="755"/>
                    </a:cubicBezTo>
                    <a:cubicBezTo>
                      <a:pt x="495" y="758"/>
                      <a:pt x="495" y="758"/>
                      <a:pt x="495" y="758"/>
                    </a:cubicBezTo>
                    <a:cubicBezTo>
                      <a:pt x="496" y="758"/>
                      <a:pt x="496" y="758"/>
                      <a:pt x="496" y="758"/>
                    </a:cubicBezTo>
                    <a:cubicBezTo>
                      <a:pt x="495" y="755"/>
                      <a:pt x="495" y="755"/>
                      <a:pt x="495" y="755"/>
                    </a:cubicBezTo>
                    <a:cubicBezTo>
                      <a:pt x="497" y="754"/>
                      <a:pt x="499" y="754"/>
                      <a:pt x="501" y="753"/>
                    </a:cubicBezTo>
                    <a:cubicBezTo>
                      <a:pt x="502" y="756"/>
                      <a:pt x="502" y="756"/>
                      <a:pt x="502" y="756"/>
                    </a:cubicBezTo>
                    <a:cubicBezTo>
                      <a:pt x="503" y="756"/>
                      <a:pt x="503" y="756"/>
                      <a:pt x="503" y="756"/>
                    </a:cubicBezTo>
                    <a:cubicBezTo>
                      <a:pt x="502" y="753"/>
                      <a:pt x="502" y="753"/>
                      <a:pt x="502" y="753"/>
                    </a:cubicBezTo>
                    <a:cubicBezTo>
                      <a:pt x="504" y="752"/>
                      <a:pt x="505" y="752"/>
                      <a:pt x="507" y="751"/>
                    </a:cubicBezTo>
                    <a:cubicBezTo>
                      <a:pt x="508" y="754"/>
                      <a:pt x="508" y="754"/>
                      <a:pt x="508" y="754"/>
                    </a:cubicBezTo>
                    <a:cubicBezTo>
                      <a:pt x="509" y="754"/>
                      <a:pt x="509" y="754"/>
                      <a:pt x="509" y="754"/>
                    </a:cubicBezTo>
                    <a:cubicBezTo>
                      <a:pt x="508" y="751"/>
                      <a:pt x="508" y="751"/>
                      <a:pt x="508" y="751"/>
                    </a:cubicBezTo>
                    <a:cubicBezTo>
                      <a:pt x="510" y="750"/>
                      <a:pt x="512" y="750"/>
                      <a:pt x="514" y="749"/>
                    </a:cubicBezTo>
                    <a:cubicBezTo>
                      <a:pt x="514" y="752"/>
                      <a:pt x="514" y="752"/>
                      <a:pt x="514" y="752"/>
                    </a:cubicBezTo>
                    <a:cubicBezTo>
                      <a:pt x="515" y="752"/>
                      <a:pt x="515" y="752"/>
                      <a:pt x="515" y="752"/>
                    </a:cubicBezTo>
                    <a:cubicBezTo>
                      <a:pt x="514" y="749"/>
                      <a:pt x="514" y="749"/>
                      <a:pt x="514" y="749"/>
                    </a:cubicBezTo>
                    <a:cubicBezTo>
                      <a:pt x="516" y="748"/>
                      <a:pt x="518" y="748"/>
                      <a:pt x="519" y="747"/>
                    </a:cubicBezTo>
                    <a:cubicBezTo>
                      <a:pt x="521" y="752"/>
                      <a:pt x="521" y="752"/>
                      <a:pt x="521" y="752"/>
                    </a:cubicBezTo>
                    <a:cubicBezTo>
                      <a:pt x="522" y="752"/>
                      <a:pt x="522" y="752"/>
                      <a:pt x="522" y="752"/>
                    </a:cubicBezTo>
                    <a:cubicBezTo>
                      <a:pt x="524" y="759"/>
                      <a:pt x="524" y="759"/>
                      <a:pt x="524" y="759"/>
                    </a:cubicBezTo>
                    <a:cubicBezTo>
                      <a:pt x="525" y="759"/>
                      <a:pt x="525" y="759"/>
                      <a:pt x="525" y="759"/>
                    </a:cubicBezTo>
                    <a:cubicBezTo>
                      <a:pt x="522" y="752"/>
                      <a:pt x="522" y="752"/>
                      <a:pt x="522" y="752"/>
                    </a:cubicBezTo>
                    <a:cubicBezTo>
                      <a:pt x="523" y="752"/>
                      <a:pt x="523" y="752"/>
                      <a:pt x="523" y="752"/>
                    </a:cubicBezTo>
                    <a:cubicBezTo>
                      <a:pt x="521" y="746"/>
                      <a:pt x="521" y="746"/>
                      <a:pt x="521" y="746"/>
                    </a:cubicBezTo>
                    <a:cubicBezTo>
                      <a:pt x="523" y="746"/>
                      <a:pt x="524" y="745"/>
                      <a:pt x="526" y="745"/>
                    </a:cubicBezTo>
                    <a:cubicBezTo>
                      <a:pt x="527" y="747"/>
                      <a:pt x="527" y="747"/>
                      <a:pt x="527" y="747"/>
                    </a:cubicBezTo>
                    <a:cubicBezTo>
                      <a:pt x="528" y="747"/>
                      <a:pt x="528" y="747"/>
                      <a:pt x="528" y="747"/>
                    </a:cubicBezTo>
                    <a:cubicBezTo>
                      <a:pt x="527" y="744"/>
                      <a:pt x="527" y="744"/>
                      <a:pt x="527" y="744"/>
                    </a:cubicBezTo>
                    <a:cubicBezTo>
                      <a:pt x="528" y="744"/>
                      <a:pt x="530" y="743"/>
                      <a:pt x="532" y="742"/>
                    </a:cubicBezTo>
                    <a:cubicBezTo>
                      <a:pt x="533" y="745"/>
                      <a:pt x="533" y="745"/>
                      <a:pt x="533" y="745"/>
                    </a:cubicBezTo>
                    <a:cubicBezTo>
                      <a:pt x="534" y="745"/>
                      <a:pt x="534" y="745"/>
                      <a:pt x="534" y="745"/>
                    </a:cubicBezTo>
                    <a:cubicBezTo>
                      <a:pt x="533" y="742"/>
                      <a:pt x="533" y="742"/>
                      <a:pt x="533" y="742"/>
                    </a:cubicBezTo>
                    <a:cubicBezTo>
                      <a:pt x="535" y="741"/>
                      <a:pt x="536" y="740"/>
                      <a:pt x="538" y="740"/>
                    </a:cubicBezTo>
                    <a:cubicBezTo>
                      <a:pt x="539" y="742"/>
                      <a:pt x="539" y="742"/>
                      <a:pt x="539" y="742"/>
                    </a:cubicBezTo>
                    <a:cubicBezTo>
                      <a:pt x="540" y="742"/>
                      <a:pt x="540" y="742"/>
                      <a:pt x="540" y="742"/>
                    </a:cubicBezTo>
                    <a:cubicBezTo>
                      <a:pt x="539" y="739"/>
                      <a:pt x="539" y="739"/>
                      <a:pt x="539" y="739"/>
                    </a:cubicBezTo>
                    <a:cubicBezTo>
                      <a:pt x="541" y="739"/>
                      <a:pt x="542" y="738"/>
                      <a:pt x="544" y="737"/>
                    </a:cubicBezTo>
                    <a:cubicBezTo>
                      <a:pt x="545" y="740"/>
                      <a:pt x="545" y="740"/>
                      <a:pt x="545" y="740"/>
                    </a:cubicBezTo>
                    <a:cubicBezTo>
                      <a:pt x="546" y="739"/>
                      <a:pt x="546" y="739"/>
                      <a:pt x="546" y="739"/>
                    </a:cubicBezTo>
                    <a:cubicBezTo>
                      <a:pt x="545" y="737"/>
                      <a:pt x="545" y="737"/>
                      <a:pt x="545" y="737"/>
                    </a:cubicBezTo>
                    <a:cubicBezTo>
                      <a:pt x="547" y="736"/>
                      <a:pt x="548" y="735"/>
                      <a:pt x="550" y="734"/>
                    </a:cubicBezTo>
                    <a:cubicBezTo>
                      <a:pt x="551" y="737"/>
                      <a:pt x="551" y="737"/>
                      <a:pt x="551" y="737"/>
                    </a:cubicBezTo>
                    <a:cubicBezTo>
                      <a:pt x="552" y="737"/>
                      <a:pt x="552" y="737"/>
                      <a:pt x="552" y="737"/>
                    </a:cubicBezTo>
                    <a:cubicBezTo>
                      <a:pt x="551" y="734"/>
                      <a:pt x="551" y="734"/>
                      <a:pt x="551" y="734"/>
                    </a:cubicBezTo>
                    <a:cubicBezTo>
                      <a:pt x="553" y="733"/>
                      <a:pt x="554" y="732"/>
                      <a:pt x="556" y="731"/>
                    </a:cubicBezTo>
                    <a:cubicBezTo>
                      <a:pt x="557" y="734"/>
                      <a:pt x="557" y="734"/>
                      <a:pt x="557" y="734"/>
                    </a:cubicBezTo>
                    <a:cubicBezTo>
                      <a:pt x="558" y="734"/>
                      <a:pt x="558" y="734"/>
                      <a:pt x="558" y="734"/>
                    </a:cubicBezTo>
                    <a:cubicBezTo>
                      <a:pt x="557" y="731"/>
                      <a:pt x="557" y="731"/>
                      <a:pt x="557" y="731"/>
                    </a:cubicBezTo>
                    <a:cubicBezTo>
                      <a:pt x="559" y="730"/>
                      <a:pt x="560" y="729"/>
                      <a:pt x="562" y="729"/>
                    </a:cubicBezTo>
                    <a:cubicBezTo>
                      <a:pt x="563" y="731"/>
                      <a:pt x="563" y="731"/>
                      <a:pt x="563" y="731"/>
                    </a:cubicBezTo>
                    <a:cubicBezTo>
                      <a:pt x="564" y="731"/>
                      <a:pt x="564" y="731"/>
                      <a:pt x="564" y="731"/>
                    </a:cubicBezTo>
                    <a:cubicBezTo>
                      <a:pt x="563" y="728"/>
                      <a:pt x="563" y="728"/>
                      <a:pt x="563" y="728"/>
                    </a:cubicBezTo>
                    <a:cubicBezTo>
                      <a:pt x="564" y="727"/>
                      <a:pt x="566" y="726"/>
                      <a:pt x="568" y="726"/>
                    </a:cubicBezTo>
                    <a:cubicBezTo>
                      <a:pt x="569" y="728"/>
                      <a:pt x="569" y="728"/>
                      <a:pt x="569" y="728"/>
                    </a:cubicBezTo>
                    <a:cubicBezTo>
                      <a:pt x="570" y="728"/>
                      <a:pt x="570" y="728"/>
                      <a:pt x="570" y="728"/>
                    </a:cubicBezTo>
                    <a:cubicBezTo>
                      <a:pt x="569" y="725"/>
                      <a:pt x="569" y="725"/>
                      <a:pt x="569" y="725"/>
                    </a:cubicBezTo>
                    <a:cubicBezTo>
                      <a:pt x="570" y="724"/>
                      <a:pt x="572" y="723"/>
                      <a:pt x="574" y="722"/>
                    </a:cubicBezTo>
                    <a:cubicBezTo>
                      <a:pt x="575" y="725"/>
                      <a:pt x="575" y="725"/>
                      <a:pt x="575" y="725"/>
                    </a:cubicBezTo>
                    <a:cubicBezTo>
                      <a:pt x="576" y="724"/>
                      <a:pt x="576" y="724"/>
                      <a:pt x="576" y="724"/>
                    </a:cubicBezTo>
                    <a:cubicBezTo>
                      <a:pt x="574" y="722"/>
                      <a:pt x="574" y="722"/>
                      <a:pt x="574" y="722"/>
                    </a:cubicBezTo>
                    <a:cubicBezTo>
                      <a:pt x="576" y="721"/>
                      <a:pt x="577" y="720"/>
                      <a:pt x="579" y="719"/>
                    </a:cubicBezTo>
                    <a:cubicBezTo>
                      <a:pt x="582" y="724"/>
                      <a:pt x="582" y="724"/>
                      <a:pt x="582" y="724"/>
                    </a:cubicBezTo>
                    <a:cubicBezTo>
                      <a:pt x="582" y="724"/>
                      <a:pt x="582" y="724"/>
                      <a:pt x="582" y="724"/>
                    </a:cubicBezTo>
                    <a:cubicBezTo>
                      <a:pt x="586" y="730"/>
                      <a:pt x="586" y="730"/>
                      <a:pt x="586" y="730"/>
                    </a:cubicBezTo>
                    <a:cubicBezTo>
                      <a:pt x="587" y="730"/>
                      <a:pt x="587" y="730"/>
                      <a:pt x="587" y="730"/>
                    </a:cubicBezTo>
                    <a:cubicBezTo>
                      <a:pt x="583" y="723"/>
                      <a:pt x="583" y="723"/>
                      <a:pt x="583" y="723"/>
                    </a:cubicBezTo>
                    <a:cubicBezTo>
                      <a:pt x="583" y="723"/>
                      <a:pt x="583" y="723"/>
                      <a:pt x="583" y="723"/>
                    </a:cubicBezTo>
                    <a:cubicBezTo>
                      <a:pt x="581" y="718"/>
                      <a:pt x="581" y="718"/>
                      <a:pt x="581" y="718"/>
                    </a:cubicBezTo>
                    <a:cubicBezTo>
                      <a:pt x="582" y="718"/>
                      <a:pt x="584" y="717"/>
                      <a:pt x="585" y="716"/>
                    </a:cubicBezTo>
                    <a:cubicBezTo>
                      <a:pt x="587" y="718"/>
                      <a:pt x="587" y="718"/>
                      <a:pt x="587" y="718"/>
                    </a:cubicBezTo>
                    <a:cubicBezTo>
                      <a:pt x="587" y="718"/>
                      <a:pt x="587" y="718"/>
                      <a:pt x="587" y="718"/>
                    </a:cubicBezTo>
                    <a:cubicBezTo>
                      <a:pt x="586" y="715"/>
                      <a:pt x="586" y="715"/>
                      <a:pt x="586" y="715"/>
                    </a:cubicBezTo>
                    <a:cubicBezTo>
                      <a:pt x="587" y="714"/>
                      <a:pt x="589" y="713"/>
                      <a:pt x="591" y="712"/>
                    </a:cubicBezTo>
                    <a:cubicBezTo>
                      <a:pt x="592" y="715"/>
                      <a:pt x="592" y="715"/>
                      <a:pt x="592" y="715"/>
                    </a:cubicBezTo>
                    <a:cubicBezTo>
                      <a:pt x="593" y="714"/>
                      <a:pt x="593" y="714"/>
                      <a:pt x="593" y="714"/>
                    </a:cubicBezTo>
                    <a:cubicBezTo>
                      <a:pt x="591" y="712"/>
                      <a:pt x="591" y="712"/>
                      <a:pt x="591" y="712"/>
                    </a:cubicBezTo>
                    <a:cubicBezTo>
                      <a:pt x="593" y="711"/>
                      <a:pt x="595" y="710"/>
                      <a:pt x="596" y="709"/>
                    </a:cubicBezTo>
                    <a:cubicBezTo>
                      <a:pt x="598" y="711"/>
                      <a:pt x="598" y="711"/>
                      <a:pt x="598" y="711"/>
                    </a:cubicBezTo>
                    <a:cubicBezTo>
                      <a:pt x="599" y="711"/>
                      <a:pt x="599" y="711"/>
                      <a:pt x="599" y="711"/>
                    </a:cubicBezTo>
                    <a:cubicBezTo>
                      <a:pt x="597" y="708"/>
                      <a:pt x="597" y="708"/>
                      <a:pt x="597" y="708"/>
                    </a:cubicBezTo>
                    <a:cubicBezTo>
                      <a:pt x="599" y="707"/>
                      <a:pt x="600" y="706"/>
                      <a:pt x="602" y="705"/>
                    </a:cubicBezTo>
                    <a:cubicBezTo>
                      <a:pt x="603" y="708"/>
                      <a:pt x="603" y="708"/>
                      <a:pt x="603" y="708"/>
                    </a:cubicBezTo>
                    <a:cubicBezTo>
                      <a:pt x="604" y="707"/>
                      <a:pt x="604" y="707"/>
                      <a:pt x="604" y="707"/>
                    </a:cubicBezTo>
                    <a:cubicBezTo>
                      <a:pt x="602" y="705"/>
                      <a:pt x="602" y="705"/>
                      <a:pt x="602" y="705"/>
                    </a:cubicBezTo>
                    <a:cubicBezTo>
                      <a:pt x="604" y="704"/>
                      <a:pt x="606" y="702"/>
                      <a:pt x="607" y="701"/>
                    </a:cubicBezTo>
                    <a:cubicBezTo>
                      <a:pt x="609" y="704"/>
                      <a:pt x="609" y="704"/>
                      <a:pt x="609" y="704"/>
                    </a:cubicBezTo>
                    <a:cubicBezTo>
                      <a:pt x="610" y="703"/>
                      <a:pt x="610" y="703"/>
                      <a:pt x="610" y="703"/>
                    </a:cubicBezTo>
                    <a:cubicBezTo>
                      <a:pt x="608" y="701"/>
                      <a:pt x="608" y="701"/>
                      <a:pt x="608" y="701"/>
                    </a:cubicBezTo>
                    <a:cubicBezTo>
                      <a:pt x="609" y="700"/>
                      <a:pt x="611" y="699"/>
                      <a:pt x="613" y="697"/>
                    </a:cubicBezTo>
                    <a:cubicBezTo>
                      <a:pt x="614" y="700"/>
                      <a:pt x="614" y="700"/>
                      <a:pt x="614" y="700"/>
                    </a:cubicBezTo>
                    <a:cubicBezTo>
                      <a:pt x="615" y="699"/>
                      <a:pt x="615" y="699"/>
                      <a:pt x="615" y="699"/>
                    </a:cubicBezTo>
                    <a:cubicBezTo>
                      <a:pt x="613" y="697"/>
                      <a:pt x="613" y="697"/>
                      <a:pt x="613" y="697"/>
                    </a:cubicBezTo>
                    <a:cubicBezTo>
                      <a:pt x="615" y="696"/>
                      <a:pt x="616" y="695"/>
                      <a:pt x="618" y="694"/>
                    </a:cubicBezTo>
                    <a:cubicBezTo>
                      <a:pt x="620" y="696"/>
                      <a:pt x="620" y="696"/>
                      <a:pt x="620" y="696"/>
                    </a:cubicBezTo>
                    <a:cubicBezTo>
                      <a:pt x="620" y="695"/>
                      <a:pt x="620" y="695"/>
                      <a:pt x="620" y="695"/>
                    </a:cubicBezTo>
                    <a:cubicBezTo>
                      <a:pt x="619" y="693"/>
                      <a:pt x="619" y="693"/>
                      <a:pt x="619" y="693"/>
                    </a:cubicBezTo>
                    <a:cubicBezTo>
                      <a:pt x="620" y="692"/>
                      <a:pt x="622" y="691"/>
                      <a:pt x="623" y="690"/>
                    </a:cubicBezTo>
                    <a:cubicBezTo>
                      <a:pt x="625" y="692"/>
                      <a:pt x="625" y="692"/>
                      <a:pt x="625" y="692"/>
                    </a:cubicBezTo>
                    <a:cubicBezTo>
                      <a:pt x="626" y="691"/>
                      <a:pt x="626" y="691"/>
                      <a:pt x="626" y="691"/>
                    </a:cubicBezTo>
                    <a:cubicBezTo>
                      <a:pt x="624" y="689"/>
                      <a:pt x="624" y="689"/>
                      <a:pt x="624" y="689"/>
                    </a:cubicBezTo>
                    <a:cubicBezTo>
                      <a:pt x="625" y="688"/>
                      <a:pt x="627" y="687"/>
                      <a:pt x="628" y="685"/>
                    </a:cubicBezTo>
                    <a:cubicBezTo>
                      <a:pt x="630" y="688"/>
                      <a:pt x="630" y="688"/>
                      <a:pt x="630" y="688"/>
                    </a:cubicBezTo>
                    <a:cubicBezTo>
                      <a:pt x="631" y="687"/>
                      <a:pt x="631" y="687"/>
                      <a:pt x="631" y="687"/>
                    </a:cubicBezTo>
                    <a:cubicBezTo>
                      <a:pt x="629" y="685"/>
                      <a:pt x="629" y="685"/>
                      <a:pt x="629" y="685"/>
                    </a:cubicBezTo>
                    <a:cubicBezTo>
                      <a:pt x="630" y="684"/>
                      <a:pt x="632" y="683"/>
                      <a:pt x="633" y="682"/>
                    </a:cubicBezTo>
                    <a:cubicBezTo>
                      <a:pt x="637" y="686"/>
                      <a:pt x="637" y="686"/>
                      <a:pt x="637" y="686"/>
                    </a:cubicBezTo>
                    <a:cubicBezTo>
                      <a:pt x="637" y="685"/>
                      <a:pt x="637" y="685"/>
                      <a:pt x="637" y="685"/>
                    </a:cubicBezTo>
                    <a:cubicBezTo>
                      <a:pt x="642" y="691"/>
                      <a:pt x="642" y="691"/>
                      <a:pt x="642" y="691"/>
                    </a:cubicBezTo>
                    <a:cubicBezTo>
                      <a:pt x="642" y="691"/>
                      <a:pt x="642" y="691"/>
                      <a:pt x="642" y="691"/>
                    </a:cubicBezTo>
                    <a:cubicBezTo>
                      <a:pt x="637" y="685"/>
                      <a:pt x="637" y="685"/>
                      <a:pt x="637" y="685"/>
                    </a:cubicBezTo>
                    <a:cubicBezTo>
                      <a:pt x="638" y="685"/>
                      <a:pt x="638" y="685"/>
                      <a:pt x="638" y="685"/>
                    </a:cubicBezTo>
                    <a:cubicBezTo>
                      <a:pt x="634" y="680"/>
                      <a:pt x="634" y="680"/>
                      <a:pt x="634" y="680"/>
                    </a:cubicBezTo>
                    <a:cubicBezTo>
                      <a:pt x="636" y="679"/>
                      <a:pt x="637" y="678"/>
                      <a:pt x="638" y="677"/>
                    </a:cubicBezTo>
                    <a:cubicBezTo>
                      <a:pt x="640" y="679"/>
                      <a:pt x="640" y="679"/>
                      <a:pt x="640" y="679"/>
                    </a:cubicBezTo>
                    <a:cubicBezTo>
                      <a:pt x="641" y="679"/>
                      <a:pt x="641" y="679"/>
                      <a:pt x="641" y="679"/>
                    </a:cubicBezTo>
                    <a:cubicBezTo>
                      <a:pt x="639" y="676"/>
                      <a:pt x="639" y="676"/>
                      <a:pt x="639" y="676"/>
                    </a:cubicBezTo>
                    <a:cubicBezTo>
                      <a:pt x="640" y="675"/>
                      <a:pt x="642" y="674"/>
                      <a:pt x="643" y="673"/>
                    </a:cubicBezTo>
                    <a:cubicBezTo>
                      <a:pt x="645" y="675"/>
                      <a:pt x="645" y="675"/>
                      <a:pt x="645" y="675"/>
                    </a:cubicBezTo>
                    <a:cubicBezTo>
                      <a:pt x="646" y="674"/>
                      <a:pt x="646" y="674"/>
                      <a:pt x="646" y="674"/>
                    </a:cubicBezTo>
                    <a:cubicBezTo>
                      <a:pt x="644" y="672"/>
                      <a:pt x="644" y="672"/>
                      <a:pt x="644" y="672"/>
                    </a:cubicBezTo>
                    <a:cubicBezTo>
                      <a:pt x="645" y="671"/>
                      <a:pt x="647" y="669"/>
                      <a:pt x="648" y="668"/>
                    </a:cubicBezTo>
                    <a:cubicBezTo>
                      <a:pt x="650" y="670"/>
                      <a:pt x="650" y="670"/>
                      <a:pt x="650" y="670"/>
                    </a:cubicBezTo>
                    <a:cubicBezTo>
                      <a:pt x="651" y="670"/>
                      <a:pt x="651" y="670"/>
                      <a:pt x="651" y="670"/>
                    </a:cubicBezTo>
                    <a:cubicBezTo>
                      <a:pt x="649" y="668"/>
                      <a:pt x="649" y="668"/>
                      <a:pt x="649" y="668"/>
                    </a:cubicBezTo>
                    <a:cubicBezTo>
                      <a:pt x="650" y="666"/>
                      <a:pt x="652" y="665"/>
                      <a:pt x="653" y="664"/>
                    </a:cubicBezTo>
                    <a:cubicBezTo>
                      <a:pt x="655" y="666"/>
                      <a:pt x="655" y="666"/>
                      <a:pt x="655" y="666"/>
                    </a:cubicBezTo>
                    <a:cubicBezTo>
                      <a:pt x="656" y="665"/>
                      <a:pt x="656" y="665"/>
                      <a:pt x="656" y="665"/>
                    </a:cubicBezTo>
                    <a:cubicBezTo>
                      <a:pt x="654" y="663"/>
                      <a:pt x="654" y="663"/>
                      <a:pt x="654" y="663"/>
                    </a:cubicBezTo>
                    <a:cubicBezTo>
                      <a:pt x="655" y="662"/>
                      <a:pt x="656" y="660"/>
                      <a:pt x="658" y="659"/>
                    </a:cubicBezTo>
                    <a:cubicBezTo>
                      <a:pt x="660" y="661"/>
                      <a:pt x="660" y="661"/>
                      <a:pt x="660" y="661"/>
                    </a:cubicBezTo>
                    <a:cubicBezTo>
                      <a:pt x="660" y="661"/>
                      <a:pt x="660" y="661"/>
                      <a:pt x="660" y="661"/>
                    </a:cubicBezTo>
                    <a:cubicBezTo>
                      <a:pt x="658" y="658"/>
                      <a:pt x="658" y="658"/>
                      <a:pt x="658" y="658"/>
                    </a:cubicBezTo>
                    <a:cubicBezTo>
                      <a:pt x="660" y="657"/>
                      <a:pt x="661" y="656"/>
                      <a:pt x="662" y="654"/>
                    </a:cubicBezTo>
                    <a:cubicBezTo>
                      <a:pt x="664" y="656"/>
                      <a:pt x="664" y="656"/>
                      <a:pt x="664" y="656"/>
                    </a:cubicBezTo>
                    <a:cubicBezTo>
                      <a:pt x="665" y="656"/>
                      <a:pt x="665" y="656"/>
                      <a:pt x="665" y="656"/>
                    </a:cubicBezTo>
                    <a:cubicBezTo>
                      <a:pt x="663" y="654"/>
                      <a:pt x="663" y="654"/>
                      <a:pt x="663" y="654"/>
                    </a:cubicBezTo>
                    <a:cubicBezTo>
                      <a:pt x="664" y="652"/>
                      <a:pt x="666" y="651"/>
                      <a:pt x="667" y="649"/>
                    </a:cubicBezTo>
                    <a:cubicBezTo>
                      <a:pt x="669" y="651"/>
                      <a:pt x="669" y="651"/>
                      <a:pt x="669" y="651"/>
                    </a:cubicBezTo>
                    <a:cubicBezTo>
                      <a:pt x="670" y="651"/>
                      <a:pt x="670" y="651"/>
                      <a:pt x="670" y="651"/>
                    </a:cubicBezTo>
                    <a:cubicBezTo>
                      <a:pt x="667" y="649"/>
                      <a:pt x="667" y="649"/>
                      <a:pt x="667" y="649"/>
                    </a:cubicBezTo>
                    <a:cubicBezTo>
                      <a:pt x="669" y="647"/>
                      <a:pt x="670" y="646"/>
                      <a:pt x="671" y="645"/>
                    </a:cubicBezTo>
                    <a:cubicBezTo>
                      <a:pt x="674" y="647"/>
                      <a:pt x="674" y="647"/>
                      <a:pt x="674" y="647"/>
                    </a:cubicBezTo>
                    <a:cubicBezTo>
                      <a:pt x="674" y="646"/>
                      <a:pt x="674" y="646"/>
                      <a:pt x="674" y="646"/>
                    </a:cubicBezTo>
                    <a:cubicBezTo>
                      <a:pt x="672" y="644"/>
                      <a:pt x="672" y="644"/>
                      <a:pt x="672" y="644"/>
                    </a:cubicBezTo>
                    <a:cubicBezTo>
                      <a:pt x="673" y="643"/>
                      <a:pt x="674" y="641"/>
                      <a:pt x="676" y="640"/>
                    </a:cubicBezTo>
                    <a:cubicBezTo>
                      <a:pt x="678" y="642"/>
                      <a:pt x="678" y="642"/>
                      <a:pt x="678" y="642"/>
                    </a:cubicBezTo>
                    <a:cubicBezTo>
                      <a:pt x="678" y="641"/>
                      <a:pt x="678" y="641"/>
                      <a:pt x="678" y="641"/>
                    </a:cubicBezTo>
                    <a:cubicBezTo>
                      <a:pt x="676" y="639"/>
                      <a:pt x="676" y="639"/>
                      <a:pt x="676" y="639"/>
                    </a:cubicBezTo>
                    <a:cubicBezTo>
                      <a:pt x="677" y="638"/>
                      <a:pt x="679" y="636"/>
                      <a:pt x="680" y="635"/>
                    </a:cubicBezTo>
                    <a:cubicBezTo>
                      <a:pt x="684" y="639"/>
                      <a:pt x="684" y="639"/>
                      <a:pt x="684" y="639"/>
                    </a:cubicBezTo>
                    <a:cubicBezTo>
                      <a:pt x="684" y="638"/>
                      <a:pt x="684" y="638"/>
                      <a:pt x="684" y="638"/>
                    </a:cubicBezTo>
                    <a:cubicBezTo>
                      <a:pt x="690" y="643"/>
                      <a:pt x="690" y="643"/>
                      <a:pt x="690" y="643"/>
                    </a:cubicBezTo>
                    <a:cubicBezTo>
                      <a:pt x="691" y="643"/>
                      <a:pt x="691" y="643"/>
                      <a:pt x="691" y="643"/>
                    </a:cubicBezTo>
                    <a:cubicBezTo>
                      <a:pt x="685" y="638"/>
                      <a:pt x="685" y="638"/>
                      <a:pt x="685" y="638"/>
                    </a:cubicBezTo>
                    <a:cubicBezTo>
                      <a:pt x="685" y="637"/>
                      <a:pt x="685" y="637"/>
                      <a:pt x="685" y="637"/>
                    </a:cubicBezTo>
                    <a:cubicBezTo>
                      <a:pt x="681" y="634"/>
                      <a:pt x="681" y="634"/>
                      <a:pt x="681" y="634"/>
                    </a:cubicBezTo>
                    <a:cubicBezTo>
                      <a:pt x="682" y="632"/>
                      <a:pt x="683" y="631"/>
                      <a:pt x="684" y="630"/>
                    </a:cubicBezTo>
                    <a:cubicBezTo>
                      <a:pt x="687" y="631"/>
                      <a:pt x="687" y="631"/>
                      <a:pt x="687" y="631"/>
                    </a:cubicBezTo>
                    <a:cubicBezTo>
                      <a:pt x="687" y="631"/>
                      <a:pt x="687" y="631"/>
                      <a:pt x="687" y="631"/>
                    </a:cubicBezTo>
                    <a:cubicBezTo>
                      <a:pt x="685" y="629"/>
                      <a:pt x="685" y="629"/>
                      <a:pt x="685" y="629"/>
                    </a:cubicBezTo>
                    <a:cubicBezTo>
                      <a:pt x="686" y="627"/>
                      <a:pt x="687" y="626"/>
                      <a:pt x="688" y="624"/>
                    </a:cubicBezTo>
                    <a:cubicBezTo>
                      <a:pt x="691" y="626"/>
                      <a:pt x="691" y="626"/>
                      <a:pt x="691" y="626"/>
                    </a:cubicBezTo>
                    <a:cubicBezTo>
                      <a:pt x="691" y="626"/>
                      <a:pt x="691" y="626"/>
                      <a:pt x="691" y="626"/>
                    </a:cubicBezTo>
                    <a:cubicBezTo>
                      <a:pt x="689" y="624"/>
                      <a:pt x="689" y="624"/>
                      <a:pt x="689" y="624"/>
                    </a:cubicBezTo>
                    <a:cubicBezTo>
                      <a:pt x="690" y="622"/>
                      <a:pt x="691" y="621"/>
                      <a:pt x="692" y="619"/>
                    </a:cubicBezTo>
                    <a:cubicBezTo>
                      <a:pt x="695" y="621"/>
                      <a:pt x="695" y="621"/>
                      <a:pt x="695" y="621"/>
                    </a:cubicBezTo>
                    <a:cubicBezTo>
                      <a:pt x="695" y="620"/>
                      <a:pt x="695" y="620"/>
                      <a:pt x="695" y="620"/>
                    </a:cubicBezTo>
                    <a:cubicBezTo>
                      <a:pt x="693" y="619"/>
                      <a:pt x="693" y="619"/>
                      <a:pt x="693" y="619"/>
                    </a:cubicBezTo>
                    <a:cubicBezTo>
                      <a:pt x="694" y="617"/>
                      <a:pt x="695" y="615"/>
                      <a:pt x="696" y="614"/>
                    </a:cubicBezTo>
                    <a:cubicBezTo>
                      <a:pt x="699" y="616"/>
                      <a:pt x="699" y="616"/>
                      <a:pt x="699" y="616"/>
                    </a:cubicBezTo>
                    <a:cubicBezTo>
                      <a:pt x="699" y="615"/>
                      <a:pt x="699" y="615"/>
                      <a:pt x="699" y="615"/>
                    </a:cubicBezTo>
                    <a:cubicBezTo>
                      <a:pt x="697" y="613"/>
                      <a:pt x="697" y="613"/>
                      <a:pt x="697" y="613"/>
                    </a:cubicBezTo>
                    <a:cubicBezTo>
                      <a:pt x="698" y="612"/>
                      <a:pt x="699" y="610"/>
                      <a:pt x="700" y="609"/>
                    </a:cubicBezTo>
                    <a:cubicBezTo>
                      <a:pt x="703" y="610"/>
                      <a:pt x="703" y="610"/>
                      <a:pt x="703" y="610"/>
                    </a:cubicBezTo>
                    <a:cubicBezTo>
                      <a:pt x="703" y="610"/>
                      <a:pt x="703" y="610"/>
                      <a:pt x="703" y="610"/>
                    </a:cubicBezTo>
                    <a:cubicBezTo>
                      <a:pt x="701" y="608"/>
                      <a:pt x="701" y="608"/>
                      <a:pt x="701" y="608"/>
                    </a:cubicBezTo>
                    <a:cubicBezTo>
                      <a:pt x="702" y="606"/>
                      <a:pt x="703" y="605"/>
                      <a:pt x="704" y="603"/>
                    </a:cubicBezTo>
                    <a:cubicBezTo>
                      <a:pt x="706" y="605"/>
                      <a:pt x="706" y="605"/>
                      <a:pt x="706" y="605"/>
                    </a:cubicBezTo>
                    <a:cubicBezTo>
                      <a:pt x="707" y="604"/>
                      <a:pt x="707" y="604"/>
                      <a:pt x="707" y="604"/>
                    </a:cubicBezTo>
                    <a:cubicBezTo>
                      <a:pt x="704" y="602"/>
                      <a:pt x="704" y="602"/>
                      <a:pt x="704" y="602"/>
                    </a:cubicBezTo>
                    <a:cubicBezTo>
                      <a:pt x="705" y="601"/>
                      <a:pt x="706" y="599"/>
                      <a:pt x="708" y="598"/>
                    </a:cubicBezTo>
                    <a:cubicBezTo>
                      <a:pt x="710" y="599"/>
                      <a:pt x="710" y="599"/>
                      <a:pt x="710" y="599"/>
                    </a:cubicBezTo>
                    <a:cubicBezTo>
                      <a:pt x="710" y="599"/>
                      <a:pt x="710" y="599"/>
                      <a:pt x="710" y="599"/>
                    </a:cubicBezTo>
                    <a:cubicBezTo>
                      <a:pt x="708" y="597"/>
                      <a:pt x="708" y="597"/>
                      <a:pt x="708" y="597"/>
                    </a:cubicBezTo>
                    <a:cubicBezTo>
                      <a:pt x="709" y="595"/>
                      <a:pt x="710" y="594"/>
                      <a:pt x="711" y="592"/>
                    </a:cubicBezTo>
                    <a:cubicBezTo>
                      <a:pt x="714" y="594"/>
                      <a:pt x="714" y="594"/>
                      <a:pt x="714" y="594"/>
                    </a:cubicBezTo>
                    <a:cubicBezTo>
                      <a:pt x="714" y="593"/>
                      <a:pt x="714" y="593"/>
                      <a:pt x="714" y="593"/>
                    </a:cubicBezTo>
                    <a:cubicBezTo>
                      <a:pt x="712" y="591"/>
                      <a:pt x="712" y="591"/>
                      <a:pt x="712" y="591"/>
                    </a:cubicBezTo>
                    <a:cubicBezTo>
                      <a:pt x="713" y="590"/>
                      <a:pt x="714" y="588"/>
                      <a:pt x="715" y="586"/>
                    </a:cubicBezTo>
                    <a:cubicBezTo>
                      <a:pt x="717" y="588"/>
                      <a:pt x="717" y="588"/>
                      <a:pt x="717" y="588"/>
                    </a:cubicBezTo>
                    <a:cubicBezTo>
                      <a:pt x="717" y="587"/>
                      <a:pt x="717" y="587"/>
                      <a:pt x="717" y="587"/>
                    </a:cubicBezTo>
                    <a:cubicBezTo>
                      <a:pt x="715" y="586"/>
                      <a:pt x="715" y="586"/>
                      <a:pt x="715" y="586"/>
                    </a:cubicBezTo>
                    <a:cubicBezTo>
                      <a:pt x="716" y="584"/>
                      <a:pt x="717" y="583"/>
                      <a:pt x="718" y="581"/>
                    </a:cubicBezTo>
                    <a:cubicBezTo>
                      <a:pt x="722" y="584"/>
                      <a:pt x="722" y="584"/>
                      <a:pt x="722" y="584"/>
                    </a:cubicBezTo>
                    <a:cubicBezTo>
                      <a:pt x="723" y="583"/>
                      <a:pt x="723" y="583"/>
                      <a:pt x="723" y="583"/>
                    </a:cubicBezTo>
                    <a:cubicBezTo>
                      <a:pt x="729" y="587"/>
                      <a:pt x="729" y="587"/>
                      <a:pt x="729" y="587"/>
                    </a:cubicBezTo>
                    <a:cubicBezTo>
                      <a:pt x="730" y="587"/>
                      <a:pt x="730" y="587"/>
                      <a:pt x="730" y="587"/>
                    </a:cubicBezTo>
                    <a:cubicBezTo>
                      <a:pt x="723" y="583"/>
                      <a:pt x="723" y="583"/>
                      <a:pt x="723" y="583"/>
                    </a:cubicBezTo>
                    <a:cubicBezTo>
                      <a:pt x="723" y="582"/>
                      <a:pt x="723" y="582"/>
                      <a:pt x="723" y="582"/>
                    </a:cubicBezTo>
                    <a:cubicBezTo>
                      <a:pt x="719" y="580"/>
                      <a:pt x="719" y="580"/>
                      <a:pt x="719" y="580"/>
                    </a:cubicBezTo>
                    <a:cubicBezTo>
                      <a:pt x="719" y="578"/>
                      <a:pt x="720" y="577"/>
                      <a:pt x="721" y="575"/>
                    </a:cubicBezTo>
                    <a:cubicBezTo>
                      <a:pt x="724" y="576"/>
                      <a:pt x="724" y="576"/>
                      <a:pt x="724" y="576"/>
                    </a:cubicBezTo>
                    <a:cubicBezTo>
                      <a:pt x="724" y="576"/>
                      <a:pt x="724" y="576"/>
                      <a:pt x="724" y="576"/>
                    </a:cubicBezTo>
                    <a:cubicBezTo>
                      <a:pt x="722" y="574"/>
                      <a:pt x="722" y="574"/>
                      <a:pt x="722" y="574"/>
                    </a:cubicBezTo>
                    <a:cubicBezTo>
                      <a:pt x="723" y="573"/>
                      <a:pt x="723" y="571"/>
                      <a:pt x="724" y="569"/>
                    </a:cubicBezTo>
                    <a:cubicBezTo>
                      <a:pt x="727" y="571"/>
                      <a:pt x="727" y="571"/>
                      <a:pt x="727" y="571"/>
                    </a:cubicBezTo>
                    <a:cubicBezTo>
                      <a:pt x="727" y="570"/>
                      <a:pt x="727" y="570"/>
                      <a:pt x="727" y="570"/>
                    </a:cubicBezTo>
                    <a:cubicBezTo>
                      <a:pt x="725" y="569"/>
                      <a:pt x="725" y="569"/>
                      <a:pt x="725" y="569"/>
                    </a:cubicBezTo>
                    <a:cubicBezTo>
                      <a:pt x="726" y="567"/>
                      <a:pt x="727" y="565"/>
                      <a:pt x="727" y="563"/>
                    </a:cubicBezTo>
                    <a:cubicBezTo>
                      <a:pt x="730" y="565"/>
                      <a:pt x="730" y="565"/>
                      <a:pt x="730" y="565"/>
                    </a:cubicBezTo>
                    <a:cubicBezTo>
                      <a:pt x="730" y="564"/>
                      <a:pt x="730" y="564"/>
                      <a:pt x="730" y="564"/>
                    </a:cubicBezTo>
                    <a:cubicBezTo>
                      <a:pt x="728" y="563"/>
                      <a:pt x="728" y="563"/>
                      <a:pt x="728" y="563"/>
                    </a:cubicBezTo>
                    <a:cubicBezTo>
                      <a:pt x="729" y="561"/>
                      <a:pt x="730" y="559"/>
                      <a:pt x="730" y="557"/>
                    </a:cubicBezTo>
                    <a:cubicBezTo>
                      <a:pt x="733" y="559"/>
                      <a:pt x="733" y="559"/>
                      <a:pt x="733" y="559"/>
                    </a:cubicBezTo>
                    <a:cubicBezTo>
                      <a:pt x="733" y="558"/>
                      <a:pt x="733" y="558"/>
                      <a:pt x="733" y="558"/>
                    </a:cubicBezTo>
                    <a:cubicBezTo>
                      <a:pt x="731" y="557"/>
                      <a:pt x="731" y="557"/>
                      <a:pt x="731" y="557"/>
                    </a:cubicBezTo>
                    <a:cubicBezTo>
                      <a:pt x="732" y="555"/>
                      <a:pt x="732" y="553"/>
                      <a:pt x="733" y="551"/>
                    </a:cubicBezTo>
                    <a:cubicBezTo>
                      <a:pt x="736" y="553"/>
                      <a:pt x="736" y="553"/>
                      <a:pt x="736" y="553"/>
                    </a:cubicBezTo>
                    <a:cubicBezTo>
                      <a:pt x="736" y="552"/>
                      <a:pt x="736" y="552"/>
                      <a:pt x="736" y="552"/>
                    </a:cubicBezTo>
                    <a:cubicBezTo>
                      <a:pt x="734" y="551"/>
                      <a:pt x="734" y="551"/>
                      <a:pt x="734" y="551"/>
                    </a:cubicBezTo>
                    <a:cubicBezTo>
                      <a:pt x="734" y="549"/>
                      <a:pt x="735" y="547"/>
                      <a:pt x="736" y="545"/>
                    </a:cubicBezTo>
                    <a:cubicBezTo>
                      <a:pt x="739" y="547"/>
                      <a:pt x="739" y="547"/>
                      <a:pt x="739" y="547"/>
                    </a:cubicBezTo>
                    <a:cubicBezTo>
                      <a:pt x="739" y="546"/>
                      <a:pt x="739" y="546"/>
                      <a:pt x="739" y="546"/>
                    </a:cubicBezTo>
                    <a:cubicBezTo>
                      <a:pt x="736" y="545"/>
                      <a:pt x="736" y="545"/>
                      <a:pt x="736" y="545"/>
                    </a:cubicBezTo>
                    <a:cubicBezTo>
                      <a:pt x="737" y="543"/>
                      <a:pt x="738" y="541"/>
                      <a:pt x="739" y="539"/>
                    </a:cubicBezTo>
                    <a:cubicBezTo>
                      <a:pt x="741" y="541"/>
                      <a:pt x="741" y="541"/>
                      <a:pt x="741" y="541"/>
                    </a:cubicBezTo>
                    <a:cubicBezTo>
                      <a:pt x="742" y="540"/>
                      <a:pt x="742" y="540"/>
                      <a:pt x="742" y="540"/>
                    </a:cubicBezTo>
                    <a:cubicBezTo>
                      <a:pt x="739" y="539"/>
                      <a:pt x="739" y="539"/>
                      <a:pt x="739" y="539"/>
                    </a:cubicBezTo>
                    <a:cubicBezTo>
                      <a:pt x="740" y="537"/>
                      <a:pt x="740" y="535"/>
                      <a:pt x="741" y="533"/>
                    </a:cubicBezTo>
                    <a:cubicBezTo>
                      <a:pt x="744" y="534"/>
                      <a:pt x="744" y="534"/>
                      <a:pt x="744" y="534"/>
                    </a:cubicBezTo>
                    <a:cubicBezTo>
                      <a:pt x="744" y="534"/>
                      <a:pt x="744" y="534"/>
                      <a:pt x="744" y="534"/>
                    </a:cubicBezTo>
                    <a:cubicBezTo>
                      <a:pt x="741" y="533"/>
                      <a:pt x="741" y="533"/>
                      <a:pt x="741" y="533"/>
                    </a:cubicBezTo>
                    <a:cubicBezTo>
                      <a:pt x="742" y="531"/>
                      <a:pt x="743" y="529"/>
                      <a:pt x="744" y="527"/>
                    </a:cubicBezTo>
                    <a:cubicBezTo>
                      <a:pt x="746" y="528"/>
                      <a:pt x="746" y="528"/>
                      <a:pt x="746" y="528"/>
                    </a:cubicBezTo>
                    <a:cubicBezTo>
                      <a:pt x="747" y="527"/>
                      <a:pt x="747" y="527"/>
                      <a:pt x="747" y="527"/>
                    </a:cubicBezTo>
                    <a:cubicBezTo>
                      <a:pt x="744" y="526"/>
                      <a:pt x="744" y="526"/>
                      <a:pt x="744" y="526"/>
                    </a:cubicBezTo>
                    <a:cubicBezTo>
                      <a:pt x="744" y="525"/>
                      <a:pt x="745" y="523"/>
                      <a:pt x="746" y="521"/>
                    </a:cubicBezTo>
                    <a:cubicBezTo>
                      <a:pt x="751" y="523"/>
                      <a:pt x="751" y="523"/>
                      <a:pt x="751" y="523"/>
                    </a:cubicBezTo>
                    <a:cubicBezTo>
                      <a:pt x="751" y="523"/>
                      <a:pt x="751" y="523"/>
                      <a:pt x="751" y="523"/>
                    </a:cubicBezTo>
                    <a:cubicBezTo>
                      <a:pt x="758" y="525"/>
                      <a:pt x="758" y="525"/>
                      <a:pt x="758" y="525"/>
                    </a:cubicBezTo>
                    <a:cubicBezTo>
                      <a:pt x="758" y="525"/>
                      <a:pt x="758" y="525"/>
                      <a:pt x="758" y="525"/>
                    </a:cubicBezTo>
                    <a:cubicBezTo>
                      <a:pt x="751" y="522"/>
                      <a:pt x="751" y="522"/>
                      <a:pt x="751" y="522"/>
                    </a:cubicBezTo>
                    <a:cubicBezTo>
                      <a:pt x="751" y="522"/>
                      <a:pt x="751" y="522"/>
                      <a:pt x="751" y="522"/>
                    </a:cubicBezTo>
                    <a:cubicBezTo>
                      <a:pt x="746" y="520"/>
                      <a:pt x="746" y="520"/>
                      <a:pt x="746" y="520"/>
                    </a:cubicBezTo>
                    <a:cubicBezTo>
                      <a:pt x="747" y="518"/>
                      <a:pt x="748" y="516"/>
                      <a:pt x="748" y="515"/>
                    </a:cubicBezTo>
                    <a:cubicBezTo>
                      <a:pt x="751" y="516"/>
                      <a:pt x="751" y="516"/>
                      <a:pt x="751" y="516"/>
                    </a:cubicBezTo>
                    <a:cubicBezTo>
                      <a:pt x="751" y="515"/>
                      <a:pt x="751" y="515"/>
                      <a:pt x="751" y="515"/>
                    </a:cubicBezTo>
                    <a:cubicBezTo>
                      <a:pt x="748" y="514"/>
                      <a:pt x="748" y="514"/>
                      <a:pt x="748" y="514"/>
                    </a:cubicBezTo>
                    <a:cubicBezTo>
                      <a:pt x="749" y="512"/>
                      <a:pt x="750" y="510"/>
                      <a:pt x="750" y="509"/>
                    </a:cubicBezTo>
                    <a:cubicBezTo>
                      <a:pt x="753" y="509"/>
                      <a:pt x="753" y="509"/>
                      <a:pt x="753" y="509"/>
                    </a:cubicBezTo>
                    <a:cubicBezTo>
                      <a:pt x="753" y="509"/>
                      <a:pt x="753" y="509"/>
                      <a:pt x="753" y="509"/>
                    </a:cubicBezTo>
                    <a:cubicBezTo>
                      <a:pt x="750" y="508"/>
                      <a:pt x="750" y="508"/>
                      <a:pt x="750" y="508"/>
                    </a:cubicBezTo>
                    <a:cubicBezTo>
                      <a:pt x="751" y="506"/>
                      <a:pt x="752" y="504"/>
                      <a:pt x="752" y="502"/>
                    </a:cubicBezTo>
                    <a:cubicBezTo>
                      <a:pt x="755" y="503"/>
                      <a:pt x="755" y="503"/>
                      <a:pt x="755" y="503"/>
                    </a:cubicBezTo>
                    <a:cubicBezTo>
                      <a:pt x="755" y="502"/>
                      <a:pt x="755" y="502"/>
                      <a:pt x="755" y="502"/>
                    </a:cubicBezTo>
                    <a:cubicBezTo>
                      <a:pt x="752" y="501"/>
                      <a:pt x="752" y="501"/>
                      <a:pt x="752" y="501"/>
                    </a:cubicBezTo>
                    <a:cubicBezTo>
                      <a:pt x="753" y="500"/>
                      <a:pt x="753" y="498"/>
                      <a:pt x="754" y="496"/>
                    </a:cubicBezTo>
                    <a:cubicBezTo>
                      <a:pt x="757" y="497"/>
                      <a:pt x="757" y="497"/>
                      <a:pt x="757" y="497"/>
                    </a:cubicBezTo>
                    <a:cubicBezTo>
                      <a:pt x="757" y="496"/>
                      <a:pt x="757" y="496"/>
                      <a:pt x="757" y="496"/>
                    </a:cubicBezTo>
                    <a:cubicBezTo>
                      <a:pt x="754" y="495"/>
                      <a:pt x="754" y="495"/>
                      <a:pt x="754" y="495"/>
                    </a:cubicBezTo>
                    <a:cubicBezTo>
                      <a:pt x="755" y="493"/>
                      <a:pt x="755" y="491"/>
                      <a:pt x="756" y="489"/>
                    </a:cubicBezTo>
                    <a:cubicBezTo>
                      <a:pt x="759" y="490"/>
                      <a:pt x="759" y="490"/>
                      <a:pt x="759" y="490"/>
                    </a:cubicBezTo>
                    <a:cubicBezTo>
                      <a:pt x="759" y="489"/>
                      <a:pt x="759" y="489"/>
                      <a:pt x="759" y="489"/>
                    </a:cubicBezTo>
                    <a:cubicBezTo>
                      <a:pt x="756" y="489"/>
                      <a:pt x="756" y="489"/>
                      <a:pt x="756" y="489"/>
                    </a:cubicBezTo>
                    <a:cubicBezTo>
                      <a:pt x="757" y="487"/>
                      <a:pt x="757" y="485"/>
                      <a:pt x="757" y="483"/>
                    </a:cubicBezTo>
                    <a:cubicBezTo>
                      <a:pt x="760" y="484"/>
                      <a:pt x="760" y="484"/>
                      <a:pt x="760" y="484"/>
                    </a:cubicBezTo>
                    <a:cubicBezTo>
                      <a:pt x="760" y="483"/>
                      <a:pt x="760" y="483"/>
                      <a:pt x="760" y="483"/>
                    </a:cubicBezTo>
                    <a:cubicBezTo>
                      <a:pt x="758" y="482"/>
                      <a:pt x="758" y="482"/>
                      <a:pt x="758" y="482"/>
                    </a:cubicBezTo>
                    <a:cubicBezTo>
                      <a:pt x="758" y="480"/>
                      <a:pt x="759" y="479"/>
                      <a:pt x="759" y="477"/>
                    </a:cubicBezTo>
                    <a:cubicBezTo>
                      <a:pt x="762" y="477"/>
                      <a:pt x="762" y="477"/>
                      <a:pt x="762" y="477"/>
                    </a:cubicBezTo>
                    <a:cubicBezTo>
                      <a:pt x="762" y="477"/>
                      <a:pt x="762" y="477"/>
                      <a:pt x="762" y="477"/>
                    </a:cubicBezTo>
                    <a:cubicBezTo>
                      <a:pt x="759" y="476"/>
                      <a:pt x="759" y="476"/>
                      <a:pt x="759" y="476"/>
                    </a:cubicBezTo>
                    <a:cubicBezTo>
                      <a:pt x="760" y="474"/>
                      <a:pt x="760" y="472"/>
                      <a:pt x="760" y="470"/>
                    </a:cubicBezTo>
                    <a:cubicBezTo>
                      <a:pt x="763" y="471"/>
                      <a:pt x="763" y="471"/>
                      <a:pt x="763" y="471"/>
                    </a:cubicBezTo>
                    <a:cubicBezTo>
                      <a:pt x="763" y="470"/>
                      <a:pt x="763" y="470"/>
                      <a:pt x="763" y="470"/>
                    </a:cubicBezTo>
                    <a:cubicBezTo>
                      <a:pt x="761" y="469"/>
                      <a:pt x="761" y="469"/>
                      <a:pt x="761" y="469"/>
                    </a:cubicBezTo>
                    <a:cubicBezTo>
                      <a:pt x="761" y="468"/>
                      <a:pt x="761" y="466"/>
                      <a:pt x="762" y="464"/>
                    </a:cubicBezTo>
                    <a:cubicBezTo>
                      <a:pt x="765" y="464"/>
                      <a:pt x="765" y="464"/>
                      <a:pt x="765" y="464"/>
                    </a:cubicBezTo>
                    <a:cubicBezTo>
                      <a:pt x="765" y="464"/>
                      <a:pt x="765" y="464"/>
                      <a:pt x="765" y="464"/>
                    </a:cubicBezTo>
                    <a:cubicBezTo>
                      <a:pt x="762" y="463"/>
                      <a:pt x="762" y="463"/>
                      <a:pt x="762" y="463"/>
                    </a:cubicBezTo>
                    <a:cubicBezTo>
                      <a:pt x="762" y="461"/>
                      <a:pt x="763" y="460"/>
                      <a:pt x="763" y="458"/>
                    </a:cubicBezTo>
                    <a:cubicBezTo>
                      <a:pt x="768" y="459"/>
                      <a:pt x="768" y="459"/>
                      <a:pt x="768" y="459"/>
                    </a:cubicBezTo>
                    <a:cubicBezTo>
                      <a:pt x="768" y="458"/>
                      <a:pt x="768" y="458"/>
                      <a:pt x="768" y="458"/>
                    </a:cubicBezTo>
                    <a:cubicBezTo>
                      <a:pt x="776" y="460"/>
                      <a:pt x="776" y="460"/>
                      <a:pt x="776" y="460"/>
                    </a:cubicBezTo>
                    <a:cubicBezTo>
                      <a:pt x="776" y="459"/>
                      <a:pt x="776" y="459"/>
                      <a:pt x="776" y="459"/>
                    </a:cubicBezTo>
                    <a:cubicBezTo>
                      <a:pt x="768" y="457"/>
                      <a:pt x="768" y="457"/>
                      <a:pt x="768" y="457"/>
                    </a:cubicBezTo>
                    <a:cubicBezTo>
                      <a:pt x="768" y="457"/>
                      <a:pt x="768" y="457"/>
                      <a:pt x="768" y="457"/>
                    </a:cubicBezTo>
                    <a:cubicBezTo>
                      <a:pt x="763" y="456"/>
                      <a:pt x="763" y="456"/>
                      <a:pt x="763" y="456"/>
                    </a:cubicBezTo>
                    <a:cubicBezTo>
                      <a:pt x="763" y="454"/>
                      <a:pt x="764" y="453"/>
                      <a:pt x="764" y="451"/>
                    </a:cubicBezTo>
                    <a:cubicBezTo>
                      <a:pt x="767" y="451"/>
                      <a:pt x="767" y="451"/>
                      <a:pt x="767" y="451"/>
                    </a:cubicBezTo>
                    <a:cubicBezTo>
                      <a:pt x="767" y="450"/>
                      <a:pt x="767" y="450"/>
                      <a:pt x="767" y="450"/>
                    </a:cubicBezTo>
                    <a:cubicBezTo>
                      <a:pt x="764" y="450"/>
                      <a:pt x="764" y="450"/>
                      <a:pt x="764" y="450"/>
                    </a:cubicBezTo>
                    <a:cubicBezTo>
                      <a:pt x="764" y="448"/>
                      <a:pt x="765" y="446"/>
                      <a:pt x="765" y="444"/>
                    </a:cubicBezTo>
                    <a:cubicBezTo>
                      <a:pt x="768" y="445"/>
                      <a:pt x="768" y="445"/>
                      <a:pt x="768" y="445"/>
                    </a:cubicBezTo>
                    <a:cubicBezTo>
                      <a:pt x="768" y="444"/>
                      <a:pt x="768" y="444"/>
                      <a:pt x="768" y="444"/>
                    </a:cubicBezTo>
                    <a:cubicBezTo>
                      <a:pt x="765" y="443"/>
                      <a:pt x="765" y="443"/>
                      <a:pt x="765" y="443"/>
                    </a:cubicBezTo>
                    <a:cubicBezTo>
                      <a:pt x="765" y="442"/>
                      <a:pt x="766" y="440"/>
                      <a:pt x="766" y="438"/>
                    </a:cubicBezTo>
                    <a:cubicBezTo>
                      <a:pt x="769" y="438"/>
                      <a:pt x="769" y="438"/>
                      <a:pt x="769" y="438"/>
                    </a:cubicBezTo>
                    <a:cubicBezTo>
                      <a:pt x="769" y="437"/>
                      <a:pt x="769" y="437"/>
                      <a:pt x="769" y="437"/>
                    </a:cubicBezTo>
                    <a:cubicBezTo>
                      <a:pt x="766" y="437"/>
                      <a:pt x="766" y="437"/>
                      <a:pt x="766" y="437"/>
                    </a:cubicBezTo>
                    <a:cubicBezTo>
                      <a:pt x="766" y="435"/>
                      <a:pt x="766" y="433"/>
                      <a:pt x="767" y="431"/>
                    </a:cubicBezTo>
                    <a:cubicBezTo>
                      <a:pt x="770" y="431"/>
                      <a:pt x="770" y="431"/>
                      <a:pt x="770" y="431"/>
                    </a:cubicBezTo>
                    <a:cubicBezTo>
                      <a:pt x="770" y="431"/>
                      <a:pt x="770" y="431"/>
                      <a:pt x="770" y="431"/>
                    </a:cubicBezTo>
                    <a:cubicBezTo>
                      <a:pt x="767" y="430"/>
                      <a:pt x="767" y="430"/>
                      <a:pt x="767" y="430"/>
                    </a:cubicBezTo>
                    <a:cubicBezTo>
                      <a:pt x="767" y="428"/>
                      <a:pt x="767" y="426"/>
                      <a:pt x="767" y="425"/>
                    </a:cubicBezTo>
                    <a:cubicBezTo>
                      <a:pt x="770" y="425"/>
                      <a:pt x="770" y="425"/>
                      <a:pt x="770" y="425"/>
                    </a:cubicBezTo>
                    <a:cubicBezTo>
                      <a:pt x="770" y="424"/>
                      <a:pt x="770" y="424"/>
                      <a:pt x="770" y="424"/>
                    </a:cubicBezTo>
                    <a:cubicBezTo>
                      <a:pt x="767" y="424"/>
                      <a:pt x="767" y="424"/>
                      <a:pt x="767" y="424"/>
                    </a:cubicBezTo>
                    <a:cubicBezTo>
                      <a:pt x="767" y="422"/>
                      <a:pt x="768" y="420"/>
                      <a:pt x="768" y="418"/>
                    </a:cubicBezTo>
                    <a:cubicBezTo>
                      <a:pt x="771" y="418"/>
                      <a:pt x="771" y="418"/>
                      <a:pt x="771" y="418"/>
                    </a:cubicBezTo>
                    <a:cubicBezTo>
                      <a:pt x="771" y="417"/>
                      <a:pt x="771" y="417"/>
                      <a:pt x="771" y="417"/>
                    </a:cubicBezTo>
                    <a:cubicBezTo>
                      <a:pt x="768" y="417"/>
                      <a:pt x="768" y="417"/>
                      <a:pt x="768" y="417"/>
                    </a:cubicBezTo>
                    <a:cubicBezTo>
                      <a:pt x="768" y="415"/>
                      <a:pt x="768" y="413"/>
                      <a:pt x="768" y="411"/>
                    </a:cubicBezTo>
                    <a:cubicBezTo>
                      <a:pt x="771" y="412"/>
                      <a:pt x="771" y="412"/>
                      <a:pt x="771" y="412"/>
                    </a:cubicBezTo>
                    <a:cubicBezTo>
                      <a:pt x="771" y="411"/>
                      <a:pt x="771" y="411"/>
                      <a:pt x="771" y="411"/>
                    </a:cubicBezTo>
                    <a:cubicBezTo>
                      <a:pt x="768" y="411"/>
                      <a:pt x="768" y="411"/>
                      <a:pt x="768" y="411"/>
                    </a:cubicBezTo>
                    <a:cubicBezTo>
                      <a:pt x="768" y="409"/>
                      <a:pt x="768" y="407"/>
                      <a:pt x="768" y="405"/>
                    </a:cubicBezTo>
                    <a:cubicBezTo>
                      <a:pt x="771" y="405"/>
                      <a:pt x="771" y="405"/>
                      <a:pt x="771" y="405"/>
                    </a:cubicBezTo>
                    <a:cubicBezTo>
                      <a:pt x="771" y="404"/>
                      <a:pt x="771" y="404"/>
                      <a:pt x="771" y="404"/>
                    </a:cubicBezTo>
                    <a:cubicBezTo>
                      <a:pt x="768" y="404"/>
                      <a:pt x="768" y="404"/>
                      <a:pt x="768" y="404"/>
                    </a:cubicBezTo>
                    <a:cubicBezTo>
                      <a:pt x="768" y="402"/>
                      <a:pt x="769" y="400"/>
                      <a:pt x="769" y="398"/>
                    </a:cubicBezTo>
                    <a:cubicBezTo>
                      <a:pt x="772" y="398"/>
                      <a:pt x="772" y="398"/>
                      <a:pt x="772" y="398"/>
                    </a:cubicBezTo>
                    <a:cubicBezTo>
                      <a:pt x="772" y="397"/>
                      <a:pt x="772" y="397"/>
                      <a:pt x="772" y="397"/>
                    </a:cubicBezTo>
                    <a:cubicBezTo>
                      <a:pt x="769" y="397"/>
                      <a:pt x="769" y="397"/>
                      <a:pt x="769" y="397"/>
                    </a:cubicBezTo>
                    <a:cubicBezTo>
                      <a:pt x="769" y="396"/>
                      <a:pt x="769" y="394"/>
                      <a:pt x="769" y="392"/>
                    </a:cubicBezTo>
                    <a:cubicBezTo>
                      <a:pt x="774" y="392"/>
                      <a:pt x="774" y="392"/>
                      <a:pt x="774" y="392"/>
                    </a:cubicBezTo>
                    <a:cubicBezTo>
                      <a:pt x="774" y="392"/>
                      <a:pt x="774" y="392"/>
                      <a:pt x="774" y="392"/>
                    </a:cubicBezTo>
                    <a:cubicBezTo>
                      <a:pt x="782" y="392"/>
                      <a:pt x="782" y="392"/>
                      <a:pt x="782" y="392"/>
                    </a:cubicBezTo>
                    <a:lnTo>
                      <a:pt x="782" y="391"/>
                    </a:lnTo>
                    <a:close/>
                    <a:moveTo>
                      <a:pt x="767" y="397"/>
                    </a:moveTo>
                    <a:cubicBezTo>
                      <a:pt x="764" y="397"/>
                      <a:pt x="764" y="397"/>
                      <a:pt x="764" y="397"/>
                    </a:cubicBezTo>
                    <a:cubicBezTo>
                      <a:pt x="764" y="398"/>
                      <a:pt x="764" y="398"/>
                      <a:pt x="764" y="398"/>
                    </a:cubicBezTo>
                    <a:cubicBezTo>
                      <a:pt x="767" y="398"/>
                      <a:pt x="767" y="398"/>
                      <a:pt x="767" y="398"/>
                    </a:cubicBezTo>
                    <a:cubicBezTo>
                      <a:pt x="767" y="400"/>
                      <a:pt x="767" y="402"/>
                      <a:pt x="767" y="404"/>
                    </a:cubicBezTo>
                    <a:cubicBezTo>
                      <a:pt x="764" y="404"/>
                      <a:pt x="764" y="404"/>
                      <a:pt x="764" y="404"/>
                    </a:cubicBezTo>
                    <a:cubicBezTo>
                      <a:pt x="764" y="405"/>
                      <a:pt x="764" y="405"/>
                      <a:pt x="764" y="405"/>
                    </a:cubicBezTo>
                    <a:cubicBezTo>
                      <a:pt x="767" y="405"/>
                      <a:pt x="767" y="405"/>
                      <a:pt x="767" y="405"/>
                    </a:cubicBezTo>
                    <a:cubicBezTo>
                      <a:pt x="767" y="407"/>
                      <a:pt x="767" y="409"/>
                      <a:pt x="767" y="411"/>
                    </a:cubicBezTo>
                    <a:cubicBezTo>
                      <a:pt x="764" y="410"/>
                      <a:pt x="764" y="410"/>
                      <a:pt x="764" y="410"/>
                    </a:cubicBezTo>
                    <a:cubicBezTo>
                      <a:pt x="763" y="411"/>
                      <a:pt x="763" y="411"/>
                      <a:pt x="763" y="411"/>
                    </a:cubicBezTo>
                    <a:cubicBezTo>
                      <a:pt x="766" y="411"/>
                      <a:pt x="766" y="411"/>
                      <a:pt x="766" y="411"/>
                    </a:cubicBezTo>
                    <a:cubicBezTo>
                      <a:pt x="766" y="413"/>
                      <a:pt x="766" y="415"/>
                      <a:pt x="766" y="417"/>
                    </a:cubicBezTo>
                    <a:cubicBezTo>
                      <a:pt x="763" y="417"/>
                      <a:pt x="763" y="417"/>
                      <a:pt x="763" y="417"/>
                    </a:cubicBezTo>
                    <a:cubicBezTo>
                      <a:pt x="763" y="418"/>
                      <a:pt x="763" y="418"/>
                      <a:pt x="763" y="418"/>
                    </a:cubicBezTo>
                    <a:cubicBezTo>
                      <a:pt x="766" y="418"/>
                      <a:pt x="766" y="418"/>
                      <a:pt x="766" y="418"/>
                    </a:cubicBezTo>
                    <a:cubicBezTo>
                      <a:pt x="766" y="420"/>
                      <a:pt x="766" y="422"/>
                      <a:pt x="766" y="424"/>
                    </a:cubicBezTo>
                    <a:cubicBezTo>
                      <a:pt x="763" y="423"/>
                      <a:pt x="763" y="423"/>
                      <a:pt x="763" y="423"/>
                    </a:cubicBezTo>
                    <a:cubicBezTo>
                      <a:pt x="763" y="424"/>
                      <a:pt x="763" y="424"/>
                      <a:pt x="763" y="424"/>
                    </a:cubicBezTo>
                    <a:cubicBezTo>
                      <a:pt x="766" y="424"/>
                      <a:pt x="766" y="424"/>
                      <a:pt x="766" y="424"/>
                    </a:cubicBezTo>
                    <a:cubicBezTo>
                      <a:pt x="765" y="426"/>
                      <a:pt x="765" y="428"/>
                      <a:pt x="765" y="430"/>
                    </a:cubicBezTo>
                    <a:cubicBezTo>
                      <a:pt x="762" y="430"/>
                      <a:pt x="762" y="430"/>
                      <a:pt x="762" y="430"/>
                    </a:cubicBezTo>
                    <a:cubicBezTo>
                      <a:pt x="762" y="431"/>
                      <a:pt x="762" y="431"/>
                      <a:pt x="762" y="431"/>
                    </a:cubicBezTo>
                    <a:cubicBezTo>
                      <a:pt x="765" y="431"/>
                      <a:pt x="765" y="431"/>
                      <a:pt x="765" y="431"/>
                    </a:cubicBezTo>
                    <a:cubicBezTo>
                      <a:pt x="765" y="433"/>
                      <a:pt x="765" y="435"/>
                      <a:pt x="764" y="437"/>
                    </a:cubicBezTo>
                    <a:cubicBezTo>
                      <a:pt x="761" y="436"/>
                      <a:pt x="761" y="436"/>
                      <a:pt x="761" y="436"/>
                    </a:cubicBezTo>
                    <a:cubicBezTo>
                      <a:pt x="761" y="437"/>
                      <a:pt x="761" y="437"/>
                      <a:pt x="761" y="437"/>
                    </a:cubicBezTo>
                    <a:cubicBezTo>
                      <a:pt x="764" y="437"/>
                      <a:pt x="764" y="437"/>
                      <a:pt x="764" y="437"/>
                    </a:cubicBezTo>
                    <a:cubicBezTo>
                      <a:pt x="764" y="439"/>
                      <a:pt x="764" y="441"/>
                      <a:pt x="763" y="443"/>
                    </a:cubicBezTo>
                    <a:cubicBezTo>
                      <a:pt x="760" y="443"/>
                      <a:pt x="760" y="443"/>
                      <a:pt x="760" y="443"/>
                    </a:cubicBezTo>
                    <a:cubicBezTo>
                      <a:pt x="760" y="444"/>
                      <a:pt x="760" y="444"/>
                      <a:pt x="760" y="444"/>
                    </a:cubicBezTo>
                    <a:cubicBezTo>
                      <a:pt x="763" y="444"/>
                      <a:pt x="763" y="444"/>
                      <a:pt x="763" y="444"/>
                    </a:cubicBezTo>
                    <a:cubicBezTo>
                      <a:pt x="763" y="446"/>
                      <a:pt x="763" y="448"/>
                      <a:pt x="762" y="450"/>
                    </a:cubicBezTo>
                    <a:cubicBezTo>
                      <a:pt x="759" y="449"/>
                      <a:pt x="759" y="449"/>
                      <a:pt x="759" y="449"/>
                    </a:cubicBezTo>
                    <a:cubicBezTo>
                      <a:pt x="759" y="450"/>
                      <a:pt x="759" y="450"/>
                      <a:pt x="759" y="450"/>
                    </a:cubicBezTo>
                    <a:cubicBezTo>
                      <a:pt x="762" y="451"/>
                      <a:pt x="762" y="451"/>
                      <a:pt x="762" y="451"/>
                    </a:cubicBezTo>
                    <a:cubicBezTo>
                      <a:pt x="762" y="452"/>
                      <a:pt x="762" y="454"/>
                      <a:pt x="761" y="456"/>
                    </a:cubicBezTo>
                    <a:cubicBezTo>
                      <a:pt x="756" y="455"/>
                      <a:pt x="756" y="455"/>
                      <a:pt x="756" y="455"/>
                    </a:cubicBezTo>
                    <a:cubicBezTo>
                      <a:pt x="756" y="455"/>
                      <a:pt x="756" y="455"/>
                      <a:pt x="756" y="455"/>
                    </a:cubicBezTo>
                    <a:cubicBezTo>
                      <a:pt x="748" y="454"/>
                      <a:pt x="748" y="454"/>
                      <a:pt x="748" y="454"/>
                    </a:cubicBezTo>
                    <a:cubicBezTo>
                      <a:pt x="748" y="455"/>
                      <a:pt x="748" y="455"/>
                      <a:pt x="748" y="455"/>
                    </a:cubicBezTo>
                    <a:cubicBezTo>
                      <a:pt x="756" y="456"/>
                      <a:pt x="756" y="456"/>
                      <a:pt x="756" y="456"/>
                    </a:cubicBezTo>
                    <a:cubicBezTo>
                      <a:pt x="756" y="457"/>
                      <a:pt x="756" y="457"/>
                      <a:pt x="756" y="457"/>
                    </a:cubicBezTo>
                    <a:cubicBezTo>
                      <a:pt x="761" y="457"/>
                      <a:pt x="761" y="457"/>
                      <a:pt x="761" y="457"/>
                    </a:cubicBezTo>
                    <a:cubicBezTo>
                      <a:pt x="761" y="459"/>
                      <a:pt x="761" y="461"/>
                      <a:pt x="760" y="463"/>
                    </a:cubicBezTo>
                    <a:cubicBezTo>
                      <a:pt x="757" y="462"/>
                      <a:pt x="757" y="462"/>
                      <a:pt x="757" y="462"/>
                    </a:cubicBezTo>
                    <a:cubicBezTo>
                      <a:pt x="757" y="463"/>
                      <a:pt x="757" y="463"/>
                      <a:pt x="757" y="463"/>
                    </a:cubicBezTo>
                    <a:cubicBezTo>
                      <a:pt x="760" y="463"/>
                      <a:pt x="760" y="463"/>
                      <a:pt x="760" y="463"/>
                    </a:cubicBezTo>
                    <a:cubicBezTo>
                      <a:pt x="760" y="465"/>
                      <a:pt x="759" y="467"/>
                      <a:pt x="759" y="469"/>
                    </a:cubicBezTo>
                    <a:cubicBezTo>
                      <a:pt x="756" y="468"/>
                      <a:pt x="756" y="468"/>
                      <a:pt x="756" y="468"/>
                    </a:cubicBezTo>
                    <a:cubicBezTo>
                      <a:pt x="756" y="469"/>
                      <a:pt x="756" y="469"/>
                      <a:pt x="756" y="469"/>
                    </a:cubicBezTo>
                    <a:cubicBezTo>
                      <a:pt x="759" y="470"/>
                      <a:pt x="759" y="470"/>
                      <a:pt x="759" y="470"/>
                    </a:cubicBezTo>
                    <a:cubicBezTo>
                      <a:pt x="758" y="472"/>
                      <a:pt x="758" y="474"/>
                      <a:pt x="757" y="476"/>
                    </a:cubicBezTo>
                    <a:cubicBezTo>
                      <a:pt x="755" y="475"/>
                      <a:pt x="755" y="475"/>
                      <a:pt x="755" y="475"/>
                    </a:cubicBezTo>
                    <a:cubicBezTo>
                      <a:pt x="754" y="476"/>
                      <a:pt x="754" y="476"/>
                      <a:pt x="754" y="476"/>
                    </a:cubicBezTo>
                    <a:cubicBezTo>
                      <a:pt x="757" y="476"/>
                      <a:pt x="757" y="476"/>
                      <a:pt x="757" y="476"/>
                    </a:cubicBezTo>
                    <a:cubicBezTo>
                      <a:pt x="757" y="478"/>
                      <a:pt x="756" y="480"/>
                      <a:pt x="756" y="482"/>
                    </a:cubicBezTo>
                    <a:cubicBezTo>
                      <a:pt x="753" y="481"/>
                      <a:pt x="753" y="481"/>
                      <a:pt x="753" y="481"/>
                    </a:cubicBezTo>
                    <a:cubicBezTo>
                      <a:pt x="753" y="482"/>
                      <a:pt x="753" y="482"/>
                      <a:pt x="753" y="482"/>
                    </a:cubicBezTo>
                    <a:cubicBezTo>
                      <a:pt x="756" y="483"/>
                      <a:pt x="756" y="483"/>
                      <a:pt x="756" y="483"/>
                    </a:cubicBezTo>
                    <a:cubicBezTo>
                      <a:pt x="755" y="485"/>
                      <a:pt x="755" y="486"/>
                      <a:pt x="754" y="488"/>
                    </a:cubicBezTo>
                    <a:cubicBezTo>
                      <a:pt x="751" y="488"/>
                      <a:pt x="751" y="488"/>
                      <a:pt x="751" y="488"/>
                    </a:cubicBezTo>
                    <a:cubicBezTo>
                      <a:pt x="751" y="488"/>
                      <a:pt x="751" y="488"/>
                      <a:pt x="751" y="488"/>
                    </a:cubicBezTo>
                    <a:cubicBezTo>
                      <a:pt x="754" y="489"/>
                      <a:pt x="754" y="489"/>
                      <a:pt x="754" y="489"/>
                    </a:cubicBezTo>
                    <a:cubicBezTo>
                      <a:pt x="754" y="491"/>
                      <a:pt x="753" y="493"/>
                      <a:pt x="753" y="495"/>
                    </a:cubicBezTo>
                    <a:cubicBezTo>
                      <a:pt x="750" y="494"/>
                      <a:pt x="750" y="494"/>
                      <a:pt x="750" y="494"/>
                    </a:cubicBezTo>
                    <a:cubicBezTo>
                      <a:pt x="749" y="495"/>
                      <a:pt x="749" y="495"/>
                      <a:pt x="749" y="495"/>
                    </a:cubicBezTo>
                    <a:cubicBezTo>
                      <a:pt x="752" y="495"/>
                      <a:pt x="752" y="495"/>
                      <a:pt x="752" y="495"/>
                    </a:cubicBezTo>
                    <a:cubicBezTo>
                      <a:pt x="752" y="497"/>
                      <a:pt x="751" y="499"/>
                      <a:pt x="751" y="501"/>
                    </a:cubicBezTo>
                    <a:cubicBezTo>
                      <a:pt x="748" y="500"/>
                      <a:pt x="748" y="500"/>
                      <a:pt x="748" y="500"/>
                    </a:cubicBezTo>
                    <a:cubicBezTo>
                      <a:pt x="748" y="501"/>
                      <a:pt x="748" y="501"/>
                      <a:pt x="748" y="501"/>
                    </a:cubicBezTo>
                    <a:cubicBezTo>
                      <a:pt x="750" y="502"/>
                      <a:pt x="750" y="502"/>
                      <a:pt x="750" y="502"/>
                    </a:cubicBezTo>
                    <a:cubicBezTo>
                      <a:pt x="750" y="504"/>
                      <a:pt x="749" y="505"/>
                      <a:pt x="749" y="507"/>
                    </a:cubicBezTo>
                    <a:cubicBezTo>
                      <a:pt x="746" y="506"/>
                      <a:pt x="746" y="506"/>
                      <a:pt x="746" y="506"/>
                    </a:cubicBezTo>
                    <a:cubicBezTo>
                      <a:pt x="746" y="507"/>
                      <a:pt x="746" y="507"/>
                      <a:pt x="746" y="507"/>
                    </a:cubicBezTo>
                    <a:cubicBezTo>
                      <a:pt x="748" y="508"/>
                      <a:pt x="748" y="508"/>
                      <a:pt x="748" y="508"/>
                    </a:cubicBezTo>
                    <a:cubicBezTo>
                      <a:pt x="748" y="510"/>
                      <a:pt x="747" y="512"/>
                      <a:pt x="747" y="513"/>
                    </a:cubicBezTo>
                    <a:cubicBezTo>
                      <a:pt x="744" y="512"/>
                      <a:pt x="744" y="512"/>
                      <a:pt x="744" y="512"/>
                    </a:cubicBezTo>
                    <a:cubicBezTo>
                      <a:pt x="744" y="513"/>
                      <a:pt x="744" y="513"/>
                      <a:pt x="744" y="513"/>
                    </a:cubicBezTo>
                    <a:cubicBezTo>
                      <a:pt x="746" y="514"/>
                      <a:pt x="746" y="514"/>
                      <a:pt x="746" y="514"/>
                    </a:cubicBezTo>
                    <a:cubicBezTo>
                      <a:pt x="746" y="516"/>
                      <a:pt x="745" y="518"/>
                      <a:pt x="745" y="519"/>
                    </a:cubicBezTo>
                    <a:cubicBezTo>
                      <a:pt x="739" y="517"/>
                      <a:pt x="739" y="517"/>
                      <a:pt x="739" y="517"/>
                    </a:cubicBezTo>
                    <a:cubicBezTo>
                      <a:pt x="739" y="518"/>
                      <a:pt x="739" y="518"/>
                      <a:pt x="739" y="518"/>
                    </a:cubicBezTo>
                    <a:cubicBezTo>
                      <a:pt x="732" y="515"/>
                      <a:pt x="732" y="515"/>
                      <a:pt x="732" y="515"/>
                    </a:cubicBezTo>
                    <a:cubicBezTo>
                      <a:pt x="732" y="516"/>
                      <a:pt x="732" y="516"/>
                      <a:pt x="732" y="516"/>
                    </a:cubicBezTo>
                    <a:cubicBezTo>
                      <a:pt x="739" y="518"/>
                      <a:pt x="739" y="518"/>
                      <a:pt x="739" y="518"/>
                    </a:cubicBezTo>
                    <a:cubicBezTo>
                      <a:pt x="739" y="519"/>
                      <a:pt x="739" y="519"/>
                      <a:pt x="739" y="519"/>
                    </a:cubicBezTo>
                    <a:cubicBezTo>
                      <a:pt x="744" y="521"/>
                      <a:pt x="744" y="521"/>
                      <a:pt x="744" y="521"/>
                    </a:cubicBezTo>
                    <a:cubicBezTo>
                      <a:pt x="743" y="523"/>
                      <a:pt x="743" y="524"/>
                      <a:pt x="742" y="526"/>
                    </a:cubicBezTo>
                    <a:cubicBezTo>
                      <a:pt x="739" y="525"/>
                      <a:pt x="739" y="525"/>
                      <a:pt x="739" y="525"/>
                    </a:cubicBezTo>
                    <a:cubicBezTo>
                      <a:pt x="739" y="525"/>
                      <a:pt x="739" y="525"/>
                      <a:pt x="739" y="525"/>
                    </a:cubicBezTo>
                    <a:cubicBezTo>
                      <a:pt x="742" y="527"/>
                      <a:pt x="742" y="527"/>
                      <a:pt x="742" y="527"/>
                    </a:cubicBezTo>
                    <a:cubicBezTo>
                      <a:pt x="741" y="528"/>
                      <a:pt x="740" y="530"/>
                      <a:pt x="740" y="532"/>
                    </a:cubicBezTo>
                    <a:cubicBezTo>
                      <a:pt x="737" y="531"/>
                      <a:pt x="737" y="531"/>
                      <a:pt x="737" y="531"/>
                    </a:cubicBezTo>
                    <a:cubicBezTo>
                      <a:pt x="737" y="532"/>
                      <a:pt x="737" y="532"/>
                      <a:pt x="737" y="532"/>
                    </a:cubicBezTo>
                    <a:cubicBezTo>
                      <a:pt x="739" y="533"/>
                      <a:pt x="739" y="533"/>
                      <a:pt x="739" y="533"/>
                    </a:cubicBezTo>
                    <a:cubicBezTo>
                      <a:pt x="739" y="534"/>
                      <a:pt x="738" y="536"/>
                      <a:pt x="737" y="538"/>
                    </a:cubicBezTo>
                    <a:cubicBezTo>
                      <a:pt x="734" y="537"/>
                      <a:pt x="734" y="537"/>
                      <a:pt x="734" y="537"/>
                    </a:cubicBezTo>
                    <a:cubicBezTo>
                      <a:pt x="734" y="538"/>
                      <a:pt x="734" y="538"/>
                      <a:pt x="734" y="538"/>
                    </a:cubicBezTo>
                    <a:cubicBezTo>
                      <a:pt x="737" y="539"/>
                      <a:pt x="737" y="539"/>
                      <a:pt x="737" y="539"/>
                    </a:cubicBezTo>
                    <a:cubicBezTo>
                      <a:pt x="736" y="540"/>
                      <a:pt x="735" y="542"/>
                      <a:pt x="735" y="544"/>
                    </a:cubicBezTo>
                    <a:cubicBezTo>
                      <a:pt x="732" y="543"/>
                      <a:pt x="732" y="543"/>
                      <a:pt x="732" y="543"/>
                    </a:cubicBezTo>
                    <a:cubicBezTo>
                      <a:pt x="732" y="544"/>
                      <a:pt x="732" y="544"/>
                      <a:pt x="732" y="544"/>
                    </a:cubicBezTo>
                    <a:cubicBezTo>
                      <a:pt x="734" y="545"/>
                      <a:pt x="734" y="545"/>
                      <a:pt x="734" y="545"/>
                    </a:cubicBezTo>
                    <a:cubicBezTo>
                      <a:pt x="734" y="546"/>
                      <a:pt x="733" y="548"/>
                      <a:pt x="732" y="550"/>
                    </a:cubicBezTo>
                    <a:cubicBezTo>
                      <a:pt x="729" y="549"/>
                      <a:pt x="729" y="549"/>
                      <a:pt x="729" y="549"/>
                    </a:cubicBezTo>
                    <a:cubicBezTo>
                      <a:pt x="729" y="549"/>
                      <a:pt x="729" y="549"/>
                      <a:pt x="729" y="549"/>
                    </a:cubicBezTo>
                    <a:cubicBezTo>
                      <a:pt x="732" y="551"/>
                      <a:pt x="732" y="551"/>
                      <a:pt x="732" y="551"/>
                    </a:cubicBezTo>
                    <a:cubicBezTo>
                      <a:pt x="731" y="552"/>
                      <a:pt x="730" y="554"/>
                      <a:pt x="729" y="556"/>
                    </a:cubicBezTo>
                    <a:cubicBezTo>
                      <a:pt x="726" y="555"/>
                      <a:pt x="726" y="555"/>
                      <a:pt x="726" y="555"/>
                    </a:cubicBezTo>
                    <a:cubicBezTo>
                      <a:pt x="726" y="555"/>
                      <a:pt x="726" y="555"/>
                      <a:pt x="726" y="555"/>
                    </a:cubicBezTo>
                    <a:cubicBezTo>
                      <a:pt x="729" y="557"/>
                      <a:pt x="729" y="557"/>
                      <a:pt x="729" y="557"/>
                    </a:cubicBezTo>
                    <a:cubicBezTo>
                      <a:pt x="728" y="558"/>
                      <a:pt x="727" y="560"/>
                      <a:pt x="726" y="562"/>
                    </a:cubicBezTo>
                    <a:cubicBezTo>
                      <a:pt x="724" y="560"/>
                      <a:pt x="724" y="560"/>
                      <a:pt x="724" y="560"/>
                    </a:cubicBezTo>
                    <a:cubicBezTo>
                      <a:pt x="723" y="561"/>
                      <a:pt x="723" y="561"/>
                      <a:pt x="723" y="561"/>
                    </a:cubicBezTo>
                    <a:cubicBezTo>
                      <a:pt x="726" y="563"/>
                      <a:pt x="726" y="563"/>
                      <a:pt x="726" y="563"/>
                    </a:cubicBezTo>
                    <a:cubicBezTo>
                      <a:pt x="725" y="564"/>
                      <a:pt x="724" y="566"/>
                      <a:pt x="723" y="568"/>
                    </a:cubicBezTo>
                    <a:cubicBezTo>
                      <a:pt x="721" y="566"/>
                      <a:pt x="721" y="566"/>
                      <a:pt x="721" y="566"/>
                    </a:cubicBezTo>
                    <a:cubicBezTo>
                      <a:pt x="720" y="567"/>
                      <a:pt x="720" y="567"/>
                      <a:pt x="720" y="567"/>
                    </a:cubicBezTo>
                    <a:cubicBezTo>
                      <a:pt x="723" y="568"/>
                      <a:pt x="723" y="568"/>
                      <a:pt x="723" y="568"/>
                    </a:cubicBezTo>
                    <a:cubicBezTo>
                      <a:pt x="722" y="570"/>
                      <a:pt x="721" y="572"/>
                      <a:pt x="720" y="573"/>
                    </a:cubicBezTo>
                    <a:cubicBezTo>
                      <a:pt x="717" y="572"/>
                      <a:pt x="717" y="572"/>
                      <a:pt x="717" y="572"/>
                    </a:cubicBezTo>
                    <a:cubicBezTo>
                      <a:pt x="717" y="573"/>
                      <a:pt x="717" y="573"/>
                      <a:pt x="717" y="573"/>
                    </a:cubicBezTo>
                    <a:cubicBezTo>
                      <a:pt x="720" y="574"/>
                      <a:pt x="720" y="574"/>
                      <a:pt x="720" y="574"/>
                    </a:cubicBezTo>
                    <a:cubicBezTo>
                      <a:pt x="719" y="576"/>
                      <a:pt x="718" y="577"/>
                      <a:pt x="717" y="579"/>
                    </a:cubicBezTo>
                    <a:cubicBezTo>
                      <a:pt x="712" y="576"/>
                      <a:pt x="712" y="576"/>
                      <a:pt x="712" y="576"/>
                    </a:cubicBezTo>
                    <a:cubicBezTo>
                      <a:pt x="712" y="576"/>
                      <a:pt x="712" y="576"/>
                      <a:pt x="712" y="576"/>
                    </a:cubicBezTo>
                    <a:cubicBezTo>
                      <a:pt x="705" y="573"/>
                      <a:pt x="705" y="573"/>
                      <a:pt x="705" y="573"/>
                    </a:cubicBezTo>
                    <a:cubicBezTo>
                      <a:pt x="705" y="573"/>
                      <a:pt x="705" y="573"/>
                      <a:pt x="705" y="573"/>
                    </a:cubicBezTo>
                    <a:cubicBezTo>
                      <a:pt x="712" y="577"/>
                      <a:pt x="712" y="577"/>
                      <a:pt x="712" y="577"/>
                    </a:cubicBezTo>
                    <a:cubicBezTo>
                      <a:pt x="711" y="578"/>
                      <a:pt x="711" y="578"/>
                      <a:pt x="711" y="578"/>
                    </a:cubicBezTo>
                    <a:cubicBezTo>
                      <a:pt x="716" y="580"/>
                      <a:pt x="716" y="580"/>
                      <a:pt x="716" y="580"/>
                    </a:cubicBezTo>
                    <a:cubicBezTo>
                      <a:pt x="715" y="582"/>
                      <a:pt x="714" y="583"/>
                      <a:pt x="713" y="585"/>
                    </a:cubicBezTo>
                    <a:cubicBezTo>
                      <a:pt x="711" y="583"/>
                      <a:pt x="711" y="583"/>
                      <a:pt x="711" y="583"/>
                    </a:cubicBezTo>
                    <a:cubicBezTo>
                      <a:pt x="711" y="584"/>
                      <a:pt x="711" y="584"/>
                      <a:pt x="711" y="584"/>
                    </a:cubicBezTo>
                    <a:cubicBezTo>
                      <a:pt x="713" y="585"/>
                      <a:pt x="713" y="585"/>
                      <a:pt x="713" y="585"/>
                    </a:cubicBezTo>
                    <a:cubicBezTo>
                      <a:pt x="712" y="587"/>
                      <a:pt x="711" y="589"/>
                      <a:pt x="710" y="590"/>
                    </a:cubicBezTo>
                    <a:cubicBezTo>
                      <a:pt x="708" y="589"/>
                      <a:pt x="708" y="589"/>
                      <a:pt x="708" y="589"/>
                    </a:cubicBezTo>
                    <a:cubicBezTo>
                      <a:pt x="707" y="590"/>
                      <a:pt x="707" y="590"/>
                      <a:pt x="707" y="590"/>
                    </a:cubicBezTo>
                    <a:cubicBezTo>
                      <a:pt x="710" y="591"/>
                      <a:pt x="710" y="591"/>
                      <a:pt x="710" y="591"/>
                    </a:cubicBezTo>
                    <a:cubicBezTo>
                      <a:pt x="709" y="593"/>
                      <a:pt x="707" y="594"/>
                      <a:pt x="706" y="596"/>
                    </a:cubicBezTo>
                    <a:cubicBezTo>
                      <a:pt x="704" y="594"/>
                      <a:pt x="704" y="594"/>
                      <a:pt x="704" y="594"/>
                    </a:cubicBezTo>
                    <a:cubicBezTo>
                      <a:pt x="704" y="595"/>
                      <a:pt x="704" y="595"/>
                      <a:pt x="704" y="595"/>
                    </a:cubicBezTo>
                    <a:cubicBezTo>
                      <a:pt x="706" y="597"/>
                      <a:pt x="706" y="597"/>
                      <a:pt x="706" y="597"/>
                    </a:cubicBezTo>
                    <a:cubicBezTo>
                      <a:pt x="705" y="598"/>
                      <a:pt x="704" y="600"/>
                      <a:pt x="703" y="601"/>
                    </a:cubicBezTo>
                    <a:cubicBezTo>
                      <a:pt x="700" y="600"/>
                      <a:pt x="700" y="600"/>
                      <a:pt x="700" y="600"/>
                    </a:cubicBezTo>
                    <a:cubicBezTo>
                      <a:pt x="700" y="600"/>
                      <a:pt x="700" y="600"/>
                      <a:pt x="700" y="600"/>
                    </a:cubicBezTo>
                    <a:cubicBezTo>
                      <a:pt x="702" y="602"/>
                      <a:pt x="702" y="602"/>
                      <a:pt x="702" y="602"/>
                    </a:cubicBezTo>
                    <a:cubicBezTo>
                      <a:pt x="701" y="604"/>
                      <a:pt x="700" y="605"/>
                      <a:pt x="699" y="607"/>
                    </a:cubicBezTo>
                    <a:cubicBezTo>
                      <a:pt x="697" y="605"/>
                      <a:pt x="697" y="605"/>
                      <a:pt x="697" y="605"/>
                    </a:cubicBezTo>
                    <a:cubicBezTo>
                      <a:pt x="696" y="606"/>
                      <a:pt x="696" y="606"/>
                      <a:pt x="696" y="606"/>
                    </a:cubicBezTo>
                    <a:cubicBezTo>
                      <a:pt x="699" y="607"/>
                      <a:pt x="699" y="607"/>
                      <a:pt x="699" y="607"/>
                    </a:cubicBezTo>
                    <a:cubicBezTo>
                      <a:pt x="698" y="609"/>
                      <a:pt x="696" y="611"/>
                      <a:pt x="695" y="612"/>
                    </a:cubicBezTo>
                    <a:cubicBezTo>
                      <a:pt x="693" y="610"/>
                      <a:pt x="693" y="610"/>
                      <a:pt x="693" y="610"/>
                    </a:cubicBezTo>
                    <a:cubicBezTo>
                      <a:pt x="693" y="611"/>
                      <a:pt x="693" y="611"/>
                      <a:pt x="693" y="611"/>
                    </a:cubicBezTo>
                    <a:cubicBezTo>
                      <a:pt x="695" y="613"/>
                      <a:pt x="695" y="613"/>
                      <a:pt x="695" y="613"/>
                    </a:cubicBezTo>
                    <a:cubicBezTo>
                      <a:pt x="694" y="614"/>
                      <a:pt x="693" y="616"/>
                      <a:pt x="691" y="617"/>
                    </a:cubicBezTo>
                    <a:cubicBezTo>
                      <a:pt x="689" y="616"/>
                      <a:pt x="689" y="616"/>
                      <a:pt x="689" y="616"/>
                    </a:cubicBezTo>
                    <a:cubicBezTo>
                      <a:pt x="689" y="616"/>
                      <a:pt x="689" y="616"/>
                      <a:pt x="689" y="616"/>
                    </a:cubicBezTo>
                    <a:cubicBezTo>
                      <a:pt x="691" y="618"/>
                      <a:pt x="691" y="618"/>
                      <a:pt x="691" y="618"/>
                    </a:cubicBezTo>
                    <a:cubicBezTo>
                      <a:pt x="690" y="620"/>
                      <a:pt x="689" y="621"/>
                      <a:pt x="687" y="623"/>
                    </a:cubicBezTo>
                    <a:cubicBezTo>
                      <a:pt x="685" y="621"/>
                      <a:pt x="685" y="621"/>
                      <a:pt x="685" y="621"/>
                    </a:cubicBezTo>
                    <a:cubicBezTo>
                      <a:pt x="685" y="622"/>
                      <a:pt x="685" y="622"/>
                      <a:pt x="685" y="622"/>
                    </a:cubicBezTo>
                    <a:cubicBezTo>
                      <a:pt x="687" y="623"/>
                      <a:pt x="687" y="623"/>
                      <a:pt x="687" y="623"/>
                    </a:cubicBezTo>
                    <a:cubicBezTo>
                      <a:pt x="686" y="625"/>
                      <a:pt x="684" y="626"/>
                      <a:pt x="683" y="628"/>
                    </a:cubicBezTo>
                    <a:cubicBezTo>
                      <a:pt x="681" y="626"/>
                      <a:pt x="681" y="626"/>
                      <a:pt x="681" y="626"/>
                    </a:cubicBezTo>
                    <a:cubicBezTo>
                      <a:pt x="681" y="627"/>
                      <a:pt x="681" y="627"/>
                      <a:pt x="681" y="627"/>
                    </a:cubicBezTo>
                    <a:cubicBezTo>
                      <a:pt x="683" y="628"/>
                      <a:pt x="683" y="628"/>
                      <a:pt x="683" y="628"/>
                    </a:cubicBezTo>
                    <a:cubicBezTo>
                      <a:pt x="682" y="630"/>
                      <a:pt x="681" y="631"/>
                      <a:pt x="679" y="632"/>
                    </a:cubicBezTo>
                    <a:cubicBezTo>
                      <a:pt x="675" y="629"/>
                      <a:pt x="675" y="629"/>
                      <a:pt x="675" y="629"/>
                    </a:cubicBezTo>
                    <a:cubicBezTo>
                      <a:pt x="675" y="629"/>
                      <a:pt x="675" y="629"/>
                      <a:pt x="675" y="629"/>
                    </a:cubicBezTo>
                    <a:cubicBezTo>
                      <a:pt x="669" y="624"/>
                      <a:pt x="669" y="624"/>
                      <a:pt x="669" y="624"/>
                    </a:cubicBezTo>
                    <a:cubicBezTo>
                      <a:pt x="669" y="625"/>
                      <a:pt x="669" y="625"/>
                      <a:pt x="669" y="625"/>
                    </a:cubicBezTo>
                    <a:cubicBezTo>
                      <a:pt x="675" y="630"/>
                      <a:pt x="675" y="630"/>
                      <a:pt x="675" y="630"/>
                    </a:cubicBezTo>
                    <a:cubicBezTo>
                      <a:pt x="674" y="630"/>
                      <a:pt x="674" y="630"/>
                      <a:pt x="674" y="630"/>
                    </a:cubicBezTo>
                    <a:cubicBezTo>
                      <a:pt x="678" y="634"/>
                      <a:pt x="678" y="634"/>
                      <a:pt x="678" y="634"/>
                    </a:cubicBezTo>
                    <a:cubicBezTo>
                      <a:pt x="677" y="635"/>
                      <a:pt x="676" y="637"/>
                      <a:pt x="675" y="638"/>
                    </a:cubicBezTo>
                    <a:cubicBezTo>
                      <a:pt x="673" y="636"/>
                      <a:pt x="673" y="636"/>
                      <a:pt x="673" y="636"/>
                    </a:cubicBezTo>
                    <a:cubicBezTo>
                      <a:pt x="672" y="637"/>
                      <a:pt x="672" y="637"/>
                      <a:pt x="672" y="637"/>
                    </a:cubicBezTo>
                    <a:cubicBezTo>
                      <a:pt x="674" y="638"/>
                      <a:pt x="674" y="638"/>
                      <a:pt x="674" y="638"/>
                    </a:cubicBezTo>
                    <a:cubicBezTo>
                      <a:pt x="673" y="640"/>
                      <a:pt x="672" y="641"/>
                      <a:pt x="670" y="643"/>
                    </a:cubicBezTo>
                    <a:cubicBezTo>
                      <a:pt x="668" y="641"/>
                      <a:pt x="668" y="641"/>
                      <a:pt x="668" y="641"/>
                    </a:cubicBezTo>
                    <a:cubicBezTo>
                      <a:pt x="668" y="641"/>
                      <a:pt x="668" y="641"/>
                      <a:pt x="668" y="641"/>
                    </a:cubicBezTo>
                    <a:cubicBezTo>
                      <a:pt x="670" y="643"/>
                      <a:pt x="670" y="643"/>
                      <a:pt x="670" y="643"/>
                    </a:cubicBezTo>
                    <a:cubicBezTo>
                      <a:pt x="669" y="645"/>
                      <a:pt x="667" y="646"/>
                      <a:pt x="666" y="648"/>
                    </a:cubicBezTo>
                    <a:cubicBezTo>
                      <a:pt x="664" y="646"/>
                      <a:pt x="664" y="646"/>
                      <a:pt x="664" y="646"/>
                    </a:cubicBezTo>
                    <a:cubicBezTo>
                      <a:pt x="663" y="646"/>
                      <a:pt x="663" y="646"/>
                      <a:pt x="663" y="646"/>
                    </a:cubicBezTo>
                    <a:cubicBezTo>
                      <a:pt x="666" y="648"/>
                      <a:pt x="666" y="648"/>
                      <a:pt x="666" y="648"/>
                    </a:cubicBezTo>
                    <a:cubicBezTo>
                      <a:pt x="664" y="650"/>
                      <a:pt x="663" y="651"/>
                      <a:pt x="662" y="652"/>
                    </a:cubicBezTo>
                    <a:cubicBezTo>
                      <a:pt x="660" y="650"/>
                      <a:pt x="660" y="650"/>
                      <a:pt x="660" y="650"/>
                    </a:cubicBezTo>
                    <a:cubicBezTo>
                      <a:pt x="659" y="651"/>
                      <a:pt x="659" y="651"/>
                      <a:pt x="659" y="651"/>
                    </a:cubicBezTo>
                    <a:cubicBezTo>
                      <a:pt x="661" y="653"/>
                      <a:pt x="661" y="653"/>
                      <a:pt x="661" y="653"/>
                    </a:cubicBezTo>
                    <a:cubicBezTo>
                      <a:pt x="660" y="654"/>
                      <a:pt x="658" y="656"/>
                      <a:pt x="657" y="657"/>
                    </a:cubicBezTo>
                    <a:cubicBezTo>
                      <a:pt x="655" y="655"/>
                      <a:pt x="655" y="655"/>
                      <a:pt x="655" y="655"/>
                    </a:cubicBezTo>
                    <a:cubicBezTo>
                      <a:pt x="654" y="656"/>
                      <a:pt x="654" y="656"/>
                      <a:pt x="654" y="656"/>
                    </a:cubicBezTo>
                    <a:cubicBezTo>
                      <a:pt x="656" y="658"/>
                      <a:pt x="656" y="658"/>
                      <a:pt x="656" y="658"/>
                    </a:cubicBezTo>
                    <a:cubicBezTo>
                      <a:pt x="655" y="659"/>
                      <a:pt x="654" y="660"/>
                      <a:pt x="652" y="662"/>
                    </a:cubicBezTo>
                    <a:cubicBezTo>
                      <a:pt x="650" y="660"/>
                      <a:pt x="650" y="660"/>
                      <a:pt x="650" y="660"/>
                    </a:cubicBezTo>
                    <a:cubicBezTo>
                      <a:pt x="650" y="660"/>
                      <a:pt x="650" y="660"/>
                      <a:pt x="650" y="660"/>
                    </a:cubicBezTo>
                    <a:cubicBezTo>
                      <a:pt x="652" y="662"/>
                      <a:pt x="652" y="662"/>
                      <a:pt x="652" y="662"/>
                    </a:cubicBezTo>
                    <a:cubicBezTo>
                      <a:pt x="650" y="664"/>
                      <a:pt x="649" y="665"/>
                      <a:pt x="648" y="666"/>
                    </a:cubicBezTo>
                    <a:cubicBezTo>
                      <a:pt x="646" y="664"/>
                      <a:pt x="646" y="664"/>
                      <a:pt x="646" y="664"/>
                    </a:cubicBezTo>
                    <a:cubicBezTo>
                      <a:pt x="645" y="665"/>
                      <a:pt x="645" y="665"/>
                      <a:pt x="645" y="665"/>
                    </a:cubicBezTo>
                    <a:cubicBezTo>
                      <a:pt x="647" y="667"/>
                      <a:pt x="647" y="667"/>
                      <a:pt x="647" y="667"/>
                    </a:cubicBezTo>
                    <a:cubicBezTo>
                      <a:pt x="646" y="668"/>
                      <a:pt x="644" y="669"/>
                      <a:pt x="643" y="671"/>
                    </a:cubicBezTo>
                    <a:cubicBezTo>
                      <a:pt x="641" y="669"/>
                      <a:pt x="641" y="669"/>
                      <a:pt x="641" y="669"/>
                    </a:cubicBezTo>
                    <a:cubicBezTo>
                      <a:pt x="640" y="669"/>
                      <a:pt x="640" y="669"/>
                      <a:pt x="640" y="669"/>
                    </a:cubicBezTo>
                    <a:cubicBezTo>
                      <a:pt x="642" y="671"/>
                      <a:pt x="642" y="671"/>
                      <a:pt x="642" y="671"/>
                    </a:cubicBezTo>
                    <a:cubicBezTo>
                      <a:pt x="641" y="672"/>
                      <a:pt x="639" y="674"/>
                      <a:pt x="638" y="675"/>
                    </a:cubicBezTo>
                    <a:cubicBezTo>
                      <a:pt x="636" y="673"/>
                      <a:pt x="636" y="673"/>
                      <a:pt x="636" y="673"/>
                    </a:cubicBezTo>
                    <a:cubicBezTo>
                      <a:pt x="635" y="673"/>
                      <a:pt x="635" y="673"/>
                      <a:pt x="635" y="673"/>
                    </a:cubicBezTo>
                    <a:cubicBezTo>
                      <a:pt x="637" y="676"/>
                      <a:pt x="637" y="676"/>
                      <a:pt x="637" y="676"/>
                    </a:cubicBezTo>
                    <a:cubicBezTo>
                      <a:pt x="636" y="677"/>
                      <a:pt x="635" y="678"/>
                      <a:pt x="633" y="679"/>
                    </a:cubicBezTo>
                    <a:cubicBezTo>
                      <a:pt x="630" y="675"/>
                      <a:pt x="630" y="675"/>
                      <a:pt x="630" y="675"/>
                    </a:cubicBezTo>
                    <a:cubicBezTo>
                      <a:pt x="629" y="675"/>
                      <a:pt x="629" y="675"/>
                      <a:pt x="629" y="675"/>
                    </a:cubicBezTo>
                    <a:cubicBezTo>
                      <a:pt x="624" y="669"/>
                      <a:pt x="624" y="669"/>
                      <a:pt x="624" y="669"/>
                    </a:cubicBezTo>
                    <a:cubicBezTo>
                      <a:pt x="624" y="670"/>
                      <a:pt x="624" y="670"/>
                      <a:pt x="624" y="670"/>
                    </a:cubicBezTo>
                    <a:cubicBezTo>
                      <a:pt x="629" y="676"/>
                      <a:pt x="629" y="676"/>
                      <a:pt x="629" y="676"/>
                    </a:cubicBezTo>
                    <a:cubicBezTo>
                      <a:pt x="628" y="676"/>
                      <a:pt x="628" y="676"/>
                      <a:pt x="628" y="676"/>
                    </a:cubicBezTo>
                    <a:cubicBezTo>
                      <a:pt x="632" y="680"/>
                      <a:pt x="632" y="680"/>
                      <a:pt x="632" y="680"/>
                    </a:cubicBezTo>
                    <a:cubicBezTo>
                      <a:pt x="630" y="681"/>
                      <a:pt x="629" y="682"/>
                      <a:pt x="628" y="684"/>
                    </a:cubicBezTo>
                    <a:cubicBezTo>
                      <a:pt x="626" y="681"/>
                      <a:pt x="626" y="681"/>
                      <a:pt x="626" y="681"/>
                    </a:cubicBezTo>
                    <a:cubicBezTo>
                      <a:pt x="625" y="682"/>
                      <a:pt x="625" y="682"/>
                      <a:pt x="625" y="682"/>
                    </a:cubicBezTo>
                    <a:cubicBezTo>
                      <a:pt x="627" y="684"/>
                      <a:pt x="627" y="684"/>
                      <a:pt x="627" y="684"/>
                    </a:cubicBezTo>
                    <a:cubicBezTo>
                      <a:pt x="626" y="685"/>
                      <a:pt x="624" y="686"/>
                      <a:pt x="623" y="688"/>
                    </a:cubicBezTo>
                    <a:cubicBezTo>
                      <a:pt x="621" y="685"/>
                      <a:pt x="621" y="685"/>
                      <a:pt x="621" y="685"/>
                    </a:cubicBezTo>
                    <a:cubicBezTo>
                      <a:pt x="620" y="686"/>
                      <a:pt x="620" y="686"/>
                      <a:pt x="620" y="686"/>
                    </a:cubicBezTo>
                    <a:cubicBezTo>
                      <a:pt x="622" y="688"/>
                      <a:pt x="622" y="688"/>
                      <a:pt x="622" y="688"/>
                    </a:cubicBezTo>
                    <a:cubicBezTo>
                      <a:pt x="621" y="689"/>
                      <a:pt x="619" y="690"/>
                      <a:pt x="617" y="692"/>
                    </a:cubicBezTo>
                    <a:cubicBezTo>
                      <a:pt x="616" y="689"/>
                      <a:pt x="616" y="689"/>
                      <a:pt x="616" y="689"/>
                    </a:cubicBezTo>
                    <a:cubicBezTo>
                      <a:pt x="615" y="690"/>
                      <a:pt x="615" y="690"/>
                      <a:pt x="615" y="690"/>
                    </a:cubicBezTo>
                    <a:cubicBezTo>
                      <a:pt x="617" y="692"/>
                      <a:pt x="617" y="692"/>
                      <a:pt x="617" y="692"/>
                    </a:cubicBezTo>
                    <a:cubicBezTo>
                      <a:pt x="615" y="693"/>
                      <a:pt x="614" y="694"/>
                      <a:pt x="612" y="696"/>
                    </a:cubicBezTo>
                    <a:cubicBezTo>
                      <a:pt x="610" y="693"/>
                      <a:pt x="610" y="693"/>
                      <a:pt x="610" y="693"/>
                    </a:cubicBezTo>
                    <a:cubicBezTo>
                      <a:pt x="610" y="694"/>
                      <a:pt x="610" y="694"/>
                      <a:pt x="610" y="694"/>
                    </a:cubicBezTo>
                    <a:cubicBezTo>
                      <a:pt x="612" y="696"/>
                      <a:pt x="612" y="696"/>
                      <a:pt x="612" y="696"/>
                    </a:cubicBezTo>
                    <a:cubicBezTo>
                      <a:pt x="610" y="697"/>
                      <a:pt x="608" y="698"/>
                      <a:pt x="607" y="699"/>
                    </a:cubicBezTo>
                    <a:cubicBezTo>
                      <a:pt x="605" y="697"/>
                      <a:pt x="605" y="697"/>
                      <a:pt x="605" y="697"/>
                    </a:cubicBezTo>
                    <a:cubicBezTo>
                      <a:pt x="605" y="697"/>
                      <a:pt x="605" y="697"/>
                      <a:pt x="605" y="697"/>
                    </a:cubicBezTo>
                    <a:cubicBezTo>
                      <a:pt x="606" y="700"/>
                      <a:pt x="606" y="700"/>
                      <a:pt x="606" y="700"/>
                    </a:cubicBezTo>
                    <a:cubicBezTo>
                      <a:pt x="605" y="701"/>
                      <a:pt x="603" y="702"/>
                      <a:pt x="601" y="703"/>
                    </a:cubicBezTo>
                    <a:cubicBezTo>
                      <a:pt x="600" y="701"/>
                      <a:pt x="600" y="701"/>
                      <a:pt x="600" y="701"/>
                    </a:cubicBezTo>
                    <a:cubicBezTo>
                      <a:pt x="599" y="701"/>
                      <a:pt x="599" y="701"/>
                      <a:pt x="599" y="701"/>
                    </a:cubicBezTo>
                    <a:cubicBezTo>
                      <a:pt x="601" y="704"/>
                      <a:pt x="601" y="704"/>
                      <a:pt x="601" y="704"/>
                    </a:cubicBezTo>
                    <a:cubicBezTo>
                      <a:pt x="599" y="705"/>
                      <a:pt x="598" y="706"/>
                      <a:pt x="596" y="707"/>
                    </a:cubicBezTo>
                    <a:cubicBezTo>
                      <a:pt x="594" y="704"/>
                      <a:pt x="594" y="704"/>
                      <a:pt x="594" y="704"/>
                    </a:cubicBezTo>
                    <a:cubicBezTo>
                      <a:pt x="594" y="705"/>
                      <a:pt x="594" y="705"/>
                      <a:pt x="594" y="705"/>
                    </a:cubicBezTo>
                    <a:cubicBezTo>
                      <a:pt x="595" y="707"/>
                      <a:pt x="595" y="707"/>
                      <a:pt x="595" y="707"/>
                    </a:cubicBezTo>
                    <a:cubicBezTo>
                      <a:pt x="594" y="708"/>
                      <a:pt x="592" y="709"/>
                      <a:pt x="590" y="710"/>
                    </a:cubicBezTo>
                    <a:cubicBezTo>
                      <a:pt x="589" y="708"/>
                      <a:pt x="589" y="708"/>
                      <a:pt x="589" y="708"/>
                    </a:cubicBezTo>
                    <a:cubicBezTo>
                      <a:pt x="588" y="708"/>
                      <a:pt x="588" y="708"/>
                      <a:pt x="588" y="708"/>
                    </a:cubicBezTo>
                    <a:cubicBezTo>
                      <a:pt x="590" y="711"/>
                      <a:pt x="590" y="711"/>
                      <a:pt x="590" y="711"/>
                    </a:cubicBezTo>
                    <a:cubicBezTo>
                      <a:pt x="588" y="712"/>
                      <a:pt x="587" y="713"/>
                      <a:pt x="585" y="714"/>
                    </a:cubicBezTo>
                    <a:cubicBezTo>
                      <a:pt x="583" y="711"/>
                      <a:pt x="583" y="711"/>
                      <a:pt x="583" y="711"/>
                    </a:cubicBezTo>
                    <a:cubicBezTo>
                      <a:pt x="583" y="712"/>
                      <a:pt x="583" y="712"/>
                      <a:pt x="583" y="712"/>
                    </a:cubicBezTo>
                    <a:cubicBezTo>
                      <a:pt x="584" y="714"/>
                      <a:pt x="584" y="714"/>
                      <a:pt x="584" y="714"/>
                    </a:cubicBezTo>
                    <a:cubicBezTo>
                      <a:pt x="583" y="715"/>
                      <a:pt x="581" y="716"/>
                      <a:pt x="580" y="717"/>
                    </a:cubicBezTo>
                    <a:cubicBezTo>
                      <a:pt x="577" y="712"/>
                      <a:pt x="577" y="712"/>
                      <a:pt x="577" y="712"/>
                    </a:cubicBezTo>
                    <a:cubicBezTo>
                      <a:pt x="576" y="712"/>
                      <a:pt x="576" y="712"/>
                      <a:pt x="576" y="712"/>
                    </a:cubicBezTo>
                    <a:cubicBezTo>
                      <a:pt x="573" y="706"/>
                      <a:pt x="573" y="706"/>
                      <a:pt x="573" y="706"/>
                    </a:cubicBezTo>
                    <a:cubicBezTo>
                      <a:pt x="572" y="706"/>
                      <a:pt x="572" y="706"/>
                      <a:pt x="572" y="706"/>
                    </a:cubicBezTo>
                    <a:cubicBezTo>
                      <a:pt x="576" y="713"/>
                      <a:pt x="576" y="713"/>
                      <a:pt x="576" y="713"/>
                    </a:cubicBezTo>
                    <a:cubicBezTo>
                      <a:pt x="575" y="713"/>
                      <a:pt x="575" y="713"/>
                      <a:pt x="575" y="713"/>
                    </a:cubicBezTo>
                    <a:cubicBezTo>
                      <a:pt x="578" y="718"/>
                      <a:pt x="578" y="718"/>
                      <a:pt x="578" y="718"/>
                    </a:cubicBezTo>
                    <a:cubicBezTo>
                      <a:pt x="577" y="719"/>
                      <a:pt x="575" y="719"/>
                      <a:pt x="573" y="720"/>
                    </a:cubicBezTo>
                    <a:cubicBezTo>
                      <a:pt x="572" y="718"/>
                      <a:pt x="572" y="718"/>
                      <a:pt x="572" y="718"/>
                    </a:cubicBezTo>
                    <a:cubicBezTo>
                      <a:pt x="571" y="718"/>
                      <a:pt x="571" y="718"/>
                      <a:pt x="571" y="718"/>
                    </a:cubicBezTo>
                    <a:cubicBezTo>
                      <a:pt x="573" y="721"/>
                      <a:pt x="573" y="721"/>
                      <a:pt x="573" y="721"/>
                    </a:cubicBezTo>
                    <a:cubicBezTo>
                      <a:pt x="571" y="722"/>
                      <a:pt x="569" y="723"/>
                      <a:pt x="568" y="723"/>
                    </a:cubicBezTo>
                    <a:cubicBezTo>
                      <a:pt x="566" y="721"/>
                      <a:pt x="566" y="721"/>
                      <a:pt x="566" y="721"/>
                    </a:cubicBezTo>
                    <a:cubicBezTo>
                      <a:pt x="566" y="721"/>
                      <a:pt x="566" y="721"/>
                      <a:pt x="566" y="721"/>
                    </a:cubicBezTo>
                    <a:cubicBezTo>
                      <a:pt x="567" y="724"/>
                      <a:pt x="567" y="724"/>
                      <a:pt x="567" y="724"/>
                    </a:cubicBezTo>
                    <a:cubicBezTo>
                      <a:pt x="565" y="725"/>
                      <a:pt x="564" y="726"/>
                      <a:pt x="562" y="727"/>
                    </a:cubicBezTo>
                    <a:cubicBezTo>
                      <a:pt x="561" y="724"/>
                      <a:pt x="561" y="724"/>
                      <a:pt x="561" y="724"/>
                    </a:cubicBezTo>
                    <a:cubicBezTo>
                      <a:pt x="560" y="724"/>
                      <a:pt x="560" y="724"/>
                      <a:pt x="560" y="724"/>
                    </a:cubicBezTo>
                    <a:cubicBezTo>
                      <a:pt x="561" y="727"/>
                      <a:pt x="561" y="727"/>
                      <a:pt x="561" y="727"/>
                    </a:cubicBezTo>
                    <a:cubicBezTo>
                      <a:pt x="560" y="728"/>
                      <a:pt x="558" y="729"/>
                      <a:pt x="556" y="729"/>
                    </a:cubicBezTo>
                    <a:cubicBezTo>
                      <a:pt x="555" y="727"/>
                      <a:pt x="555" y="727"/>
                      <a:pt x="555" y="727"/>
                    </a:cubicBezTo>
                    <a:cubicBezTo>
                      <a:pt x="554" y="727"/>
                      <a:pt x="554" y="727"/>
                      <a:pt x="554" y="727"/>
                    </a:cubicBezTo>
                    <a:cubicBezTo>
                      <a:pt x="555" y="730"/>
                      <a:pt x="555" y="730"/>
                      <a:pt x="555" y="730"/>
                    </a:cubicBezTo>
                    <a:cubicBezTo>
                      <a:pt x="554" y="731"/>
                      <a:pt x="552" y="732"/>
                      <a:pt x="550" y="732"/>
                    </a:cubicBezTo>
                    <a:cubicBezTo>
                      <a:pt x="549" y="730"/>
                      <a:pt x="549" y="730"/>
                      <a:pt x="549" y="730"/>
                    </a:cubicBezTo>
                    <a:cubicBezTo>
                      <a:pt x="548" y="730"/>
                      <a:pt x="548" y="730"/>
                      <a:pt x="548" y="730"/>
                    </a:cubicBezTo>
                    <a:cubicBezTo>
                      <a:pt x="549" y="733"/>
                      <a:pt x="549" y="733"/>
                      <a:pt x="549" y="733"/>
                    </a:cubicBezTo>
                    <a:cubicBezTo>
                      <a:pt x="548" y="733"/>
                      <a:pt x="546" y="734"/>
                      <a:pt x="544" y="735"/>
                    </a:cubicBezTo>
                    <a:cubicBezTo>
                      <a:pt x="543" y="732"/>
                      <a:pt x="543" y="732"/>
                      <a:pt x="543" y="732"/>
                    </a:cubicBezTo>
                    <a:cubicBezTo>
                      <a:pt x="542" y="733"/>
                      <a:pt x="542" y="733"/>
                      <a:pt x="542" y="733"/>
                    </a:cubicBezTo>
                    <a:cubicBezTo>
                      <a:pt x="543" y="735"/>
                      <a:pt x="543" y="735"/>
                      <a:pt x="543" y="735"/>
                    </a:cubicBezTo>
                    <a:cubicBezTo>
                      <a:pt x="542" y="736"/>
                      <a:pt x="540" y="737"/>
                      <a:pt x="538" y="738"/>
                    </a:cubicBezTo>
                    <a:cubicBezTo>
                      <a:pt x="537" y="735"/>
                      <a:pt x="537" y="735"/>
                      <a:pt x="537" y="735"/>
                    </a:cubicBezTo>
                    <a:cubicBezTo>
                      <a:pt x="536" y="735"/>
                      <a:pt x="536" y="735"/>
                      <a:pt x="536" y="735"/>
                    </a:cubicBezTo>
                    <a:cubicBezTo>
                      <a:pt x="537" y="738"/>
                      <a:pt x="537" y="738"/>
                      <a:pt x="537" y="738"/>
                    </a:cubicBezTo>
                    <a:cubicBezTo>
                      <a:pt x="536" y="739"/>
                      <a:pt x="534" y="740"/>
                      <a:pt x="532" y="740"/>
                    </a:cubicBezTo>
                    <a:cubicBezTo>
                      <a:pt x="531" y="737"/>
                      <a:pt x="531" y="737"/>
                      <a:pt x="531" y="737"/>
                    </a:cubicBezTo>
                    <a:cubicBezTo>
                      <a:pt x="530" y="738"/>
                      <a:pt x="530" y="738"/>
                      <a:pt x="530" y="738"/>
                    </a:cubicBezTo>
                    <a:cubicBezTo>
                      <a:pt x="531" y="741"/>
                      <a:pt x="531" y="741"/>
                      <a:pt x="531" y="741"/>
                    </a:cubicBezTo>
                    <a:cubicBezTo>
                      <a:pt x="530" y="741"/>
                      <a:pt x="528" y="742"/>
                      <a:pt x="526" y="743"/>
                    </a:cubicBezTo>
                    <a:cubicBezTo>
                      <a:pt x="525" y="740"/>
                      <a:pt x="525" y="740"/>
                      <a:pt x="525" y="740"/>
                    </a:cubicBezTo>
                    <a:cubicBezTo>
                      <a:pt x="524" y="740"/>
                      <a:pt x="524" y="740"/>
                      <a:pt x="524" y="740"/>
                    </a:cubicBezTo>
                    <a:cubicBezTo>
                      <a:pt x="525" y="743"/>
                      <a:pt x="525" y="743"/>
                      <a:pt x="525" y="743"/>
                    </a:cubicBezTo>
                    <a:cubicBezTo>
                      <a:pt x="524" y="744"/>
                      <a:pt x="522" y="744"/>
                      <a:pt x="520" y="745"/>
                    </a:cubicBezTo>
                    <a:cubicBezTo>
                      <a:pt x="518" y="740"/>
                      <a:pt x="518" y="740"/>
                      <a:pt x="518" y="740"/>
                    </a:cubicBezTo>
                    <a:cubicBezTo>
                      <a:pt x="518" y="740"/>
                      <a:pt x="518" y="740"/>
                      <a:pt x="518" y="740"/>
                    </a:cubicBezTo>
                    <a:cubicBezTo>
                      <a:pt x="515" y="733"/>
                      <a:pt x="515" y="733"/>
                      <a:pt x="515" y="733"/>
                    </a:cubicBezTo>
                    <a:cubicBezTo>
                      <a:pt x="515" y="733"/>
                      <a:pt x="515" y="733"/>
                      <a:pt x="515" y="733"/>
                    </a:cubicBezTo>
                    <a:cubicBezTo>
                      <a:pt x="517" y="740"/>
                      <a:pt x="517" y="740"/>
                      <a:pt x="517" y="740"/>
                    </a:cubicBezTo>
                    <a:cubicBezTo>
                      <a:pt x="517" y="740"/>
                      <a:pt x="517" y="740"/>
                      <a:pt x="517" y="740"/>
                    </a:cubicBezTo>
                    <a:cubicBezTo>
                      <a:pt x="519" y="745"/>
                      <a:pt x="519" y="745"/>
                      <a:pt x="519" y="745"/>
                    </a:cubicBezTo>
                    <a:cubicBezTo>
                      <a:pt x="517" y="746"/>
                      <a:pt x="515" y="747"/>
                      <a:pt x="514" y="747"/>
                    </a:cubicBezTo>
                    <a:cubicBezTo>
                      <a:pt x="513" y="744"/>
                      <a:pt x="513" y="744"/>
                      <a:pt x="513" y="744"/>
                    </a:cubicBezTo>
                    <a:cubicBezTo>
                      <a:pt x="512" y="745"/>
                      <a:pt x="512" y="745"/>
                      <a:pt x="512" y="745"/>
                    </a:cubicBezTo>
                    <a:cubicBezTo>
                      <a:pt x="513" y="747"/>
                      <a:pt x="513" y="747"/>
                      <a:pt x="513" y="747"/>
                    </a:cubicBezTo>
                    <a:cubicBezTo>
                      <a:pt x="511" y="748"/>
                      <a:pt x="509" y="749"/>
                      <a:pt x="507" y="749"/>
                    </a:cubicBezTo>
                    <a:cubicBezTo>
                      <a:pt x="506" y="746"/>
                      <a:pt x="506" y="746"/>
                      <a:pt x="506" y="746"/>
                    </a:cubicBezTo>
                    <a:cubicBezTo>
                      <a:pt x="506" y="747"/>
                      <a:pt x="506" y="747"/>
                      <a:pt x="506" y="747"/>
                    </a:cubicBezTo>
                    <a:cubicBezTo>
                      <a:pt x="507" y="750"/>
                      <a:pt x="507" y="750"/>
                      <a:pt x="507" y="750"/>
                    </a:cubicBezTo>
                    <a:cubicBezTo>
                      <a:pt x="505" y="750"/>
                      <a:pt x="503" y="751"/>
                      <a:pt x="501" y="751"/>
                    </a:cubicBezTo>
                    <a:cubicBezTo>
                      <a:pt x="500" y="748"/>
                      <a:pt x="500" y="748"/>
                      <a:pt x="500" y="748"/>
                    </a:cubicBezTo>
                    <a:cubicBezTo>
                      <a:pt x="500" y="749"/>
                      <a:pt x="500" y="749"/>
                      <a:pt x="500" y="749"/>
                    </a:cubicBezTo>
                    <a:cubicBezTo>
                      <a:pt x="500" y="752"/>
                      <a:pt x="500" y="752"/>
                      <a:pt x="500" y="752"/>
                    </a:cubicBezTo>
                    <a:cubicBezTo>
                      <a:pt x="499" y="752"/>
                      <a:pt x="497" y="753"/>
                      <a:pt x="495" y="753"/>
                    </a:cubicBezTo>
                    <a:cubicBezTo>
                      <a:pt x="494" y="750"/>
                      <a:pt x="494" y="750"/>
                      <a:pt x="494" y="750"/>
                    </a:cubicBezTo>
                    <a:cubicBezTo>
                      <a:pt x="493" y="750"/>
                      <a:pt x="493" y="750"/>
                      <a:pt x="493" y="750"/>
                    </a:cubicBezTo>
                    <a:cubicBezTo>
                      <a:pt x="494" y="753"/>
                      <a:pt x="494" y="753"/>
                      <a:pt x="494" y="753"/>
                    </a:cubicBezTo>
                    <a:cubicBezTo>
                      <a:pt x="492" y="754"/>
                      <a:pt x="490" y="754"/>
                      <a:pt x="489" y="755"/>
                    </a:cubicBezTo>
                    <a:cubicBezTo>
                      <a:pt x="488" y="752"/>
                      <a:pt x="488" y="752"/>
                      <a:pt x="488" y="752"/>
                    </a:cubicBezTo>
                    <a:cubicBezTo>
                      <a:pt x="487" y="752"/>
                      <a:pt x="487" y="752"/>
                      <a:pt x="487" y="752"/>
                    </a:cubicBezTo>
                    <a:cubicBezTo>
                      <a:pt x="488" y="755"/>
                      <a:pt x="488" y="755"/>
                      <a:pt x="488" y="755"/>
                    </a:cubicBezTo>
                    <a:cubicBezTo>
                      <a:pt x="486" y="756"/>
                      <a:pt x="484" y="756"/>
                      <a:pt x="482" y="757"/>
                    </a:cubicBezTo>
                    <a:cubicBezTo>
                      <a:pt x="481" y="754"/>
                      <a:pt x="481" y="754"/>
                      <a:pt x="481" y="754"/>
                    </a:cubicBezTo>
                    <a:cubicBezTo>
                      <a:pt x="481" y="754"/>
                      <a:pt x="481" y="754"/>
                      <a:pt x="481" y="754"/>
                    </a:cubicBezTo>
                    <a:cubicBezTo>
                      <a:pt x="481" y="757"/>
                      <a:pt x="481" y="757"/>
                      <a:pt x="481" y="757"/>
                    </a:cubicBezTo>
                    <a:cubicBezTo>
                      <a:pt x="480" y="757"/>
                      <a:pt x="478" y="758"/>
                      <a:pt x="476" y="758"/>
                    </a:cubicBezTo>
                    <a:cubicBezTo>
                      <a:pt x="475" y="755"/>
                      <a:pt x="475" y="755"/>
                      <a:pt x="475" y="755"/>
                    </a:cubicBezTo>
                    <a:cubicBezTo>
                      <a:pt x="474" y="755"/>
                      <a:pt x="474" y="755"/>
                      <a:pt x="474" y="755"/>
                    </a:cubicBezTo>
                    <a:cubicBezTo>
                      <a:pt x="475" y="758"/>
                      <a:pt x="475" y="758"/>
                      <a:pt x="475" y="758"/>
                    </a:cubicBezTo>
                    <a:cubicBezTo>
                      <a:pt x="473" y="759"/>
                      <a:pt x="471" y="759"/>
                      <a:pt x="469" y="760"/>
                    </a:cubicBezTo>
                    <a:cubicBezTo>
                      <a:pt x="469" y="757"/>
                      <a:pt x="469" y="757"/>
                      <a:pt x="469" y="757"/>
                    </a:cubicBezTo>
                    <a:cubicBezTo>
                      <a:pt x="468" y="757"/>
                      <a:pt x="468" y="757"/>
                      <a:pt x="468" y="757"/>
                    </a:cubicBezTo>
                    <a:cubicBezTo>
                      <a:pt x="469" y="760"/>
                      <a:pt x="469" y="760"/>
                      <a:pt x="469" y="760"/>
                    </a:cubicBezTo>
                    <a:cubicBezTo>
                      <a:pt x="467" y="760"/>
                      <a:pt x="465" y="760"/>
                      <a:pt x="463" y="761"/>
                    </a:cubicBezTo>
                    <a:cubicBezTo>
                      <a:pt x="462" y="758"/>
                      <a:pt x="462" y="758"/>
                      <a:pt x="462" y="758"/>
                    </a:cubicBezTo>
                    <a:cubicBezTo>
                      <a:pt x="462" y="758"/>
                      <a:pt x="462" y="758"/>
                      <a:pt x="462" y="758"/>
                    </a:cubicBezTo>
                    <a:cubicBezTo>
                      <a:pt x="462" y="761"/>
                      <a:pt x="462" y="761"/>
                      <a:pt x="462" y="761"/>
                    </a:cubicBezTo>
                    <a:cubicBezTo>
                      <a:pt x="460" y="761"/>
                      <a:pt x="459" y="762"/>
                      <a:pt x="457" y="762"/>
                    </a:cubicBezTo>
                    <a:cubicBezTo>
                      <a:pt x="456" y="757"/>
                      <a:pt x="456" y="757"/>
                      <a:pt x="456" y="757"/>
                    </a:cubicBezTo>
                    <a:cubicBezTo>
                      <a:pt x="456" y="757"/>
                      <a:pt x="456" y="757"/>
                      <a:pt x="456" y="757"/>
                    </a:cubicBezTo>
                    <a:cubicBezTo>
                      <a:pt x="454" y="749"/>
                      <a:pt x="454" y="749"/>
                      <a:pt x="454" y="749"/>
                    </a:cubicBezTo>
                    <a:cubicBezTo>
                      <a:pt x="453" y="749"/>
                      <a:pt x="453" y="749"/>
                      <a:pt x="453" y="749"/>
                    </a:cubicBezTo>
                    <a:cubicBezTo>
                      <a:pt x="455" y="757"/>
                      <a:pt x="455" y="757"/>
                      <a:pt x="455" y="757"/>
                    </a:cubicBezTo>
                    <a:cubicBezTo>
                      <a:pt x="454" y="757"/>
                      <a:pt x="454" y="757"/>
                      <a:pt x="454" y="757"/>
                    </a:cubicBezTo>
                    <a:cubicBezTo>
                      <a:pt x="455" y="762"/>
                      <a:pt x="455" y="762"/>
                      <a:pt x="455" y="762"/>
                    </a:cubicBezTo>
                    <a:cubicBezTo>
                      <a:pt x="454" y="763"/>
                      <a:pt x="452" y="763"/>
                      <a:pt x="450" y="763"/>
                    </a:cubicBezTo>
                    <a:cubicBezTo>
                      <a:pt x="450" y="760"/>
                      <a:pt x="450" y="760"/>
                      <a:pt x="450" y="760"/>
                    </a:cubicBezTo>
                    <a:cubicBezTo>
                      <a:pt x="449" y="760"/>
                      <a:pt x="449" y="760"/>
                      <a:pt x="449" y="760"/>
                    </a:cubicBezTo>
                    <a:cubicBezTo>
                      <a:pt x="449" y="763"/>
                      <a:pt x="449" y="763"/>
                      <a:pt x="449" y="763"/>
                    </a:cubicBezTo>
                    <a:cubicBezTo>
                      <a:pt x="447" y="764"/>
                      <a:pt x="445" y="764"/>
                      <a:pt x="444" y="764"/>
                    </a:cubicBezTo>
                    <a:cubicBezTo>
                      <a:pt x="443" y="761"/>
                      <a:pt x="443" y="761"/>
                      <a:pt x="443" y="761"/>
                    </a:cubicBezTo>
                    <a:cubicBezTo>
                      <a:pt x="442" y="761"/>
                      <a:pt x="442" y="761"/>
                      <a:pt x="442" y="761"/>
                    </a:cubicBezTo>
                    <a:cubicBezTo>
                      <a:pt x="443" y="764"/>
                      <a:pt x="443" y="764"/>
                      <a:pt x="443" y="764"/>
                    </a:cubicBezTo>
                    <a:cubicBezTo>
                      <a:pt x="441" y="764"/>
                      <a:pt x="439" y="765"/>
                      <a:pt x="437" y="765"/>
                    </a:cubicBezTo>
                    <a:cubicBezTo>
                      <a:pt x="437" y="762"/>
                      <a:pt x="437" y="762"/>
                      <a:pt x="437" y="762"/>
                    </a:cubicBezTo>
                    <a:cubicBezTo>
                      <a:pt x="436" y="762"/>
                      <a:pt x="436" y="762"/>
                      <a:pt x="436" y="762"/>
                    </a:cubicBezTo>
                    <a:cubicBezTo>
                      <a:pt x="436" y="765"/>
                      <a:pt x="436" y="765"/>
                      <a:pt x="436" y="765"/>
                    </a:cubicBezTo>
                    <a:cubicBezTo>
                      <a:pt x="434" y="765"/>
                      <a:pt x="432" y="766"/>
                      <a:pt x="431" y="766"/>
                    </a:cubicBezTo>
                    <a:cubicBezTo>
                      <a:pt x="430" y="763"/>
                      <a:pt x="430" y="763"/>
                      <a:pt x="430" y="763"/>
                    </a:cubicBezTo>
                    <a:cubicBezTo>
                      <a:pt x="429" y="763"/>
                      <a:pt x="429" y="763"/>
                      <a:pt x="429" y="763"/>
                    </a:cubicBezTo>
                    <a:cubicBezTo>
                      <a:pt x="430" y="766"/>
                      <a:pt x="430" y="766"/>
                      <a:pt x="430" y="766"/>
                    </a:cubicBezTo>
                    <a:cubicBezTo>
                      <a:pt x="428" y="766"/>
                      <a:pt x="426" y="766"/>
                      <a:pt x="424" y="766"/>
                    </a:cubicBezTo>
                    <a:cubicBezTo>
                      <a:pt x="424" y="763"/>
                      <a:pt x="424" y="763"/>
                      <a:pt x="424" y="763"/>
                    </a:cubicBezTo>
                    <a:cubicBezTo>
                      <a:pt x="423" y="763"/>
                      <a:pt x="423" y="763"/>
                      <a:pt x="423" y="763"/>
                    </a:cubicBezTo>
                    <a:cubicBezTo>
                      <a:pt x="423" y="766"/>
                      <a:pt x="423" y="766"/>
                      <a:pt x="423" y="766"/>
                    </a:cubicBezTo>
                    <a:cubicBezTo>
                      <a:pt x="421" y="767"/>
                      <a:pt x="419" y="767"/>
                      <a:pt x="417" y="767"/>
                    </a:cubicBezTo>
                    <a:cubicBezTo>
                      <a:pt x="417" y="764"/>
                      <a:pt x="417" y="764"/>
                      <a:pt x="417" y="764"/>
                    </a:cubicBezTo>
                    <a:cubicBezTo>
                      <a:pt x="416" y="764"/>
                      <a:pt x="416" y="764"/>
                      <a:pt x="416" y="764"/>
                    </a:cubicBezTo>
                    <a:cubicBezTo>
                      <a:pt x="417" y="767"/>
                      <a:pt x="417" y="767"/>
                      <a:pt x="417" y="767"/>
                    </a:cubicBezTo>
                    <a:cubicBezTo>
                      <a:pt x="415" y="767"/>
                      <a:pt x="413" y="767"/>
                      <a:pt x="411" y="767"/>
                    </a:cubicBezTo>
                    <a:cubicBezTo>
                      <a:pt x="411" y="764"/>
                      <a:pt x="411" y="764"/>
                      <a:pt x="411" y="764"/>
                    </a:cubicBezTo>
                    <a:cubicBezTo>
                      <a:pt x="410" y="764"/>
                      <a:pt x="410" y="764"/>
                      <a:pt x="410" y="764"/>
                    </a:cubicBezTo>
                    <a:cubicBezTo>
                      <a:pt x="410" y="767"/>
                      <a:pt x="410" y="767"/>
                      <a:pt x="410" y="767"/>
                    </a:cubicBezTo>
                    <a:cubicBezTo>
                      <a:pt x="408" y="767"/>
                      <a:pt x="406" y="767"/>
                      <a:pt x="404" y="768"/>
                    </a:cubicBezTo>
                    <a:cubicBezTo>
                      <a:pt x="404" y="765"/>
                      <a:pt x="404" y="765"/>
                      <a:pt x="404" y="765"/>
                    </a:cubicBezTo>
                    <a:cubicBezTo>
                      <a:pt x="403" y="765"/>
                      <a:pt x="403" y="765"/>
                      <a:pt x="403" y="765"/>
                    </a:cubicBezTo>
                    <a:cubicBezTo>
                      <a:pt x="404" y="768"/>
                      <a:pt x="404" y="768"/>
                      <a:pt x="404" y="768"/>
                    </a:cubicBezTo>
                    <a:cubicBezTo>
                      <a:pt x="402" y="768"/>
                      <a:pt x="400" y="768"/>
                      <a:pt x="398" y="768"/>
                    </a:cubicBezTo>
                    <a:cubicBezTo>
                      <a:pt x="398" y="765"/>
                      <a:pt x="398" y="765"/>
                      <a:pt x="398" y="765"/>
                    </a:cubicBezTo>
                    <a:cubicBezTo>
                      <a:pt x="397" y="765"/>
                      <a:pt x="397" y="765"/>
                      <a:pt x="397" y="765"/>
                    </a:cubicBezTo>
                    <a:cubicBezTo>
                      <a:pt x="397" y="768"/>
                      <a:pt x="397" y="768"/>
                      <a:pt x="397" y="768"/>
                    </a:cubicBezTo>
                    <a:cubicBezTo>
                      <a:pt x="395" y="768"/>
                      <a:pt x="393" y="768"/>
                      <a:pt x="392" y="768"/>
                    </a:cubicBezTo>
                    <a:cubicBezTo>
                      <a:pt x="392" y="762"/>
                      <a:pt x="392" y="762"/>
                      <a:pt x="392" y="762"/>
                    </a:cubicBezTo>
                    <a:cubicBezTo>
                      <a:pt x="391" y="762"/>
                      <a:pt x="391" y="762"/>
                      <a:pt x="391" y="762"/>
                    </a:cubicBezTo>
                    <a:cubicBezTo>
                      <a:pt x="391" y="755"/>
                      <a:pt x="391" y="755"/>
                      <a:pt x="391" y="755"/>
                    </a:cubicBezTo>
                    <a:cubicBezTo>
                      <a:pt x="390" y="755"/>
                      <a:pt x="390" y="755"/>
                      <a:pt x="390" y="755"/>
                    </a:cubicBezTo>
                    <a:cubicBezTo>
                      <a:pt x="390" y="762"/>
                      <a:pt x="390" y="762"/>
                      <a:pt x="390" y="762"/>
                    </a:cubicBezTo>
                    <a:cubicBezTo>
                      <a:pt x="390" y="762"/>
                      <a:pt x="390" y="762"/>
                      <a:pt x="390" y="762"/>
                    </a:cubicBezTo>
                    <a:cubicBezTo>
                      <a:pt x="390" y="768"/>
                      <a:pt x="390" y="768"/>
                      <a:pt x="390" y="768"/>
                    </a:cubicBezTo>
                    <a:cubicBezTo>
                      <a:pt x="388" y="768"/>
                      <a:pt x="386" y="768"/>
                      <a:pt x="385" y="768"/>
                    </a:cubicBezTo>
                    <a:cubicBezTo>
                      <a:pt x="385" y="765"/>
                      <a:pt x="385" y="765"/>
                      <a:pt x="385" y="765"/>
                    </a:cubicBezTo>
                    <a:cubicBezTo>
                      <a:pt x="384" y="765"/>
                      <a:pt x="384" y="765"/>
                      <a:pt x="384" y="765"/>
                    </a:cubicBezTo>
                    <a:cubicBezTo>
                      <a:pt x="384" y="768"/>
                      <a:pt x="384" y="768"/>
                      <a:pt x="384" y="768"/>
                    </a:cubicBezTo>
                    <a:cubicBezTo>
                      <a:pt x="382" y="768"/>
                      <a:pt x="380" y="768"/>
                      <a:pt x="378" y="768"/>
                    </a:cubicBezTo>
                    <a:cubicBezTo>
                      <a:pt x="378" y="765"/>
                      <a:pt x="378" y="765"/>
                      <a:pt x="378" y="765"/>
                    </a:cubicBezTo>
                    <a:cubicBezTo>
                      <a:pt x="377" y="765"/>
                      <a:pt x="377" y="765"/>
                      <a:pt x="377" y="765"/>
                    </a:cubicBezTo>
                    <a:cubicBezTo>
                      <a:pt x="377" y="768"/>
                      <a:pt x="377" y="768"/>
                      <a:pt x="377" y="768"/>
                    </a:cubicBezTo>
                    <a:cubicBezTo>
                      <a:pt x="375" y="767"/>
                      <a:pt x="373" y="767"/>
                      <a:pt x="372" y="767"/>
                    </a:cubicBezTo>
                    <a:cubicBezTo>
                      <a:pt x="372" y="764"/>
                      <a:pt x="372" y="764"/>
                      <a:pt x="372" y="764"/>
                    </a:cubicBezTo>
                    <a:cubicBezTo>
                      <a:pt x="371" y="764"/>
                      <a:pt x="371" y="764"/>
                      <a:pt x="371" y="764"/>
                    </a:cubicBezTo>
                    <a:cubicBezTo>
                      <a:pt x="371" y="767"/>
                      <a:pt x="371" y="767"/>
                      <a:pt x="371" y="767"/>
                    </a:cubicBezTo>
                    <a:cubicBezTo>
                      <a:pt x="369" y="767"/>
                      <a:pt x="367" y="767"/>
                      <a:pt x="365" y="767"/>
                    </a:cubicBezTo>
                    <a:cubicBezTo>
                      <a:pt x="365" y="764"/>
                      <a:pt x="365" y="764"/>
                      <a:pt x="365" y="764"/>
                    </a:cubicBezTo>
                    <a:cubicBezTo>
                      <a:pt x="364" y="764"/>
                      <a:pt x="364" y="764"/>
                      <a:pt x="364" y="764"/>
                    </a:cubicBezTo>
                    <a:cubicBezTo>
                      <a:pt x="364" y="767"/>
                      <a:pt x="364" y="767"/>
                      <a:pt x="364" y="767"/>
                    </a:cubicBezTo>
                    <a:cubicBezTo>
                      <a:pt x="362" y="767"/>
                      <a:pt x="360" y="767"/>
                      <a:pt x="358" y="766"/>
                    </a:cubicBezTo>
                    <a:cubicBezTo>
                      <a:pt x="359" y="763"/>
                      <a:pt x="359" y="763"/>
                      <a:pt x="359" y="763"/>
                    </a:cubicBezTo>
                    <a:cubicBezTo>
                      <a:pt x="358" y="763"/>
                      <a:pt x="358" y="763"/>
                      <a:pt x="358" y="763"/>
                    </a:cubicBezTo>
                    <a:cubicBezTo>
                      <a:pt x="358" y="766"/>
                      <a:pt x="358" y="766"/>
                      <a:pt x="358" y="766"/>
                    </a:cubicBezTo>
                    <a:cubicBezTo>
                      <a:pt x="356" y="766"/>
                      <a:pt x="354" y="766"/>
                      <a:pt x="352" y="766"/>
                    </a:cubicBezTo>
                    <a:cubicBezTo>
                      <a:pt x="352" y="763"/>
                      <a:pt x="352" y="763"/>
                      <a:pt x="352" y="763"/>
                    </a:cubicBezTo>
                    <a:cubicBezTo>
                      <a:pt x="351" y="763"/>
                      <a:pt x="351" y="763"/>
                      <a:pt x="351" y="763"/>
                    </a:cubicBezTo>
                    <a:cubicBezTo>
                      <a:pt x="351" y="766"/>
                      <a:pt x="351" y="766"/>
                      <a:pt x="351" y="766"/>
                    </a:cubicBezTo>
                    <a:cubicBezTo>
                      <a:pt x="349" y="766"/>
                      <a:pt x="347" y="765"/>
                      <a:pt x="345" y="765"/>
                    </a:cubicBezTo>
                    <a:cubicBezTo>
                      <a:pt x="346" y="762"/>
                      <a:pt x="346" y="762"/>
                      <a:pt x="346" y="762"/>
                    </a:cubicBezTo>
                    <a:cubicBezTo>
                      <a:pt x="345" y="762"/>
                      <a:pt x="345" y="762"/>
                      <a:pt x="345" y="762"/>
                    </a:cubicBezTo>
                    <a:cubicBezTo>
                      <a:pt x="345" y="765"/>
                      <a:pt x="345" y="765"/>
                      <a:pt x="345" y="765"/>
                    </a:cubicBezTo>
                    <a:cubicBezTo>
                      <a:pt x="343" y="765"/>
                      <a:pt x="341" y="764"/>
                      <a:pt x="339" y="764"/>
                    </a:cubicBezTo>
                    <a:cubicBezTo>
                      <a:pt x="339" y="761"/>
                      <a:pt x="339" y="761"/>
                      <a:pt x="339" y="761"/>
                    </a:cubicBezTo>
                    <a:cubicBezTo>
                      <a:pt x="338" y="761"/>
                      <a:pt x="338" y="761"/>
                      <a:pt x="338" y="761"/>
                    </a:cubicBezTo>
                    <a:cubicBezTo>
                      <a:pt x="338" y="764"/>
                      <a:pt x="338" y="764"/>
                      <a:pt x="338" y="764"/>
                    </a:cubicBezTo>
                    <a:cubicBezTo>
                      <a:pt x="336" y="764"/>
                      <a:pt x="334" y="764"/>
                      <a:pt x="332" y="763"/>
                    </a:cubicBezTo>
                    <a:cubicBezTo>
                      <a:pt x="333" y="760"/>
                      <a:pt x="333" y="760"/>
                      <a:pt x="333" y="760"/>
                    </a:cubicBezTo>
                    <a:cubicBezTo>
                      <a:pt x="332" y="760"/>
                      <a:pt x="332" y="760"/>
                      <a:pt x="332" y="760"/>
                    </a:cubicBezTo>
                    <a:cubicBezTo>
                      <a:pt x="332" y="763"/>
                      <a:pt x="332" y="763"/>
                      <a:pt x="332" y="763"/>
                    </a:cubicBezTo>
                    <a:cubicBezTo>
                      <a:pt x="330" y="763"/>
                      <a:pt x="328" y="763"/>
                      <a:pt x="326" y="762"/>
                    </a:cubicBezTo>
                    <a:cubicBezTo>
                      <a:pt x="327" y="757"/>
                      <a:pt x="327" y="757"/>
                      <a:pt x="327" y="757"/>
                    </a:cubicBezTo>
                    <a:cubicBezTo>
                      <a:pt x="327" y="757"/>
                      <a:pt x="327" y="757"/>
                      <a:pt x="327" y="757"/>
                    </a:cubicBezTo>
                    <a:cubicBezTo>
                      <a:pt x="328" y="749"/>
                      <a:pt x="328" y="749"/>
                      <a:pt x="328" y="749"/>
                    </a:cubicBezTo>
                    <a:cubicBezTo>
                      <a:pt x="327" y="749"/>
                      <a:pt x="327" y="749"/>
                      <a:pt x="327" y="749"/>
                    </a:cubicBezTo>
                    <a:cubicBezTo>
                      <a:pt x="326" y="757"/>
                      <a:pt x="326" y="757"/>
                      <a:pt x="326" y="757"/>
                    </a:cubicBezTo>
                    <a:cubicBezTo>
                      <a:pt x="326" y="757"/>
                      <a:pt x="326" y="757"/>
                      <a:pt x="326" y="757"/>
                    </a:cubicBezTo>
                    <a:cubicBezTo>
                      <a:pt x="325" y="762"/>
                      <a:pt x="325" y="762"/>
                      <a:pt x="325" y="762"/>
                    </a:cubicBezTo>
                    <a:cubicBezTo>
                      <a:pt x="323" y="762"/>
                      <a:pt x="321" y="761"/>
                      <a:pt x="319" y="761"/>
                    </a:cubicBezTo>
                    <a:cubicBezTo>
                      <a:pt x="320" y="758"/>
                      <a:pt x="320" y="758"/>
                      <a:pt x="320" y="758"/>
                    </a:cubicBezTo>
                    <a:cubicBezTo>
                      <a:pt x="319" y="758"/>
                      <a:pt x="319" y="758"/>
                      <a:pt x="319" y="758"/>
                    </a:cubicBezTo>
                    <a:cubicBezTo>
                      <a:pt x="319" y="761"/>
                      <a:pt x="319" y="761"/>
                      <a:pt x="319" y="761"/>
                    </a:cubicBezTo>
                    <a:cubicBezTo>
                      <a:pt x="317" y="760"/>
                      <a:pt x="315" y="760"/>
                      <a:pt x="313" y="760"/>
                    </a:cubicBezTo>
                    <a:cubicBezTo>
                      <a:pt x="314" y="757"/>
                      <a:pt x="314" y="757"/>
                      <a:pt x="314" y="757"/>
                    </a:cubicBezTo>
                    <a:cubicBezTo>
                      <a:pt x="313" y="757"/>
                      <a:pt x="313" y="757"/>
                      <a:pt x="313" y="757"/>
                    </a:cubicBezTo>
                    <a:cubicBezTo>
                      <a:pt x="312" y="760"/>
                      <a:pt x="312" y="760"/>
                      <a:pt x="312" y="760"/>
                    </a:cubicBezTo>
                    <a:cubicBezTo>
                      <a:pt x="310" y="759"/>
                      <a:pt x="308" y="759"/>
                      <a:pt x="307" y="758"/>
                    </a:cubicBezTo>
                    <a:cubicBezTo>
                      <a:pt x="307" y="755"/>
                      <a:pt x="307" y="755"/>
                      <a:pt x="307" y="755"/>
                    </a:cubicBezTo>
                    <a:cubicBezTo>
                      <a:pt x="306" y="755"/>
                      <a:pt x="306" y="755"/>
                      <a:pt x="306" y="755"/>
                    </a:cubicBezTo>
                    <a:cubicBezTo>
                      <a:pt x="306" y="758"/>
                      <a:pt x="306" y="758"/>
                      <a:pt x="306" y="758"/>
                    </a:cubicBezTo>
                    <a:cubicBezTo>
                      <a:pt x="304" y="758"/>
                      <a:pt x="302" y="757"/>
                      <a:pt x="300" y="757"/>
                    </a:cubicBezTo>
                    <a:cubicBezTo>
                      <a:pt x="301" y="754"/>
                      <a:pt x="301" y="754"/>
                      <a:pt x="301" y="754"/>
                    </a:cubicBezTo>
                    <a:cubicBezTo>
                      <a:pt x="300" y="754"/>
                      <a:pt x="300" y="754"/>
                      <a:pt x="300" y="754"/>
                    </a:cubicBezTo>
                    <a:cubicBezTo>
                      <a:pt x="299" y="757"/>
                      <a:pt x="299" y="757"/>
                      <a:pt x="299" y="757"/>
                    </a:cubicBezTo>
                    <a:cubicBezTo>
                      <a:pt x="298" y="756"/>
                      <a:pt x="296" y="756"/>
                      <a:pt x="294" y="755"/>
                    </a:cubicBezTo>
                    <a:cubicBezTo>
                      <a:pt x="295" y="752"/>
                      <a:pt x="295" y="752"/>
                      <a:pt x="295" y="752"/>
                    </a:cubicBezTo>
                    <a:cubicBezTo>
                      <a:pt x="294" y="752"/>
                      <a:pt x="294" y="752"/>
                      <a:pt x="294" y="752"/>
                    </a:cubicBezTo>
                    <a:cubicBezTo>
                      <a:pt x="293" y="755"/>
                      <a:pt x="293" y="755"/>
                      <a:pt x="293" y="755"/>
                    </a:cubicBezTo>
                    <a:cubicBezTo>
                      <a:pt x="291" y="754"/>
                      <a:pt x="289" y="754"/>
                      <a:pt x="287" y="753"/>
                    </a:cubicBezTo>
                    <a:cubicBezTo>
                      <a:pt x="288" y="750"/>
                      <a:pt x="288" y="750"/>
                      <a:pt x="288" y="750"/>
                    </a:cubicBezTo>
                    <a:cubicBezTo>
                      <a:pt x="288" y="750"/>
                      <a:pt x="288" y="750"/>
                      <a:pt x="288" y="750"/>
                    </a:cubicBezTo>
                    <a:cubicBezTo>
                      <a:pt x="287" y="753"/>
                      <a:pt x="287" y="753"/>
                      <a:pt x="287" y="753"/>
                    </a:cubicBezTo>
                    <a:cubicBezTo>
                      <a:pt x="285" y="753"/>
                      <a:pt x="283" y="752"/>
                      <a:pt x="281" y="752"/>
                    </a:cubicBezTo>
                    <a:cubicBezTo>
                      <a:pt x="282" y="749"/>
                      <a:pt x="282" y="749"/>
                      <a:pt x="282" y="749"/>
                    </a:cubicBezTo>
                    <a:cubicBezTo>
                      <a:pt x="281" y="748"/>
                      <a:pt x="281" y="748"/>
                      <a:pt x="281" y="748"/>
                    </a:cubicBezTo>
                    <a:cubicBezTo>
                      <a:pt x="280" y="751"/>
                      <a:pt x="280" y="751"/>
                      <a:pt x="280" y="751"/>
                    </a:cubicBezTo>
                    <a:cubicBezTo>
                      <a:pt x="279" y="751"/>
                      <a:pt x="277" y="750"/>
                      <a:pt x="275" y="750"/>
                    </a:cubicBezTo>
                    <a:cubicBezTo>
                      <a:pt x="276" y="747"/>
                      <a:pt x="276" y="747"/>
                      <a:pt x="276" y="747"/>
                    </a:cubicBezTo>
                    <a:cubicBezTo>
                      <a:pt x="275" y="746"/>
                      <a:pt x="275" y="746"/>
                      <a:pt x="275" y="746"/>
                    </a:cubicBezTo>
                    <a:cubicBezTo>
                      <a:pt x="274" y="749"/>
                      <a:pt x="274" y="749"/>
                      <a:pt x="274" y="749"/>
                    </a:cubicBezTo>
                    <a:cubicBezTo>
                      <a:pt x="272" y="749"/>
                      <a:pt x="271" y="748"/>
                      <a:pt x="269" y="747"/>
                    </a:cubicBezTo>
                    <a:cubicBezTo>
                      <a:pt x="270" y="745"/>
                      <a:pt x="270" y="745"/>
                      <a:pt x="270" y="745"/>
                    </a:cubicBezTo>
                    <a:cubicBezTo>
                      <a:pt x="269" y="744"/>
                      <a:pt x="269" y="744"/>
                      <a:pt x="269" y="744"/>
                    </a:cubicBezTo>
                    <a:cubicBezTo>
                      <a:pt x="268" y="747"/>
                      <a:pt x="268" y="747"/>
                      <a:pt x="268" y="747"/>
                    </a:cubicBezTo>
                    <a:cubicBezTo>
                      <a:pt x="266" y="747"/>
                      <a:pt x="265" y="746"/>
                      <a:pt x="263" y="745"/>
                    </a:cubicBezTo>
                    <a:cubicBezTo>
                      <a:pt x="265" y="740"/>
                      <a:pt x="265" y="740"/>
                      <a:pt x="265" y="740"/>
                    </a:cubicBezTo>
                    <a:cubicBezTo>
                      <a:pt x="264" y="740"/>
                      <a:pt x="264" y="740"/>
                      <a:pt x="264" y="740"/>
                    </a:cubicBezTo>
                    <a:cubicBezTo>
                      <a:pt x="267" y="733"/>
                      <a:pt x="267" y="733"/>
                      <a:pt x="267" y="733"/>
                    </a:cubicBezTo>
                    <a:cubicBezTo>
                      <a:pt x="266" y="733"/>
                      <a:pt x="266" y="733"/>
                      <a:pt x="266" y="733"/>
                    </a:cubicBezTo>
                    <a:cubicBezTo>
                      <a:pt x="264" y="740"/>
                      <a:pt x="264" y="740"/>
                      <a:pt x="264" y="740"/>
                    </a:cubicBezTo>
                    <a:cubicBezTo>
                      <a:pt x="263" y="740"/>
                      <a:pt x="263" y="740"/>
                      <a:pt x="263" y="740"/>
                    </a:cubicBezTo>
                    <a:cubicBezTo>
                      <a:pt x="261" y="745"/>
                      <a:pt x="261" y="745"/>
                      <a:pt x="261" y="745"/>
                    </a:cubicBezTo>
                    <a:cubicBezTo>
                      <a:pt x="260" y="744"/>
                      <a:pt x="258" y="744"/>
                      <a:pt x="256" y="743"/>
                    </a:cubicBezTo>
                    <a:cubicBezTo>
                      <a:pt x="257" y="740"/>
                      <a:pt x="257" y="740"/>
                      <a:pt x="257" y="740"/>
                    </a:cubicBezTo>
                    <a:cubicBezTo>
                      <a:pt x="257" y="740"/>
                      <a:pt x="257" y="740"/>
                      <a:pt x="257" y="740"/>
                    </a:cubicBezTo>
                    <a:cubicBezTo>
                      <a:pt x="256" y="743"/>
                      <a:pt x="256" y="743"/>
                      <a:pt x="256" y="743"/>
                    </a:cubicBezTo>
                    <a:cubicBezTo>
                      <a:pt x="254" y="742"/>
                      <a:pt x="252" y="741"/>
                      <a:pt x="250" y="741"/>
                    </a:cubicBezTo>
                    <a:cubicBezTo>
                      <a:pt x="251" y="738"/>
                      <a:pt x="251" y="738"/>
                      <a:pt x="251" y="738"/>
                    </a:cubicBezTo>
                    <a:cubicBezTo>
                      <a:pt x="251" y="737"/>
                      <a:pt x="251" y="737"/>
                      <a:pt x="251" y="737"/>
                    </a:cubicBezTo>
                    <a:cubicBezTo>
                      <a:pt x="250" y="740"/>
                      <a:pt x="250" y="740"/>
                      <a:pt x="250" y="740"/>
                    </a:cubicBezTo>
                    <a:cubicBezTo>
                      <a:pt x="248" y="740"/>
                      <a:pt x="246" y="739"/>
                      <a:pt x="244" y="738"/>
                    </a:cubicBezTo>
                    <a:cubicBezTo>
                      <a:pt x="245" y="735"/>
                      <a:pt x="245" y="735"/>
                      <a:pt x="245" y="735"/>
                    </a:cubicBezTo>
                    <a:cubicBezTo>
                      <a:pt x="245" y="735"/>
                      <a:pt x="245" y="735"/>
                      <a:pt x="245" y="735"/>
                    </a:cubicBezTo>
                    <a:cubicBezTo>
                      <a:pt x="243" y="738"/>
                      <a:pt x="243" y="738"/>
                      <a:pt x="243" y="738"/>
                    </a:cubicBezTo>
                    <a:cubicBezTo>
                      <a:pt x="242" y="737"/>
                      <a:pt x="240" y="736"/>
                      <a:pt x="238" y="735"/>
                    </a:cubicBezTo>
                    <a:cubicBezTo>
                      <a:pt x="239" y="733"/>
                      <a:pt x="239" y="733"/>
                      <a:pt x="239" y="733"/>
                    </a:cubicBezTo>
                    <a:cubicBezTo>
                      <a:pt x="239" y="732"/>
                      <a:pt x="239" y="732"/>
                      <a:pt x="239" y="732"/>
                    </a:cubicBezTo>
                    <a:cubicBezTo>
                      <a:pt x="237" y="735"/>
                      <a:pt x="237" y="735"/>
                      <a:pt x="237" y="735"/>
                    </a:cubicBezTo>
                    <a:cubicBezTo>
                      <a:pt x="236" y="734"/>
                      <a:pt x="234" y="733"/>
                      <a:pt x="232" y="733"/>
                    </a:cubicBezTo>
                    <a:cubicBezTo>
                      <a:pt x="233" y="730"/>
                      <a:pt x="233" y="730"/>
                      <a:pt x="233" y="730"/>
                    </a:cubicBezTo>
                    <a:cubicBezTo>
                      <a:pt x="233" y="730"/>
                      <a:pt x="233" y="730"/>
                      <a:pt x="233" y="730"/>
                    </a:cubicBezTo>
                    <a:cubicBezTo>
                      <a:pt x="231" y="732"/>
                      <a:pt x="231" y="732"/>
                      <a:pt x="231" y="732"/>
                    </a:cubicBezTo>
                    <a:cubicBezTo>
                      <a:pt x="230" y="732"/>
                      <a:pt x="228" y="731"/>
                      <a:pt x="226" y="730"/>
                    </a:cubicBezTo>
                    <a:cubicBezTo>
                      <a:pt x="228" y="727"/>
                      <a:pt x="228" y="727"/>
                      <a:pt x="228" y="727"/>
                    </a:cubicBezTo>
                    <a:cubicBezTo>
                      <a:pt x="227" y="727"/>
                      <a:pt x="227" y="727"/>
                      <a:pt x="227" y="727"/>
                    </a:cubicBezTo>
                    <a:cubicBezTo>
                      <a:pt x="226" y="729"/>
                      <a:pt x="226" y="729"/>
                      <a:pt x="226" y="729"/>
                    </a:cubicBezTo>
                    <a:cubicBezTo>
                      <a:pt x="224" y="729"/>
                      <a:pt x="222" y="728"/>
                      <a:pt x="220" y="727"/>
                    </a:cubicBezTo>
                    <a:cubicBezTo>
                      <a:pt x="222" y="724"/>
                      <a:pt x="222" y="724"/>
                      <a:pt x="222" y="724"/>
                    </a:cubicBezTo>
                    <a:cubicBezTo>
                      <a:pt x="221" y="724"/>
                      <a:pt x="221" y="724"/>
                      <a:pt x="221" y="724"/>
                    </a:cubicBezTo>
                    <a:cubicBezTo>
                      <a:pt x="220" y="727"/>
                      <a:pt x="220" y="727"/>
                      <a:pt x="220" y="727"/>
                    </a:cubicBezTo>
                    <a:cubicBezTo>
                      <a:pt x="218" y="726"/>
                      <a:pt x="216" y="725"/>
                      <a:pt x="215" y="724"/>
                    </a:cubicBezTo>
                    <a:cubicBezTo>
                      <a:pt x="216" y="721"/>
                      <a:pt x="216" y="721"/>
                      <a:pt x="216" y="721"/>
                    </a:cubicBezTo>
                    <a:cubicBezTo>
                      <a:pt x="215" y="721"/>
                      <a:pt x="215" y="721"/>
                      <a:pt x="215" y="721"/>
                    </a:cubicBezTo>
                    <a:cubicBezTo>
                      <a:pt x="214" y="723"/>
                      <a:pt x="214" y="723"/>
                      <a:pt x="214" y="723"/>
                    </a:cubicBezTo>
                    <a:cubicBezTo>
                      <a:pt x="212" y="723"/>
                      <a:pt x="210" y="722"/>
                      <a:pt x="209" y="721"/>
                    </a:cubicBezTo>
                    <a:cubicBezTo>
                      <a:pt x="210" y="718"/>
                      <a:pt x="210" y="718"/>
                      <a:pt x="210" y="718"/>
                    </a:cubicBezTo>
                    <a:cubicBezTo>
                      <a:pt x="210" y="718"/>
                      <a:pt x="210" y="718"/>
                      <a:pt x="210" y="718"/>
                    </a:cubicBezTo>
                    <a:cubicBezTo>
                      <a:pt x="208" y="720"/>
                      <a:pt x="208" y="720"/>
                      <a:pt x="208" y="720"/>
                    </a:cubicBezTo>
                    <a:cubicBezTo>
                      <a:pt x="207" y="719"/>
                      <a:pt x="205" y="719"/>
                      <a:pt x="204" y="718"/>
                    </a:cubicBezTo>
                    <a:cubicBezTo>
                      <a:pt x="206" y="713"/>
                      <a:pt x="206" y="713"/>
                      <a:pt x="206" y="713"/>
                    </a:cubicBezTo>
                    <a:cubicBezTo>
                      <a:pt x="206" y="713"/>
                      <a:pt x="206" y="713"/>
                      <a:pt x="206" y="713"/>
                    </a:cubicBezTo>
                    <a:cubicBezTo>
                      <a:pt x="210" y="706"/>
                      <a:pt x="210" y="706"/>
                      <a:pt x="210" y="706"/>
                    </a:cubicBezTo>
                    <a:cubicBezTo>
                      <a:pt x="209" y="706"/>
                      <a:pt x="209" y="706"/>
                      <a:pt x="209" y="706"/>
                    </a:cubicBezTo>
                    <a:cubicBezTo>
                      <a:pt x="205" y="712"/>
                      <a:pt x="205" y="712"/>
                      <a:pt x="205" y="712"/>
                    </a:cubicBezTo>
                    <a:cubicBezTo>
                      <a:pt x="205" y="712"/>
                      <a:pt x="205" y="712"/>
                      <a:pt x="205" y="712"/>
                    </a:cubicBezTo>
                    <a:cubicBezTo>
                      <a:pt x="202" y="717"/>
                      <a:pt x="202" y="717"/>
                      <a:pt x="202" y="717"/>
                    </a:cubicBezTo>
                    <a:cubicBezTo>
                      <a:pt x="200" y="716"/>
                      <a:pt x="199" y="715"/>
                      <a:pt x="197" y="714"/>
                    </a:cubicBezTo>
                    <a:cubicBezTo>
                      <a:pt x="199" y="712"/>
                      <a:pt x="199" y="712"/>
                      <a:pt x="199" y="712"/>
                    </a:cubicBezTo>
                    <a:cubicBezTo>
                      <a:pt x="198" y="711"/>
                      <a:pt x="198" y="711"/>
                      <a:pt x="198" y="711"/>
                    </a:cubicBezTo>
                    <a:cubicBezTo>
                      <a:pt x="197" y="714"/>
                      <a:pt x="197" y="714"/>
                      <a:pt x="197" y="714"/>
                    </a:cubicBezTo>
                    <a:cubicBezTo>
                      <a:pt x="195" y="713"/>
                      <a:pt x="193" y="712"/>
                      <a:pt x="192" y="711"/>
                    </a:cubicBezTo>
                    <a:cubicBezTo>
                      <a:pt x="193" y="708"/>
                      <a:pt x="193" y="708"/>
                      <a:pt x="193" y="708"/>
                    </a:cubicBezTo>
                    <a:cubicBezTo>
                      <a:pt x="193" y="708"/>
                      <a:pt x="193" y="708"/>
                      <a:pt x="193" y="708"/>
                    </a:cubicBezTo>
                    <a:cubicBezTo>
                      <a:pt x="191" y="710"/>
                      <a:pt x="191" y="710"/>
                      <a:pt x="191" y="710"/>
                    </a:cubicBezTo>
                    <a:cubicBezTo>
                      <a:pt x="190" y="709"/>
                      <a:pt x="188" y="708"/>
                      <a:pt x="186" y="707"/>
                    </a:cubicBezTo>
                    <a:cubicBezTo>
                      <a:pt x="188" y="705"/>
                      <a:pt x="188" y="705"/>
                      <a:pt x="188" y="705"/>
                    </a:cubicBezTo>
                    <a:cubicBezTo>
                      <a:pt x="187" y="704"/>
                      <a:pt x="187" y="704"/>
                      <a:pt x="187" y="704"/>
                    </a:cubicBezTo>
                    <a:cubicBezTo>
                      <a:pt x="186" y="707"/>
                      <a:pt x="186" y="707"/>
                      <a:pt x="186" y="707"/>
                    </a:cubicBezTo>
                    <a:cubicBezTo>
                      <a:pt x="184" y="706"/>
                      <a:pt x="182" y="705"/>
                      <a:pt x="181" y="704"/>
                    </a:cubicBezTo>
                    <a:cubicBezTo>
                      <a:pt x="182" y="701"/>
                      <a:pt x="182" y="701"/>
                      <a:pt x="182" y="701"/>
                    </a:cubicBezTo>
                    <a:cubicBezTo>
                      <a:pt x="182" y="701"/>
                      <a:pt x="182" y="701"/>
                      <a:pt x="182" y="701"/>
                    </a:cubicBezTo>
                    <a:cubicBezTo>
                      <a:pt x="180" y="703"/>
                      <a:pt x="180" y="703"/>
                      <a:pt x="180" y="703"/>
                    </a:cubicBezTo>
                    <a:cubicBezTo>
                      <a:pt x="179" y="702"/>
                      <a:pt x="177" y="701"/>
                      <a:pt x="175" y="700"/>
                    </a:cubicBezTo>
                    <a:cubicBezTo>
                      <a:pt x="177" y="697"/>
                      <a:pt x="177" y="697"/>
                      <a:pt x="177" y="697"/>
                    </a:cubicBezTo>
                    <a:cubicBezTo>
                      <a:pt x="176" y="697"/>
                      <a:pt x="176" y="697"/>
                      <a:pt x="176" y="697"/>
                    </a:cubicBezTo>
                    <a:cubicBezTo>
                      <a:pt x="175" y="699"/>
                      <a:pt x="175" y="699"/>
                      <a:pt x="175" y="699"/>
                    </a:cubicBezTo>
                    <a:cubicBezTo>
                      <a:pt x="173" y="698"/>
                      <a:pt x="172" y="697"/>
                      <a:pt x="170" y="696"/>
                    </a:cubicBezTo>
                    <a:cubicBezTo>
                      <a:pt x="172" y="694"/>
                      <a:pt x="172" y="694"/>
                      <a:pt x="172" y="694"/>
                    </a:cubicBezTo>
                    <a:cubicBezTo>
                      <a:pt x="171" y="693"/>
                      <a:pt x="171" y="693"/>
                      <a:pt x="171" y="693"/>
                    </a:cubicBezTo>
                    <a:cubicBezTo>
                      <a:pt x="169" y="696"/>
                      <a:pt x="169" y="696"/>
                      <a:pt x="169" y="696"/>
                    </a:cubicBezTo>
                    <a:cubicBezTo>
                      <a:pt x="168" y="694"/>
                      <a:pt x="166" y="693"/>
                      <a:pt x="165" y="692"/>
                    </a:cubicBezTo>
                    <a:cubicBezTo>
                      <a:pt x="167" y="690"/>
                      <a:pt x="167" y="690"/>
                      <a:pt x="167" y="690"/>
                    </a:cubicBezTo>
                    <a:cubicBezTo>
                      <a:pt x="166" y="689"/>
                      <a:pt x="166" y="689"/>
                      <a:pt x="166" y="689"/>
                    </a:cubicBezTo>
                    <a:cubicBezTo>
                      <a:pt x="164" y="692"/>
                      <a:pt x="164" y="692"/>
                      <a:pt x="164" y="692"/>
                    </a:cubicBezTo>
                    <a:cubicBezTo>
                      <a:pt x="163" y="690"/>
                      <a:pt x="161" y="689"/>
                      <a:pt x="160" y="688"/>
                    </a:cubicBezTo>
                    <a:cubicBezTo>
                      <a:pt x="161" y="686"/>
                      <a:pt x="161" y="686"/>
                      <a:pt x="161" y="686"/>
                    </a:cubicBezTo>
                    <a:cubicBezTo>
                      <a:pt x="161" y="685"/>
                      <a:pt x="161" y="685"/>
                      <a:pt x="161" y="685"/>
                    </a:cubicBezTo>
                    <a:cubicBezTo>
                      <a:pt x="159" y="688"/>
                      <a:pt x="159" y="688"/>
                      <a:pt x="159" y="688"/>
                    </a:cubicBezTo>
                    <a:cubicBezTo>
                      <a:pt x="157" y="686"/>
                      <a:pt x="156" y="685"/>
                      <a:pt x="154" y="684"/>
                    </a:cubicBezTo>
                    <a:cubicBezTo>
                      <a:pt x="156" y="682"/>
                      <a:pt x="156" y="682"/>
                      <a:pt x="156" y="682"/>
                    </a:cubicBezTo>
                    <a:cubicBezTo>
                      <a:pt x="156" y="681"/>
                      <a:pt x="156" y="681"/>
                      <a:pt x="156" y="681"/>
                    </a:cubicBezTo>
                    <a:cubicBezTo>
                      <a:pt x="154" y="683"/>
                      <a:pt x="154" y="683"/>
                      <a:pt x="154" y="683"/>
                    </a:cubicBezTo>
                    <a:cubicBezTo>
                      <a:pt x="153" y="682"/>
                      <a:pt x="151" y="681"/>
                      <a:pt x="150" y="680"/>
                    </a:cubicBezTo>
                    <a:cubicBezTo>
                      <a:pt x="153" y="676"/>
                      <a:pt x="153" y="676"/>
                      <a:pt x="153" y="676"/>
                    </a:cubicBezTo>
                    <a:cubicBezTo>
                      <a:pt x="153" y="676"/>
                      <a:pt x="153" y="676"/>
                      <a:pt x="153" y="676"/>
                    </a:cubicBezTo>
                    <a:cubicBezTo>
                      <a:pt x="158" y="670"/>
                      <a:pt x="158" y="670"/>
                      <a:pt x="158" y="670"/>
                    </a:cubicBezTo>
                    <a:cubicBezTo>
                      <a:pt x="157" y="669"/>
                      <a:pt x="157" y="669"/>
                      <a:pt x="157" y="669"/>
                    </a:cubicBezTo>
                    <a:cubicBezTo>
                      <a:pt x="152" y="675"/>
                      <a:pt x="152" y="675"/>
                      <a:pt x="152" y="675"/>
                    </a:cubicBezTo>
                    <a:cubicBezTo>
                      <a:pt x="152" y="675"/>
                      <a:pt x="152" y="675"/>
                      <a:pt x="152" y="675"/>
                    </a:cubicBezTo>
                    <a:cubicBezTo>
                      <a:pt x="148" y="679"/>
                      <a:pt x="148" y="679"/>
                      <a:pt x="148" y="679"/>
                    </a:cubicBezTo>
                    <a:cubicBezTo>
                      <a:pt x="147" y="678"/>
                      <a:pt x="146" y="677"/>
                      <a:pt x="144" y="676"/>
                    </a:cubicBezTo>
                    <a:cubicBezTo>
                      <a:pt x="146" y="673"/>
                      <a:pt x="146" y="673"/>
                      <a:pt x="146" y="673"/>
                    </a:cubicBezTo>
                    <a:cubicBezTo>
                      <a:pt x="146" y="673"/>
                      <a:pt x="146" y="673"/>
                      <a:pt x="146" y="673"/>
                    </a:cubicBezTo>
                    <a:cubicBezTo>
                      <a:pt x="144" y="675"/>
                      <a:pt x="144" y="675"/>
                      <a:pt x="144" y="675"/>
                    </a:cubicBezTo>
                    <a:cubicBezTo>
                      <a:pt x="142" y="674"/>
                      <a:pt x="141" y="672"/>
                      <a:pt x="139" y="671"/>
                    </a:cubicBezTo>
                    <a:cubicBezTo>
                      <a:pt x="141" y="669"/>
                      <a:pt x="141" y="669"/>
                      <a:pt x="141" y="669"/>
                    </a:cubicBezTo>
                    <a:cubicBezTo>
                      <a:pt x="141" y="669"/>
                      <a:pt x="141" y="669"/>
                      <a:pt x="141" y="669"/>
                    </a:cubicBezTo>
                    <a:cubicBezTo>
                      <a:pt x="139" y="671"/>
                      <a:pt x="139" y="671"/>
                      <a:pt x="139" y="671"/>
                    </a:cubicBezTo>
                    <a:cubicBezTo>
                      <a:pt x="137" y="669"/>
                      <a:pt x="136" y="668"/>
                      <a:pt x="135" y="667"/>
                    </a:cubicBezTo>
                    <a:cubicBezTo>
                      <a:pt x="137" y="665"/>
                      <a:pt x="137" y="665"/>
                      <a:pt x="137" y="665"/>
                    </a:cubicBezTo>
                    <a:cubicBezTo>
                      <a:pt x="136" y="664"/>
                      <a:pt x="136" y="664"/>
                      <a:pt x="136" y="664"/>
                    </a:cubicBezTo>
                    <a:cubicBezTo>
                      <a:pt x="134" y="666"/>
                      <a:pt x="134" y="666"/>
                      <a:pt x="134" y="666"/>
                    </a:cubicBezTo>
                    <a:cubicBezTo>
                      <a:pt x="133" y="665"/>
                      <a:pt x="131" y="664"/>
                      <a:pt x="130" y="662"/>
                    </a:cubicBezTo>
                    <a:cubicBezTo>
                      <a:pt x="132" y="660"/>
                      <a:pt x="132" y="660"/>
                      <a:pt x="132" y="660"/>
                    </a:cubicBezTo>
                    <a:cubicBezTo>
                      <a:pt x="131" y="660"/>
                      <a:pt x="131" y="660"/>
                      <a:pt x="131" y="660"/>
                    </a:cubicBezTo>
                    <a:cubicBezTo>
                      <a:pt x="129" y="662"/>
                      <a:pt x="129" y="662"/>
                      <a:pt x="129" y="662"/>
                    </a:cubicBezTo>
                    <a:cubicBezTo>
                      <a:pt x="128" y="660"/>
                      <a:pt x="127" y="659"/>
                      <a:pt x="125" y="658"/>
                    </a:cubicBezTo>
                    <a:cubicBezTo>
                      <a:pt x="127" y="656"/>
                      <a:pt x="127" y="656"/>
                      <a:pt x="127" y="656"/>
                    </a:cubicBezTo>
                    <a:cubicBezTo>
                      <a:pt x="127" y="655"/>
                      <a:pt x="127" y="655"/>
                      <a:pt x="127" y="655"/>
                    </a:cubicBezTo>
                    <a:cubicBezTo>
                      <a:pt x="125" y="657"/>
                      <a:pt x="125" y="657"/>
                      <a:pt x="125" y="657"/>
                    </a:cubicBezTo>
                    <a:cubicBezTo>
                      <a:pt x="123" y="656"/>
                      <a:pt x="122" y="654"/>
                      <a:pt x="121" y="653"/>
                    </a:cubicBezTo>
                    <a:cubicBezTo>
                      <a:pt x="123" y="651"/>
                      <a:pt x="123" y="651"/>
                      <a:pt x="123" y="651"/>
                    </a:cubicBezTo>
                    <a:cubicBezTo>
                      <a:pt x="122" y="650"/>
                      <a:pt x="122" y="650"/>
                      <a:pt x="122" y="650"/>
                    </a:cubicBezTo>
                    <a:cubicBezTo>
                      <a:pt x="120" y="652"/>
                      <a:pt x="120" y="652"/>
                      <a:pt x="120" y="652"/>
                    </a:cubicBezTo>
                    <a:cubicBezTo>
                      <a:pt x="119" y="651"/>
                      <a:pt x="117" y="650"/>
                      <a:pt x="116" y="648"/>
                    </a:cubicBezTo>
                    <a:cubicBezTo>
                      <a:pt x="118" y="646"/>
                      <a:pt x="118" y="646"/>
                      <a:pt x="118" y="646"/>
                    </a:cubicBezTo>
                    <a:cubicBezTo>
                      <a:pt x="118" y="646"/>
                      <a:pt x="118" y="646"/>
                      <a:pt x="118" y="646"/>
                    </a:cubicBezTo>
                    <a:cubicBezTo>
                      <a:pt x="116" y="648"/>
                      <a:pt x="116" y="648"/>
                      <a:pt x="116" y="648"/>
                    </a:cubicBezTo>
                    <a:cubicBezTo>
                      <a:pt x="114" y="646"/>
                      <a:pt x="113" y="645"/>
                      <a:pt x="112" y="643"/>
                    </a:cubicBezTo>
                    <a:cubicBezTo>
                      <a:pt x="114" y="641"/>
                      <a:pt x="114" y="641"/>
                      <a:pt x="114" y="641"/>
                    </a:cubicBezTo>
                    <a:cubicBezTo>
                      <a:pt x="113" y="641"/>
                      <a:pt x="113" y="641"/>
                      <a:pt x="113" y="641"/>
                    </a:cubicBezTo>
                    <a:cubicBezTo>
                      <a:pt x="111" y="643"/>
                      <a:pt x="111" y="643"/>
                      <a:pt x="111" y="643"/>
                    </a:cubicBezTo>
                    <a:cubicBezTo>
                      <a:pt x="110" y="641"/>
                      <a:pt x="109" y="640"/>
                      <a:pt x="107" y="638"/>
                    </a:cubicBezTo>
                    <a:cubicBezTo>
                      <a:pt x="109" y="637"/>
                      <a:pt x="109" y="637"/>
                      <a:pt x="109" y="637"/>
                    </a:cubicBezTo>
                    <a:cubicBezTo>
                      <a:pt x="109" y="636"/>
                      <a:pt x="109" y="636"/>
                      <a:pt x="109" y="636"/>
                    </a:cubicBezTo>
                    <a:cubicBezTo>
                      <a:pt x="107" y="638"/>
                      <a:pt x="107" y="638"/>
                      <a:pt x="107" y="638"/>
                    </a:cubicBezTo>
                    <a:cubicBezTo>
                      <a:pt x="106" y="637"/>
                      <a:pt x="104" y="635"/>
                      <a:pt x="103" y="634"/>
                    </a:cubicBezTo>
                    <a:cubicBezTo>
                      <a:pt x="107" y="630"/>
                      <a:pt x="107" y="630"/>
                      <a:pt x="107" y="630"/>
                    </a:cubicBezTo>
                    <a:cubicBezTo>
                      <a:pt x="107" y="630"/>
                      <a:pt x="107" y="630"/>
                      <a:pt x="107" y="630"/>
                    </a:cubicBezTo>
                    <a:cubicBezTo>
                      <a:pt x="113" y="625"/>
                      <a:pt x="113" y="625"/>
                      <a:pt x="113" y="625"/>
                    </a:cubicBezTo>
                    <a:cubicBezTo>
                      <a:pt x="113" y="624"/>
                      <a:pt x="113" y="624"/>
                      <a:pt x="113" y="624"/>
                    </a:cubicBezTo>
                    <a:cubicBezTo>
                      <a:pt x="107" y="629"/>
                      <a:pt x="107" y="629"/>
                      <a:pt x="107" y="629"/>
                    </a:cubicBezTo>
                    <a:cubicBezTo>
                      <a:pt x="106" y="629"/>
                      <a:pt x="106" y="629"/>
                      <a:pt x="106" y="629"/>
                    </a:cubicBezTo>
                    <a:cubicBezTo>
                      <a:pt x="102" y="632"/>
                      <a:pt x="102" y="632"/>
                      <a:pt x="102" y="632"/>
                    </a:cubicBezTo>
                    <a:cubicBezTo>
                      <a:pt x="101" y="631"/>
                      <a:pt x="100" y="630"/>
                      <a:pt x="99" y="628"/>
                    </a:cubicBezTo>
                    <a:cubicBezTo>
                      <a:pt x="101" y="627"/>
                      <a:pt x="101" y="627"/>
                      <a:pt x="101" y="627"/>
                    </a:cubicBezTo>
                    <a:cubicBezTo>
                      <a:pt x="101" y="626"/>
                      <a:pt x="101" y="626"/>
                      <a:pt x="101" y="626"/>
                    </a:cubicBezTo>
                    <a:cubicBezTo>
                      <a:pt x="98" y="628"/>
                      <a:pt x="98" y="628"/>
                      <a:pt x="98" y="628"/>
                    </a:cubicBezTo>
                    <a:cubicBezTo>
                      <a:pt x="97" y="626"/>
                      <a:pt x="96" y="625"/>
                      <a:pt x="95" y="623"/>
                    </a:cubicBezTo>
                    <a:cubicBezTo>
                      <a:pt x="97" y="622"/>
                      <a:pt x="97" y="622"/>
                      <a:pt x="97" y="622"/>
                    </a:cubicBezTo>
                    <a:cubicBezTo>
                      <a:pt x="96" y="621"/>
                      <a:pt x="96" y="621"/>
                      <a:pt x="96" y="621"/>
                    </a:cubicBezTo>
                    <a:cubicBezTo>
                      <a:pt x="94" y="623"/>
                      <a:pt x="94" y="623"/>
                      <a:pt x="94" y="623"/>
                    </a:cubicBezTo>
                    <a:cubicBezTo>
                      <a:pt x="93" y="621"/>
                      <a:pt x="92" y="620"/>
                      <a:pt x="91" y="618"/>
                    </a:cubicBezTo>
                    <a:cubicBezTo>
                      <a:pt x="93" y="616"/>
                      <a:pt x="93" y="616"/>
                      <a:pt x="93" y="616"/>
                    </a:cubicBezTo>
                    <a:cubicBezTo>
                      <a:pt x="93" y="616"/>
                      <a:pt x="93" y="616"/>
                      <a:pt x="93" y="616"/>
                    </a:cubicBezTo>
                    <a:cubicBezTo>
                      <a:pt x="90" y="617"/>
                      <a:pt x="90" y="617"/>
                      <a:pt x="90" y="617"/>
                    </a:cubicBezTo>
                    <a:cubicBezTo>
                      <a:pt x="89" y="616"/>
                      <a:pt x="88" y="614"/>
                      <a:pt x="87" y="613"/>
                    </a:cubicBezTo>
                    <a:cubicBezTo>
                      <a:pt x="89" y="611"/>
                      <a:pt x="89" y="611"/>
                      <a:pt x="89" y="611"/>
                    </a:cubicBezTo>
                    <a:cubicBezTo>
                      <a:pt x="89" y="610"/>
                      <a:pt x="89" y="610"/>
                      <a:pt x="89" y="610"/>
                    </a:cubicBezTo>
                    <a:cubicBezTo>
                      <a:pt x="86" y="612"/>
                      <a:pt x="86" y="612"/>
                      <a:pt x="86" y="612"/>
                    </a:cubicBezTo>
                    <a:cubicBezTo>
                      <a:pt x="85" y="611"/>
                      <a:pt x="84" y="609"/>
                      <a:pt x="83" y="607"/>
                    </a:cubicBezTo>
                    <a:cubicBezTo>
                      <a:pt x="85" y="606"/>
                      <a:pt x="85" y="606"/>
                      <a:pt x="85" y="606"/>
                    </a:cubicBezTo>
                    <a:cubicBezTo>
                      <a:pt x="85" y="605"/>
                      <a:pt x="85" y="605"/>
                      <a:pt x="85" y="605"/>
                    </a:cubicBezTo>
                    <a:cubicBezTo>
                      <a:pt x="83" y="607"/>
                      <a:pt x="83" y="607"/>
                      <a:pt x="83" y="607"/>
                    </a:cubicBezTo>
                    <a:cubicBezTo>
                      <a:pt x="81" y="605"/>
                      <a:pt x="80" y="604"/>
                      <a:pt x="79" y="602"/>
                    </a:cubicBezTo>
                    <a:cubicBezTo>
                      <a:pt x="82" y="600"/>
                      <a:pt x="82" y="600"/>
                      <a:pt x="82" y="600"/>
                    </a:cubicBezTo>
                    <a:cubicBezTo>
                      <a:pt x="81" y="600"/>
                      <a:pt x="81" y="600"/>
                      <a:pt x="81" y="600"/>
                    </a:cubicBezTo>
                    <a:cubicBezTo>
                      <a:pt x="79" y="601"/>
                      <a:pt x="79" y="601"/>
                      <a:pt x="79" y="601"/>
                    </a:cubicBezTo>
                    <a:cubicBezTo>
                      <a:pt x="78" y="600"/>
                      <a:pt x="77" y="598"/>
                      <a:pt x="76" y="597"/>
                    </a:cubicBezTo>
                    <a:cubicBezTo>
                      <a:pt x="78" y="595"/>
                      <a:pt x="78" y="595"/>
                      <a:pt x="78" y="595"/>
                    </a:cubicBezTo>
                    <a:cubicBezTo>
                      <a:pt x="78" y="594"/>
                      <a:pt x="78" y="594"/>
                      <a:pt x="78" y="594"/>
                    </a:cubicBezTo>
                    <a:cubicBezTo>
                      <a:pt x="75" y="596"/>
                      <a:pt x="75" y="596"/>
                      <a:pt x="75" y="596"/>
                    </a:cubicBezTo>
                    <a:cubicBezTo>
                      <a:pt x="74" y="594"/>
                      <a:pt x="73" y="593"/>
                      <a:pt x="72" y="591"/>
                    </a:cubicBezTo>
                    <a:cubicBezTo>
                      <a:pt x="75" y="590"/>
                      <a:pt x="75" y="590"/>
                      <a:pt x="75" y="590"/>
                    </a:cubicBezTo>
                    <a:cubicBezTo>
                      <a:pt x="74" y="589"/>
                      <a:pt x="74" y="589"/>
                      <a:pt x="74" y="589"/>
                    </a:cubicBezTo>
                    <a:cubicBezTo>
                      <a:pt x="72" y="590"/>
                      <a:pt x="72" y="590"/>
                      <a:pt x="72" y="590"/>
                    </a:cubicBezTo>
                    <a:cubicBezTo>
                      <a:pt x="71" y="589"/>
                      <a:pt x="70" y="587"/>
                      <a:pt x="69" y="585"/>
                    </a:cubicBezTo>
                    <a:cubicBezTo>
                      <a:pt x="71" y="584"/>
                      <a:pt x="71" y="584"/>
                      <a:pt x="71" y="584"/>
                    </a:cubicBezTo>
                    <a:cubicBezTo>
                      <a:pt x="71" y="583"/>
                      <a:pt x="71" y="583"/>
                      <a:pt x="71" y="583"/>
                    </a:cubicBezTo>
                    <a:cubicBezTo>
                      <a:pt x="68" y="585"/>
                      <a:pt x="68" y="585"/>
                      <a:pt x="68" y="585"/>
                    </a:cubicBezTo>
                    <a:cubicBezTo>
                      <a:pt x="67" y="583"/>
                      <a:pt x="66" y="582"/>
                      <a:pt x="66" y="580"/>
                    </a:cubicBezTo>
                    <a:cubicBezTo>
                      <a:pt x="70" y="578"/>
                      <a:pt x="70" y="578"/>
                      <a:pt x="70" y="578"/>
                    </a:cubicBezTo>
                    <a:cubicBezTo>
                      <a:pt x="70" y="577"/>
                      <a:pt x="70" y="577"/>
                      <a:pt x="70" y="577"/>
                    </a:cubicBezTo>
                    <a:cubicBezTo>
                      <a:pt x="77" y="573"/>
                      <a:pt x="77" y="573"/>
                      <a:pt x="77" y="573"/>
                    </a:cubicBezTo>
                    <a:cubicBezTo>
                      <a:pt x="76" y="573"/>
                      <a:pt x="76" y="573"/>
                      <a:pt x="76" y="573"/>
                    </a:cubicBezTo>
                    <a:cubicBezTo>
                      <a:pt x="70" y="576"/>
                      <a:pt x="70" y="576"/>
                      <a:pt x="70" y="576"/>
                    </a:cubicBezTo>
                    <a:cubicBezTo>
                      <a:pt x="69" y="576"/>
                      <a:pt x="69" y="576"/>
                      <a:pt x="69" y="576"/>
                    </a:cubicBezTo>
                    <a:cubicBezTo>
                      <a:pt x="65" y="579"/>
                      <a:pt x="65" y="579"/>
                      <a:pt x="65" y="579"/>
                    </a:cubicBezTo>
                    <a:cubicBezTo>
                      <a:pt x="64" y="577"/>
                      <a:pt x="63" y="576"/>
                      <a:pt x="62" y="574"/>
                    </a:cubicBezTo>
                    <a:cubicBezTo>
                      <a:pt x="65" y="573"/>
                      <a:pt x="65" y="573"/>
                      <a:pt x="65" y="573"/>
                    </a:cubicBezTo>
                    <a:cubicBezTo>
                      <a:pt x="64" y="572"/>
                      <a:pt x="64" y="572"/>
                      <a:pt x="64" y="572"/>
                    </a:cubicBezTo>
                    <a:cubicBezTo>
                      <a:pt x="62" y="573"/>
                      <a:pt x="62" y="573"/>
                      <a:pt x="62" y="573"/>
                    </a:cubicBezTo>
                    <a:cubicBezTo>
                      <a:pt x="61" y="572"/>
                      <a:pt x="60" y="570"/>
                      <a:pt x="59" y="568"/>
                    </a:cubicBezTo>
                    <a:cubicBezTo>
                      <a:pt x="61" y="567"/>
                      <a:pt x="61" y="567"/>
                      <a:pt x="61" y="567"/>
                    </a:cubicBezTo>
                    <a:cubicBezTo>
                      <a:pt x="61" y="566"/>
                      <a:pt x="61" y="566"/>
                      <a:pt x="61" y="566"/>
                    </a:cubicBezTo>
                    <a:cubicBezTo>
                      <a:pt x="59" y="568"/>
                      <a:pt x="59" y="568"/>
                      <a:pt x="59" y="568"/>
                    </a:cubicBezTo>
                    <a:cubicBezTo>
                      <a:pt x="58" y="566"/>
                      <a:pt x="57" y="564"/>
                      <a:pt x="56" y="562"/>
                    </a:cubicBezTo>
                    <a:cubicBezTo>
                      <a:pt x="58" y="561"/>
                      <a:pt x="58" y="561"/>
                      <a:pt x="58" y="561"/>
                    </a:cubicBezTo>
                    <a:cubicBezTo>
                      <a:pt x="58" y="560"/>
                      <a:pt x="58" y="560"/>
                      <a:pt x="58" y="560"/>
                    </a:cubicBezTo>
                    <a:cubicBezTo>
                      <a:pt x="55" y="562"/>
                      <a:pt x="55" y="562"/>
                      <a:pt x="55" y="562"/>
                    </a:cubicBezTo>
                    <a:cubicBezTo>
                      <a:pt x="55" y="560"/>
                      <a:pt x="54" y="558"/>
                      <a:pt x="53" y="557"/>
                    </a:cubicBezTo>
                    <a:cubicBezTo>
                      <a:pt x="56" y="555"/>
                      <a:pt x="56" y="555"/>
                      <a:pt x="56" y="555"/>
                    </a:cubicBezTo>
                    <a:cubicBezTo>
                      <a:pt x="55" y="555"/>
                      <a:pt x="55" y="555"/>
                      <a:pt x="55" y="555"/>
                    </a:cubicBezTo>
                    <a:cubicBezTo>
                      <a:pt x="53" y="556"/>
                      <a:pt x="53" y="556"/>
                      <a:pt x="53" y="556"/>
                    </a:cubicBezTo>
                    <a:cubicBezTo>
                      <a:pt x="52" y="554"/>
                      <a:pt x="51" y="552"/>
                      <a:pt x="50" y="551"/>
                    </a:cubicBezTo>
                    <a:cubicBezTo>
                      <a:pt x="53" y="549"/>
                      <a:pt x="53" y="549"/>
                      <a:pt x="53" y="549"/>
                    </a:cubicBezTo>
                    <a:cubicBezTo>
                      <a:pt x="52" y="549"/>
                      <a:pt x="52" y="549"/>
                      <a:pt x="52" y="549"/>
                    </a:cubicBezTo>
                    <a:cubicBezTo>
                      <a:pt x="50" y="550"/>
                      <a:pt x="50" y="550"/>
                      <a:pt x="50" y="550"/>
                    </a:cubicBezTo>
                    <a:cubicBezTo>
                      <a:pt x="49" y="548"/>
                      <a:pt x="48" y="546"/>
                      <a:pt x="47" y="545"/>
                    </a:cubicBezTo>
                    <a:cubicBezTo>
                      <a:pt x="50" y="544"/>
                      <a:pt x="50" y="544"/>
                      <a:pt x="50" y="544"/>
                    </a:cubicBezTo>
                    <a:cubicBezTo>
                      <a:pt x="50" y="543"/>
                      <a:pt x="50" y="543"/>
                      <a:pt x="50" y="543"/>
                    </a:cubicBezTo>
                    <a:cubicBezTo>
                      <a:pt x="47" y="544"/>
                      <a:pt x="47" y="544"/>
                      <a:pt x="47" y="544"/>
                    </a:cubicBezTo>
                    <a:cubicBezTo>
                      <a:pt x="46" y="542"/>
                      <a:pt x="45" y="540"/>
                      <a:pt x="45" y="539"/>
                    </a:cubicBezTo>
                    <a:cubicBezTo>
                      <a:pt x="47" y="538"/>
                      <a:pt x="47" y="538"/>
                      <a:pt x="47" y="538"/>
                    </a:cubicBezTo>
                    <a:cubicBezTo>
                      <a:pt x="47" y="537"/>
                      <a:pt x="47" y="537"/>
                      <a:pt x="47" y="537"/>
                    </a:cubicBezTo>
                    <a:cubicBezTo>
                      <a:pt x="44" y="538"/>
                      <a:pt x="44" y="538"/>
                      <a:pt x="44" y="538"/>
                    </a:cubicBezTo>
                    <a:cubicBezTo>
                      <a:pt x="44" y="536"/>
                      <a:pt x="43" y="534"/>
                      <a:pt x="42" y="533"/>
                    </a:cubicBezTo>
                    <a:cubicBezTo>
                      <a:pt x="45" y="532"/>
                      <a:pt x="45" y="532"/>
                      <a:pt x="45" y="532"/>
                    </a:cubicBezTo>
                    <a:cubicBezTo>
                      <a:pt x="45" y="531"/>
                      <a:pt x="45" y="531"/>
                      <a:pt x="45" y="531"/>
                    </a:cubicBezTo>
                    <a:cubicBezTo>
                      <a:pt x="42" y="532"/>
                      <a:pt x="42" y="532"/>
                      <a:pt x="42" y="532"/>
                    </a:cubicBezTo>
                    <a:cubicBezTo>
                      <a:pt x="41" y="530"/>
                      <a:pt x="40" y="528"/>
                      <a:pt x="40" y="527"/>
                    </a:cubicBezTo>
                    <a:cubicBezTo>
                      <a:pt x="43" y="525"/>
                      <a:pt x="43" y="525"/>
                      <a:pt x="43" y="525"/>
                    </a:cubicBezTo>
                    <a:cubicBezTo>
                      <a:pt x="42" y="525"/>
                      <a:pt x="42" y="525"/>
                      <a:pt x="42" y="525"/>
                    </a:cubicBezTo>
                    <a:cubicBezTo>
                      <a:pt x="39" y="526"/>
                      <a:pt x="39" y="526"/>
                      <a:pt x="39" y="526"/>
                    </a:cubicBezTo>
                    <a:cubicBezTo>
                      <a:pt x="39" y="524"/>
                      <a:pt x="38" y="523"/>
                      <a:pt x="38" y="521"/>
                    </a:cubicBezTo>
                    <a:cubicBezTo>
                      <a:pt x="43" y="519"/>
                      <a:pt x="43" y="519"/>
                      <a:pt x="43" y="519"/>
                    </a:cubicBezTo>
                    <a:cubicBezTo>
                      <a:pt x="43" y="518"/>
                      <a:pt x="43" y="518"/>
                      <a:pt x="43" y="518"/>
                    </a:cubicBezTo>
                    <a:cubicBezTo>
                      <a:pt x="50" y="516"/>
                      <a:pt x="50" y="516"/>
                      <a:pt x="50" y="516"/>
                    </a:cubicBezTo>
                    <a:cubicBezTo>
                      <a:pt x="50" y="515"/>
                      <a:pt x="50" y="515"/>
                      <a:pt x="50" y="515"/>
                    </a:cubicBezTo>
                    <a:cubicBezTo>
                      <a:pt x="42" y="518"/>
                      <a:pt x="42" y="518"/>
                      <a:pt x="42" y="518"/>
                    </a:cubicBezTo>
                    <a:cubicBezTo>
                      <a:pt x="42" y="517"/>
                      <a:pt x="42" y="517"/>
                      <a:pt x="42" y="517"/>
                    </a:cubicBezTo>
                    <a:cubicBezTo>
                      <a:pt x="37" y="519"/>
                      <a:pt x="37" y="519"/>
                      <a:pt x="37" y="519"/>
                    </a:cubicBezTo>
                    <a:cubicBezTo>
                      <a:pt x="36" y="518"/>
                      <a:pt x="36" y="516"/>
                      <a:pt x="35" y="514"/>
                    </a:cubicBezTo>
                    <a:cubicBezTo>
                      <a:pt x="38" y="513"/>
                      <a:pt x="38" y="513"/>
                      <a:pt x="38" y="513"/>
                    </a:cubicBezTo>
                    <a:cubicBezTo>
                      <a:pt x="38" y="512"/>
                      <a:pt x="38" y="512"/>
                      <a:pt x="38" y="512"/>
                    </a:cubicBezTo>
                    <a:cubicBezTo>
                      <a:pt x="35" y="513"/>
                      <a:pt x="35" y="513"/>
                      <a:pt x="35" y="513"/>
                    </a:cubicBezTo>
                    <a:cubicBezTo>
                      <a:pt x="34" y="512"/>
                      <a:pt x="34" y="510"/>
                      <a:pt x="33" y="508"/>
                    </a:cubicBezTo>
                    <a:cubicBezTo>
                      <a:pt x="36" y="507"/>
                      <a:pt x="36" y="507"/>
                      <a:pt x="36" y="507"/>
                    </a:cubicBezTo>
                    <a:cubicBezTo>
                      <a:pt x="36" y="506"/>
                      <a:pt x="36" y="506"/>
                      <a:pt x="36" y="506"/>
                    </a:cubicBezTo>
                    <a:cubicBezTo>
                      <a:pt x="33" y="507"/>
                      <a:pt x="33" y="507"/>
                      <a:pt x="33" y="507"/>
                    </a:cubicBezTo>
                    <a:cubicBezTo>
                      <a:pt x="32" y="505"/>
                      <a:pt x="32" y="504"/>
                      <a:pt x="31" y="502"/>
                    </a:cubicBezTo>
                    <a:cubicBezTo>
                      <a:pt x="34" y="501"/>
                      <a:pt x="34" y="501"/>
                      <a:pt x="34" y="501"/>
                    </a:cubicBezTo>
                    <a:cubicBezTo>
                      <a:pt x="34" y="500"/>
                      <a:pt x="34" y="500"/>
                      <a:pt x="34" y="500"/>
                    </a:cubicBezTo>
                    <a:cubicBezTo>
                      <a:pt x="31" y="501"/>
                      <a:pt x="31" y="501"/>
                      <a:pt x="31" y="501"/>
                    </a:cubicBezTo>
                    <a:cubicBezTo>
                      <a:pt x="30" y="499"/>
                      <a:pt x="30" y="497"/>
                      <a:pt x="29" y="495"/>
                    </a:cubicBezTo>
                    <a:cubicBezTo>
                      <a:pt x="32" y="495"/>
                      <a:pt x="32" y="495"/>
                      <a:pt x="32" y="495"/>
                    </a:cubicBezTo>
                    <a:cubicBezTo>
                      <a:pt x="32" y="494"/>
                      <a:pt x="32" y="494"/>
                      <a:pt x="32" y="494"/>
                    </a:cubicBezTo>
                    <a:cubicBezTo>
                      <a:pt x="29" y="495"/>
                      <a:pt x="29" y="495"/>
                      <a:pt x="29" y="495"/>
                    </a:cubicBezTo>
                    <a:cubicBezTo>
                      <a:pt x="28" y="493"/>
                      <a:pt x="28" y="491"/>
                      <a:pt x="28" y="489"/>
                    </a:cubicBezTo>
                    <a:cubicBezTo>
                      <a:pt x="30" y="488"/>
                      <a:pt x="30" y="488"/>
                      <a:pt x="30" y="488"/>
                    </a:cubicBezTo>
                    <a:cubicBezTo>
                      <a:pt x="30" y="488"/>
                      <a:pt x="30" y="488"/>
                      <a:pt x="30" y="488"/>
                    </a:cubicBezTo>
                    <a:cubicBezTo>
                      <a:pt x="27" y="488"/>
                      <a:pt x="27" y="488"/>
                      <a:pt x="27" y="488"/>
                    </a:cubicBezTo>
                    <a:cubicBezTo>
                      <a:pt x="27" y="486"/>
                      <a:pt x="26" y="485"/>
                      <a:pt x="26" y="483"/>
                    </a:cubicBezTo>
                    <a:cubicBezTo>
                      <a:pt x="29" y="482"/>
                      <a:pt x="29" y="482"/>
                      <a:pt x="29" y="482"/>
                    </a:cubicBezTo>
                    <a:cubicBezTo>
                      <a:pt x="29" y="481"/>
                      <a:pt x="29" y="481"/>
                      <a:pt x="29" y="481"/>
                    </a:cubicBezTo>
                    <a:cubicBezTo>
                      <a:pt x="26" y="482"/>
                      <a:pt x="26" y="482"/>
                      <a:pt x="26" y="482"/>
                    </a:cubicBezTo>
                    <a:cubicBezTo>
                      <a:pt x="25" y="480"/>
                      <a:pt x="25" y="478"/>
                      <a:pt x="24" y="476"/>
                    </a:cubicBezTo>
                    <a:cubicBezTo>
                      <a:pt x="27" y="476"/>
                      <a:pt x="27" y="476"/>
                      <a:pt x="27" y="476"/>
                    </a:cubicBezTo>
                    <a:cubicBezTo>
                      <a:pt x="27" y="475"/>
                      <a:pt x="27" y="475"/>
                      <a:pt x="27" y="475"/>
                    </a:cubicBezTo>
                    <a:cubicBezTo>
                      <a:pt x="24" y="476"/>
                      <a:pt x="24" y="476"/>
                      <a:pt x="24" y="476"/>
                    </a:cubicBezTo>
                    <a:cubicBezTo>
                      <a:pt x="24" y="474"/>
                      <a:pt x="23" y="472"/>
                      <a:pt x="23" y="470"/>
                    </a:cubicBezTo>
                    <a:cubicBezTo>
                      <a:pt x="26" y="469"/>
                      <a:pt x="26" y="469"/>
                      <a:pt x="26" y="469"/>
                    </a:cubicBezTo>
                    <a:cubicBezTo>
                      <a:pt x="26" y="468"/>
                      <a:pt x="26" y="468"/>
                      <a:pt x="26" y="468"/>
                    </a:cubicBezTo>
                    <a:cubicBezTo>
                      <a:pt x="23" y="469"/>
                      <a:pt x="23" y="469"/>
                      <a:pt x="23" y="469"/>
                    </a:cubicBezTo>
                    <a:cubicBezTo>
                      <a:pt x="22" y="467"/>
                      <a:pt x="22" y="465"/>
                      <a:pt x="22" y="463"/>
                    </a:cubicBezTo>
                    <a:cubicBezTo>
                      <a:pt x="25" y="463"/>
                      <a:pt x="25" y="463"/>
                      <a:pt x="25" y="463"/>
                    </a:cubicBezTo>
                    <a:cubicBezTo>
                      <a:pt x="24" y="462"/>
                      <a:pt x="24" y="462"/>
                      <a:pt x="24" y="462"/>
                    </a:cubicBezTo>
                    <a:cubicBezTo>
                      <a:pt x="21" y="463"/>
                      <a:pt x="21" y="463"/>
                      <a:pt x="21" y="463"/>
                    </a:cubicBezTo>
                    <a:cubicBezTo>
                      <a:pt x="21" y="461"/>
                      <a:pt x="21" y="459"/>
                      <a:pt x="20" y="457"/>
                    </a:cubicBezTo>
                    <a:cubicBezTo>
                      <a:pt x="26" y="457"/>
                      <a:pt x="26" y="457"/>
                      <a:pt x="26" y="457"/>
                    </a:cubicBezTo>
                    <a:cubicBezTo>
                      <a:pt x="26" y="456"/>
                      <a:pt x="26" y="456"/>
                      <a:pt x="26" y="456"/>
                    </a:cubicBezTo>
                    <a:cubicBezTo>
                      <a:pt x="33" y="455"/>
                      <a:pt x="33" y="455"/>
                      <a:pt x="33" y="455"/>
                    </a:cubicBezTo>
                    <a:cubicBezTo>
                      <a:pt x="33" y="454"/>
                      <a:pt x="33" y="454"/>
                      <a:pt x="33" y="454"/>
                    </a:cubicBezTo>
                    <a:cubicBezTo>
                      <a:pt x="26" y="455"/>
                      <a:pt x="26" y="455"/>
                      <a:pt x="26" y="455"/>
                    </a:cubicBezTo>
                    <a:cubicBezTo>
                      <a:pt x="26" y="455"/>
                      <a:pt x="26" y="455"/>
                      <a:pt x="26" y="455"/>
                    </a:cubicBezTo>
                    <a:cubicBezTo>
                      <a:pt x="20" y="456"/>
                      <a:pt x="20" y="456"/>
                      <a:pt x="20" y="456"/>
                    </a:cubicBezTo>
                    <a:cubicBezTo>
                      <a:pt x="20" y="454"/>
                      <a:pt x="20" y="452"/>
                      <a:pt x="19" y="450"/>
                    </a:cubicBezTo>
                    <a:cubicBezTo>
                      <a:pt x="22" y="450"/>
                      <a:pt x="22" y="450"/>
                      <a:pt x="22" y="450"/>
                    </a:cubicBezTo>
                    <a:cubicBezTo>
                      <a:pt x="22" y="449"/>
                      <a:pt x="22" y="449"/>
                      <a:pt x="22" y="449"/>
                    </a:cubicBezTo>
                    <a:cubicBezTo>
                      <a:pt x="19" y="450"/>
                      <a:pt x="19" y="450"/>
                      <a:pt x="19" y="450"/>
                    </a:cubicBezTo>
                    <a:cubicBezTo>
                      <a:pt x="19" y="448"/>
                      <a:pt x="19" y="446"/>
                      <a:pt x="18" y="444"/>
                    </a:cubicBezTo>
                    <a:cubicBezTo>
                      <a:pt x="21" y="444"/>
                      <a:pt x="21" y="444"/>
                      <a:pt x="21" y="444"/>
                    </a:cubicBezTo>
                    <a:cubicBezTo>
                      <a:pt x="21" y="443"/>
                      <a:pt x="21" y="443"/>
                      <a:pt x="21" y="443"/>
                    </a:cubicBezTo>
                    <a:cubicBezTo>
                      <a:pt x="18" y="443"/>
                      <a:pt x="18" y="443"/>
                      <a:pt x="18" y="443"/>
                    </a:cubicBezTo>
                    <a:cubicBezTo>
                      <a:pt x="18" y="441"/>
                      <a:pt x="18" y="439"/>
                      <a:pt x="17" y="437"/>
                    </a:cubicBezTo>
                    <a:cubicBezTo>
                      <a:pt x="20" y="437"/>
                      <a:pt x="20" y="437"/>
                      <a:pt x="20" y="437"/>
                    </a:cubicBezTo>
                    <a:cubicBezTo>
                      <a:pt x="20" y="436"/>
                      <a:pt x="20" y="436"/>
                      <a:pt x="20" y="436"/>
                    </a:cubicBezTo>
                    <a:cubicBezTo>
                      <a:pt x="17" y="437"/>
                      <a:pt x="17" y="437"/>
                      <a:pt x="17" y="437"/>
                    </a:cubicBezTo>
                    <a:cubicBezTo>
                      <a:pt x="17" y="435"/>
                      <a:pt x="17" y="433"/>
                      <a:pt x="17" y="431"/>
                    </a:cubicBezTo>
                    <a:cubicBezTo>
                      <a:pt x="20" y="431"/>
                      <a:pt x="20" y="431"/>
                      <a:pt x="20" y="431"/>
                    </a:cubicBezTo>
                    <a:cubicBezTo>
                      <a:pt x="20" y="430"/>
                      <a:pt x="20" y="430"/>
                      <a:pt x="20" y="430"/>
                    </a:cubicBezTo>
                    <a:cubicBezTo>
                      <a:pt x="17" y="430"/>
                      <a:pt x="17" y="430"/>
                      <a:pt x="17" y="430"/>
                    </a:cubicBezTo>
                    <a:cubicBezTo>
                      <a:pt x="16" y="428"/>
                      <a:pt x="16" y="426"/>
                      <a:pt x="16" y="424"/>
                    </a:cubicBezTo>
                    <a:cubicBezTo>
                      <a:pt x="19" y="424"/>
                      <a:pt x="19" y="424"/>
                      <a:pt x="19" y="424"/>
                    </a:cubicBezTo>
                    <a:cubicBezTo>
                      <a:pt x="19" y="423"/>
                      <a:pt x="19" y="423"/>
                      <a:pt x="19" y="423"/>
                    </a:cubicBezTo>
                    <a:cubicBezTo>
                      <a:pt x="16" y="424"/>
                      <a:pt x="16" y="424"/>
                      <a:pt x="16" y="424"/>
                    </a:cubicBezTo>
                    <a:cubicBezTo>
                      <a:pt x="16" y="422"/>
                      <a:pt x="16" y="420"/>
                      <a:pt x="16" y="418"/>
                    </a:cubicBezTo>
                    <a:cubicBezTo>
                      <a:pt x="19" y="418"/>
                      <a:pt x="19" y="418"/>
                      <a:pt x="19" y="418"/>
                    </a:cubicBezTo>
                    <a:cubicBezTo>
                      <a:pt x="18" y="417"/>
                      <a:pt x="18" y="417"/>
                      <a:pt x="18" y="417"/>
                    </a:cubicBezTo>
                    <a:cubicBezTo>
                      <a:pt x="16" y="417"/>
                      <a:pt x="16" y="417"/>
                      <a:pt x="16" y="417"/>
                    </a:cubicBezTo>
                    <a:cubicBezTo>
                      <a:pt x="15" y="415"/>
                      <a:pt x="15" y="413"/>
                      <a:pt x="15" y="411"/>
                    </a:cubicBezTo>
                    <a:cubicBezTo>
                      <a:pt x="18" y="411"/>
                      <a:pt x="18" y="411"/>
                      <a:pt x="18" y="411"/>
                    </a:cubicBezTo>
                    <a:cubicBezTo>
                      <a:pt x="18" y="410"/>
                      <a:pt x="18" y="410"/>
                      <a:pt x="18" y="410"/>
                    </a:cubicBezTo>
                    <a:cubicBezTo>
                      <a:pt x="15" y="410"/>
                      <a:pt x="15" y="410"/>
                      <a:pt x="15" y="410"/>
                    </a:cubicBezTo>
                    <a:cubicBezTo>
                      <a:pt x="15" y="409"/>
                      <a:pt x="15" y="407"/>
                      <a:pt x="15" y="405"/>
                    </a:cubicBezTo>
                    <a:cubicBezTo>
                      <a:pt x="18" y="405"/>
                      <a:pt x="18" y="405"/>
                      <a:pt x="18" y="405"/>
                    </a:cubicBezTo>
                    <a:cubicBezTo>
                      <a:pt x="18" y="404"/>
                      <a:pt x="18" y="404"/>
                      <a:pt x="18" y="404"/>
                    </a:cubicBezTo>
                    <a:cubicBezTo>
                      <a:pt x="15" y="404"/>
                      <a:pt x="15" y="404"/>
                      <a:pt x="15" y="404"/>
                    </a:cubicBezTo>
                    <a:cubicBezTo>
                      <a:pt x="15" y="402"/>
                      <a:pt x="15" y="400"/>
                      <a:pt x="15" y="398"/>
                    </a:cubicBezTo>
                    <a:cubicBezTo>
                      <a:pt x="18" y="398"/>
                      <a:pt x="18" y="398"/>
                      <a:pt x="18" y="398"/>
                    </a:cubicBezTo>
                    <a:cubicBezTo>
                      <a:pt x="18" y="397"/>
                      <a:pt x="18" y="397"/>
                      <a:pt x="18" y="397"/>
                    </a:cubicBezTo>
                    <a:cubicBezTo>
                      <a:pt x="15" y="397"/>
                      <a:pt x="15" y="397"/>
                      <a:pt x="15" y="397"/>
                    </a:cubicBezTo>
                    <a:cubicBezTo>
                      <a:pt x="15" y="396"/>
                      <a:pt x="15" y="394"/>
                      <a:pt x="15" y="392"/>
                    </a:cubicBezTo>
                    <a:cubicBezTo>
                      <a:pt x="20" y="392"/>
                      <a:pt x="20" y="392"/>
                      <a:pt x="20" y="392"/>
                    </a:cubicBezTo>
                    <a:cubicBezTo>
                      <a:pt x="20" y="392"/>
                      <a:pt x="20" y="392"/>
                      <a:pt x="20" y="392"/>
                    </a:cubicBezTo>
                    <a:cubicBezTo>
                      <a:pt x="28" y="392"/>
                      <a:pt x="28" y="392"/>
                      <a:pt x="28" y="392"/>
                    </a:cubicBezTo>
                    <a:cubicBezTo>
                      <a:pt x="28" y="391"/>
                      <a:pt x="28" y="391"/>
                      <a:pt x="28" y="391"/>
                    </a:cubicBezTo>
                    <a:cubicBezTo>
                      <a:pt x="20" y="391"/>
                      <a:pt x="20" y="391"/>
                      <a:pt x="20" y="391"/>
                    </a:cubicBezTo>
                    <a:cubicBezTo>
                      <a:pt x="20" y="390"/>
                      <a:pt x="20" y="390"/>
                      <a:pt x="20" y="390"/>
                    </a:cubicBezTo>
                    <a:cubicBezTo>
                      <a:pt x="15" y="390"/>
                      <a:pt x="15" y="390"/>
                      <a:pt x="15" y="390"/>
                    </a:cubicBezTo>
                    <a:cubicBezTo>
                      <a:pt x="15" y="389"/>
                      <a:pt x="15" y="387"/>
                      <a:pt x="15" y="385"/>
                    </a:cubicBezTo>
                    <a:cubicBezTo>
                      <a:pt x="18" y="385"/>
                      <a:pt x="18" y="385"/>
                      <a:pt x="18" y="385"/>
                    </a:cubicBezTo>
                    <a:cubicBezTo>
                      <a:pt x="18" y="384"/>
                      <a:pt x="18" y="384"/>
                      <a:pt x="18" y="384"/>
                    </a:cubicBezTo>
                    <a:cubicBezTo>
                      <a:pt x="15" y="384"/>
                      <a:pt x="15" y="384"/>
                      <a:pt x="15" y="384"/>
                    </a:cubicBezTo>
                    <a:cubicBezTo>
                      <a:pt x="15" y="382"/>
                      <a:pt x="15" y="380"/>
                      <a:pt x="15" y="378"/>
                    </a:cubicBezTo>
                    <a:cubicBezTo>
                      <a:pt x="18" y="379"/>
                      <a:pt x="18" y="379"/>
                      <a:pt x="18" y="379"/>
                    </a:cubicBezTo>
                    <a:cubicBezTo>
                      <a:pt x="18" y="378"/>
                      <a:pt x="18" y="378"/>
                      <a:pt x="18" y="378"/>
                    </a:cubicBezTo>
                    <a:cubicBezTo>
                      <a:pt x="15" y="378"/>
                      <a:pt x="15" y="378"/>
                      <a:pt x="15" y="378"/>
                    </a:cubicBezTo>
                    <a:cubicBezTo>
                      <a:pt x="15" y="376"/>
                      <a:pt x="15" y="374"/>
                      <a:pt x="15" y="372"/>
                    </a:cubicBezTo>
                    <a:cubicBezTo>
                      <a:pt x="18" y="372"/>
                      <a:pt x="18" y="372"/>
                      <a:pt x="18" y="372"/>
                    </a:cubicBezTo>
                    <a:cubicBezTo>
                      <a:pt x="18" y="371"/>
                      <a:pt x="18" y="371"/>
                      <a:pt x="18" y="371"/>
                    </a:cubicBezTo>
                    <a:cubicBezTo>
                      <a:pt x="15" y="371"/>
                      <a:pt x="15" y="371"/>
                      <a:pt x="15" y="371"/>
                    </a:cubicBezTo>
                    <a:cubicBezTo>
                      <a:pt x="15" y="369"/>
                      <a:pt x="15" y="367"/>
                      <a:pt x="16" y="365"/>
                    </a:cubicBezTo>
                    <a:cubicBezTo>
                      <a:pt x="18" y="366"/>
                      <a:pt x="18" y="366"/>
                      <a:pt x="18" y="366"/>
                    </a:cubicBezTo>
                    <a:cubicBezTo>
                      <a:pt x="19" y="365"/>
                      <a:pt x="19" y="365"/>
                      <a:pt x="19" y="365"/>
                    </a:cubicBezTo>
                    <a:cubicBezTo>
                      <a:pt x="16" y="365"/>
                      <a:pt x="16" y="365"/>
                      <a:pt x="16" y="365"/>
                    </a:cubicBezTo>
                    <a:cubicBezTo>
                      <a:pt x="16" y="363"/>
                      <a:pt x="16" y="361"/>
                      <a:pt x="16" y="359"/>
                    </a:cubicBezTo>
                    <a:cubicBezTo>
                      <a:pt x="19" y="359"/>
                      <a:pt x="19" y="359"/>
                      <a:pt x="19" y="359"/>
                    </a:cubicBezTo>
                    <a:cubicBezTo>
                      <a:pt x="19" y="358"/>
                      <a:pt x="19" y="358"/>
                      <a:pt x="19" y="358"/>
                    </a:cubicBezTo>
                    <a:cubicBezTo>
                      <a:pt x="16" y="358"/>
                      <a:pt x="16" y="358"/>
                      <a:pt x="16" y="358"/>
                    </a:cubicBezTo>
                    <a:cubicBezTo>
                      <a:pt x="16" y="356"/>
                      <a:pt x="16" y="354"/>
                      <a:pt x="17" y="352"/>
                    </a:cubicBezTo>
                    <a:cubicBezTo>
                      <a:pt x="20" y="353"/>
                      <a:pt x="20" y="353"/>
                      <a:pt x="20" y="353"/>
                    </a:cubicBezTo>
                    <a:cubicBezTo>
                      <a:pt x="20" y="352"/>
                      <a:pt x="20" y="352"/>
                      <a:pt x="20" y="352"/>
                    </a:cubicBezTo>
                    <a:cubicBezTo>
                      <a:pt x="17" y="351"/>
                      <a:pt x="17" y="351"/>
                      <a:pt x="17" y="351"/>
                    </a:cubicBezTo>
                    <a:cubicBezTo>
                      <a:pt x="17" y="350"/>
                      <a:pt x="17" y="348"/>
                      <a:pt x="17" y="346"/>
                    </a:cubicBezTo>
                    <a:cubicBezTo>
                      <a:pt x="20" y="346"/>
                      <a:pt x="20" y="346"/>
                      <a:pt x="20" y="346"/>
                    </a:cubicBezTo>
                    <a:cubicBezTo>
                      <a:pt x="20" y="345"/>
                      <a:pt x="20" y="345"/>
                      <a:pt x="20" y="345"/>
                    </a:cubicBezTo>
                    <a:cubicBezTo>
                      <a:pt x="17" y="345"/>
                      <a:pt x="17" y="345"/>
                      <a:pt x="17" y="345"/>
                    </a:cubicBezTo>
                    <a:cubicBezTo>
                      <a:pt x="18" y="343"/>
                      <a:pt x="18" y="341"/>
                      <a:pt x="18" y="339"/>
                    </a:cubicBezTo>
                    <a:cubicBezTo>
                      <a:pt x="21" y="340"/>
                      <a:pt x="21" y="340"/>
                      <a:pt x="21" y="340"/>
                    </a:cubicBezTo>
                    <a:cubicBezTo>
                      <a:pt x="21" y="339"/>
                      <a:pt x="21" y="339"/>
                      <a:pt x="21" y="339"/>
                    </a:cubicBezTo>
                    <a:cubicBezTo>
                      <a:pt x="18" y="338"/>
                      <a:pt x="18" y="338"/>
                      <a:pt x="18" y="338"/>
                    </a:cubicBezTo>
                    <a:cubicBezTo>
                      <a:pt x="19" y="336"/>
                      <a:pt x="19" y="335"/>
                      <a:pt x="19" y="333"/>
                    </a:cubicBezTo>
                    <a:cubicBezTo>
                      <a:pt x="22" y="333"/>
                      <a:pt x="22" y="333"/>
                      <a:pt x="22" y="333"/>
                    </a:cubicBezTo>
                    <a:cubicBezTo>
                      <a:pt x="22" y="332"/>
                      <a:pt x="22" y="332"/>
                      <a:pt x="22" y="332"/>
                    </a:cubicBezTo>
                    <a:cubicBezTo>
                      <a:pt x="19" y="332"/>
                      <a:pt x="19" y="332"/>
                      <a:pt x="19" y="332"/>
                    </a:cubicBezTo>
                    <a:cubicBezTo>
                      <a:pt x="20" y="330"/>
                      <a:pt x="20" y="328"/>
                      <a:pt x="20" y="327"/>
                    </a:cubicBezTo>
                    <a:cubicBezTo>
                      <a:pt x="26" y="328"/>
                      <a:pt x="26" y="328"/>
                      <a:pt x="26" y="328"/>
                    </a:cubicBezTo>
                    <a:cubicBezTo>
                      <a:pt x="26" y="327"/>
                      <a:pt x="26" y="327"/>
                      <a:pt x="26" y="327"/>
                    </a:cubicBezTo>
                    <a:cubicBezTo>
                      <a:pt x="33" y="328"/>
                      <a:pt x="33" y="328"/>
                      <a:pt x="33" y="328"/>
                    </a:cubicBezTo>
                    <a:cubicBezTo>
                      <a:pt x="33" y="328"/>
                      <a:pt x="33" y="328"/>
                      <a:pt x="33" y="328"/>
                    </a:cubicBezTo>
                    <a:cubicBezTo>
                      <a:pt x="26" y="326"/>
                      <a:pt x="26" y="326"/>
                      <a:pt x="26" y="326"/>
                    </a:cubicBezTo>
                    <a:cubicBezTo>
                      <a:pt x="26" y="326"/>
                      <a:pt x="26" y="326"/>
                      <a:pt x="26" y="326"/>
                    </a:cubicBezTo>
                    <a:cubicBezTo>
                      <a:pt x="20" y="325"/>
                      <a:pt x="20" y="325"/>
                      <a:pt x="20" y="325"/>
                    </a:cubicBezTo>
                    <a:cubicBezTo>
                      <a:pt x="21" y="323"/>
                      <a:pt x="21" y="321"/>
                      <a:pt x="21" y="320"/>
                    </a:cubicBezTo>
                    <a:cubicBezTo>
                      <a:pt x="24" y="320"/>
                      <a:pt x="24" y="320"/>
                      <a:pt x="24" y="320"/>
                    </a:cubicBezTo>
                    <a:cubicBezTo>
                      <a:pt x="25" y="320"/>
                      <a:pt x="25" y="320"/>
                      <a:pt x="25" y="320"/>
                    </a:cubicBezTo>
                    <a:cubicBezTo>
                      <a:pt x="22" y="319"/>
                      <a:pt x="22" y="319"/>
                      <a:pt x="22" y="319"/>
                    </a:cubicBezTo>
                    <a:cubicBezTo>
                      <a:pt x="22" y="317"/>
                      <a:pt x="22" y="315"/>
                      <a:pt x="23" y="313"/>
                    </a:cubicBezTo>
                    <a:cubicBezTo>
                      <a:pt x="26" y="314"/>
                      <a:pt x="26" y="314"/>
                      <a:pt x="26" y="314"/>
                    </a:cubicBezTo>
                    <a:cubicBezTo>
                      <a:pt x="26" y="313"/>
                      <a:pt x="26" y="313"/>
                      <a:pt x="26" y="313"/>
                    </a:cubicBezTo>
                    <a:cubicBezTo>
                      <a:pt x="23" y="312"/>
                      <a:pt x="23" y="312"/>
                      <a:pt x="23" y="312"/>
                    </a:cubicBezTo>
                    <a:cubicBezTo>
                      <a:pt x="23" y="311"/>
                      <a:pt x="24" y="309"/>
                      <a:pt x="24" y="307"/>
                    </a:cubicBezTo>
                    <a:cubicBezTo>
                      <a:pt x="27" y="308"/>
                      <a:pt x="27" y="308"/>
                      <a:pt x="27" y="308"/>
                    </a:cubicBezTo>
                    <a:cubicBezTo>
                      <a:pt x="27" y="307"/>
                      <a:pt x="27" y="307"/>
                      <a:pt x="27" y="307"/>
                    </a:cubicBezTo>
                    <a:cubicBezTo>
                      <a:pt x="24" y="306"/>
                      <a:pt x="24" y="306"/>
                      <a:pt x="24" y="306"/>
                    </a:cubicBezTo>
                    <a:cubicBezTo>
                      <a:pt x="25" y="304"/>
                      <a:pt x="25" y="302"/>
                      <a:pt x="26" y="300"/>
                    </a:cubicBezTo>
                    <a:cubicBezTo>
                      <a:pt x="29" y="301"/>
                      <a:pt x="29" y="301"/>
                      <a:pt x="29" y="301"/>
                    </a:cubicBezTo>
                    <a:cubicBezTo>
                      <a:pt x="29" y="300"/>
                      <a:pt x="29" y="300"/>
                      <a:pt x="29" y="300"/>
                    </a:cubicBezTo>
                    <a:cubicBezTo>
                      <a:pt x="26" y="300"/>
                      <a:pt x="26" y="300"/>
                      <a:pt x="26" y="300"/>
                    </a:cubicBezTo>
                    <a:cubicBezTo>
                      <a:pt x="26" y="298"/>
                      <a:pt x="27" y="296"/>
                      <a:pt x="27" y="294"/>
                    </a:cubicBezTo>
                    <a:cubicBezTo>
                      <a:pt x="30" y="295"/>
                      <a:pt x="30" y="295"/>
                      <a:pt x="30" y="295"/>
                    </a:cubicBezTo>
                    <a:cubicBezTo>
                      <a:pt x="30" y="294"/>
                      <a:pt x="30" y="294"/>
                      <a:pt x="30" y="294"/>
                    </a:cubicBezTo>
                    <a:cubicBezTo>
                      <a:pt x="28" y="293"/>
                      <a:pt x="28" y="293"/>
                      <a:pt x="28" y="293"/>
                    </a:cubicBezTo>
                    <a:cubicBezTo>
                      <a:pt x="28" y="291"/>
                      <a:pt x="28" y="290"/>
                      <a:pt x="29" y="288"/>
                    </a:cubicBezTo>
                    <a:cubicBezTo>
                      <a:pt x="32" y="289"/>
                      <a:pt x="32" y="289"/>
                      <a:pt x="32" y="289"/>
                    </a:cubicBezTo>
                    <a:cubicBezTo>
                      <a:pt x="32" y="288"/>
                      <a:pt x="32" y="288"/>
                      <a:pt x="32" y="288"/>
                    </a:cubicBezTo>
                    <a:cubicBezTo>
                      <a:pt x="29" y="287"/>
                      <a:pt x="29" y="287"/>
                      <a:pt x="29" y="287"/>
                    </a:cubicBezTo>
                    <a:cubicBezTo>
                      <a:pt x="30" y="285"/>
                      <a:pt x="30" y="283"/>
                      <a:pt x="31" y="281"/>
                    </a:cubicBezTo>
                    <a:cubicBezTo>
                      <a:pt x="34" y="282"/>
                      <a:pt x="34" y="282"/>
                      <a:pt x="34" y="282"/>
                    </a:cubicBezTo>
                    <a:cubicBezTo>
                      <a:pt x="34" y="282"/>
                      <a:pt x="34" y="282"/>
                      <a:pt x="34" y="282"/>
                    </a:cubicBezTo>
                    <a:cubicBezTo>
                      <a:pt x="31" y="281"/>
                      <a:pt x="31" y="281"/>
                      <a:pt x="31" y="281"/>
                    </a:cubicBezTo>
                    <a:cubicBezTo>
                      <a:pt x="32" y="279"/>
                      <a:pt x="32" y="277"/>
                      <a:pt x="33" y="275"/>
                    </a:cubicBezTo>
                    <a:cubicBezTo>
                      <a:pt x="36" y="276"/>
                      <a:pt x="36" y="276"/>
                      <a:pt x="36" y="276"/>
                    </a:cubicBezTo>
                    <a:cubicBezTo>
                      <a:pt x="36" y="275"/>
                      <a:pt x="36" y="275"/>
                      <a:pt x="36" y="275"/>
                    </a:cubicBezTo>
                    <a:cubicBezTo>
                      <a:pt x="33" y="274"/>
                      <a:pt x="33" y="274"/>
                      <a:pt x="33" y="274"/>
                    </a:cubicBezTo>
                    <a:cubicBezTo>
                      <a:pt x="34" y="273"/>
                      <a:pt x="34" y="271"/>
                      <a:pt x="35" y="269"/>
                    </a:cubicBezTo>
                    <a:cubicBezTo>
                      <a:pt x="38" y="270"/>
                      <a:pt x="38" y="270"/>
                      <a:pt x="38" y="270"/>
                    </a:cubicBezTo>
                    <a:cubicBezTo>
                      <a:pt x="38" y="269"/>
                      <a:pt x="38" y="269"/>
                      <a:pt x="38" y="269"/>
                    </a:cubicBezTo>
                    <a:cubicBezTo>
                      <a:pt x="35" y="268"/>
                      <a:pt x="35" y="268"/>
                      <a:pt x="35" y="268"/>
                    </a:cubicBezTo>
                    <a:cubicBezTo>
                      <a:pt x="36" y="267"/>
                      <a:pt x="36" y="265"/>
                      <a:pt x="37" y="263"/>
                    </a:cubicBezTo>
                    <a:cubicBezTo>
                      <a:pt x="42" y="265"/>
                      <a:pt x="42" y="265"/>
                      <a:pt x="42" y="265"/>
                    </a:cubicBezTo>
                    <a:cubicBezTo>
                      <a:pt x="42" y="265"/>
                      <a:pt x="42" y="265"/>
                      <a:pt x="42" y="265"/>
                    </a:cubicBezTo>
                    <a:cubicBezTo>
                      <a:pt x="50" y="267"/>
                      <a:pt x="50" y="267"/>
                      <a:pt x="50" y="267"/>
                    </a:cubicBezTo>
                    <a:cubicBezTo>
                      <a:pt x="50" y="267"/>
                      <a:pt x="50" y="267"/>
                      <a:pt x="50" y="267"/>
                    </a:cubicBezTo>
                    <a:cubicBezTo>
                      <a:pt x="43" y="264"/>
                      <a:pt x="43" y="264"/>
                      <a:pt x="43" y="264"/>
                    </a:cubicBezTo>
                    <a:cubicBezTo>
                      <a:pt x="43" y="263"/>
                      <a:pt x="43" y="263"/>
                      <a:pt x="43" y="263"/>
                    </a:cubicBezTo>
                    <a:cubicBezTo>
                      <a:pt x="38" y="262"/>
                      <a:pt x="38" y="262"/>
                      <a:pt x="38" y="262"/>
                    </a:cubicBezTo>
                    <a:cubicBezTo>
                      <a:pt x="38" y="260"/>
                      <a:pt x="39" y="258"/>
                      <a:pt x="39" y="257"/>
                    </a:cubicBezTo>
                    <a:cubicBezTo>
                      <a:pt x="42" y="258"/>
                      <a:pt x="42" y="258"/>
                      <a:pt x="42" y="258"/>
                    </a:cubicBezTo>
                    <a:cubicBezTo>
                      <a:pt x="43" y="257"/>
                      <a:pt x="43" y="257"/>
                      <a:pt x="43" y="257"/>
                    </a:cubicBezTo>
                    <a:cubicBezTo>
                      <a:pt x="40" y="256"/>
                      <a:pt x="40" y="256"/>
                      <a:pt x="40" y="256"/>
                    </a:cubicBezTo>
                    <a:cubicBezTo>
                      <a:pt x="40" y="254"/>
                      <a:pt x="41" y="252"/>
                      <a:pt x="42" y="250"/>
                    </a:cubicBezTo>
                    <a:cubicBezTo>
                      <a:pt x="45" y="252"/>
                      <a:pt x="45" y="252"/>
                      <a:pt x="45" y="252"/>
                    </a:cubicBezTo>
                    <a:cubicBezTo>
                      <a:pt x="45" y="251"/>
                      <a:pt x="45" y="251"/>
                      <a:pt x="45" y="251"/>
                    </a:cubicBezTo>
                    <a:cubicBezTo>
                      <a:pt x="42" y="250"/>
                      <a:pt x="42" y="250"/>
                      <a:pt x="42" y="250"/>
                    </a:cubicBezTo>
                    <a:cubicBezTo>
                      <a:pt x="43" y="248"/>
                      <a:pt x="44" y="246"/>
                      <a:pt x="44" y="244"/>
                    </a:cubicBezTo>
                    <a:cubicBezTo>
                      <a:pt x="47" y="246"/>
                      <a:pt x="47" y="246"/>
                      <a:pt x="47" y="246"/>
                    </a:cubicBezTo>
                    <a:cubicBezTo>
                      <a:pt x="47" y="245"/>
                      <a:pt x="47" y="245"/>
                      <a:pt x="47" y="245"/>
                    </a:cubicBezTo>
                    <a:cubicBezTo>
                      <a:pt x="45" y="244"/>
                      <a:pt x="45" y="244"/>
                      <a:pt x="45" y="244"/>
                    </a:cubicBezTo>
                    <a:cubicBezTo>
                      <a:pt x="45" y="242"/>
                      <a:pt x="46" y="240"/>
                      <a:pt x="47" y="238"/>
                    </a:cubicBezTo>
                    <a:cubicBezTo>
                      <a:pt x="50" y="240"/>
                      <a:pt x="50" y="240"/>
                      <a:pt x="50" y="240"/>
                    </a:cubicBezTo>
                    <a:cubicBezTo>
                      <a:pt x="50" y="239"/>
                      <a:pt x="50" y="239"/>
                      <a:pt x="50" y="239"/>
                    </a:cubicBezTo>
                    <a:cubicBezTo>
                      <a:pt x="47" y="238"/>
                      <a:pt x="47" y="238"/>
                      <a:pt x="47" y="238"/>
                    </a:cubicBezTo>
                    <a:cubicBezTo>
                      <a:pt x="48" y="236"/>
                      <a:pt x="49" y="234"/>
                      <a:pt x="50" y="232"/>
                    </a:cubicBezTo>
                    <a:cubicBezTo>
                      <a:pt x="52" y="234"/>
                      <a:pt x="52" y="234"/>
                      <a:pt x="52" y="234"/>
                    </a:cubicBezTo>
                    <a:cubicBezTo>
                      <a:pt x="53" y="233"/>
                      <a:pt x="53" y="233"/>
                      <a:pt x="53" y="233"/>
                    </a:cubicBezTo>
                    <a:cubicBezTo>
                      <a:pt x="50" y="232"/>
                      <a:pt x="50" y="232"/>
                      <a:pt x="50" y="232"/>
                    </a:cubicBezTo>
                    <a:cubicBezTo>
                      <a:pt x="51" y="230"/>
                      <a:pt x="52" y="228"/>
                      <a:pt x="53" y="226"/>
                    </a:cubicBezTo>
                    <a:cubicBezTo>
                      <a:pt x="55" y="228"/>
                      <a:pt x="55" y="228"/>
                      <a:pt x="55" y="228"/>
                    </a:cubicBezTo>
                    <a:cubicBezTo>
                      <a:pt x="56" y="227"/>
                      <a:pt x="56" y="227"/>
                      <a:pt x="56" y="227"/>
                    </a:cubicBezTo>
                    <a:cubicBezTo>
                      <a:pt x="53" y="226"/>
                      <a:pt x="53" y="226"/>
                      <a:pt x="53" y="226"/>
                    </a:cubicBezTo>
                    <a:cubicBezTo>
                      <a:pt x="54" y="224"/>
                      <a:pt x="55" y="222"/>
                      <a:pt x="55" y="221"/>
                    </a:cubicBezTo>
                    <a:cubicBezTo>
                      <a:pt x="58" y="222"/>
                      <a:pt x="58" y="222"/>
                      <a:pt x="58" y="222"/>
                    </a:cubicBezTo>
                    <a:cubicBezTo>
                      <a:pt x="58" y="221"/>
                      <a:pt x="58" y="221"/>
                      <a:pt x="58" y="221"/>
                    </a:cubicBezTo>
                    <a:cubicBezTo>
                      <a:pt x="56" y="220"/>
                      <a:pt x="56" y="220"/>
                      <a:pt x="56" y="220"/>
                    </a:cubicBezTo>
                    <a:cubicBezTo>
                      <a:pt x="57" y="218"/>
                      <a:pt x="58" y="216"/>
                      <a:pt x="59" y="215"/>
                    </a:cubicBezTo>
                    <a:cubicBezTo>
                      <a:pt x="61" y="216"/>
                      <a:pt x="61" y="216"/>
                      <a:pt x="61" y="216"/>
                    </a:cubicBezTo>
                    <a:cubicBezTo>
                      <a:pt x="61" y="215"/>
                      <a:pt x="61" y="215"/>
                      <a:pt x="61" y="215"/>
                    </a:cubicBezTo>
                    <a:cubicBezTo>
                      <a:pt x="59" y="214"/>
                      <a:pt x="59" y="214"/>
                      <a:pt x="59" y="214"/>
                    </a:cubicBezTo>
                    <a:cubicBezTo>
                      <a:pt x="60" y="212"/>
                      <a:pt x="61" y="211"/>
                      <a:pt x="62" y="209"/>
                    </a:cubicBezTo>
                    <a:cubicBezTo>
                      <a:pt x="64" y="210"/>
                      <a:pt x="64" y="210"/>
                      <a:pt x="64" y="210"/>
                    </a:cubicBezTo>
                    <a:cubicBezTo>
                      <a:pt x="65" y="210"/>
                      <a:pt x="65" y="210"/>
                      <a:pt x="65" y="210"/>
                    </a:cubicBezTo>
                    <a:cubicBezTo>
                      <a:pt x="62" y="208"/>
                      <a:pt x="62" y="208"/>
                      <a:pt x="62" y="208"/>
                    </a:cubicBezTo>
                    <a:cubicBezTo>
                      <a:pt x="63" y="207"/>
                      <a:pt x="64" y="205"/>
                      <a:pt x="65" y="204"/>
                    </a:cubicBezTo>
                    <a:cubicBezTo>
                      <a:pt x="69" y="206"/>
                      <a:pt x="69" y="206"/>
                      <a:pt x="69" y="206"/>
                    </a:cubicBezTo>
                    <a:cubicBezTo>
                      <a:pt x="70" y="206"/>
                      <a:pt x="70" y="206"/>
                      <a:pt x="70" y="206"/>
                    </a:cubicBezTo>
                    <a:cubicBezTo>
                      <a:pt x="76" y="210"/>
                      <a:pt x="76" y="210"/>
                      <a:pt x="76" y="210"/>
                    </a:cubicBezTo>
                    <a:cubicBezTo>
                      <a:pt x="77" y="209"/>
                      <a:pt x="77" y="209"/>
                      <a:pt x="77" y="209"/>
                    </a:cubicBezTo>
                    <a:cubicBezTo>
                      <a:pt x="70" y="205"/>
                      <a:pt x="70" y="205"/>
                      <a:pt x="70" y="205"/>
                    </a:cubicBezTo>
                    <a:cubicBezTo>
                      <a:pt x="70" y="205"/>
                      <a:pt x="70" y="205"/>
                      <a:pt x="70" y="205"/>
                    </a:cubicBezTo>
                    <a:cubicBezTo>
                      <a:pt x="66" y="202"/>
                      <a:pt x="66" y="202"/>
                      <a:pt x="66" y="202"/>
                    </a:cubicBezTo>
                    <a:cubicBezTo>
                      <a:pt x="66" y="201"/>
                      <a:pt x="67" y="199"/>
                      <a:pt x="68" y="198"/>
                    </a:cubicBezTo>
                    <a:cubicBezTo>
                      <a:pt x="71" y="199"/>
                      <a:pt x="71" y="199"/>
                      <a:pt x="71" y="199"/>
                    </a:cubicBezTo>
                    <a:cubicBezTo>
                      <a:pt x="71" y="198"/>
                      <a:pt x="71" y="198"/>
                      <a:pt x="71" y="198"/>
                    </a:cubicBezTo>
                    <a:cubicBezTo>
                      <a:pt x="69" y="197"/>
                      <a:pt x="69" y="197"/>
                      <a:pt x="69" y="197"/>
                    </a:cubicBezTo>
                    <a:cubicBezTo>
                      <a:pt x="70" y="195"/>
                      <a:pt x="71" y="194"/>
                      <a:pt x="72" y="192"/>
                    </a:cubicBezTo>
                    <a:cubicBezTo>
                      <a:pt x="74" y="194"/>
                      <a:pt x="74" y="194"/>
                      <a:pt x="74" y="194"/>
                    </a:cubicBezTo>
                    <a:cubicBezTo>
                      <a:pt x="75" y="193"/>
                      <a:pt x="75" y="193"/>
                      <a:pt x="75" y="193"/>
                    </a:cubicBezTo>
                    <a:cubicBezTo>
                      <a:pt x="72" y="191"/>
                      <a:pt x="72" y="191"/>
                      <a:pt x="72" y="191"/>
                    </a:cubicBezTo>
                    <a:cubicBezTo>
                      <a:pt x="73" y="190"/>
                      <a:pt x="74" y="188"/>
                      <a:pt x="75" y="186"/>
                    </a:cubicBezTo>
                    <a:cubicBezTo>
                      <a:pt x="78" y="188"/>
                      <a:pt x="78" y="188"/>
                      <a:pt x="78" y="188"/>
                    </a:cubicBezTo>
                    <a:cubicBezTo>
                      <a:pt x="78" y="187"/>
                      <a:pt x="78" y="187"/>
                      <a:pt x="78" y="187"/>
                    </a:cubicBezTo>
                    <a:cubicBezTo>
                      <a:pt x="76" y="186"/>
                      <a:pt x="76" y="186"/>
                      <a:pt x="76" y="186"/>
                    </a:cubicBezTo>
                    <a:cubicBezTo>
                      <a:pt x="77" y="184"/>
                      <a:pt x="78" y="183"/>
                      <a:pt x="79" y="181"/>
                    </a:cubicBezTo>
                    <a:cubicBezTo>
                      <a:pt x="81" y="183"/>
                      <a:pt x="81" y="183"/>
                      <a:pt x="81" y="183"/>
                    </a:cubicBezTo>
                    <a:cubicBezTo>
                      <a:pt x="82" y="182"/>
                      <a:pt x="82" y="182"/>
                      <a:pt x="82" y="182"/>
                    </a:cubicBezTo>
                    <a:cubicBezTo>
                      <a:pt x="79" y="180"/>
                      <a:pt x="79" y="180"/>
                      <a:pt x="79" y="180"/>
                    </a:cubicBezTo>
                    <a:cubicBezTo>
                      <a:pt x="80" y="179"/>
                      <a:pt x="81" y="177"/>
                      <a:pt x="83" y="176"/>
                    </a:cubicBezTo>
                    <a:cubicBezTo>
                      <a:pt x="85" y="177"/>
                      <a:pt x="85" y="177"/>
                      <a:pt x="85" y="177"/>
                    </a:cubicBezTo>
                    <a:cubicBezTo>
                      <a:pt x="85" y="177"/>
                      <a:pt x="85" y="177"/>
                      <a:pt x="85" y="177"/>
                    </a:cubicBezTo>
                    <a:cubicBezTo>
                      <a:pt x="83" y="175"/>
                      <a:pt x="83" y="175"/>
                      <a:pt x="83" y="175"/>
                    </a:cubicBezTo>
                    <a:cubicBezTo>
                      <a:pt x="84" y="173"/>
                      <a:pt x="85" y="172"/>
                      <a:pt x="86" y="170"/>
                    </a:cubicBezTo>
                    <a:cubicBezTo>
                      <a:pt x="89" y="172"/>
                      <a:pt x="89" y="172"/>
                      <a:pt x="89" y="172"/>
                    </a:cubicBezTo>
                    <a:cubicBezTo>
                      <a:pt x="89" y="171"/>
                      <a:pt x="89" y="171"/>
                      <a:pt x="89" y="171"/>
                    </a:cubicBezTo>
                    <a:cubicBezTo>
                      <a:pt x="87" y="170"/>
                      <a:pt x="87" y="170"/>
                      <a:pt x="87" y="170"/>
                    </a:cubicBezTo>
                    <a:cubicBezTo>
                      <a:pt x="88" y="168"/>
                      <a:pt x="89" y="166"/>
                      <a:pt x="90" y="165"/>
                    </a:cubicBezTo>
                    <a:cubicBezTo>
                      <a:pt x="93" y="167"/>
                      <a:pt x="93" y="167"/>
                      <a:pt x="93" y="167"/>
                    </a:cubicBezTo>
                    <a:cubicBezTo>
                      <a:pt x="93" y="166"/>
                      <a:pt x="93" y="166"/>
                      <a:pt x="93" y="166"/>
                    </a:cubicBezTo>
                    <a:cubicBezTo>
                      <a:pt x="91" y="164"/>
                      <a:pt x="91" y="164"/>
                      <a:pt x="91" y="164"/>
                    </a:cubicBezTo>
                    <a:cubicBezTo>
                      <a:pt x="92" y="163"/>
                      <a:pt x="93" y="161"/>
                      <a:pt x="94" y="160"/>
                    </a:cubicBezTo>
                    <a:cubicBezTo>
                      <a:pt x="96" y="161"/>
                      <a:pt x="96" y="161"/>
                      <a:pt x="96" y="161"/>
                    </a:cubicBezTo>
                    <a:cubicBezTo>
                      <a:pt x="97" y="161"/>
                      <a:pt x="97" y="161"/>
                      <a:pt x="97" y="161"/>
                    </a:cubicBezTo>
                    <a:cubicBezTo>
                      <a:pt x="95" y="159"/>
                      <a:pt x="95" y="159"/>
                      <a:pt x="95" y="159"/>
                    </a:cubicBezTo>
                    <a:cubicBezTo>
                      <a:pt x="96" y="158"/>
                      <a:pt x="97" y="156"/>
                      <a:pt x="98" y="155"/>
                    </a:cubicBezTo>
                    <a:cubicBezTo>
                      <a:pt x="101" y="156"/>
                      <a:pt x="101" y="156"/>
                      <a:pt x="101" y="156"/>
                    </a:cubicBezTo>
                    <a:cubicBezTo>
                      <a:pt x="101" y="156"/>
                      <a:pt x="101" y="156"/>
                      <a:pt x="101" y="156"/>
                    </a:cubicBezTo>
                    <a:cubicBezTo>
                      <a:pt x="99" y="154"/>
                      <a:pt x="99" y="154"/>
                      <a:pt x="99" y="154"/>
                    </a:cubicBezTo>
                    <a:cubicBezTo>
                      <a:pt x="100" y="153"/>
                      <a:pt x="101" y="151"/>
                      <a:pt x="102" y="150"/>
                    </a:cubicBezTo>
                    <a:cubicBezTo>
                      <a:pt x="106" y="153"/>
                      <a:pt x="106" y="153"/>
                      <a:pt x="106" y="153"/>
                    </a:cubicBezTo>
                    <a:cubicBezTo>
                      <a:pt x="107" y="153"/>
                      <a:pt x="107" y="153"/>
                      <a:pt x="107" y="153"/>
                    </a:cubicBezTo>
                    <a:cubicBezTo>
                      <a:pt x="113" y="158"/>
                      <a:pt x="113" y="158"/>
                      <a:pt x="113" y="158"/>
                    </a:cubicBezTo>
                    <a:cubicBezTo>
                      <a:pt x="113" y="157"/>
                      <a:pt x="113" y="157"/>
                      <a:pt x="113" y="157"/>
                    </a:cubicBezTo>
                    <a:cubicBezTo>
                      <a:pt x="107" y="152"/>
                      <a:pt x="107" y="152"/>
                      <a:pt x="107" y="152"/>
                    </a:cubicBezTo>
                    <a:cubicBezTo>
                      <a:pt x="107" y="152"/>
                      <a:pt x="107" y="152"/>
                      <a:pt x="107" y="152"/>
                    </a:cubicBezTo>
                    <a:cubicBezTo>
                      <a:pt x="103" y="149"/>
                      <a:pt x="103" y="149"/>
                      <a:pt x="103" y="149"/>
                    </a:cubicBezTo>
                    <a:cubicBezTo>
                      <a:pt x="104" y="147"/>
                      <a:pt x="106" y="146"/>
                      <a:pt x="107" y="144"/>
                    </a:cubicBezTo>
                    <a:cubicBezTo>
                      <a:pt x="109" y="146"/>
                      <a:pt x="109" y="146"/>
                      <a:pt x="109" y="146"/>
                    </a:cubicBezTo>
                    <a:cubicBezTo>
                      <a:pt x="109" y="146"/>
                      <a:pt x="109" y="146"/>
                      <a:pt x="109" y="146"/>
                    </a:cubicBezTo>
                    <a:cubicBezTo>
                      <a:pt x="107" y="144"/>
                      <a:pt x="107" y="144"/>
                      <a:pt x="107" y="144"/>
                    </a:cubicBezTo>
                    <a:cubicBezTo>
                      <a:pt x="109" y="142"/>
                      <a:pt x="110" y="141"/>
                      <a:pt x="111" y="140"/>
                    </a:cubicBezTo>
                    <a:cubicBezTo>
                      <a:pt x="113" y="141"/>
                      <a:pt x="113" y="141"/>
                      <a:pt x="113" y="141"/>
                    </a:cubicBezTo>
                    <a:cubicBezTo>
                      <a:pt x="114" y="141"/>
                      <a:pt x="114" y="141"/>
                      <a:pt x="114" y="141"/>
                    </a:cubicBezTo>
                    <a:cubicBezTo>
                      <a:pt x="112" y="139"/>
                      <a:pt x="112" y="139"/>
                      <a:pt x="112" y="139"/>
                    </a:cubicBezTo>
                    <a:cubicBezTo>
                      <a:pt x="113" y="138"/>
                      <a:pt x="114" y="136"/>
                      <a:pt x="116" y="135"/>
                    </a:cubicBezTo>
                    <a:cubicBezTo>
                      <a:pt x="118" y="137"/>
                      <a:pt x="118" y="137"/>
                      <a:pt x="118" y="137"/>
                    </a:cubicBezTo>
                    <a:cubicBezTo>
                      <a:pt x="118" y="136"/>
                      <a:pt x="118" y="136"/>
                      <a:pt x="118" y="136"/>
                    </a:cubicBezTo>
                    <a:cubicBezTo>
                      <a:pt x="116" y="134"/>
                      <a:pt x="116" y="134"/>
                      <a:pt x="116" y="134"/>
                    </a:cubicBezTo>
                    <a:cubicBezTo>
                      <a:pt x="117" y="133"/>
                      <a:pt x="119" y="131"/>
                      <a:pt x="120" y="130"/>
                    </a:cubicBezTo>
                    <a:cubicBezTo>
                      <a:pt x="122" y="132"/>
                      <a:pt x="122" y="132"/>
                      <a:pt x="122" y="132"/>
                    </a:cubicBezTo>
                    <a:cubicBezTo>
                      <a:pt x="123" y="131"/>
                      <a:pt x="123" y="131"/>
                      <a:pt x="123" y="131"/>
                    </a:cubicBezTo>
                    <a:cubicBezTo>
                      <a:pt x="121" y="129"/>
                      <a:pt x="121" y="129"/>
                      <a:pt x="121" y="129"/>
                    </a:cubicBezTo>
                    <a:cubicBezTo>
                      <a:pt x="122" y="128"/>
                      <a:pt x="123" y="127"/>
                      <a:pt x="125" y="125"/>
                    </a:cubicBezTo>
                    <a:cubicBezTo>
                      <a:pt x="127" y="127"/>
                      <a:pt x="127" y="127"/>
                      <a:pt x="127" y="127"/>
                    </a:cubicBezTo>
                    <a:cubicBezTo>
                      <a:pt x="127" y="127"/>
                      <a:pt x="127" y="127"/>
                      <a:pt x="127" y="127"/>
                    </a:cubicBezTo>
                    <a:cubicBezTo>
                      <a:pt x="125" y="125"/>
                      <a:pt x="125" y="125"/>
                      <a:pt x="125" y="125"/>
                    </a:cubicBezTo>
                    <a:cubicBezTo>
                      <a:pt x="127" y="123"/>
                      <a:pt x="128" y="122"/>
                      <a:pt x="129" y="121"/>
                    </a:cubicBezTo>
                    <a:cubicBezTo>
                      <a:pt x="131" y="123"/>
                      <a:pt x="131" y="123"/>
                      <a:pt x="131" y="123"/>
                    </a:cubicBezTo>
                    <a:cubicBezTo>
                      <a:pt x="132" y="122"/>
                      <a:pt x="132" y="122"/>
                      <a:pt x="132" y="122"/>
                    </a:cubicBezTo>
                    <a:cubicBezTo>
                      <a:pt x="130" y="120"/>
                      <a:pt x="130" y="120"/>
                      <a:pt x="130" y="120"/>
                    </a:cubicBezTo>
                    <a:cubicBezTo>
                      <a:pt x="131" y="119"/>
                      <a:pt x="133" y="117"/>
                      <a:pt x="134" y="116"/>
                    </a:cubicBezTo>
                    <a:cubicBezTo>
                      <a:pt x="136" y="118"/>
                      <a:pt x="136" y="118"/>
                      <a:pt x="136" y="118"/>
                    </a:cubicBezTo>
                    <a:cubicBezTo>
                      <a:pt x="137" y="118"/>
                      <a:pt x="137" y="118"/>
                      <a:pt x="137" y="118"/>
                    </a:cubicBezTo>
                    <a:cubicBezTo>
                      <a:pt x="135" y="116"/>
                      <a:pt x="135" y="116"/>
                      <a:pt x="135" y="116"/>
                    </a:cubicBezTo>
                    <a:cubicBezTo>
                      <a:pt x="136" y="114"/>
                      <a:pt x="137" y="113"/>
                      <a:pt x="139" y="112"/>
                    </a:cubicBezTo>
                    <a:cubicBezTo>
                      <a:pt x="141" y="114"/>
                      <a:pt x="141" y="114"/>
                      <a:pt x="141" y="114"/>
                    </a:cubicBezTo>
                    <a:cubicBezTo>
                      <a:pt x="141" y="113"/>
                      <a:pt x="141" y="113"/>
                      <a:pt x="141" y="113"/>
                    </a:cubicBezTo>
                    <a:cubicBezTo>
                      <a:pt x="139" y="111"/>
                      <a:pt x="139" y="111"/>
                      <a:pt x="139" y="111"/>
                    </a:cubicBezTo>
                    <a:cubicBezTo>
                      <a:pt x="141" y="110"/>
                      <a:pt x="142" y="109"/>
                      <a:pt x="144" y="107"/>
                    </a:cubicBezTo>
                    <a:cubicBezTo>
                      <a:pt x="146" y="109"/>
                      <a:pt x="146" y="109"/>
                      <a:pt x="146" y="109"/>
                    </a:cubicBezTo>
                    <a:cubicBezTo>
                      <a:pt x="146" y="109"/>
                      <a:pt x="146" y="109"/>
                      <a:pt x="146" y="109"/>
                    </a:cubicBezTo>
                    <a:cubicBezTo>
                      <a:pt x="144" y="107"/>
                      <a:pt x="144" y="107"/>
                      <a:pt x="144" y="107"/>
                    </a:cubicBezTo>
                    <a:cubicBezTo>
                      <a:pt x="146" y="106"/>
                      <a:pt x="147" y="105"/>
                      <a:pt x="148" y="103"/>
                    </a:cubicBezTo>
                    <a:cubicBezTo>
                      <a:pt x="152" y="107"/>
                      <a:pt x="152" y="107"/>
                      <a:pt x="152" y="107"/>
                    </a:cubicBezTo>
                    <a:cubicBezTo>
                      <a:pt x="152" y="107"/>
                      <a:pt x="152" y="107"/>
                      <a:pt x="152" y="107"/>
                    </a:cubicBezTo>
                    <a:cubicBezTo>
                      <a:pt x="157" y="113"/>
                      <a:pt x="157" y="113"/>
                      <a:pt x="157" y="113"/>
                    </a:cubicBezTo>
                    <a:cubicBezTo>
                      <a:pt x="158" y="113"/>
                      <a:pt x="158" y="113"/>
                      <a:pt x="158" y="113"/>
                    </a:cubicBezTo>
                    <a:cubicBezTo>
                      <a:pt x="153" y="107"/>
                      <a:pt x="153" y="107"/>
                      <a:pt x="153" y="107"/>
                    </a:cubicBezTo>
                    <a:cubicBezTo>
                      <a:pt x="153" y="106"/>
                      <a:pt x="153" y="106"/>
                      <a:pt x="153" y="106"/>
                    </a:cubicBezTo>
                    <a:cubicBezTo>
                      <a:pt x="150" y="102"/>
                      <a:pt x="150" y="102"/>
                      <a:pt x="150" y="102"/>
                    </a:cubicBezTo>
                    <a:cubicBezTo>
                      <a:pt x="151" y="101"/>
                      <a:pt x="153" y="100"/>
                      <a:pt x="154" y="99"/>
                    </a:cubicBezTo>
                    <a:cubicBezTo>
                      <a:pt x="156" y="101"/>
                      <a:pt x="156" y="101"/>
                      <a:pt x="156" y="101"/>
                    </a:cubicBezTo>
                    <a:cubicBezTo>
                      <a:pt x="156" y="101"/>
                      <a:pt x="156" y="101"/>
                      <a:pt x="156" y="101"/>
                    </a:cubicBezTo>
                    <a:cubicBezTo>
                      <a:pt x="154" y="98"/>
                      <a:pt x="154" y="98"/>
                      <a:pt x="154" y="98"/>
                    </a:cubicBezTo>
                    <a:cubicBezTo>
                      <a:pt x="156" y="97"/>
                      <a:pt x="157" y="96"/>
                      <a:pt x="159" y="95"/>
                    </a:cubicBezTo>
                    <a:cubicBezTo>
                      <a:pt x="161" y="97"/>
                      <a:pt x="161" y="97"/>
                      <a:pt x="161" y="97"/>
                    </a:cubicBezTo>
                    <a:cubicBezTo>
                      <a:pt x="161" y="97"/>
                      <a:pt x="161" y="97"/>
                      <a:pt x="161" y="97"/>
                    </a:cubicBezTo>
                    <a:cubicBezTo>
                      <a:pt x="160" y="94"/>
                      <a:pt x="160" y="94"/>
                      <a:pt x="160" y="94"/>
                    </a:cubicBezTo>
                    <a:cubicBezTo>
                      <a:pt x="161" y="93"/>
                      <a:pt x="163" y="92"/>
                      <a:pt x="164" y="91"/>
                    </a:cubicBezTo>
                    <a:cubicBezTo>
                      <a:pt x="166" y="93"/>
                      <a:pt x="166" y="93"/>
                      <a:pt x="166" y="93"/>
                    </a:cubicBezTo>
                    <a:cubicBezTo>
                      <a:pt x="167" y="93"/>
                      <a:pt x="167" y="93"/>
                      <a:pt x="167" y="93"/>
                    </a:cubicBezTo>
                    <a:cubicBezTo>
                      <a:pt x="165" y="90"/>
                      <a:pt x="165" y="90"/>
                      <a:pt x="165" y="90"/>
                    </a:cubicBezTo>
                    <a:cubicBezTo>
                      <a:pt x="166" y="89"/>
                      <a:pt x="168" y="88"/>
                      <a:pt x="169" y="87"/>
                    </a:cubicBezTo>
                    <a:cubicBezTo>
                      <a:pt x="171" y="89"/>
                      <a:pt x="171" y="89"/>
                      <a:pt x="171" y="89"/>
                    </a:cubicBezTo>
                    <a:cubicBezTo>
                      <a:pt x="172" y="89"/>
                      <a:pt x="172" y="89"/>
                      <a:pt x="172" y="89"/>
                    </a:cubicBezTo>
                    <a:cubicBezTo>
                      <a:pt x="170" y="86"/>
                      <a:pt x="170" y="86"/>
                      <a:pt x="170" y="86"/>
                    </a:cubicBezTo>
                    <a:cubicBezTo>
                      <a:pt x="172" y="85"/>
                      <a:pt x="173" y="84"/>
                      <a:pt x="175" y="83"/>
                    </a:cubicBezTo>
                    <a:cubicBezTo>
                      <a:pt x="176" y="85"/>
                      <a:pt x="176" y="85"/>
                      <a:pt x="176" y="85"/>
                    </a:cubicBezTo>
                    <a:cubicBezTo>
                      <a:pt x="177" y="85"/>
                      <a:pt x="177" y="85"/>
                      <a:pt x="177" y="85"/>
                    </a:cubicBezTo>
                    <a:cubicBezTo>
                      <a:pt x="175" y="83"/>
                      <a:pt x="175" y="83"/>
                      <a:pt x="175" y="83"/>
                    </a:cubicBezTo>
                    <a:cubicBezTo>
                      <a:pt x="177" y="81"/>
                      <a:pt x="179" y="80"/>
                      <a:pt x="180" y="79"/>
                    </a:cubicBezTo>
                    <a:cubicBezTo>
                      <a:pt x="182" y="82"/>
                      <a:pt x="182" y="82"/>
                      <a:pt x="182" y="82"/>
                    </a:cubicBezTo>
                    <a:cubicBezTo>
                      <a:pt x="182" y="81"/>
                      <a:pt x="182" y="81"/>
                      <a:pt x="182" y="81"/>
                    </a:cubicBezTo>
                    <a:cubicBezTo>
                      <a:pt x="181" y="79"/>
                      <a:pt x="181" y="79"/>
                      <a:pt x="181" y="79"/>
                    </a:cubicBezTo>
                    <a:cubicBezTo>
                      <a:pt x="182" y="78"/>
                      <a:pt x="184" y="77"/>
                      <a:pt x="186" y="76"/>
                    </a:cubicBezTo>
                    <a:cubicBezTo>
                      <a:pt x="187" y="78"/>
                      <a:pt x="187" y="78"/>
                      <a:pt x="187" y="78"/>
                    </a:cubicBezTo>
                    <a:cubicBezTo>
                      <a:pt x="188" y="78"/>
                      <a:pt x="188" y="78"/>
                      <a:pt x="188" y="78"/>
                    </a:cubicBezTo>
                    <a:cubicBezTo>
                      <a:pt x="186" y="75"/>
                      <a:pt x="186" y="75"/>
                      <a:pt x="186" y="75"/>
                    </a:cubicBezTo>
                    <a:cubicBezTo>
                      <a:pt x="188" y="74"/>
                      <a:pt x="190" y="73"/>
                      <a:pt x="191" y="72"/>
                    </a:cubicBezTo>
                    <a:cubicBezTo>
                      <a:pt x="193" y="75"/>
                      <a:pt x="193" y="75"/>
                      <a:pt x="193" y="75"/>
                    </a:cubicBezTo>
                    <a:cubicBezTo>
                      <a:pt x="193" y="74"/>
                      <a:pt x="193" y="74"/>
                      <a:pt x="193" y="74"/>
                    </a:cubicBezTo>
                    <a:cubicBezTo>
                      <a:pt x="192" y="72"/>
                      <a:pt x="192" y="72"/>
                      <a:pt x="192" y="72"/>
                    </a:cubicBezTo>
                    <a:cubicBezTo>
                      <a:pt x="193" y="71"/>
                      <a:pt x="195" y="70"/>
                      <a:pt x="197" y="69"/>
                    </a:cubicBezTo>
                    <a:cubicBezTo>
                      <a:pt x="198" y="71"/>
                      <a:pt x="198" y="71"/>
                      <a:pt x="198" y="71"/>
                    </a:cubicBezTo>
                    <a:cubicBezTo>
                      <a:pt x="199" y="71"/>
                      <a:pt x="199" y="71"/>
                      <a:pt x="199" y="71"/>
                    </a:cubicBezTo>
                    <a:cubicBezTo>
                      <a:pt x="197" y="68"/>
                      <a:pt x="197" y="68"/>
                      <a:pt x="197" y="68"/>
                    </a:cubicBezTo>
                    <a:cubicBezTo>
                      <a:pt x="199" y="67"/>
                      <a:pt x="200" y="66"/>
                      <a:pt x="202" y="66"/>
                    </a:cubicBezTo>
                    <a:cubicBezTo>
                      <a:pt x="205" y="70"/>
                      <a:pt x="205" y="70"/>
                      <a:pt x="205" y="70"/>
                    </a:cubicBezTo>
                    <a:cubicBezTo>
                      <a:pt x="205" y="70"/>
                      <a:pt x="205" y="70"/>
                      <a:pt x="205" y="70"/>
                    </a:cubicBezTo>
                    <a:cubicBezTo>
                      <a:pt x="209" y="77"/>
                      <a:pt x="209" y="77"/>
                      <a:pt x="209" y="77"/>
                    </a:cubicBezTo>
                    <a:cubicBezTo>
                      <a:pt x="210" y="76"/>
                      <a:pt x="210" y="76"/>
                      <a:pt x="210" y="76"/>
                    </a:cubicBezTo>
                    <a:cubicBezTo>
                      <a:pt x="206" y="70"/>
                      <a:pt x="206" y="70"/>
                      <a:pt x="206" y="70"/>
                    </a:cubicBezTo>
                    <a:cubicBezTo>
                      <a:pt x="206" y="69"/>
                      <a:pt x="206" y="69"/>
                      <a:pt x="206" y="69"/>
                    </a:cubicBezTo>
                    <a:cubicBezTo>
                      <a:pt x="204" y="65"/>
                      <a:pt x="204" y="65"/>
                      <a:pt x="204" y="65"/>
                    </a:cubicBezTo>
                    <a:cubicBezTo>
                      <a:pt x="205" y="64"/>
                      <a:pt x="207" y="63"/>
                      <a:pt x="208" y="62"/>
                    </a:cubicBezTo>
                    <a:cubicBezTo>
                      <a:pt x="210" y="65"/>
                      <a:pt x="210" y="65"/>
                      <a:pt x="210" y="65"/>
                    </a:cubicBezTo>
                    <a:cubicBezTo>
                      <a:pt x="210" y="64"/>
                      <a:pt x="210" y="64"/>
                      <a:pt x="210" y="64"/>
                    </a:cubicBezTo>
                    <a:cubicBezTo>
                      <a:pt x="209" y="62"/>
                      <a:pt x="209" y="62"/>
                      <a:pt x="209" y="62"/>
                    </a:cubicBezTo>
                    <a:cubicBezTo>
                      <a:pt x="210" y="61"/>
                      <a:pt x="212" y="60"/>
                      <a:pt x="214" y="59"/>
                    </a:cubicBezTo>
                    <a:cubicBezTo>
                      <a:pt x="215" y="61"/>
                      <a:pt x="215" y="61"/>
                      <a:pt x="215" y="61"/>
                    </a:cubicBezTo>
                    <a:cubicBezTo>
                      <a:pt x="216" y="61"/>
                      <a:pt x="216" y="61"/>
                      <a:pt x="216" y="61"/>
                    </a:cubicBezTo>
                    <a:cubicBezTo>
                      <a:pt x="215" y="59"/>
                      <a:pt x="215" y="59"/>
                      <a:pt x="215" y="59"/>
                    </a:cubicBezTo>
                    <a:cubicBezTo>
                      <a:pt x="216" y="58"/>
                      <a:pt x="218" y="57"/>
                      <a:pt x="220" y="56"/>
                    </a:cubicBezTo>
                    <a:cubicBezTo>
                      <a:pt x="221" y="58"/>
                      <a:pt x="221" y="58"/>
                      <a:pt x="221" y="58"/>
                    </a:cubicBezTo>
                    <a:cubicBezTo>
                      <a:pt x="222" y="58"/>
                      <a:pt x="222" y="58"/>
                      <a:pt x="222" y="58"/>
                    </a:cubicBezTo>
                    <a:cubicBezTo>
                      <a:pt x="220" y="55"/>
                      <a:pt x="220" y="55"/>
                      <a:pt x="220" y="55"/>
                    </a:cubicBezTo>
                    <a:cubicBezTo>
                      <a:pt x="222" y="55"/>
                      <a:pt x="224" y="54"/>
                      <a:pt x="226" y="53"/>
                    </a:cubicBezTo>
                    <a:cubicBezTo>
                      <a:pt x="227" y="56"/>
                      <a:pt x="227" y="56"/>
                      <a:pt x="227" y="56"/>
                    </a:cubicBezTo>
                    <a:cubicBezTo>
                      <a:pt x="228" y="55"/>
                      <a:pt x="228" y="55"/>
                      <a:pt x="228" y="55"/>
                    </a:cubicBezTo>
                    <a:cubicBezTo>
                      <a:pt x="226" y="53"/>
                      <a:pt x="226" y="53"/>
                      <a:pt x="226" y="53"/>
                    </a:cubicBezTo>
                    <a:cubicBezTo>
                      <a:pt x="228" y="52"/>
                      <a:pt x="230" y="51"/>
                      <a:pt x="231" y="50"/>
                    </a:cubicBezTo>
                    <a:cubicBezTo>
                      <a:pt x="233" y="53"/>
                      <a:pt x="233" y="53"/>
                      <a:pt x="233" y="53"/>
                    </a:cubicBezTo>
                    <a:cubicBezTo>
                      <a:pt x="233" y="52"/>
                      <a:pt x="233" y="52"/>
                      <a:pt x="233" y="52"/>
                    </a:cubicBezTo>
                    <a:cubicBezTo>
                      <a:pt x="232" y="50"/>
                      <a:pt x="232" y="50"/>
                      <a:pt x="232" y="50"/>
                    </a:cubicBezTo>
                    <a:cubicBezTo>
                      <a:pt x="234" y="49"/>
                      <a:pt x="236" y="48"/>
                      <a:pt x="237" y="47"/>
                    </a:cubicBezTo>
                    <a:cubicBezTo>
                      <a:pt x="239" y="50"/>
                      <a:pt x="239" y="50"/>
                      <a:pt x="239" y="50"/>
                    </a:cubicBezTo>
                    <a:cubicBezTo>
                      <a:pt x="239" y="50"/>
                      <a:pt x="239" y="50"/>
                      <a:pt x="239" y="50"/>
                    </a:cubicBezTo>
                    <a:cubicBezTo>
                      <a:pt x="238" y="47"/>
                      <a:pt x="238" y="47"/>
                      <a:pt x="238" y="47"/>
                    </a:cubicBezTo>
                    <a:cubicBezTo>
                      <a:pt x="240" y="46"/>
                      <a:pt x="242" y="45"/>
                      <a:pt x="243" y="45"/>
                    </a:cubicBezTo>
                    <a:cubicBezTo>
                      <a:pt x="245" y="47"/>
                      <a:pt x="245" y="47"/>
                      <a:pt x="245" y="47"/>
                    </a:cubicBezTo>
                    <a:cubicBezTo>
                      <a:pt x="245" y="47"/>
                      <a:pt x="245" y="47"/>
                      <a:pt x="245" y="47"/>
                    </a:cubicBezTo>
                    <a:cubicBezTo>
                      <a:pt x="244" y="44"/>
                      <a:pt x="244" y="44"/>
                      <a:pt x="244" y="44"/>
                    </a:cubicBezTo>
                    <a:cubicBezTo>
                      <a:pt x="246" y="44"/>
                      <a:pt x="248" y="43"/>
                      <a:pt x="250" y="42"/>
                    </a:cubicBezTo>
                    <a:cubicBezTo>
                      <a:pt x="251" y="45"/>
                      <a:pt x="251" y="45"/>
                      <a:pt x="251" y="45"/>
                    </a:cubicBezTo>
                    <a:cubicBezTo>
                      <a:pt x="251" y="45"/>
                      <a:pt x="251" y="45"/>
                      <a:pt x="251" y="45"/>
                    </a:cubicBezTo>
                    <a:cubicBezTo>
                      <a:pt x="250" y="42"/>
                      <a:pt x="250" y="42"/>
                      <a:pt x="250" y="42"/>
                    </a:cubicBezTo>
                    <a:cubicBezTo>
                      <a:pt x="252" y="41"/>
                      <a:pt x="254" y="40"/>
                      <a:pt x="256" y="40"/>
                    </a:cubicBezTo>
                    <a:cubicBezTo>
                      <a:pt x="257" y="43"/>
                      <a:pt x="257" y="43"/>
                      <a:pt x="257" y="43"/>
                    </a:cubicBezTo>
                    <a:cubicBezTo>
                      <a:pt x="257" y="42"/>
                      <a:pt x="257" y="42"/>
                      <a:pt x="257" y="42"/>
                    </a:cubicBezTo>
                    <a:cubicBezTo>
                      <a:pt x="256" y="39"/>
                      <a:pt x="256" y="39"/>
                      <a:pt x="256" y="39"/>
                    </a:cubicBezTo>
                    <a:cubicBezTo>
                      <a:pt x="258" y="39"/>
                      <a:pt x="260" y="38"/>
                      <a:pt x="261" y="38"/>
                    </a:cubicBezTo>
                    <a:cubicBezTo>
                      <a:pt x="263" y="43"/>
                      <a:pt x="263" y="43"/>
                      <a:pt x="263" y="43"/>
                    </a:cubicBezTo>
                    <a:cubicBezTo>
                      <a:pt x="264" y="43"/>
                      <a:pt x="264" y="43"/>
                      <a:pt x="264" y="43"/>
                    </a:cubicBezTo>
                    <a:cubicBezTo>
                      <a:pt x="266" y="50"/>
                      <a:pt x="266" y="50"/>
                      <a:pt x="266" y="50"/>
                    </a:cubicBezTo>
                    <a:cubicBezTo>
                      <a:pt x="267" y="50"/>
                      <a:pt x="267" y="50"/>
                      <a:pt x="267" y="50"/>
                    </a:cubicBezTo>
                    <a:cubicBezTo>
                      <a:pt x="264" y="42"/>
                      <a:pt x="264" y="42"/>
                      <a:pt x="264" y="42"/>
                    </a:cubicBezTo>
                    <a:cubicBezTo>
                      <a:pt x="265" y="42"/>
                      <a:pt x="265" y="42"/>
                      <a:pt x="265" y="42"/>
                    </a:cubicBezTo>
                    <a:cubicBezTo>
                      <a:pt x="263" y="37"/>
                      <a:pt x="263" y="37"/>
                      <a:pt x="263" y="37"/>
                    </a:cubicBezTo>
                    <a:cubicBezTo>
                      <a:pt x="265" y="36"/>
                      <a:pt x="266" y="36"/>
                      <a:pt x="268" y="35"/>
                    </a:cubicBezTo>
                    <a:cubicBezTo>
                      <a:pt x="269" y="38"/>
                      <a:pt x="269" y="38"/>
                      <a:pt x="269" y="38"/>
                    </a:cubicBezTo>
                    <a:cubicBezTo>
                      <a:pt x="270" y="38"/>
                      <a:pt x="270" y="38"/>
                      <a:pt x="270" y="38"/>
                    </a:cubicBezTo>
                    <a:cubicBezTo>
                      <a:pt x="269" y="35"/>
                      <a:pt x="269" y="35"/>
                      <a:pt x="269" y="35"/>
                    </a:cubicBezTo>
                    <a:cubicBezTo>
                      <a:pt x="271" y="34"/>
                      <a:pt x="272" y="34"/>
                      <a:pt x="274" y="33"/>
                    </a:cubicBezTo>
                    <a:cubicBezTo>
                      <a:pt x="275" y="36"/>
                      <a:pt x="275" y="36"/>
                      <a:pt x="275" y="36"/>
                    </a:cubicBezTo>
                    <a:cubicBezTo>
                      <a:pt x="276" y="36"/>
                      <a:pt x="276" y="36"/>
                      <a:pt x="276" y="36"/>
                    </a:cubicBezTo>
                    <a:cubicBezTo>
                      <a:pt x="275" y="33"/>
                      <a:pt x="275" y="33"/>
                      <a:pt x="275" y="33"/>
                    </a:cubicBezTo>
                    <a:cubicBezTo>
                      <a:pt x="277" y="32"/>
                      <a:pt x="279" y="32"/>
                      <a:pt x="280" y="31"/>
                    </a:cubicBezTo>
                    <a:cubicBezTo>
                      <a:pt x="281" y="34"/>
                      <a:pt x="281" y="34"/>
                      <a:pt x="281" y="34"/>
                    </a:cubicBezTo>
                    <a:cubicBezTo>
                      <a:pt x="282" y="34"/>
                      <a:pt x="282" y="34"/>
                      <a:pt x="282" y="34"/>
                    </a:cubicBezTo>
                    <a:cubicBezTo>
                      <a:pt x="281" y="31"/>
                      <a:pt x="281" y="31"/>
                      <a:pt x="281" y="31"/>
                    </a:cubicBezTo>
                    <a:cubicBezTo>
                      <a:pt x="283" y="30"/>
                      <a:pt x="285" y="30"/>
                      <a:pt x="287" y="29"/>
                    </a:cubicBezTo>
                    <a:cubicBezTo>
                      <a:pt x="288" y="32"/>
                      <a:pt x="288" y="32"/>
                      <a:pt x="288" y="32"/>
                    </a:cubicBezTo>
                    <a:cubicBezTo>
                      <a:pt x="288" y="32"/>
                      <a:pt x="288" y="32"/>
                      <a:pt x="288" y="32"/>
                    </a:cubicBezTo>
                    <a:cubicBezTo>
                      <a:pt x="287" y="29"/>
                      <a:pt x="287" y="29"/>
                      <a:pt x="287" y="29"/>
                    </a:cubicBezTo>
                    <a:cubicBezTo>
                      <a:pt x="289" y="28"/>
                      <a:pt x="291" y="28"/>
                      <a:pt x="293" y="27"/>
                    </a:cubicBezTo>
                    <a:cubicBezTo>
                      <a:pt x="294" y="30"/>
                      <a:pt x="294" y="30"/>
                      <a:pt x="294" y="30"/>
                    </a:cubicBezTo>
                    <a:cubicBezTo>
                      <a:pt x="295" y="30"/>
                      <a:pt x="295" y="30"/>
                      <a:pt x="295" y="30"/>
                    </a:cubicBezTo>
                    <a:cubicBezTo>
                      <a:pt x="295" y="30"/>
                      <a:pt x="295" y="30"/>
                      <a:pt x="295" y="30"/>
                    </a:cubicBezTo>
                    <a:cubicBezTo>
                      <a:pt x="294" y="27"/>
                      <a:pt x="294" y="27"/>
                      <a:pt x="294" y="27"/>
                    </a:cubicBezTo>
                    <a:cubicBezTo>
                      <a:pt x="296" y="27"/>
                      <a:pt x="298" y="26"/>
                      <a:pt x="299" y="26"/>
                    </a:cubicBezTo>
                    <a:cubicBezTo>
                      <a:pt x="300" y="29"/>
                      <a:pt x="300" y="29"/>
                      <a:pt x="300" y="29"/>
                    </a:cubicBezTo>
                    <a:cubicBezTo>
                      <a:pt x="301" y="29"/>
                      <a:pt x="301" y="29"/>
                      <a:pt x="301" y="29"/>
                    </a:cubicBezTo>
                    <a:cubicBezTo>
                      <a:pt x="300" y="26"/>
                      <a:pt x="300" y="26"/>
                      <a:pt x="300" y="26"/>
                    </a:cubicBezTo>
                    <a:cubicBezTo>
                      <a:pt x="302" y="25"/>
                      <a:pt x="304" y="25"/>
                      <a:pt x="306" y="24"/>
                    </a:cubicBezTo>
                    <a:cubicBezTo>
                      <a:pt x="306" y="27"/>
                      <a:pt x="306" y="27"/>
                      <a:pt x="306" y="27"/>
                    </a:cubicBezTo>
                    <a:cubicBezTo>
                      <a:pt x="307" y="27"/>
                      <a:pt x="307" y="27"/>
                      <a:pt x="307" y="27"/>
                    </a:cubicBezTo>
                    <a:cubicBezTo>
                      <a:pt x="307" y="27"/>
                      <a:pt x="307" y="27"/>
                      <a:pt x="307" y="27"/>
                    </a:cubicBezTo>
                    <a:cubicBezTo>
                      <a:pt x="307" y="24"/>
                      <a:pt x="307" y="24"/>
                      <a:pt x="307" y="24"/>
                    </a:cubicBezTo>
                    <a:cubicBezTo>
                      <a:pt x="308" y="24"/>
                      <a:pt x="310" y="23"/>
                      <a:pt x="312" y="23"/>
                    </a:cubicBezTo>
                    <a:cubicBezTo>
                      <a:pt x="313" y="26"/>
                      <a:pt x="313" y="26"/>
                      <a:pt x="313" y="26"/>
                    </a:cubicBezTo>
                    <a:cubicBezTo>
                      <a:pt x="314" y="26"/>
                      <a:pt x="314" y="26"/>
                      <a:pt x="314" y="26"/>
                    </a:cubicBezTo>
                    <a:cubicBezTo>
                      <a:pt x="313" y="23"/>
                      <a:pt x="313" y="23"/>
                      <a:pt x="313" y="23"/>
                    </a:cubicBezTo>
                    <a:cubicBezTo>
                      <a:pt x="315" y="22"/>
                      <a:pt x="317" y="22"/>
                      <a:pt x="319" y="22"/>
                    </a:cubicBezTo>
                    <a:cubicBezTo>
                      <a:pt x="319" y="24"/>
                      <a:pt x="319" y="24"/>
                      <a:pt x="319" y="24"/>
                    </a:cubicBezTo>
                    <a:cubicBezTo>
                      <a:pt x="320" y="24"/>
                      <a:pt x="320" y="24"/>
                      <a:pt x="320" y="24"/>
                    </a:cubicBezTo>
                    <a:cubicBezTo>
                      <a:pt x="319" y="21"/>
                      <a:pt x="319" y="21"/>
                      <a:pt x="319" y="21"/>
                    </a:cubicBezTo>
                    <a:cubicBezTo>
                      <a:pt x="321" y="21"/>
                      <a:pt x="323" y="21"/>
                      <a:pt x="325" y="20"/>
                    </a:cubicBezTo>
                    <a:cubicBezTo>
                      <a:pt x="326" y="26"/>
                      <a:pt x="326" y="26"/>
                      <a:pt x="326" y="26"/>
                    </a:cubicBezTo>
                    <a:cubicBezTo>
                      <a:pt x="326" y="26"/>
                      <a:pt x="326" y="26"/>
                      <a:pt x="326" y="26"/>
                    </a:cubicBezTo>
                    <a:cubicBezTo>
                      <a:pt x="327" y="33"/>
                      <a:pt x="327" y="33"/>
                      <a:pt x="327" y="33"/>
                    </a:cubicBezTo>
                    <a:cubicBezTo>
                      <a:pt x="328" y="33"/>
                      <a:pt x="328" y="33"/>
                      <a:pt x="328" y="33"/>
                    </a:cubicBezTo>
                    <a:cubicBezTo>
                      <a:pt x="327" y="26"/>
                      <a:pt x="327" y="26"/>
                      <a:pt x="327" y="26"/>
                    </a:cubicBezTo>
                    <a:cubicBezTo>
                      <a:pt x="327" y="26"/>
                      <a:pt x="327" y="26"/>
                      <a:pt x="327" y="26"/>
                    </a:cubicBezTo>
                    <a:cubicBezTo>
                      <a:pt x="326" y="20"/>
                      <a:pt x="326" y="20"/>
                      <a:pt x="326" y="20"/>
                    </a:cubicBezTo>
                    <a:cubicBezTo>
                      <a:pt x="328" y="20"/>
                      <a:pt x="330" y="19"/>
                      <a:pt x="332" y="19"/>
                    </a:cubicBezTo>
                    <a:cubicBezTo>
                      <a:pt x="332" y="22"/>
                      <a:pt x="332" y="22"/>
                      <a:pt x="332" y="22"/>
                    </a:cubicBezTo>
                    <a:cubicBezTo>
                      <a:pt x="333" y="22"/>
                      <a:pt x="333" y="22"/>
                      <a:pt x="333" y="22"/>
                    </a:cubicBezTo>
                    <a:cubicBezTo>
                      <a:pt x="332" y="19"/>
                      <a:pt x="332" y="19"/>
                      <a:pt x="332" y="19"/>
                    </a:cubicBezTo>
                    <a:cubicBezTo>
                      <a:pt x="334" y="19"/>
                      <a:pt x="336" y="19"/>
                      <a:pt x="338" y="18"/>
                    </a:cubicBezTo>
                    <a:cubicBezTo>
                      <a:pt x="338" y="21"/>
                      <a:pt x="338" y="21"/>
                      <a:pt x="338" y="21"/>
                    </a:cubicBezTo>
                    <a:cubicBezTo>
                      <a:pt x="339" y="21"/>
                      <a:pt x="339" y="21"/>
                      <a:pt x="339" y="21"/>
                    </a:cubicBezTo>
                    <a:cubicBezTo>
                      <a:pt x="339" y="18"/>
                      <a:pt x="339" y="18"/>
                      <a:pt x="339" y="18"/>
                    </a:cubicBezTo>
                    <a:cubicBezTo>
                      <a:pt x="341" y="18"/>
                      <a:pt x="343" y="18"/>
                      <a:pt x="345" y="17"/>
                    </a:cubicBezTo>
                    <a:cubicBezTo>
                      <a:pt x="345" y="20"/>
                      <a:pt x="345" y="20"/>
                      <a:pt x="345" y="20"/>
                    </a:cubicBezTo>
                    <a:cubicBezTo>
                      <a:pt x="346" y="20"/>
                      <a:pt x="346" y="20"/>
                      <a:pt x="346" y="20"/>
                    </a:cubicBezTo>
                    <a:cubicBezTo>
                      <a:pt x="345" y="17"/>
                      <a:pt x="345" y="17"/>
                      <a:pt x="345" y="17"/>
                    </a:cubicBezTo>
                    <a:cubicBezTo>
                      <a:pt x="347" y="17"/>
                      <a:pt x="349" y="17"/>
                      <a:pt x="351" y="17"/>
                    </a:cubicBezTo>
                    <a:cubicBezTo>
                      <a:pt x="351" y="20"/>
                      <a:pt x="351" y="20"/>
                      <a:pt x="351" y="20"/>
                    </a:cubicBezTo>
                    <a:cubicBezTo>
                      <a:pt x="352" y="20"/>
                      <a:pt x="352" y="20"/>
                      <a:pt x="352" y="20"/>
                    </a:cubicBezTo>
                    <a:cubicBezTo>
                      <a:pt x="352" y="20"/>
                      <a:pt x="352" y="20"/>
                      <a:pt x="352" y="20"/>
                    </a:cubicBezTo>
                    <a:cubicBezTo>
                      <a:pt x="352" y="17"/>
                      <a:pt x="352" y="17"/>
                      <a:pt x="352" y="17"/>
                    </a:cubicBezTo>
                    <a:cubicBezTo>
                      <a:pt x="354" y="16"/>
                      <a:pt x="356" y="16"/>
                      <a:pt x="358" y="16"/>
                    </a:cubicBezTo>
                    <a:cubicBezTo>
                      <a:pt x="358" y="19"/>
                      <a:pt x="358" y="19"/>
                      <a:pt x="358" y="19"/>
                    </a:cubicBezTo>
                    <a:cubicBezTo>
                      <a:pt x="359" y="19"/>
                      <a:pt x="359" y="19"/>
                      <a:pt x="359" y="19"/>
                    </a:cubicBezTo>
                    <a:cubicBezTo>
                      <a:pt x="359" y="19"/>
                      <a:pt x="359" y="19"/>
                      <a:pt x="359" y="19"/>
                    </a:cubicBezTo>
                    <a:cubicBezTo>
                      <a:pt x="359" y="19"/>
                      <a:pt x="359" y="19"/>
                      <a:pt x="359" y="19"/>
                    </a:cubicBezTo>
                    <a:cubicBezTo>
                      <a:pt x="358" y="16"/>
                      <a:pt x="358" y="16"/>
                      <a:pt x="358" y="16"/>
                    </a:cubicBezTo>
                    <a:cubicBezTo>
                      <a:pt x="360" y="16"/>
                      <a:pt x="362" y="16"/>
                      <a:pt x="364" y="15"/>
                    </a:cubicBezTo>
                    <a:cubicBezTo>
                      <a:pt x="364" y="18"/>
                      <a:pt x="364" y="18"/>
                      <a:pt x="364" y="18"/>
                    </a:cubicBezTo>
                    <a:cubicBezTo>
                      <a:pt x="365" y="18"/>
                      <a:pt x="365" y="18"/>
                      <a:pt x="365" y="18"/>
                    </a:cubicBezTo>
                    <a:cubicBezTo>
                      <a:pt x="365" y="18"/>
                      <a:pt x="365" y="18"/>
                      <a:pt x="365" y="18"/>
                    </a:cubicBezTo>
                    <a:cubicBezTo>
                      <a:pt x="365" y="15"/>
                      <a:pt x="365" y="15"/>
                      <a:pt x="365" y="15"/>
                    </a:cubicBezTo>
                    <a:cubicBezTo>
                      <a:pt x="367" y="15"/>
                      <a:pt x="369" y="15"/>
                      <a:pt x="371" y="15"/>
                    </a:cubicBezTo>
                    <a:cubicBezTo>
                      <a:pt x="371" y="18"/>
                      <a:pt x="371" y="18"/>
                      <a:pt x="371" y="18"/>
                    </a:cubicBezTo>
                    <a:cubicBezTo>
                      <a:pt x="372" y="18"/>
                      <a:pt x="372" y="18"/>
                      <a:pt x="372" y="18"/>
                    </a:cubicBezTo>
                    <a:cubicBezTo>
                      <a:pt x="372" y="15"/>
                      <a:pt x="372" y="15"/>
                      <a:pt x="372" y="15"/>
                    </a:cubicBezTo>
                    <a:cubicBezTo>
                      <a:pt x="373" y="15"/>
                      <a:pt x="375" y="15"/>
                      <a:pt x="377" y="15"/>
                    </a:cubicBezTo>
                    <a:cubicBezTo>
                      <a:pt x="377" y="18"/>
                      <a:pt x="377" y="18"/>
                      <a:pt x="377" y="18"/>
                    </a:cubicBezTo>
                    <a:cubicBezTo>
                      <a:pt x="378" y="18"/>
                      <a:pt x="378" y="18"/>
                      <a:pt x="378" y="18"/>
                    </a:cubicBezTo>
                    <a:cubicBezTo>
                      <a:pt x="378" y="15"/>
                      <a:pt x="378" y="15"/>
                      <a:pt x="378" y="15"/>
                    </a:cubicBezTo>
                    <a:cubicBezTo>
                      <a:pt x="380" y="15"/>
                      <a:pt x="382" y="15"/>
                      <a:pt x="384" y="15"/>
                    </a:cubicBezTo>
                    <a:cubicBezTo>
                      <a:pt x="384" y="18"/>
                      <a:pt x="384" y="18"/>
                      <a:pt x="384" y="18"/>
                    </a:cubicBezTo>
                    <a:cubicBezTo>
                      <a:pt x="385" y="18"/>
                      <a:pt x="385" y="18"/>
                      <a:pt x="385" y="18"/>
                    </a:cubicBezTo>
                    <a:cubicBezTo>
                      <a:pt x="385" y="15"/>
                      <a:pt x="385" y="15"/>
                      <a:pt x="385" y="15"/>
                    </a:cubicBezTo>
                    <a:cubicBezTo>
                      <a:pt x="386" y="15"/>
                      <a:pt x="388" y="15"/>
                      <a:pt x="390" y="15"/>
                    </a:cubicBezTo>
                    <a:cubicBezTo>
                      <a:pt x="390" y="20"/>
                      <a:pt x="390" y="20"/>
                      <a:pt x="390" y="20"/>
                    </a:cubicBezTo>
                    <a:cubicBezTo>
                      <a:pt x="390" y="20"/>
                      <a:pt x="390" y="20"/>
                      <a:pt x="390" y="20"/>
                    </a:cubicBezTo>
                    <a:cubicBezTo>
                      <a:pt x="390" y="28"/>
                      <a:pt x="390" y="28"/>
                      <a:pt x="390" y="28"/>
                    </a:cubicBezTo>
                    <a:cubicBezTo>
                      <a:pt x="391" y="28"/>
                      <a:pt x="391" y="28"/>
                      <a:pt x="391" y="28"/>
                    </a:cubicBezTo>
                    <a:cubicBezTo>
                      <a:pt x="391" y="20"/>
                      <a:pt x="391" y="20"/>
                      <a:pt x="391" y="20"/>
                    </a:cubicBezTo>
                    <a:cubicBezTo>
                      <a:pt x="392" y="20"/>
                      <a:pt x="392" y="20"/>
                      <a:pt x="392" y="20"/>
                    </a:cubicBezTo>
                    <a:cubicBezTo>
                      <a:pt x="392" y="15"/>
                      <a:pt x="392" y="15"/>
                      <a:pt x="392" y="15"/>
                    </a:cubicBezTo>
                    <a:cubicBezTo>
                      <a:pt x="393" y="15"/>
                      <a:pt x="395" y="15"/>
                      <a:pt x="397" y="15"/>
                    </a:cubicBezTo>
                    <a:cubicBezTo>
                      <a:pt x="397" y="18"/>
                      <a:pt x="397" y="18"/>
                      <a:pt x="397" y="18"/>
                    </a:cubicBezTo>
                    <a:cubicBezTo>
                      <a:pt x="398" y="18"/>
                      <a:pt x="398" y="18"/>
                      <a:pt x="398" y="18"/>
                    </a:cubicBezTo>
                    <a:cubicBezTo>
                      <a:pt x="398" y="15"/>
                      <a:pt x="398" y="15"/>
                      <a:pt x="398" y="15"/>
                    </a:cubicBezTo>
                    <a:cubicBezTo>
                      <a:pt x="400" y="15"/>
                      <a:pt x="402" y="15"/>
                      <a:pt x="404" y="15"/>
                    </a:cubicBezTo>
                    <a:cubicBezTo>
                      <a:pt x="403" y="18"/>
                      <a:pt x="403" y="18"/>
                      <a:pt x="403" y="18"/>
                    </a:cubicBezTo>
                    <a:cubicBezTo>
                      <a:pt x="404" y="18"/>
                      <a:pt x="404" y="18"/>
                      <a:pt x="404" y="18"/>
                    </a:cubicBezTo>
                    <a:cubicBezTo>
                      <a:pt x="404" y="15"/>
                      <a:pt x="404" y="15"/>
                      <a:pt x="404" y="15"/>
                    </a:cubicBezTo>
                    <a:cubicBezTo>
                      <a:pt x="406" y="15"/>
                      <a:pt x="408" y="15"/>
                      <a:pt x="410" y="15"/>
                    </a:cubicBezTo>
                    <a:cubicBezTo>
                      <a:pt x="410" y="18"/>
                      <a:pt x="410" y="18"/>
                      <a:pt x="410" y="18"/>
                    </a:cubicBezTo>
                    <a:cubicBezTo>
                      <a:pt x="411" y="18"/>
                      <a:pt x="411" y="18"/>
                      <a:pt x="411" y="18"/>
                    </a:cubicBezTo>
                    <a:cubicBezTo>
                      <a:pt x="411" y="15"/>
                      <a:pt x="411" y="15"/>
                      <a:pt x="411" y="15"/>
                    </a:cubicBezTo>
                    <a:cubicBezTo>
                      <a:pt x="413" y="15"/>
                      <a:pt x="415" y="15"/>
                      <a:pt x="417" y="15"/>
                    </a:cubicBezTo>
                    <a:cubicBezTo>
                      <a:pt x="416" y="18"/>
                      <a:pt x="416" y="18"/>
                      <a:pt x="416" y="18"/>
                    </a:cubicBezTo>
                    <a:cubicBezTo>
                      <a:pt x="417" y="18"/>
                      <a:pt x="417" y="18"/>
                      <a:pt x="417" y="18"/>
                    </a:cubicBezTo>
                    <a:cubicBezTo>
                      <a:pt x="417" y="15"/>
                      <a:pt x="417" y="15"/>
                      <a:pt x="417" y="15"/>
                    </a:cubicBezTo>
                    <a:cubicBezTo>
                      <a:pt x="419" y="16"/>
                      <a:pt x="421" y="16"/>
                      <a:pt x="423" y="16"/>
                    </a:cubicBezTo>
                    <a:cubicBezTo>
                      <a:pt x="423" y="19"/>
                      <a:pt x="423" y="19"/>
                      <a:pt x="423" y="19"/>
                    </a:cubicBezTo>
                    <a:cubicBezTo>
                      <a:pt x="424" y="19"/>
                      <a:pt x="424" y="19"/>
                      <a:pt x="424" y="19"/>
                    </a:cubicBezTo>
                    <a:cubicBezTo>
                      <a:pt x="424" y="16"/>
                      <a:pt x="424" y="16"/>
                      <a:pt x="424" y="16"/>
                    </a:cubicBezTo>
                    <a:cubicBezTo>
                      <a:pt x="426" y="16"/>
                      <a:pt x="428" y="16"/>
                      <a:pt x="430" y="17"/>
                    </a:cubicBezTo>
                    <a:cubicBezTo>
                      <a:pt x="429" y="20"/>
                      <a:pt x="429" y="20"/>
                      <a:pt x="429" y="20"/>
                    </a:cubicBezTo>
                    <a:cubicBezTo>
                      <a:pt x="430" y="20"/>
                      <a:pt x="430" y="20"/>
                      <a:pt x="430" y="20"/>
                    </a:cubicBezTo>
                    <a:cubicBezTo>
                      <a:pt x="431" y="17"/>
                      <a:pt x="431" y="17"/>
                      <a:pt x="431" y="17"/>
                    </a:cubicBezTo>
                    <a:cubicBezTo>
                      <a:pt x="432" y="17"/>
                      <a:pt x="434" y="17"/>
                      <a:pt x="436" y="17"/>
                    </a:cubicBezTo>
                    <a:cubicBezTo>
                      <a:pt x="436" y="20"/>
                      <a:pt x="436" y="20"/>
                      <a:pt x="436" y="20"/>
                    </a:cubicBezTo>
                    <a:cubicBezTo>
                      <a:pt x="437" y="20"/>
                      <a:pt x="437" y="20"/>
                      <a:pt x="437" y="20"/>
                    </a:cubicBezTo>
                    <a:cubicBezTo>
                      <a:pt x="437" y="17"/>
                      <a:pt x="437" y="17"/>
                      <a:pt x="437" y="17"/>
                    </a:cubicBezTo>
                    <a:cubicBezTo>
                      <a:pt x="439" y="18"/>
                      <a:pt x="441" y="18"/>
                      <a:pt x="443" y="18"/>
                    </a:cubicBezTo>
                    <a:cubicBezTo>
                      <a:pt x="442" y="21"/>
                      <a:pt x="442" y="21"/>
                      <a:pt x="442" y="21"/>
                    </a:cubicBezTo>
                    <a:cubicBezTo>
                      <a:pt x="443" y="21"/>
                      <a:pt x="443" y="21"/>
                      <a:pt x="443" y="21"/>
                    </a:cubicBezTo>
                    <a:cubicBezTo>
                      <a:pt x="444" y="18"/>
                      <a:pt x="444" y="18"/>
                      <a:pt x="444" y="18"/>
                    </a:cubicBezTo>
                    <a:cubicBezTo>
                      <a:pt x="445" y="19"/>
                      <a:pt x="447" y="19"/>
                      <a:pt x="449" y="19"/>
                    </a:cubicBezTo>
                    <a:cubicBezTo>
                      <a:pt x="449" y="22"/>
                      <a:pt x="449" y="22"/>
                      <a:pt x="449" y="22"/>
                    </a:cubicBezTo>
                    <a:cubicBezTo>
                      <a:pt x="450" y="22"/>
                      <a:pt x="450" y="22"/>
                      <a:pt x="450" y="22"/>
                    </a:cubicBezTo>
                    <a:cubicBezTo>
                      <a:pt x="450" y="19"/>
                      <a:pt x="450" y="19"/>
                      <a:pt x="450" y="19"/>
                    </a:cubicBezTo>
                    <a:cubicBezTo>
                      <a:pt x="452" y="20"/>
                      <a:pt x="454" y="20"/>
                      <a:pt x="455" y="20"/>
                    </a:cubicBezTo>
                    <a:cubicBezTo>
                      <a:pt x="454" y="26"/>
                      <a:pt x="454" y="26"/>
                      <a:pt x="454" y="26"/>
                    </a:cubicBezTo>
                    <a:cubicBezTo>
                      <a:pt x="455" y="26"/>
                      <a:pt x="455" y="26"/>
                      <a:pt x="455" y="26"/>
                    </a:cubicBezTo>
                    <a:cubicBezTo>
                      <a:pt x="453" y="33"/>
                      <a:pt x="453" y="33"/>
                      <a:pt x="453" y="33"/>
                    </a:cubicBezTo>
                    <a:cubicBezTo>
                      <a:pt x="454" y="33"/>
                      <a:pt x="454" y="33"/>
                      <a:pt x="454" y="33"/>
                    </a:cubicBezTo>
                    <a:cubicBezTo>
                      <a:pt x="456" y="26"/>
                      <a:pt x="456" y="26"/>
                      <a:pt x="456" y="26"/>
                    </a:cubicBezTo>
                    <a:cubicBezTo>
                      <a:pt x="456" y="26"/>
                      <a:pt x="456" y="26"/>
                      <a:pt x="456" y="26"/>
                    </a:cubicBezTo>
                    <a:cubicBezTo>
                      <a:pt x="457" y="20"/>
                      <a:pt x="457" y="20"/>
                      <a:pt x="457" y="20"/>
                    </a:cubicBezTo>
                    <a:cubicBezTo>
                      <a:pt x="459" y="21"/>
                      <a:pt x="460" y="21"/>
                      <a:pt x="462" y="21"/>
                    </a:cubicBezTo>
                    <a:cubicBezTo>
                      <a:pt x="462" y="24"/>
                      <a:pt x="462" y="24"/>
                      <a:pt x="462" y="24"/>
                    </a:cubicBezTo>
                    <a:cubicBezTo>
                      <a:pt x="462" y="24"/>
                      <a:pt x="462" y="24"/>
                      <a:pt x="462" y="24"/>
                    </a:cubicBezTo>
                    <a:cubicBezTo>
                      <a:pt x="463" y="22"/>
                      <a:pt x="463" y="22"/>
                      <a:pt x="463" y="22"/>
                    </a:cubicBezTo>
                    <a:cubicBezTo>
                      <a:pt x="465" y="22"/>
                      <a:pt x="467" y="22"/>
                      <a:pt x="469" y="23"/>
                    </a:cubicBezTo>
                    <a:cubicBezTo>
                      <a:pt x="468" y="26"/>
                      <a:pt x="468" y="26"/>
                      <a:pt x="468" y="26"/>
                    </a:cubicBezTo>
                    <a:cubicBezTo>
                      <a:pt x="469" y="26"/>
                      <a:pt x="469" y="26"/>
                      <a:pt x="469" y="26"/>
                    </a:cubicBezTo>
                    <a:cubicBezTo>
                      <a:pt x="469" y="23"/>
                      <a:pt x="469" y="23"/>
                      <a:pt x="469" y="23"/>
                    </a:cubicBezTo>
                    <a:cubicBezTo>
                      <a:pt x="471" y="23"/>
                      <a:pt x="473" y="24"/>
                      <a:pt x="475" y="24"/>
                    </a:cubicBezTo>
                    <a:cubicBezTo>
                      <a:pt x="474" y="27"/>
                      <a:pt x="474" y="27"/>
                      <a:pt x="474" y="27"/>
                    </a:cubicBezTo>
                    <a:cubicBezTo>
                      <a:pt x="475" y="27"/>
                      <a:pt x="475" y="27"/>
                      <a:pt x="475" y="27"/>
                    </a:cubicBezTo>
                    <a:cubicBezTo>
                      <a:pt x="476" y="24"/>
                      <a:pt x="476" y="24"/>
                      <a:pt x="476" y="24"/>
                    </a:cubicBezTo>
                    <a:cubicBezTo>
                      <a:pt x="478" y="25"/>
                      <a:pt x="480" y="25"/>
                      <a:pt x="481" y="26"/>
                    </a:cubicBezTo>
                    <a:cubicBezTo>
                      <a:pt x="481" y="29"/>
                      <a:pt x="481" y="29"/>
                      <a:pt x="481" y="29"/>
                    </a:cubicBezTo>
                    <a:cubicBezTo>
                      <a:pt x="481" y="29"/>
                      <a:pt x="481" y="29"/>
                      <a:pt x="481" y="29"/>
                    </a:cubicBezTo>
                    <a:cubicBezTo>
                      <a:pt x="482" y="26"/>
                      <a:pt x="482" y="26"/>
                      <a:pt x="482" y="26"/>
                    </a:cubicBezTo>
                    <a:cubicBezTo>
                      <a:pt x="484" y="26"/>
                      <a:pt x="486" y="27"/>
                      <a:pt x="488" y="27"/>
                    </a:cubicBezTo>
                    <a:cubicBezTo>
                      <a:pt x="487" y="30"/>
                      <a:pt x="487" y="30"/>
                      <a:pt x="487" y="30"/>
                    </a:cubicBezTo>
                    <a:cubicBezTo>
                      <a:pt x="488" y="30"/>
                      <a:pt x="488" y="30"/>
                      <a:pt x="488" y="30"/>
                    </a:cubicBezTo>
                    <a:cubicBezTo>
                      <a:pt x="489" y="27"/>
                      <a:pt x="489" y="27"/>
                      <a:pt x="489" y="27"/>
                    </a:cubicBezTo>
                    <a:cubicBezTo>
                      <a:pt x="490" y="28"/>
                      <a:pt x="492" y="28"/>
                      <a:pt x="494" y="29"/>
                    </a:cubicBezTo>
                    <a:cubicBezTo>
                      <a:pt x="493" y="32"/>
                      <a:pt x="493" y="32"/>
                      <a:pt x="493" y="32"/>
                    </a:cubicBezTo>
                    <a:cubicBezTo>
                      <a:pt x="494" y="32"/>
                      <a:pt x="494" y="32"/>
                      <a:pt x="494" y="32"/>
                    </a:cubicBezTo>
                    <a:cubicBezTo>
                      <a:pt x="495" y="29"/>
                      <a:pt x="495" y="29"/>
                      <a:pt x="495" y="29"/>
                    </a:cubicBezTo>
                    <a:cubicBezTo>
                      <a:pt x="497" y="30"/>
                      <a:pt x="499" y="30"/>
                      <a:pt x="500" y="31"/>
                    </a:cubicBezTo>
                    <a:cubicBezTo>
                      <a:pt x="500" y="34"/>
                      <a:pt x="500" y="34"/>
                      <a:pt x="500" y="34"/>
                    </a:cubicBezTo>
                    <a:cubicBezTo>
                      <a:pt x="500" y="34"/>
                      <a:pt x="500" y="34"/>
                      <a:pt x="500" y="34"/>
                    </a:cubicBezTo>
                    <a:cubicBezTo>
                      <a:pt x="501" y="31"/>
                      <a:pt x="501" y="31"/>
                      <a:pt x="501" y="31"/>
                    </a:cubicBezTo>
                    <a:cubicBezTo>
                      <a:pt x="503" y="32"/>
                      <a:pt x="505" y="32"/>
                      <a:pt x="507" y="33"/>
                    </a:cubicBezTo>
                    <a:cubicBezTo>
                      <a:pt x="506" y="36"/>
                      <a:pt x="506" y="36"/>
                      <a:pt x="506" y="36"/>
                    </a:cubicBezTo>
                    <a:cubicBezTo>
                      <a:pt x="507" y="36"/>
                      <a:pt x="507" y="36"/>
                      <a:pt x="507" y="36"/>
                    </a:cubicBezTo>
                    <a:cubicBezTo>
                      <a:pt x="507" y="33"/>
                      <a:pt x="507" y="33"/>
                      <a:pt x="507" y="33"/>
                    </a:cubicBezTo>
                    <a:cubicBezTo>
                      <a:pt x="509" y="34"/>
                      <a:pt x="511" y="34"/>
                      <a:pt x="513" y="35"/>
                    </a:cubicBezTo>
                    <a:cubicBezTo>
                      <a:pt x="512" y="38"/>
                      <a:pt x="512" y="38"/>
                      <a:pt x="512" y="38"/>
                    </a:cubicBezTo>
                    <a:cubicBezTo>
                      <a:pt x="513" y="38"/>
                      <a:pt x="513" y="38"/>
                      <a:pt x="513" y="38"/>
                    </a:cubicBezTo>
                    <a:cubicBezTo>
                      <a:pt x="514" y="35"/>
                      <a:pt x="514" y="35"/>
                      <a:pt x="514" y="35"/>
                    </a:cubicBezTo>
                    <a:cubicBezTo>
                      <a:pt x="515" y="36"/>
                      <a:pt x="517" y="36"/>
                      <a:pt x="519" y="37"/>
                    </a:cubicBezTo>
                    <a:cubicBezTo>
                      <a:pt x="517" y="42"/>
                      <a:pt x="517" y="42"/>
                      <a:pt x="517" y="42"/>
                    </a:cubicBezTo>
                    <a:cubicBezTo>
                      <a:pt x="517" y="42"/>
                      <a:pt x="517" y="42"/>
                      <a:pt x="517" y="42"/>
                    </a:cubicBezTo>
                    <a:cubicBezTo>
                      <a:pt x="515" y="50"/>
                      <a:pt x="515" y="50"/>
                      <a:pt x="515" y="50"/>
                    </a:cubicBezTo>
                    <a:cubicBezTo>
                      <a:pt x="515" y="50"/>
                      <a:pt x="515" y="50"/>
                      <a:pt x="515" y="50"/>
                    </a:cubicBezTo>
                    <a:cubicBezTo>
                      <a:pt x="518" y="43"/>
                      <a:pt x="518" y="43"/>
                      <a:pt x="518" y="43"/>
                    </a:cubicBezTo>
                    <a:cubicBezTo>
                      <a:pt x="518" y="43"/>
                      <a:pt x="518" y="43"/>
                      <a:pt x="518" y="43"/>
                    </a:cubicBezTo>
                    <a:cubicBezTo>
                      <a:pt x="520" y="38"/>
                      <a:pt x="520" y="38"/>
                      <a:pt x="520" y="38"/>
                    </a:cubicBezTo>
                    <a:cubicBezTo>
                      <a:pt x="522" y="38"/>
                      <a:pt x="524" y="39"/>
                      <a:pt x="525" y="39"/>
                    </a:cubicBezTo>
                    <a:cubicBezTo>
                      <a:pt x="524" y="42"/>
                      <a:pt x="524" y="42"/>
                      <a:pt x="524" y="42"/>
                    </a:cubicBezTo>
                    <a:cubicBezTo>
                      <a:pt x="525" y="43"/>
                      <a:pt x="525" y="43"/>
                      <a:pt x="525" y="43"/>
                    </a:cubicBezTo>
                    <a:cubicBezTo>
                      <a:pt x="526" y="40"/>
                      <a:pt x="526" y="40"/>
                      <a:pt x="526" y="40"/>
                    </a:cubicBezTo>
                    <a:cubicBezTo>
                      <a:pt x="528" y="40"/>
                      <a:pt x="530" y="41"/>
                      <a:pt x="531" y="42"/>
                    </a:cubicBezTo>
                    <a:cubicBezTo>
                      <a:pt x="530" y="45"/>
                      <a:pt x="530" y="45"/>
                      <a:pt x="530" y="45"/>
                    </a:cubicBezTo>
                    <a:cubicBezTo>
                      <a:pt x="531" y="45"/>
                      <a:pt x="531" y="45"/>
                      <a:pt x="531" y="45"/>
                    </a:cubicBezTo>
                    <a:cubicBezTo>
                      <a:pt x="532" y="42"/>
                      <a:pt x="532" y="42"/>
                      <a:pt x="532" y="42"/>
                    </a:cubicBezTo>
                    <a:cubicBezTo>
                      <a:pt x="534" y="43"/>
                      <a:pt x="536" y="44"/>
                      <a:pt x="537" y="44"/>
                    </a:cubicBezTo>
                    <a:cubicBezTo>
                      <a:pt x="536" y="47"/>
                      <a:pt x="536" y="47"/>
                      <a:pt x="536" y="47"/>
                    </a:cubicBezTo>
                    <a:cubicBezTo>
                      <a:pt x="537" y="47"/>
                      <a:pt x="537" y="47"/>
                      <a:pt x="537" y="47"/>
                    </a:cubicBezTo>
                    <a:cubicBezTo>
                      <a:pt x="538" y="45"/>
                      <a:pt x="538" y="45"/>
                      <a:pt x="538" y="45"/>
                    </a:cubicBezTo>
                    <a:cubicBezTo>
                      <a:pt x="540" y="45"/>
                      <a:pt x="542" y="46"/>
                      <a:pt x="543" y="47"/>
                    </a:cubicBezTo>
                    <a:cubicBezTo>
                      <a:pt x="542" y="50"/>
                      <a:pt x="542" y="50"/>
                      <a:pt x="542" y="50"/>
                    </a:cubicBezTo>
                    <a:cubicBezTo>
                      <a:pt x="543" y="50"/>
                      <a:pt x="543" y="50"/>
                      <a:pt x="543" y="50"/>
                    </a:cubicBezTo>
                    <a:cubicBezTo>
                      <a:pt x="544" y="47"/>
                      <a:pt x="544" y="47"/>
                      <a:pt x="544" y="47"/>
                    </a:cubicBezTo>
                    <a:cubicBezTo>
                      <a:pt x="546" y="48"/>
                      <a:pt x="548" y="49"/>
                      <a:pt x="549" y="50"/>
                    </a:cubicBezTo>
                    <a:cubicBezTo>
                      <a:pt x="548" y="52"/>
                      <a:pt x="548" y="52"/>
                      <a:pt x="548" y="52"/>
                    </a:cubicBezTo>
                    <a:cubicBezTo>
                      <a:pt x="549" y="53"/>
                      <a:pt x="549" y="53"/>
                      <a:pt x="549" y="53"/>
                    </a:cubicBezTo>
                    <a:cubicBezTo>
                      <a:pt x="550" y="50"/>
                      <a:pt x="550" y="50"/>
                      <a:pt x="550" y="50"/>
                    </a:cubicBezTo>
                    <a:cubicBezTo>
                      <a:pt x="552" y="51"/>
                      <a:pt x="554" y="52"/>
                      <a:pt x="555" y="53"/>
                    </a:cubicBezTo>
                    <a:cubicBezTo>
                      <a:pt x="554" y="55"/>
                      <a:pt x="554" y="55"/>
                      <a:pt x="554" y="55"/>
                    </a:cubicBezTo>
                    <a:cubicBezTo>
                      <a:pt x="555" y="56"/>
                      <a:pt x="555" y="56"/>
                      <a:pt x="555" y="56"/>
                    </a:cubicBezTo>
                    <a:cubicBezTo>
                      <a:pt x="556" y="53"/>
                      <a:pt x="556" y="53"/>
                      <a:pt x="556" y="53"/>
                    </a:cubicBezTo>
                    <a:cubicBezTo>
                      <a:pt x="558" y="54"/>
                      <a:pt x="560" y="55"/>
                      <a:pt x="561" y="55"/>
                    </a:cubicBezTo>
                    <a:cubicBezTo>
                      <a:pt x="560" y="58"/>
                      <a:pt x="560" y="58"/>
                      <a:pt x="560" y="58"/>
                    </a:cubicBezTo>
                    <a:cubicBezTo>
                      <a:pt x="561" y="58"/>
                      <a:pt x="561" y="58"/>
                      <a:pt x="561" y="58"/>
                    </a:cubicBezTo>
                    <a:cubicBezTo>
                      <a:pt x="562" y="56"/>
                      <a:pt x="562" y="56"/>
                      <a:pt x="562" y="56"/>
                    </a:cubicBezTo>
                    <a:cubicBezTo>
                      <a:pt x="564" y="57"/>
                      <a:pt x="565" y="58"/>
                      <a:pt x="567" y="59"/>
                    </a:cubicBezTo>
                    <a:cubicBezTo>
                      <a:pt x="566" y="61"/>
                      <a:pt x="566" y="61"/>
                      <a:pt x="566" y="61"/>
                    </a:cubicBezTo>
                    <a:cubicBezTo>
                      <a:pt x="566" y="61"/>
                      <a:pt x="566" y="61"/>
                      <a:pt x="566" y="61"/>
                    </a:cubicBezTo>
                    <a:cubicBezTo>
                      <a:pt x="568" y="59"/>
                      <a:pt x="568" y="59"/>
                      <a:pt x="568" y="59"/>
                    </a:cubicBezTo>
                    <a:cubicBezTo>
                      <a:pt x="569" y="60"/>
                      <a:pt x="571" y="61"/>
                      <a:pt x="573" y="62"/>
                    </a:cubicBezTo>
                    <a:cubicBezTo>
                      <a:pt x="571" y="64"/>
                      <a:pt x="571" y="64"/>
                      <a:pt x="571" y="64"/>
                    </a:cubicBezTo>
                    <a:cubicBezTo>
                      <a:pt x="572" y="65"/>
                      <a:pt x="572" y="65"/>
                      <a:pt x="572" y="65"/>
                    </a:cubicBezTo>
                    <a:cubicBezTo>
                      <a:pt x="574" y="62"/>
                      <a:pt x="574" y="62"/>
                      <a:pt x="574" y="62"/>
                    </a:cubicBezTo>
                    <a:cubicBezTo>
                      <a:pt x="575" y="63"/>
                      <a:pt x="577" y="64"/>
                      <a:pt x="578" y="65"/>
                    </a:cubicBezTo>
                    <a:cubicBezTo>
                      <a:pt x="575" y="69"/>
                      <a:pt x="575" y="69"/>
                      <a:pt x="575" y="69"/>
                    </a:cubicBezTo>
                    <a:cubicBezTo>
                      <a:pt x="576" y="70"/>
                      <a:pt x="576" y="70"/>
                      <a:pt x="576" y="70"/>
                    </a:cubicBezTo>
                    <a:cubicBezTo>
                      <a:pt x="572" y="76"/>
                      <a:pt x="572" y="76"/>
                      <a:pt x="572" y="76"/>
                    </a:cubicBezTo>
                    <a:cubicBezTo>
                      <a:pt x="573" y="77"/>
                      <a:pt x="573" y="77"/>
                      <a:pt x="573" y="77"/>
                    </a:cubicBezTo>
                    <a:cubicBezTo>
                      <a:pt x="576" y="70"/>
                      <a:pt x="576" y="70"/>
                      <a:pt x="576" y="70"/>
                    </a:cubicBezTo>
                    <a:cubicBezTo>
                      <a:pt x="577" y="70"/>
                      <a:pt x="577" y="70"/>
                      <a:pt x="577" y="70"/>
                    </a:cubicBezTo>
                    <a:cubicBezTo>
                      <a:pt x="580" y="66"/>
                      <a:pt x="580" y="66"/>
                      <a:pt x="580" y="66"/>
                    </a:cubicBezTo>
                    <a:cubicBezTo>
                      <a:pt x="581" y="66"/>
                      <a:pt x="583" y="67"/>
                      <a:pt x="584" y="68"/>
                    </a:cubicBezTo>
                    <a:cubicBezTo>
                      <a:pt x="583" y="71"/>
                      <a:pt x="583" y="71"/>
                      <a:pt x="583" y="71"/>
                    </a:cubicBezTo>
                    <a:cubicBezTo>
                      <a:pt x="583" y="71"/>
                      <a:pt x="583" y="71"/>
                      <a:pt x="583" y="71"/>
                    </a:cubicBezTo>
                    <a:cubicBezTo>
                      <a:pt x="585" y="69"/>
                      <a:pt x="585" y="69"/>
                      <a:pt x="585" y="69"/>
                    </a:cubicBezTo>
                    <a:cubicBezTo>
                      <a:pt x="587" y="70"/>
                      <a:pt x="588" y="71"/>
                      <a:pt x="590" y="72"/>
                    </a:cubicBezTo>
                    <a:cubicBezTo>
                      <a:pt x="588" y="74"/>
                      <a:pt x="588" y="74"/>
                      <a:pt x="588" y="74"/>
                    </a:cubicBezTo>
                    <a:cubicBezTo>
                      <a:pt x="589" y="75"/>
                      <a:pt x="589" y="75"/>
                      <a:pt x="589" y="75"/>
                    </a:cubicBezTo>
                    <a:cubicBezTo>
                      <a:pt x="590" y="72"/>
                      <a:pt x="590" y="72"/>
                      <a:pt x="590" y="72"/>
                    </a:cubicBezTo>
                    <a:cubicBezTo>
                      <a:pt x="592" y="73"/>
                      <a:pt x="594" y="74"/>
                      <a:pt x="595" y="75"/>
                    </a:cubicBezTo>
                    <a:cubicBezTo>
                      <a:pt x="594" y="78"/>
                      <a:pt x="594" y="78"/>
                      <a:pt x="594" y="78"/>
                    </a:cubicBezTo>
                    <a:cubicBezTo>
                      <a:pt x="594" y="78"/>
                      <a:pt x="594" y="78"/>
                      <a:pt x="594" y="78"/>
                    </a:cubicBezTo>
                    <a:cubicBezTo>
                      <a:pt x="596" y="76"/>
                      <a:pt x="596" y="76"/>
                      <a:pt x="596" y="76"/>
                    </a:cubicBezTo>
                    <a:cubicBezTo>
                      <a:pt x="598" y="77"/>
                      <a:pt x="599" y="78"/>
                      <a:pt x="601" y="79"/>
                    </a:cubicBezTo>
                    <a:cubicBezTo>
                      <a:pt x="599" y="81"/>
                      <a:pt x="599" y="81"/>
                      <a:pt x="599" y="81"/>
                    </a:cubicBezTo>
                    <a:cubicBezTo>
                      <a:pt x="600" y="82"/>
                      <a:pt x="600" y="82"/>
                      <a:pt x="600" y="82"/>
                    </a:cubicBezTo>
                    <a:cubicBezTo>
                      <a:pt x="601" y="79"/>
                      <a:pt x="601" y="79"/>
                      <a:pt x="601" y="79"/>
                    </a:cubicBezTo>
                    <a:cubicBezTo>
                      <a:pt x="603" y="80"/>
                      <a:pt x="605" y="81"/>
                      <a:pt x="606" y="83"/>
                    </a:cubicBezTo>
                    <a:cubicBezTo>
                      <a:pt x="605" y="85"/>
                      <a:pt x="605" y="85"/>
                      <a:pt x="605" y="85"/>
                    </a:cubicBezTo>
                    <a:cubicBezTo>
                      <a:pt x="605" y="85"/>
                      <a:pt x="605" y="85"/>
                      <a:pt x="605" y="85"/>
                    </a:cubicBezTo>
                    <a:cubicBezTo>
                      <a:pt x="607" y="83"/>
                      <a:pt x="607" y="83"/>
                      <a:pt x="607" y="83"/>
                    </a:cubicBezTo>
                    <a:cubicBezTo>
                      <a:pt x="608" y="84"/>
                      <a:pt x="610" y="85"/>
                      <a:pt x="612" y="86"/>
                    </a:cubicBezTo>
                    <a:cubicBezTo>
                      <a:pt x="610" y="89"/>
                      <a:pt x="610" y="89"/>
                      <a:pt x="610" y="89"/>
                    </a:cubicBezTo>
                    <a:cubicBezTo>
                      <a:pt x="611" y="89"/>
                      <a:pt x="611" y="89"/>
                      <a:pt x="611" y="89"/>
                    </a:cubicBezTo>
                    <a:cubicBezTo>
                      <a:pt x="612" y="87"/>
                      <a:pt x="612" y="87"/>
                      <a:pt x="612" y="87"/>
                    </a:cubicBezTo>
                    <a:cubicBezTo>
                      <a:pt x="614" y="88"/>
                      <a:pt x="615" y="89"/>
                      <a:pt x="617" y="90"/>
                    </a:cubicBezTo>
                    <a:cubicBezTo>
                      <a:pt x="615" y="93"/>
                      <a:pt x="615" y="93"/>
                      <a:pt x="615" y="93"/>
                    </a:cubicBezTo>
                    <a:cubicBezTo>
                      <a:pt x="616" y="93"/>
                      <a:pt x="616" y="93"/>
                      <a:pt x="616" y="93"/>
                    </a:cubicBezTo>
                    <a:cubicBezTo>
                      <a:pt x="617" y="91"/>
                      <a:pt x="617" y="91"/>
                      <a:pt x="617" y="91"/>
                    </a:cubicBezTo>
                    <a:cubicBezTo>
                      <a:pt x="619" y="92"/>
                      <a:pt x="621" y="93"/>
                      <a:pt x="622" y="94"/>
                    </a:cubicBezTo>
                    <a:cubicBezTo>
                      <a:pt x="620" y="97"/>
                      <a:pt x="620" y="97"/>
                      <a:pt x="620" y="97"/>
                    </a:cubicBezTo>
                    <a:cubicBezTo>
                      <a:pt x="621" y="97"/>
                      <a:pt x="621" y="97"/>
                      <a:pt x="621" y="97"/>
                    </a:cubicBezTo>
                    <a:cubicBezTo>
                      <a:pt x="623" y="95"/>
                      <a:pt x="623" y="95"/>
                      <a:pt x="623" y="95"/>
                    </a:cubicBezTo>
                    <a:cubicBezTo>
                      <a:pt x="624" y="96"/>
                      <a:pt x="626" y="97"/>
                      <a:pt x="627" y="98"/>
                    </a:cubicBezTo>
                    <a:cubicBezTo>
                      <a:pt x="625" y="101"/>
                      <a:pt x="625" y="101"/>
                      <a:pt x="625" y="101"/>
                    </a:cubicBezTo>
                    <a:cubicBezTo>
                      <a:pt x="626" y="101"/>
                      <a:pt x="626" y="101"/>
                      <a:pt x="626" y="101"/>
                    </a:cubicBezTo>
                    <a:cubicBezTo>
                      <a:pt x="628" y="99"/>
                      <a:pt x="628" y="99"/>
                      <a:pt x="628" y="99"/>
                    </a:cubicBezTo>
                    <a:cubicBezTo>
                      <a:pt x="629" y="100"/>
                      <a:pt x="630" y="101"/>
                      <a:pt x="632" y="102"/>
                    </a:cubicBezTo>
                    <a:cubicBezTo>
                      <a:pt x="628" y="106"/>
                      <a:pt x="628" y="106"/>
                      <a:pt x="628" y="106"/>
                    </a:cubicBezTo>
                    <a:cubicBezTo>
                      <a:pt x="629" y="107"/>
                      <a:pt x="629" y="107"/>
                      <a:pt x="629" y="107"/>
                    </a:cubicBezTo>
                    <a:cubicBezTo>
                      <a:pt x="624" y="113"/>
                      <a:pt x="624" y="113"/>
                      <a:pt x="624" y="113"/>
                    </a:cubicBezTo>
                    <a:cubicBezTo>
                      <a:pt x="624" y="113"/>
                      <a:pt x="624" y="113"/>
                      <a:pt x="624" y="113"/>
                    </a:cubicBezTo>
                    <a:cubicBezTo>
                      <a:pt x="629" y="107"/>
                      <a:pt x="629" y="107"/>
                      <a:pt x="629" y="107"/>
                    </a:cubicBezTo>
                    <a:cubicBezTo>
                      <a:pt x="630" y="107"/>
                      <a:pt x="630" y="107"/>
                      <a:pt x="630" y="107"/>
                    </a:cubicBezTo>
                    <a:cubicBezTo>
                      <a:pt x="633" y="103"/>
                      <a:pt x="633" y="103"/>
                      <a:pt x="633" y="103"/>
                    </a:cubicBezTo>
                    <a:cubicBezTo>
                      <a:pt x="635" y="105"/>
                      <a:pt x="636" y="106"/>
                      <a:pt x="637" y="107"/>
                    </a:cubicBezTo>
                    <a:cubicBezTo>
                      <a:pt x="635" y="109"/>
                      <a:pt x="635" y="109"/>
                      <a:pt x="635" y="109"/>
                    </a:cubicBezTo>
                    <a:cubicBezTo>
                      <a:pt x="636" y="109"/>
                      <a:pt x="636" y="109"/>
                      <a:pt x="636" y="109"/>
                    </a:cubicBezTo>
                    <a:cubicBezTo>
                      <a:pt x="638" y="107"/>
                      <a:pt x="638" y="107"/>
                      <a:pt x="638" y="107"/>
                    </a:cubicBezTo>
                    <a:cubicBezTo>
                      <a:pt x="639" y="109"/>
                      <a:pt x="641" y="110"/>
                      <a:pt x="642" y="111"/>
                    </a:cubicBezTo>
                    <a:cubicBezTo>
                      <a:pt x="640" y="113"/>
                      <a:pt x="640" y="113"/>
                      <a:pt x="640" y="113"/>
                    </a:cubicBezTo>
                    <a:cubicBezTo>
                      <a:pt x="641" y="114"/>
                      <a:pt x="641" y="114"/>
                      <a:pt x="641" y="114"/>
                    </a:cubicBezTo>
                    <a:cubicBezTo>
                      <a:pt x="643" y="112"/>
                      <a:pt x="643" y="112"/>
                      <a:pt x="643" y="112"/>
                    </a:cubicBezTo>
                    <a:cubicBezTo>
                      <a:pt x="644" y="113"/>
                      <a:pt x="646" y="114"/>
                      <a:pt x="647" y="116"/>
                    </a:cubicBezTo>
                    <a:cubicBezTo>
                      <a:pt x="645" y="118"/>
                      <a:pt x="645" y="118"/>
                      <a:pt x="645" y="118"/>
                    </a:cubicBezTo>
                    <a:cubicBezTo>
                      <a:pt x="646" y="118"/>
                      <a:pt x="646" y="118"/>
                      <a:pt x="646" y="118"/>
                    </a:cubicBezTo>
                    <a:cubicBezTo>
                      <a:pt x="648" y="116"/>
                      <a:pt x="648" y="116"/>
                      <a:pt x="648" y="116"/>
                    </a:cubicBezTo>
                    <a:cubicBezTo>
                      <a:pt x="649" y="117"/>
                      <a:pt x="650" y="119"/>
                      <a:pt x="652" y="120"/>
                    </a:cubicBezTo>
                    <a:cubicBezTo>
                      <a:pt x="650" y="122"/>
                      <a:pt x="650" y="122"/>
                      <a:pt x="650" y="122"/>
                    </a:cubicBezTo>
                    <a:cubicBezTo>
                      <a:pt x="650" y="123"/>
                      <a:pt x="650" y="123"/>
                      <a:pt x="650" y="123"/>
                    </a:cubicBezTo>
                    <a:cubicBezTo>
                      <a:pt x="652" y="121"/>
                      <a:pt x="652" y="121"/>
                      <a:pt x="652" y="121"/>
                    </a:cubicBezTo>
                    <a:cubicBezTo>
                      <a:pt x="654" y="122"/>
                      <a:pt x="655" y="123"/>
                      <a:pt x="656" y="125"/>
                    </a:cubicBezTo>
                    <a:cubicBezTo>
                      <a:pt x="654" y="127"/>
                      <a:pt x="654" y="127"/>
                      <a:pt x="654" y="127"/>
                    </a:cubicBezTo>
                    <a:cubicBezTo>
                      <a:pt x="655" y="127"/>
                      <a:pt x="655" y="127"/>
                      <a:pt x="655" y="127"/>
                    </a:cubicBezTo>
                    <a:cubicBezTo>
                      <a:pt x="657" y="125"/>
                      <a:pt x="657" y="125"/>
                      <a:pt x="657" y="125"/>
                    </a:cubicBezTo>
                    <a:cubicBezTo>
                      <a:pt x="658" y="127"/>
                      <a:pt x="660" y="128"/>
                      <a:pt x="661" y="129"/>
                    </a:cubicBezTo>
                    <a:cubicBezTo>
                      <a:pt x="659" y="131"/>
                      <a:pt x="659" y="131"/>
                      <a:pt x="659" y="131"/>
                    </a:cubicBezTo>
                    <a:cubicBezTo>
                      <a:pt x="660" y="132"/>
                      <a:pt x="660" y="132"/>
                      <a:pt x="660" y="132"/>
                    </a:cubicBezTo>
                    <a:cubicBezTo>
                      <a:pt x="662" y="130"/>
                      <a:pt x="662" y="130"/>
                      <a:pt x="662" y="130"/>
                    </a:cubicBezTo>
                    <a:cubicBezTo>
                      <a:pt x="663" y="131"/>
                      <a:pt x="664" y="133"/>
                      <a:pt x="666" y="134"/>
                    </a:cubicBezTo>
                    <a:cubicBezTo>
                      <a:pt x="664" y="136"/>
                      <a:pt x="664" y="136"/>
                      <a:pt x="664" y="136"/>
                    </a:cubicBezTo>
                    <a:cubicBezTo>
                      <a:pt x="664" y="137"/>
                      <a:pt x="664" y="137"/>
                      <a:pt x="664" y="137"/>
                    </a:cubicBezTo>
                    <a:cubicBezTo>
                      <a:pt x="666" y="135"/>
                      <a:pt x="666" y="135"/>
                      <a:pt x="666" y="135"/>
                    </a:cubicBezTo>
                    <a:cubicBezTo>
                      <a:pt x="667" y="136"/>
                      <a:pt x="669" y="138"/>
                      <a:pt x="670" y="139"/>
                    </a:cubicBezTo>
                    <a:cubicBezTo>
                      <a:pt x="668" y="141"/>
                      <a:pt x="668" y="141"/>
                      <a:pt x="668" y="141"/>
                    </a:cubicBezTo>
                    <a:cubicBezTo>
                      <a:pt x="668" y="141"/>
                      <a:pt x="668" y="141"/>
                      <a:pt x="668" y="141"/>
                    </a:cubicBezTo>
                    <a:cubicBezTo>
                      <a:pt x="671" y="140"/>
                      <a:pt x="671" y="140"/>
                      <a:pt x="671" y="140"/>
                    </a:cubicBezTo>
                    <a:cubicBezTo>
                      <a:pt x="672" y="141"/>
                      <a:pt x="673" y="142"/>
                      <a:pt x="674" y="144"/>
                    </a:cubicBezTo>
                    <a:cubicBezTo>
                      <a:pt x="672" y="146"/>
                      <a:pt x="672" y="146"/>
                      <a:pt x="672" y="146"/>
                    </a:cubicBezTo>
                    <a:cubicBezTo>
                      <a:pt x="673" y="146"/>
                      <a:pt x="673" y="146"/>
                      <a:pt x="673" y="146"/>
                    </a:cubicBezTo>
                    <a:cubicBezTo>
                      <a:pt x="675" y="145"/>
                      <a:pt x="675" y="145"/>
                      <a:pt x="675" y="145"/>
                    </a:cubicBezTo>
                    <a:cubicBezTo>
                      <a:pt x="676" y="146"/>
                      <a:pt x="677" y="147"/>
                      <a:pt x="678" y="148"/>
                    </a:cubicBezTo>
                    <a:cubicBezTo>
                      <a:pt x="674" y="152"/>
                      <a:pt x="674" y="152"/>
                      <a:pt x="674" y="152"/>
                    </a:cubicBezTo>
                    <a:cubicBezTo>
                      <a:pt x="675" y="152"/>
                      <a:pt x="675" y="152"/>
                      <a:pt x="675" y="152"/>
                    </a:cubicBezTo>
                    <a:cubicBezTo>
                      <a:pt x="669" y="157"/>
                      <a:pt x="669" y="157"/>
                      <a:pt x="669" y="157"/>
                    </a:cubicBezTo>
                    <a:cubicBezTo>
                      <a:pt x="669" y="158"/>
                      <a:pt x="669" y="158"/>
                      <a:pt x="669" y="158"/>
                    </a:cubicBezTo>
                    <a:cubicBezTo>
                      <a:pt x="675" y="153"/>
                      <a:pt x="675" y="153"/>
                      <a:pt x="675" y="153"/>
                    </a:cubicBezTo>
                    <a:cubicBezTo>
                      <a:pt x="675" y="153"/>
                      <a:pt x="675" y="153"/>
                      <a:pt x="675" y="153"/>
                    </a:cubicBezTo>
                    <a:cubicBezTo>
                      <a:pt x="679" y="150"/>
                      <a:pt x="679" y="150"/>
                      <a:pt x="679" y="150"/>
                    </a:cubicBezTo>
                    <a:cubicBezTo>
                      <a:pt x="681" y="151"/>
                      <a:pt x="682" y="153"/>
                      <a:pt x="683" y="154"/>
                    </a:cubicBezTo>
                    <a:cubicBezTo>
                      <a:pt x="681" y="156"/>
                      <a:pt x="681" y="156"/>
                      <a:pt x="681" y="156"/>
                    </a:cubicBezTo>
                    <a:cubicBezTo>
                      <a:pt x="681" y="156"/>
                      <a:pt x="681" y="156"/>
                      <a:pt x="681" y="156"/>
                    </a:cubicBezTo>
                    <a:cubicBezTo>
                      <a:pt x="683" y="155"/>
                      <a:pt x="683" y="155"/>
                      <a:pt x="683" y="155"/>
                    </a:cubicBezTo>
                    <a:cubicBezTo>
                      <a:pt x="684" y="156"/>
                      <a:pt x="686" y="158"/>
                      <a:pt x="687" y="159"/>
                    </a:cubicBezTo>
                    <a:cubicBezTo>
                      <a:pt x="685" y="161"/>
                      <a:pt x="685" y="161"/>
                      <a:pt x="685" y="161"/>
                    </a:cubicBezTo>
                    <a:cubicBezTo>
                      <a:pt x="685" y="161"/>
                      <a:pt x="685" y="161"/>
                      <a:pt x="685" y="161"/>
                    </a:cubicBezTo>
                    <a:cubicBezTo>
                      <a:pt x="687" y="160"/>
                      <a:pt x="687" y="160"/>
                      <a:pt x="687" y="160"/>
                    </a:cubicBezTo>
                    <a:cubicBezTo>
                      <a:pt x="689" y="161"/>
                      <a:pt x="690" y="163"/>
                      <a:pt x="691" y="164"/>
                    </a:cubicBezTo>
                    <a:cubicBezTo>
                      <a:pt x="689" y="166"/>
                      <a:pt x="689" y="166"/>
                      <a:pt x="689" y="166"/>
                    </a:cubicBezTo>
                    <a:cubicBezTo>
                      <a:pt x="689" y="167"/>
                      <a:pt x="689" y="167"/>
                      <a:pt x="689" y="167"/>
                    </a:cubicBezTo>
                    <a:cubicBezTo>
                      <a:pt x="691" y="165"/>
                      <a:pt x="691" y="165"/>
                      <a:pt x="691" y="165"/>
                    </a:cubicBezTo>
                    <a:cubicBezTo>
                      <a:pt x="693" y="166"/>
                      <a:pt x="694" y="168"/>
                      <a:pt x="695" y="170"/>
                    </a:cubicBezTo>
                    <a:cubicBezTo>
                      <a:pt x="693" y="171"/>
                      <a:pt x="693" y="171"/>
                      <a:pt x="693" y="171"/>
                    </a:cubicBezTo>
                    <a:cubicBezTo>
                      <a:pt x="693" y="172"/>
                      <a:pt x="693" y="172"/>
                      <a:pt x="693" y="172"/>
                    </a:cubicBezTo>
                    <a:cubicBezTo>
                      <a:pt x="695" y="170"/>
                      <a:pt x="695" y="170"/>
                      <a:pt x="695" y="170"/>
                    </a:cubicBezTo>
                    <a:cubicBezTo>
                      <a:pt x="696" y="172"/>
                      <a:pt x="698" y="173"/>
                      <a:pt x="699" y="175"/>
                    </a:cubicBezTo>
                    <a:cubicBezTo>
                      <a:pt x="696" y="177"/>
                      <a:pt x="696" y="177"/>
                      <a:pt x="696" y="177"/>
                    </a:cubicBezTo>
                    <a:cubicBezTo>
                      <a:pt x="697" y="177"/>
                      <a:pt x="697" y="177"/>
                      <a:pt x="697" y="177"/>
                    </a:cubicBezTo>
                    <a:cubicBezTo>
                      <a:pt x="699" y="176"/>
                      <a:pt x="699" y="176"/>
                      <a:pt x="699" y="176"/>
                    </a:cubicBezTo>
                    <a:cubicBezTo>
                      <a:pt x="700" y="177"/>
                      <a:pt x="701" y="179"/>
                      <a:pt x="702" y="180"/>
                    </a:cubicBezTo>
                    <a:cubicBezTo>
                      <a:pt x="700" y="182"/>
                      <a:pt x="700" y="182"/>
                      <a:pt x="700" y="182"/>
                    </a:cubicBezTo>
                    <a:cubicBezTo>
                      <a:pt x="700" y="183"/>
                      <a:pt x="700" y="183"/>
                      <a:pt x="700" y="183"/>
                    </a:cubicBezTo>
                    <a:cubicBezTo>
                      <a:pt x="703" y="181"/>
                      <a:pt x="703" y="181"/>
                      <a:pt x="703" y="181"/>
                    </a:cubicBezTo>
                    <a:cubicBezTo>
                      <a:pt x="704" y="183"/>
                      <a:pt x="705" y="184"/>
                      <a:pt x="706" y="186"/>
                    </a:cubicBezTo>
                    <a:cubicBezTo>
                      <a:pt x="704" y="187"/>
                      <a:pt x="704" y="187"/>
                      <a:pt x="704" y="187"/>
                    </a:cubicBezTo>
                    <a:cubicBezTo>
                      <a:pt x="704" y="188"/>
                      <a:pt x="704" y="188"/>
                      <a:pt x="704" y="188"/>
                    </a:cubicBezTo>
                    <a:cubicBezTo>
                      <a:pt x="706" y="186"/>
                      <a:pt x="706" y="186"/>
                      <a:pt x="706" y="186"/>
                    </a:cubicBezTo>
                    <a:cubicBezTo>
                      <a:pt x="707" y="188"/>
                      <a:pt x="709" y="190"/>
                      <a:pt x="710" y="191"/>
                    </a:cubicBezTo>
                    <a:cubicBezTo>
                      <a:pt x="707" y="193"/>
                      <a:pt x="707" y="193"/>
                      <a:pt x="707" y="193"/>
                    </a:cubicBezTo>
                    <a:cubicBezTo>
                      <a:pt x="708" y="194"/>
                      <a:pt x="708" y="194"/>
                      <a:pt x="708" y="194"/>
                    </a:cubicBezTo>
                    <a:cubicBezTo>
                      <a:pt x="710" y="192"/>
                      <a:pt x="710" y="192"/>
                      <a:pt x="710" y="192"/>
                    </a:cubicBezTo>
                    <a:cubicBezTo>
                      <a:pt x="711" y="194"/>
                      <a:pt x="712" y="195"/>
                      <a:pt x="713" y="197"/>
                    </a:cubicBezTo>
                    <a:cubicBezTo>
                      <a:pt x="711" y="198"/>
                      <a:pt x="711" y="198"/>
                      <a:pt x="711" y="198"/>
                    </a:cubicBezTo>
                    <a:cubicBezTo>
                      <a:pt x="711" y="199"/>
                      <a:pt x="711" y="199"/>
                      <a:pt x="711" y="199"/>
                    </a:cubicBezTo>
                    <a:cubicBezTo>
                      <a:pt x="713" y="198"/>
                      <a:pt x="713" y="198"/>
                      <a:pt x="713" y="198"/>
                    </a:cubicBezTo>
                    <a:cubicBezTo>
                      <a:pt x="714" y="199"/>
                      <a:pt x="715" y="201"/>
                      <a:pt x="716" y="202"/>
                    </a:cubicBezTo>
                    <a:cubicBezTo>
                      <a:pt x="711" y="205"/>
                      <a:pt x="711" y="205"/>
                      <a:pt x="711" y="205"/>
                    </a:cubicBezTo>
                    <a:cubicBezTo>
                      <a:pt x="712" y="205"/>
                      <a:pt x="712" y="205"/>
                      <a:pt x="712" y="205"/>
                    </a:cubicBezTo>
                    <a:cubicBezTo>
                      <a:pt x="705" y="209"/>
                      <a:pt x="705" y="209"/>
                      <a:pt x="705" y="209"/>
                    </a:cubicBezTo>
                    <a:cubicBezTo>
                      <a:pt x="705" y="210"/>
                      <a:pt x="705" y="210"/>
                      <a:pt x="705" y="210"/>
                    </a:cubicBezTo>
                    <a:cubicBezTo>
                      <a:pt x="712" y="206"/>
                      <a:pt x="712" y="206"/>
                      <a:pt x="712" y="206"/>
                    </a:cubicBezTo>
                    <a:cubicBezTo>
                      <a:pt x="712" y="206"/>
                      <a:pt x="712" y="206"/>
                      <a:pt x="712" y="206"/>
                    </a:cubicBezTo>
                    <a:cubicBezTo>
                      <a:pt x="717" y="204"/>
                      <a:pt x="717" y="204"/>
                      <a:pt x="717" y="204"/>
                    </a:cubicBezTo>
                    <a:cubicBezTo>
                      <a:pt x="718" y="205"/>
                      <a:pt x="719" y="207"/>
                      <a:pt x="720" y="208"/>
                    </a:cubicBezTo>
                    <a:cubicBezTo>
                      <a:pt x="717" y="210"/>
                      <a:pt x="717" y="210"/>
                      <a:pt x="717" y="210"/>
                    </a:cubicBezTo>
                    <a:cubicBezTo>
                      <a:pt x="717" y="210"/>
                      <a:pt x="717" y="210"/>
                      <a:pt x="717" y="210"/>
                    </a:cubicBezTo>
                    <a:cubicBezTo>
                      <a:pt x="720" y="209"/>
                      <a:pt x="720" y="209"/>
                      <a:pt x="720" y="209"/>
                    </a:cubicBezTo>
                    <a:cubicBezTo>
                      <a:pt x="721" y="211"/>
                      <a:pt x="722" y="212"/>
                      <a:pt x="723" y="214"/>
                    </a:cubicBezTo>
                    <a:cubicBezTo>
                      <a:pt x="720" y="215"/>
                      <a:pt x="720" y="215"/>
                      <a:pt x="720" y="215"/>
                    </a:cubicBezTo>
                    <a:cubicBezTo>
                      <a:pt x="721" y="216"/>
                      <a:pt x="721" y="216"/>
                      <a:pt x="721" y="216"/>
                    </a:cubicBezTo>
                    <a:cubicBezTo>
                      <a:pt x="723" y="215"/>
                      <a:pt x="723" y="215"/>
                      <a:pt x="723" y="215"/>
                    </a:cubicBezTo>
                    <a:cubicBezTo>
                      <a:pt x="724" y="216"/>
                      <a:pt x="725" y="218"/>
                      <a:pt x="726" y="220"/>
                    </a:cubicBezTo>
                    <a:cubicBezTo>
                      <a:pt x="723" y="221"/>
                      <a:pt x="723" y="221"/>
                      <a:pt x="723" y="221"/>
                    </a:cubicBezTo>
                    <a:cubicBezTo>
                      <a:pt x="724" y="222"/>
                      <a:pt x="724" y="222"/>
                      <a:pt x="724" y="222"/>
                    </a:cubicBezTo>
                    <a:cubicBezTo>
                      <a:pt x="726" y="221"/>
                      <a:pt x="726" y="221"/>
                      <a:pt x="726" y="221"/>
                    </a:cubicBezTo>
                    <a:cubicBezTo>
                      <a:pt x="727" y="222"/>
                      <a:pt x="728" y="224"/>
                      <a:pt x="729" y="226"/>
                    </a:cubicBezTo>
                    <a:cubicBezTo>
                      <a:pt x="726" y="227"/>
                      <a:pt x="726" y="227"/>
                      <a:pt x="726" y="227"/>
                    </a:cubicBezTo>
                    <a:cubicBezTo>
                      <a:pt x="726" y="228"/>
                      <a:pt x="726" y="228"/>
                      <a:pt x="726" y="228"/>
                    </a:cubicBezTo>
                    <a:cubicBezTo>
                      <a:pt x="729" y="226"/>
                      <a:pt x="729" y="226"/>
                      <a:pt x="729" y="226"/>
                    </a:cubicBezTo>
                    <a:cubicBezTo>
                      <a:pt x="730" y="228"/>
                      <a:pt x="731" y="230"/>
                      <a:pt x="732" y="232"/>
                    </a:cubicBezTo>
                    <a:cubicBezTo>
                      <a:pt x="729" y="233"/>
                      <a:pt x="729" y="233"/>
                      <a:pt x="729" y="233"/>
                    </a:cubicBezTo>
                    <a:cubicBezTo>
                      <a:pt x="729" y="234"/>
                      <a:pt x="729" y="234"/>
                      <a:pt x="729" y="234"/>
                    </a:cubicBezTo>
                    <a:cubicBezTo>
                      <a:pt x="732" y="232"/>
                      <a:pt x="732" y="232"/>
                      <a:pt x="732" y="232"/>
                    </a:cubicBezTo>
                    <a:cubicBezTo>
                      <a:pt x="733" y="234"/>
                      <a:pt x="734" y="236"/>
                      <a:pt x="734" y="238"/>
                    </a:cubicBezTo>
                    <a:cubicBezTo>
                      <a:pt x="732" y="239"/>
                      <a:pt x="732" y="239"/>
                      <a:pt x="732" y="239"/>
                    </a:cubicBezTo>
                    <a:cubicBezTo>
                      <a:pt x="732" y="240"/>
                      <a:pt x="732" y="240"/>
                      <a:pt x="732" y="240"/>
                    </a:cubicBezTo>
                    <a:cubicBezTo>
                      <a:pt x="735" y="238"/>
                      <a:pt x="735" y="238"/>
                      <a:pt x="735" y="238"/>
                    </a:cubicBezTo>
                    <a:cubicBezTo>
                      <a:pt x="735" y="240"/>
                      <a:pt x="736" y="242"/>
                      <a:pt x="737" y="244"/>
                    </a:cubicBezTo>
                    <a:cubicBezTo>
                      <a:pt x="734" y="245"/>
                      <a:pt x="734" y="245"/>
                      <a:pt x="734" y="245"/>
                    </a:cubicBezTo>
                    <a:cubicBezTo>
                      <a:pt x="735" y="246"/>
                      <a:pt x="735" y="246"/>
                      <a:pt x="735" y="246"/>
                    </a:cubicBezTo>
                    <a:cubicBezTo>
                      <a:pt x="737" y="244"/>
                      <a:pt x="737" y="244"/>
                      <a:pt x="737" y="244"/>
                    </a:cubicBezTo>
                    <a:cubicBezTo>
                      <a:pt x="738" y="246"/>
                      <a:pt x="739" y="248"/>
                      <a:pt x="739" y="250"/>
                    </a:cubicBezTo>
                    <a:cubicBezTo>
                      <a:pt x="737" y="251"/>
                      <a:pt x="737" y="251"/>
                      <a:pt x="737" y="251"/>
                    </a:cubicBezTo>
                    <a:cubicBezTo>
                      <a:pt x="737" y="252"/>
                      <a:pt x="737" y="252"/>
                      <a:pt x="737" y="252"/>
                    </a:cubicBezTo>
                    <a:cubicBezTo>
                      <a:pt x="740" y="250"/>
                      <a:pt x="740" y="250"/>
                      <a:pt x="740" y="250"/>
                    </a:cubicBezTo>
                    <a:cubicBezTo>
                      <a:pt x="740" y="252"/>
                      <a:pt x="741" y="254"/>
                      <a:pt x="742" y="256"/>
                    </a:cubicBezTo>
                    <a:cubicBezTo>
                      <a:pt x="739" y="257"/>
                      <a:pt x="739" y="257"/>
                      <a:pt x="739" y="257"/>
                    </a:cubicBezTo>
                    <a:cubicBezTo>
                      <a:pt x="739" y="258"/>
                      <a:pt x="739" y="258"/>
                      <a:pt x="739" y="258"/>
                    </a:cubicBezTo>
                    <a:cubicBezTo>
                      <a:pt x="742" y="257"/>
                      <a:pt x="742" y="257"/>
                      <a:pt x="742" y="257"/>
                    </a:cubicBezTo>
                    <a:cubicBezTo>
                      <a:pt x="743" y="258"/>
                      <a:pt x="743" y="260"/>
                      <a:pt x="744" y="262"/>
                    </a:cubicBezTo>
                    <a:cubicBezTo>
                      <a:pt x="739" y="263"/>
                      <a:pt x="739" y="263"/>
                      <a:pt x="739" y="263"/>
                    </a:cubicBezTo>
                    <a:cubicBezTo>
                      <a:pt x="739" y="264"/>
                      <a:pt x="739" y="264"/>
                      <a:pt x="739" y="264"/>
                    </a:cubicBezTo>
                    <a:cubicBezTo>
                      <a:pt x="732" y="267"/>
                      <a:pt x="732" y="267"/>
                      <a:pt x="732" y="267"/>
                    </a:cubicBezTo>
                    <a:cubicBezTo>
                      <a:pt x="732" y="267"/>
                      <a:pt x="732" y="267"/>
                      <a:pt x="732" y="267"/>
                    </a:cubicBezTo>
                    <a:cubicBezTo>
                      <a:pt x="739" y="265"/>
                      <a:pt x="739" y="265"/>
                      <a:pt x="739" y="265"/>
                    </a:cubicBezTo>
                    <a:cubicBezTo>
                      <a:pt x="739" y="265"/>
                      <a:pt x="739" y="265"/>
                      <a:pt x="739" y="265"/>
                    </a:cubicBezTo>
                    <a:cubicBezTo>
                      <a:pt x="745" y="263"/>
                      <a:pt x="745" y="263"/>
                      <a:pt x="745" y="263"/>
                    </a:cubicBezTo>
                    <a:cubicBezTo>
                      <a:pt x="745" y="265"/>
                      <a:pt x="746" y="267"/>
                      <a:pt x="746" y="268"/>
                    </a:cubicBezTo>
                    <a:cubicBezTo>
                      <a:pt x="744" y="269"/>
                      <a:pt x="744" y="269"/>
                      <a:pt x="744" y="269"/>
                    </a:cubicBezTo>
                    <a:cubicBezTo>
                      <a:pt x="744" y="270"/>
                      <a:pt x="744" y="270"/>
                      <a:pt x="744" y="270"/>
                    </a:cubicBezTo>
                    <a:cubicBezTo>
                      <a:pt x="747" y="269"/>
                      <a:pt x="747" y="269"/>
                      <a:pt x="747" y="269"/>
                    </a:cubicBezTo>
                    <a:cubicBezTo>
                      <a:pt x="747" y="271"/>
                      <a:pt x="748" y="273"/>
                      <a:pt x="748" y="274"/>
                    </a:cubicBezTo>
                    <a:cubicBezTo>
                      <a:pt x="746" y="275"/>
                      <a:pt x="746" y="275"/>
                      <a:pt x="746" y="275"/>
                    </a:cubicBezTo>
                    <a:cubicBezTo>
                      <a:pt x="746" y="276"/>
                      <a:pt x="746" y="276"/>
                      <a:pt x="746" y="276"/>
                    </a:cubicBezTo>
                    <a:cubicBezTo>
                      <a:pt x="749" y="275"/>
                      <a:pt x="749" y="275"/>
                      <a:pt x="749" y="275"/>
                    </a:cubicBezTo>
                    <a:cubicBezTo>
                      <a:pt x="749" y="277"/>
                      <a:pt x="750" y="279"/>
                      <a:pt x="750" y="281"/>
                    </a:cubicBezTo>
                    <a:cubicBezTo>
                      <a:pt x="748" y="282"/>
                      <a:pt x="748" y="282"/>
                      <a:pt x="748" y="282"/>
                    </a:cubicBezTo>
                    <a:cubicBezTo>
                      <a:pt x="748" y="282"/>
                      <a:pt x="748" y="282"/>
                      <a:pt x="748" y="282"/>
                    </a:cubicBezTo>
                    <a:cubicBezTo>
                      <a:pt x="751" y="281"/>
                      <a:pt x="751" y="281"/>
                      <a:pt x="751" y="281"/>
                    </a:cubicBezTo>
                    <a:cubicBezTo>
                      <a:pt x="751" y="283"/>
                      <a:pt x="752" y="285"/>
                      <a:pt x="752" y="287"/>
                    </a:cubicBezTo>
                    <a:cubicBezTo>
                      <a:pt x="749" y="288"/>
                      <a:pt x="749" y="288"/>
                      <a:pt x="749" y="288"/>
                    </a:cubicBezTo>
                    <a:cubicBezTo>
                      <a:pt x="750" y="289"/>
                      <a:pt x="750" y="289"/>
                      <a:pt x="750" y="289"/>
                    </a:cubicBezTo>
                    <a:cubicBezTo>
                      <a:pt x="753" y="288"/>
                      <a:pt x="753" y="288"/>
                      <a:pt x="753" y="288"/>
                    </a:cubicBezTo>
                    <a:cubicBezTo>
                      <a:pt x="753" y="290"/>
                      <a:pt x="754" y="291"/>
                      <a:pt x="754" y="293"/>
                    </a:cubicBezTo>
                    <a:cubicBezTo>
                      <a:pt x="751" y="294"/>
                      <a:pt x="751" y="294"/>
                      <a:pt x="751" y="294"/>
                    </a:cubicBezTo>
                    <a:cubicBezTo>
                      <a:pt x="751" y="295"/>
                      <a:pt x="751" y="295"/>
                      <a:pt x="751" y="295"/>
                    </a:cubicBezTo>
                    <a:cubicBezTo>
                      <a:pt x="754" y="294"/>
                      <a:pt x="754" y="294"/>
                      <a:pt x="754" y="294"/>
                    </a:cubicBezTo>
                    <a:cubicBezTo>
                      <a:pt x="755" y="296"/>
                      <a:pt x="755" y="298"/>
                      <a:pt x="756" y="300"/>
                    </a:cubicBezTo>
                    <a:cubicBezTo>
                      <a:pt x="753" y="300"/>
                      <a:pt x="753" y="300"/>
                      <a:pt x="753" y="300"/>
                    </a:cubicBezTo>
                    <a:cubicBezTo>
                      <a:pt x="753" y="301"/>
                      <a:pt x="753" y="301"/>
                      <a:pt x="753" y="301"/>
                    </a:cubicBezTo>
                    <a:cubicBezTo>
                      <a:pt x="756" y="300"/>
                      <a:pt x="756" y="300"/>
                      <a:pt x="756" y="300"/>
                    </a:cubicBezTo>
                    <a:cubicBezTo>
                      <a:pt x="756" y="302"/>
                      <a:pt x="757" y="304"/>
                      <a:pt x="757" y="306"/>
                    </a:cubicBezTo>
                    <a:cubicBezTo>
                      <a:pt x="754" y="307"/>
                      <a:pt x="754" y="307"/>
                      <a:pt x="754" y="307"/>
                    </a:cubicBezTo>
                    <a:cubicBezTo>
                      <a:pt x="755" y="308"/>
                      <a:pt x="755" y="308"/>
                      <a:pt x="755" y="308"/>
                    </a:cubicBezTo>
                    <a:cubicBezTo>
                      <a:pt x="758" y="307"/>
                      <a:pt x="758" y="307"/>
                      <a:pt x="758" y="307"/>
                    </a:cubicBezTo>
                    <a:cubicBezTo>
                      <a:pt x="758" y="309"/>
                      <a:pt x="758" y="311"/>
                      <a:pt x="759" y="313"/>
                    </a:cubicBezTo>
                    <a:cubicBezTo>
                      <a:pt x="756" y="313"/>
                      <a:pt x="756" y="313"/>
                      <a:pt x="756" y="313"/>
                    </a:cubicBezTo>
                    <a:cubicBezTo>
                      <a:pt x="756" y="314"/>
                      <a:pt x="756" y="314"/>
                      <a:pt x="756" y="314"/>
                    </a:cubicBezTo>
                    <a:cubicBezTo>
                      <a:pt x="759" y="313"/>
                      <a:pt x="759" y="313"/>
                      <a:pt x="759" y="313"/>
                    </a:cubicBezTo>
                    <a:cubicBezTo>
                      <a:pt x="759" y="315"/>
                      <a:pt x="760" y="317"/>
                      <a:pt x="760" y="319"/>
                    </a:cubicBezTo>
                    <a:cubicBezTo>
                      <a:pt x="757" y="320"/>
                      <a:pt x="757" y="320"/>
                      <a:pt x="757" y="320"/>
                    </a:cubicBezTo>
                    <a:cubicBezTo>
                      <a:pt x="757" y="320"/>
                      <a:pt x="757" y="320"/>
                      <a:pt x="757" y="320"/>
                    </a:cubicBezTo>
                    <a:cubicBezTo>
                      <a:pt x="760" y="320"/>
                      <a:pt x="760" y="320"/>
                      <a:pt x="760" y="320"/>
                    </a:cubicBezTo>
                    <a:cubicBezTo>
                      <a:pt x="761" y="321"/>
                      <a:pt x="761" y="323"/>
                      <a:pt x="761" y="325"/>
                    </a:cubicBezTo>
                    <a:cubicBezTo>
                      <a:pt x="756" y="326"/>
                      <a:pt x="756" y="326"/>
                      <a:pt x="756" y="326"/>
                    </a:cubicBezTo>
                    <a:cubicBezTo>
                      <a:pt x="756" y="326"/>
                      <a:pt x="756" y="326"/>
                      <a:pt x="756" y="326"/>
                    </a:cubicBezTo>
                    <a:cubicBezTo>
                      <a:pt x="748" y="328"/>
                      <a:pt x="748" y="328"/>
                      <a:pt x="748" y="328"/>
                    </a:cubicBezTo>
                    <a:cubicBezTo>
                      <a:pt x="748" y="328"/>
                      <a:pt x="748" y="328"/>
                      <a:pt x="748" y="328"/>
                    </a:cubicBezTo>
                    <a:cubicBezTo>
                      <a:pt x="756" y="327"/>
                      <a:pt x="756" y="327"/>
                      <a:pt x="756" y="327"/>
                    </a:cubicBezTo>
                    <a:cubicBezTo>
                      <a:pt x="756" y="328"/>
                      <a:pt x="756" y="328"/>
                      <a:pt x="756" y="328"/>
                    </a:cubicBezTo>
                    <a:cubicBezTo>
                      <a:pt x="761" y="327"/>
                      <a:pt x="761" y="327"/>
                      <a:pt x="761" y="327"/>
                    </a:cubicBezTo>
                    <a:cubicBezTo>
                      <a:pt x="762" y="328"/>
                      <a:pt x="762" y="330"/>
                      <a:pt x="762" y="332"/>
                    </a:cubicBezTo>
                    <a:cubicBezTo>
                      <a:pt x="759" y="332"/>
                      <a:pt x="759" y="332"/>
                      <a:pt x="759" y="332"/>
                    </a:cubicBezTo>
                    <a:cubicBezTo>
                      <a:pt x="759" y="333"/>
                      <a:pt x="759" y="333"/>
                      <a:pt x="759" y="333"/>
                    </a:cubicBezTo>
                    <a:cubicBezTo>
                      <a:pt x="762" y="333"/>
                      <a:pt x="762" y="333"/>
                      <a:pt x="762" y="333"/>
                    </a:cubicBezTo>
                    <a:cubicBezTo>
                      <a:pt x="763" y="335"/>
                      <a:pt x="763" y="336"/>
                      <a:pt x="763" y="338"/>
                    </a:cubicBezTo>
                    <a:cubicBezTo>
                      <a:pt x="760" y="339"/>
                      <a:pt x="760" y="339"/>
                      <a:pt x="760" y="339"/>
                    </a:cubicBezTo>
                    <a:cubicBezTo>
                      <a:pt x="760" y="340"/>
                      <a:pt x="760" y="340"/>
                      <a:pt x="760" y="340"/>
                    </a:cubicBezTo>
                    <a:cubicBezTo>
                      <a:pt x="763" y="339"/>
                      <a:pt x="763" y="339"/>
                      <a:pt x="763" y="339"/>
                    </a:cubicBezTo>
                    <a:cubicBezTo>
                      <a:pt x="764" y="341"/>
                      <a:pt x="764" y="343"/>
                      <a:pt x="764" y="345"/>
                    </a:cubicBezTo>
                    <a:cubicBezTo>
                      <a:pt x="761" y="345"/>
                      <a:pt x="761" y="345"/>
                      <a:pt x="761" y="345"/>
                    </a:cubicBezTo>
                    <a:cubicBezTo>
                      <a:pt x="761" y="346"/>
                      <a:pt x="761" y="346"/>
                      <a:pt x="761" y="346"/>
                    </a:cubicBezTo>
                    <a:cubicBezTo>
                      <a:pt x="764" y="346"/>
                      <a:pt x="764" y="346"/>
                      <a:pt x="764" y="346"/>
                    </a:cubicBezTo>
                    <a:cubicBezTo>
                      <a:pt x="765" y="348"/>
                      <a:pt x="765" y="350"/>
                      <a:pt x="765" y="351"/>
                    </a:cubicBezTo>
                    <a:cubicBezTo>
                      <a:pt x="762" y="352"/>
                      <a:pt x="762" y="352"/>
                      <a:pt x="762" y="352"/>
                    </a:cubicBezTo>
                    <a:cubicBezTo>
                      <a:pt x="762" y="353"/>
                      <a:pt x="762" y="353"/>
                      <a:pt x="762" y="353"/>
                    </a:cubicBezTo>
                    <a:cubicBezTo>
                      <a:pt x="765" y="352"/>
                      <a:pt x="765" y="352"/>
                      <a:pt x="765" y="352"/>
                    </a:cubicBezTo>
                    <a:cubicBezTo>
                      <a:pt x="765" y="354"/>
                      <a:pt x="765" y="356"/>
                      <a:pt x="766" y="358"/>
                    </a:cubicBezTo>
                    <a:cubicBezTo>
                      <a:pt x="763" y="358"/>
                      <a:pt x="763" y="358"/>
                      <a:pt x="763" y="358"/>
                    </a:cubicBezTo>
                    <a:cubicBezTo>
                      <a:pt x="763" y="359"/>
                      <a:pt x="763" y="359"/>
                      <a:pt x="763" y="359"/>
                    </a:cubicBezTo>
                    <a:cubicBezTo>
                      <a:pt x="766" y="359"/>
                      <a:pt x="766" y="359"/>
                      <a:pt x="766" y="359"/>
                    </a:cubicBezTo>
                    <a:cubicBezTo>
                      <a:pt x="766" y="361"/>
                      <a:pt x="766" y="363"/>
                      <a:pt x="766" y="365"/>
                    </a:cubicBezTo>
                    <a:cubicBezTo>
                      <a:pt x="763" y="365"/>
                      <a:pt x="763" y="365"/>
                      <a:pt x="763" y="365"/>
                    </a:cubicBezTo>
                    <a:cubicBezTo>
                      <a:pt x="763" y="366"/>
                      <a:pt x="763" y="366"/>
                      <a:pt x="763" y="366"/>
                    </a:cubicBezTo>
                    <a:cubicBezTo>
                      <a:pt x="766" y="365"/>
                      <a:pt x="766" y="365"/>
                      <a:pt x="766" y="365"/>
                    </a:cubicBezTo>
                    <a:cubicBezTo>
                      <a:pt x="766" y="367"/>
                      <a:pt x="766" y="369"/>
                      <a:pt x="766" y="371"/>
                    </a:cubicBezTo>
                    <a:cubicBezTo>
                      <a:pt x="763" y="371"/>
                      <a:pt x="763" y="371"/>
                      <a:pt x="763" y="371"/>
                    </a:cubicBezTo>
                    <a:cubicBezTo>
                      <a:pt x="764" y="372"/>
                      <a:pt x="764" y="372"/>
                      <a:pt x="764" y="372"/>
                    </a:cubicBezTo>
                    <a:cubicBezTo>
                      <a:pt x="767" y="372"/>
                      <a:pt x="767" y="372"/>
                      <a:pt x="767" y="372"/>
                    </a:cubicBezTo>
                    <a:cubicBezTo>
                      <a:pt x="767" y="374"/>
                      <a:pt x="767" y="376"/>
                      <a:pt x="767" y="378"/>
                    </a:cubicBezTo>
                    <a:cubicBezTo>
                      <a:pt x="764" y="378"/>
                      <a:pt x="764" y="378"/>
                      <a:pt x="764" y="378"/>
                    </a:cubicBezTo>
                    <a:cubicBezTo>
                      <a:pt x="764" y="379"/>
                      <a:pt x="764" y="379"/>
                      <a:pt x="764" y="379"/>
                    </a:cubicBezTo>
                    <a:cubicBezTo>
                      <a:pt x="767" y="378"/>
                      <a:pt x="767" y="378"/>
                      <a:pt x="767" y="378"/>
                    </a:cubicBezTo>
                    <a:cubicBezTo>
                      <a:pt x="767" y="380"/>
                      <a:pt x="767" y="382"/>
                      <a:pt x="767" y="384"/>
                    </a:cubicBezTo>
                    <a:cubicBezTo>
                      <a:pt x="764" y="384"/>
                      <a:pt x="764" y="384"/>
                      <a:pt x="764" y="384"/>
                    </a:cubicBezTo>
                    <a:cubicBezTo>
                      <a:pt x="764" y="385"/>
                      <a:pt x="764" y="385"/>
                      <a:pt x="764" y="385"/>
                    </a:cubicBezTo>
                    <a:cubicBezTo>
                      <a:pt x="767" y="385"/>
                      <a:pt x="767" y="385"/>
                      <a:pt x="767" y="385"/>
                    </a:cubicBezTo>
                    <a:cubicBezTo>
                      <a:pt x="767" y="387"/>
                      <a:pt x="767" y="389"/>
                      <a:pt x="767" y="390"/>
                    </a:cubicBezTo>
                    <a:cubicBezTo>
                      <a:pt x="762" y="390"/>
                      <a:pt x="762" y="390"/>
                      <a:pt x="762" y="390"/>
                    </a:cubicBezTo>
                    <a:cubicBezTo>
                      <a:pt x="762" y="391"/>
                      <a:pt x="762" y="391"/>
                      <a:pt x="762" y="391"/>
                    </a:cubicBezTo>
                    <a:cubicBezTo>
                      <a:pt x="754" y="391"/>
                      <a:pt x="754" y="391"/>
                      <a:pt x="754" y="391"/>
                    </a:cubicBezTo>
                    <a:cubicBezTo>
                      <a:pt x="754" y="392"/>
                      <a:pt x="754" y="392"/>
                      <a:pt x="754" y="392"/>
                    </a:cubicBezTo>
                    <a:cubicBezTo>
                      <a:pt x="762" y="392"/>
                      <a:pt x="762" y="392"/>
                      <a:pt x="762" y="392"/>
                    </a:cubicBezTo>
                    <a:cubicBezTo>
                      <a:pt x="762" y="392"/>
                      <a:pt x="762" y="392"/>
                      <a:pt x="762" y="392"/>
                    </a:cubicBezTo>
                    <a:cubicBezTo>
                      <a:pt x="767" y="392"/>
                      <a:pt x="767" y="392"/>
                      <a:pt x="767" y="392"/>
                    </a:cubicBezTo>
                    <a:cubicBezTo>
                      <a:pt x="767" y="394"/>
                      <a:pt x="767" y="396"/>
                      <a:pt x="767" y="397"/>
                    </a:cubicBezTo>
                    <a:close/>
                  </a:path>
                </a:pathLst>
              </a:custGeom>
              <a:solidFill>
                <a:srgbClr val="01AAE5"/>
              </a:solidFill>
              <a:ln>
                <a:noFill/>
              </a:ln>
              <a:extLst/>
            </p:spPr>
            <p:txBody>
              <a:bodyPr/>
              <a:lstStyle/>
              <a:p>
                <a:pPr eaLnBrk="1" hangingPunct="1">
                  <a:defRPr/>
                </a:pPr>
                <a:endParaRPr lang="zh-CN" altLang="en-US" sz="1050"/>
              </a:p>
            </p:txBody>
          </p:sp>
        </p:grpSp>
      </p:grpSp>
      <p:sp>
        <p:nvSpPr>
          <p:cNvPr id="5571" name="TextBox 5570"/>
          <p:cNvSpPr txBox="1"/>
          <p:nvPr/>
        </p:nvSpPr>
        <p:spPr>
          <a:xfrm>
            <a:off x="1993131" y="1386274"/>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1</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572" name="TextBox 5571"/>
          <p:cNvSpPr txBox="1"/>
          <p:nvPr/>
        </p:nvSpPr>
        <p:spPr>
          <a:xfrm>
            <a:off x="9556532" y="1386274"/>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3</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573" name="TextBox 5572"/>
          <p:cNvSpPr txBox="1"/>
          <p:nvPr/>
        </p:nvSpPr>
        <p:spPr>
          <a:xfrm>
            <a:off x="1992124" y="3947498"/>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2</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574" name="TextBox 5573"/>
          <p:cNvSpPr txBox="1"/>
          <p:nvPr/>
        </p:nvSpPr>
        <p:spPr>
          <a:xfrm>
            <a:off x="9563699" y="4087933"/>
            <a:ext cx="529798" cy="584775"/>
          </a:xfrm>
          <a:prstGeom prst="rect">
            <a:avLst/>
          </a:prstGeom>
          <a:noFill/>
        </p:spPr>
        <p:txBody>
          <a:bodyPr wrap="square" rtlCol="0">
            <a:spAutoFit/>
          </a:bodyPr>
          <a:lstStyle/>
          <a:p>
            <a:pPr algn="ctr"/>
            <a:r>
              <a:rPr lang="en-US" altLang="zh-CN" sz="3200" b="1" i="1"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4</a:t>
            </a:r>
            <a:endParaRPr lang="zh-CN" altLang="en-US" sz="3200" b="1" i="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575" name="TextBox 5574"/>
          <p:cNvSpPr txBox="1"/>
          <p:nvPr/>
        </p:nvSpPr>
        <p:spPr>
          <a:xfrm>
            <a:off x="1336433" y="1949757"/>
            <a:ext cx="1952842" cy="1600438"/>
          </a:xfrm>
          <a:prstGeom prst="rect">
            <a:avLst/>
          </a:prstGeom>
          <a:noFill/>
        </p:spPr>
        <p:txBody>
          <a:bodyPr wrap="square" rtlCol="0">
            <a:spAutoFit/>
          </a:bodyPr>
          <a:lstStyle/>
          <a:p>
            <a:r>
              <a:rPr lang="zh-CN" altLang="en-US" sz="1400" dirty="0" smtClean="0">
                <a:solidFill>
                  <a:schemeClr val="bg1"/>
                </a:solidFill>
              </a:rPr>
              <a:t>Strong current and weak current are </a:t>
            </a:r>
            <a:r>
              <a:rPr lang="zh-CN" altLang="en-US" sz="1400" dirty="0" smtClean="0">
                <a:solidFill>
                  <a:srgbClr val="00B050"/>
                </a:solidFill>
              </a:rPr>
              <a:t>compartment</a:t>
            </a:r>
            <a:r>
              <a:rPr lang="en-US" altLang="zh-CN" sz="1400" dirty="0" err="1" smtClean="0">
                <a:solidFill>
                  <a:srgbClr val="00B050"/>
                </a:solidFill>
              </a:rPr>
              <a:t>aliz</a:t>
            </a:r>
            <a:r>
              <a:rPr lang="zh-CN" altLang="en-US" sz="1400" dirty="0" smtClean="0">
                <a:solidFill>
                  <a:srgbClr val="00B050"/>
                </a:solidFill>
              </a:rPr>
              <a:t>ed</a:t>
            </a:r>
            <a:r>
              <a:rPr lang="zh-CN" altLang="en-US" sz="1400" dirty="0" smtClean="0">
                <a:solidFill>
                  <a:schemeClr val="bg1"/>
                </a:solidFill>
              </a:rPr>
              <a:t> to </a:t>
            </a:r>
            <a:r>
              <a:rPr lang="zh-CN" altLang="en-US" sz="1400" b="1" dirty="0" smtClean="0">
                <a:solidFill>
                  <a:srgbClr val="FFC000"/>
                </a:solidFill>
                <a:effectLst>
                  <a:outerShdw blurRad="38100" dist="38100" dir="2700000" algn="tl">
                    <a:srgbClr val="000000">
                      <a:alpha val="43137"/>
                    </a:srgbClr>
                  </a:outerShdw>
                </a:effectLst>
              </a:rPr>
              <a:t>reduce </a:t>
            </a:r>
            <a:r>
              <a:rPr lang="zh-CN" altLang="en-US" sz="1400" dirty="0">
                <a:solidFill>
                  <a:srgbClr val="00B050"/>
                </a:solidFill>
              </a:rPr>
              <a:t>weak-current</a:t>
            </a:r>
            <a:endParaRPr lang="zh-CN" altLang="en-US" sz="1400" b="1" dirty="0">
              <a:solidFill>
                <a:srgbClr val="00B050"/>
              </a:solidFill>
              <a:effectLst>
                <a:outerShdw blurRad="38100" dist="38100" dir="2700000" algn="tl">
                  <a:srgbClr val="000000">
                    <a:alpha val="43137"/>
                  </a:srgbClr>
                </a:outerShdw>
              </a:effectLst>
            </a:endParaRPr>
          </a:p>
          <a:p>
            <a:r>
              <a:rPr lang="zh-CN" altLang="en-US" sz="1400" b="1" dirty="0" smtClean="0">
                <a:solidFill>
                  <a:srgbClr val="FFC000"/>
                </a:solidFill>
                <a:effectLst>
                  <a:outerShdw blurRad="38100" dist="38100" dir="2700000" algn="tl">
                    <a:srgbClr val="000000">
                      <a:alpha val="43137"/>
                    </a:srgbClr>
                  </a:outerShdw>
                </a:effectLst>
              </a:rPr>
              <a:t>safety risks </a:t>
            </a:r>
            <a:r>
              <a:rPr lang="en-US" altLang="zh-CN" sz="1400" b="1" dirty="0" smtClean="0">
                <a:solidFill>
                  <a:srgbClr val="00B050"/>
                </a:solidFill>
                <a:effectLst>
                  <a:outerShdw blurRad="38100" dist="38100" dir="2700000" algn="tl">
                    <a:srgbClr val="000000">
                      <a:alpha val="43137"/>
                    </a:srgbClr>
                  </a:outerShdw>
                </a:effectLst>
              </a:rPr>
              <a:t>to </a:t>
            </a:r>
            <a:r>
              <a:rPr lang="zh-CN" altLang="en-US" sz="1400" dirty="0" smtClean="0">
                <a:solidFill>
                  <a:schemeClr val="bg1"/>
                </a:solidFill>
              </a:rPr>
              <a:t>maintenance personnel</a:t>
            </a:r>
            <a:endParaRPr lang="zh-CN" altLang="en-US" sz="1400" b="1" dirty="0">
              <a:solidFill>
                <a:srgbClr val="FFC000"/>
              </a:solidFill>
              <a:effectLst>
                <a:outerShdw blurRad="38100" dist="38100" dir="2700000" algn="tl">
                  <a:srgbClr val="000000">
                    <a:alpha val="43137"/>
                  </a:srgbClr>
                </a:outerShdw>
              </a:effectLst>
            </a:endParaRPr>
          </a:p>
        </p:txBody>
      </p:sp>
      <p:sp>
        <p:nvSpPr>
          <p:cNvPr id="5576" name="TextBox 5575"/>
          <p:cNvSpPr txBox="1"/>
          <p:nvPr/>
        </p:nvSpPr>
        <p:spPr>
          <a:xfrm>
            <a:off x="8905899" y="2018000"/>
            <a:ext cx="1872208" cy="1815882"/>
          </a:xfrm>
          <a:prstGeom prst="rect">
            <a:avLst/>
          </a:prstGeom>
          <a:noFill/>
        </p:spPr>
        <p:txBody>
          <a:bodyPr wrap="square" rtlCol="0">
            <a:spAutoFit/>
          </a:bodyPr>
          <a:lstStyle/>
          <a:p>
            <a:r>
              <a:rPr lang="zh-CN" altLang="en-US" sz="1400" dirty="0" smtClean="0">
                <a:solidFill>
                  <a:schemeClr val="bg1"/>
                </a:solidFill>
              </a:rPr>
              <a:t>PLC lamp controllers are maintained at the bottom of the lamp poles, without the need to work at </a:t>
            </a:r>
            <a:r>
              <a:rPr lang="en-US" altLang="zh-CN" sz="1400" dirty="0" smtClean="0">
                <a:solidFill>
                  <a:srgbClr val="00B050"/>
                </a:solidFill>
              </a:rPr>
              <a:t>risky </a:t>
            </a:r>
            <a:r>
              <a:rPr lang="zh-CN" altLang="en-US" sz="1400" dirty="0" smtClean="0">
                <a:solidFill>
                  <a:schemeClr val="bg1"/>
                </a:solidFill>
              </a:rPr>
              <a:t>heights, which is </a:t>
            </a:r>
            <a:r>
              <a:rPr lang="zh-CN" altLang="en-US" sz="1400" b="1" dirty="0" smtClean="0">
                <a:solidFill>
                  <a:srgbClr val="FFC000"/>
                </a:solidFill>
                <a:effectLst>
                  <a:outerShdw blurRad="38100" dist="38100" dir="2700000" algn="tl">
                    <a:srgbClr val="000000">
                      <a:alpha val="43137"/>
                    </a:srgbClr>
                  </a:outerShdw>
                </a:effectLst>
              </a:rPr>
              <a:t>more convenient</a:t>
            </a:r>
            <a:r>
              <a:rPr lang="en-US" altLang="zh-CN" sz="1400" b="1" dirty="0" smtClean="0">
                <a:solidFill>
                  <a:srgbClr val="FFC000"/>
                </a:solidFill>
                <a:effectLst>
                  <a:outerShdw blurRad="38100" dist="38100" dir="2700000" algn="tl">
                    <a:srgbClr val="000000">
                      <a:alpha val="43137"/>
                    </a:srgbClr>
                  </a:outerShdw>
                </a:effectLst>
              </a:rPr>
              <a:t>,</a:t>
            </a:r>
            <a:r>
              <a:rPr lang="zh-CN" altLang="en-US" sz="1400" b="1" dirty="0" smtClean="0">
                <a:solidFill>
                  <a:srgbClr val="FFC000"/>
                </a:solidFill>
                <a:effectLst>
                  <a:outerShdw blurRad="38100" dist="38100" dir="2700000" algn="tl">
                    <a:srgbClr val="000000">
                      <a:alpha val="43137"/>
                    </a:srgbClr>
                  </a:outerShdw>
                </a:effectLst>
              </a:rPr>
              <a:t> </a:t>
            </a:r>
            <a:r>
              <a:rPr lang="en-US" altLang="zh-CN" sz="1400" b="1" dirty="0" smtClean="0">
                <a:solidFill>
                  <a:srgbClr val="00B050"/>
                </a:solidFill>
                <a:effectLst>
                  <a:outerShdw blurRad="38100" dist="38100" dir="2700000" algn="tl">
                    <a:srgbClr val="000000">
                      <a:alpha val="43137"/>
                    </a:srgbClr>
                  </a:outerShdw>
                </a:effectLst>
              </a:rPr>
              <a:t>safe,</a:t>
            </a:r>
            <a:r>
              <a:rPr lang="en-US" altLang="zh-CN" sz="1400" b="1" dirty="0" smtClean="0">
                <a:solidFill>
                  <a:srgbClr val="FFC000"/>
                </a:solidFill>
                <a:effectLst>
                  <a:outerShdw blurRad="38100" dist="38100" dir="2700000" algn="tl">
                    <a:srgbClr val="000000">
                      <a:alpha val="43137"/>
                    </a:srgbClr>
                  </a:outerShdw>
                </a:effectLst>
              </a:rPr>
              <a:t> </a:t>
            </a:r>
            <a:r>
              <a:rPr lang="zh-CN" altLang="en-US" sz="1400" b="1" dirty="0" smtClean="0">
                <a:solidFill>
                  <a:srgbClr val="FFC000"/>
                </a:solidFill>
                <a:effectLst>
                  <a:outerShdw blurRad="38100" dist="38100" dir="2700000" algn="tl">
                    <a:srgbClr val="000000">
                      <a:alpha val="43137"/>
                    </a:srgbClr>
                  </a:outerShdw>
                </a:effectLst>
              </a:rPr>
              <a:t>and </a:t>
            </a:r>
            <a:r>
              <a:rPr lang="en-US" altLang="zh-CN" sz="1400" b="1" dirty="0" smtClean="0">
                <a:solidFill>
                  <a:srgbClr val="FFC000"/>
                </a:solidFill>
                <a:effectLst>
                  <a:outerShdw blurRad="38100" dist="38100" dir="2700000" algn="tl">
                    <a:srgbClr val="000000">
                      <a:alpha val="43137"/>
                    </a:srgbClr>
                  </a:outerShdw>
                </a:effectLst>
              </a:rPr>
              <a:t>secure</a:t>
            </a:r>
            <a:endParaRPr lang="zh-CN" altLang="en-US" sz="1400" b="1" dirty="0">
              <a:solidFill>
                <a:srgbClr val="00B050"/>
              </a:solidFill>
              <a:effectLst>
                <a:outerShdw blurRad="38100" dist="38100" dir="2700000" algn="tl">
                  <a:srgbClr val="000000">
                    <a:alpha val="43137"/>
                  </a:srgbClr>
                </a:outerShdw>
              </a:effectLst>
            </a:endParaRPr>
          </a:p>
        </p:txBody>
      </p:sp>
      <p:sp>
        <p:nvSpPr>
          <p:cNvPr id="5577" name="TextBox 5576"/>
          <p:cNvSpPr txBox="1"/>
          <p:nvPr/>
        </p:nvSpPr>
        <p:spPr>
          <a:xfrm>
            <a:off x="1345059" y="4556942"/>
            <a:ext cx="1872208" cy="1600438"/>
          </a:xfrm>
          <a:prstGeom prst="rect">
            <a:avLst/>
          </a:prstGeom>
          <a:noFill/>
        </p:spPr>
        <p:txBody>
          <a:bodyPr wrap="square" rtlCol="0">
            <a:spAutoFit/>
          </a:bodyPr>
          <a:lstStyle/>
          <a:p>
            <a:r>
              <a:rPr lang="zh-CN" altLang="en-US" sz="1400" dirty="0" smtClean="0">
                <a:solidFill>
                  <a:schemeClr val="bg1"/>
                </a:solidFill>
              </a:rPr>
              <a:t>The port of the weak-current compartment is reserved for expansion, and new business rollout of the lamp pole is</a:t>
            </a:r>
            <a:r>
              <a:rPr lang="zh-CN" altLang="en-US" sz="1400" b="1" dirty="0" smtClean="0">
                <a:solidFill>
                  <a:srgbClr val="FFC000"/>
                </a:solidFill>
                <a:effectLst>
                  <a:outerShdw blurRad="38100" dist="38100" dir="2700000" algn="tl">
                    <a:srgbClr val="000000">
                      <a:alpha val="43137"/>
                    </a:srgbClr>
                  </a:outerShdw>
                </a:effectLst>
              </a:rPr>
              <a:t> faster</a:t>
            </a:r>
            <a:endParaRPr lang="zh-CN" altLang="en-US" sz="1400" b="1" dirty="0">
              <a:solidFill>
                <a:srgbClr val="FFC000"/>
              </a:solidFill>
              <a:effectLst>
                <a:outerShdw blurRad="38100" dist="38100" dir="2700000" algn="tl">
                  <a:srgbClr val="000000">
                    <a:alpha val="43137"/>
                  </a:srgbClr>
                </a:outerShdw>
              </a:effectLst>
            </a:endParaRPr>
          </a:p>
        </p:txBody>
      </p:sp>
      <p:sp>
        <p:nvSpPr>
          <p:cNvPr id="5578" name="TextBox 5577"/>
          <p:cNvSpPr txBox="1"/>
          <p:nvPr/>
        </p:nvSpPr>
        <p:spPr>
          <a:xfrm>
            <a:off x="8906361" y="4703873"/>
            <a:ext cx="1872208" cy="1169551"/>
          </a:xfrm>
          <a:prstGeom prst="rect">
            <a:avLst/>
          </a:prstGeom>
          <a:noFill/>
        </p:spPr>
        <p:txBody>
          <a:bodyPr wrap="square" rtlCol="0">
            <a:spAutoFit/>
          </a:bodyPr>
          <a:lstStyle/>
          <a:p>
            <a:r>
              <a:rPr lang="zh-CN" altLang="en-US" sz="1400" dirty="0" smtClean="0">
                <a:solidFill>
                  <a:schemeClr val="bg1"/>
                </a:solidFill>
              </a:rPr>
              <a:t>Remote maintenance requires </a:t>
            </a:r>
            <a:r>
              <a:rPr lang="en-US" altLang="zh-CN" sz="1400" dirty="0" smtClean="0">
                <a:solidFill>
                  <a:srgbClr val="00B050"/>
                </a:solidFill>
              </a:rPr>
              <a:t>fewer</a:t>
            </a:r>
            <a:r>
              <a:rPr lang="en-US" altLang="zh-CN" sz="1400" dirty="0" smtClean="0">
                <a:solidFill>
                  <a:schemeClr val="bg1"/>
                </a:solidFill>
              </a:rPr>
              <a:t> </a:t>
            </a:r>
            <a:r>
              <a:rPr lang="zh-CN" altLang="en-US" sz="1400" dirty="0" smtClean="0">
                <a:solidFill>
                  <a:schemeClr val="bg1"/>
                </a:solidFill>
              </a:rPr>
              <a:t>maintenance personnel and </a:t>
            </a:r>
            <a:r>
              <a:rPr lang="zh-CN" altLang="en-US" sz="1400" b="1" dirty="0" smtClean="0">
                <a:solidFill>
                  <a:srgbClr val="FFC000"/>
                </a:solidFill>
                <a:effectLst>
                  <a:outerShdw blurRad="38100" dist="38100" dir="2700000" algn="tl">
                    <a:srgbClr val="000000">
                      <a:alpha val="43137"/>
                    </a:srgbClr>
                  </a:outerShdw>
                </a:effectLst>
              </a:rPr>
              <a:t>lower maintenance costs</a:t>
            </a:r>
            <a:endParaRPr lang="zh-CN" altLang="en-US" sz="1400" b="1" dirty="0">
              <a:solidFill>
                <a:srgbClr val="FFC000"/>
              </a:solidFill>
              <a:effectLst>
                <a:outerShdw blurRad="38100" dist="38100" dir="2700000" algn="tl">
                  <a:srgbClr val="000000">
                    <a:alpha val="43137"/>
                  </a:srgbClr>
                </a:outerShdw>
              </a:effectLst>
            </a:endParaRPr>
          </a:p>
        </p:txBody>
      </p:sp>
      <p:sp>
        <p:nvSpPr>
          <p:cNvPr id="34" name="矩形 33"/>
          <p:cNvSpPr/>
          <p:nvPr/>
        </p:nvSpPr>
        <p:spPr bwMode="auto">
          <a:xfrm>
            <a:off x="3685318" y="1054667"/>
            <a:ext cx="4284477" cy="5069139"/>
          </a:xfrm>
          <a:prstGeom prst="rect">
            <a:avLst/>
          </a:prstGeom>
          <a:solidFill>
            <a:schemeClr val="tx1">
              <a:alpha val="20000"/>
            </a:schemeClr>
          </a:solidFill>
          <a:ln>
            <a:gradFill flip="none" rotWithShape="1">
              <a:gsLst>
                <a:gs pos="0">
                  <a:schemeClr val="accent1">
                    <a:lumMod val="5000"/>
                    <a:lumOff val="95000"/>
                    <a:alpha val="80000"/>
                  </a:schemeClr>
                </a:gs>
                <a:gs pos="100000">
                  <a:schemeClr val="bg1">
                    <a:alpha val="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900"/>
          </a:p>
        </p:txBody>
      </p:sp>
      <p:sp>
        <p:nvSpPr>
          <p:cNvPr id="19" name="梯形 18"/>
          <p:cNvSpPr/>
          <p:nvPr/>
        </p:nvSpPr>
        <p:spPr>
          <a:xfrm>
            <a:off x="5448078" y="3433264"/>
            <a:ext cx="2261616" cy="233400"/>
          </a:xfrm>
          <a:prstGeom prst="trapezoid">
            <a:avLst>
              <a:gd name="adj" fmla="val 135325"/>
            </a:avLst>
          </a:prstGeom>
          <a:gradFill>
            <a:gsLst>
              <a:gs pos="0">
                <a:srgbClr val="4BF0F0">
                  <a:alpha val="0"/>
                </a:srgbClr>
              </a:gs>
              <a:gs pos="100000">
                <a:srgbClr val="0070C0">
                  <a:alpha val="32000"/>
                </a:srgbClr>
              </a:gs>
            </a:gsLst>
            <a:lin ang="5400000" scaled="0"/>
          </a:gradFill>
          <a:ln w="6350">
            <a:gradFill>
              <a:gsLst>
                <a:gs pos="0">
                  <a:srgbClr val="4BF0F0">
                    <a:alpha val="0"/>
                  </a:srgbClr>
                </a:gs>
                <a:gs pos="50000">
                  <a:srgbClr val="4BF0F0">
                    <a:alpha val="25000"/>
                  </a:srgbClr>
                </a:gs>
                <a:gs pos="100000">
                  <a:srgbClr val="4BF0F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82864" tIns="91432" rIns="182864" bIns="91432" anchor="ctr"/>
          <a:lstStyle/>
          <a:p>
            <a:pPr algn="ctr" eaLnBrk="1" hangingPunct="1">
              <a:defRPr/>
            </a:pPr>
            <a:endParaRPr lang="zh-CN" altLang="en-US" sz="2800" dirty="0"/>
          </a:p>
        </p:txBody>
      </p:sp>
      <p:pic>
        <p:nvPicPr>
          <p:cNvPr id="24" name="图片 8" descr="01"/>
          <p:cNvPicPr>
            <a:picLocks noChangeAspect="1" noChangeArrowheads="1"/>
          </p:cNvPicPr>
          <p:nvPr/>
        </p:nvPicPr>
        <p:blipFill>
          <a:blip r:embed="rId2" cstate="print"/>
          <a:srcRect/>
          <a:stretch>
            <a:fillRect/>
          </a:stretch>
        </p:blipFill>
        <p:spPr bwMode="auto">
          <a:xfrm rot="16200000">
            <a:off x="6742608" y="2863055"/>
            <a:ext cx="617939" cy="311912"/>
          </a:xfrm>
          <a:prstGeom prst="rect">
            <a:avLst/>
          </a:prstGeom>
          <a:noFill/>
          <a:effectLst>
            <a:glow rad="139700">
              <a:schemeClr val="accent1">
                <a:satMod val="175000"/>
                <a:alpha val="40000"/>
              </a:schemeClr>
            </a:glow>
          </a:effectLst>
        </p:spPr>
      </p:pic>
      <p:sp>
        <p:nvSpPr>
          <p:cNvPr id="27" name="TextBox 26"/>
          <p:cNvSpPr txBox="1"/>
          <p:nvPr/>
        </p:nvSpPr>
        <p:spPr>
          <a:xfrm>
            <a:off x="5647535" y="3255906"/>
            <a:ext cx="935841" cy="333331"/>
          </a:xfrm>
          <a:prstGeom prst="rect">
            <a:avLst/>
          </a:prstGeom>
          <a:noFill/>
        </p:spPr>
        <p:txBody>
          <a:bodyPr wrap="square" rtlCol="0">
            <a:spAutoFit/>
          </a:bodyPr>
          <a:lstStyle/>
          <a:p>
            <a:pPr algn="ctr"/>
            <a:r>
              <a:rPr lang="en-US" altLang="zh-CN" sz="1400" dirty="0" smtClean="0">
                <a:solidFill>
                  <a:schemeClr val="bg1"/>
                </a:solidFill>
              </a:rPr>
              <a:t>ONU</a:t>
            </a:r>
            <a:endParaRPr lang="zh-CN" altLang="en-US" sz="1400" dirty="0">
              <a:solidFill>
                <a:schemeClr val="bg1"/>
              </a:solidFill>
            </a:endParaRPr>
          </a:p>
        </p:txBody>
      </p:sp>
      <p:pic>
        <p:nvPicPr>
          <p:cNvPr id="28" name="图片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9820" y="2965369"/>
            <a:ext cx="681927" cy="233934"/>
          </a:xfrm>
          <a:prstGeom prst="rect">
            <a:avLst/>
          </a:prstGeom>
          <a:effectLst>
            <a:glow rad="139700">
              <a:schemeClr val="accent1">
                <a:satMod val="175000"/>
                <a:alpha val="40000"/>
              </a:schemeClr>
            </a:glow>
          </a:effectLst>
        </p:spPr>
      </p:pic>
      <p:sp>
        <p:nvSpPr>
          <p:cNvPr id="29" name="TextBox 28"/>
          <p:cNvSpPr txBox="1"/>
          <p:nvPr/>
        </p:nvSpPr>
        <p:spPr>
          <a:xfrm>
            <a:off x="5809555" y="2289955"/>
            <a:ext cx="1623137" cy="307777"/>
          </a:xfrm>
          <a:prstGeom prst="rect">
            <a:avLst/>
          </a:prstGeom>
          <a:noFill/>
        </p:spPr>
        <p:txBody>
          <a:bodyPr wrap="square" rtlCol="0">
            <a:spAutoFit/>
          </a:bodyPr>
          <a:lstStyle/>
          <a:p>
            <a:pPr algn="ctr"/>
            <a:r>
              <a:rPr lang="en-US" altLang="zh-CN" sz="1400" dirty="0" smtClean="0">
                <a:solidFill>
                  <a:schemeClr val="bg1"/>
                </a:solidFill>
              </a:rPr>
              <a:t>PLC</a:t>
            </a:r>
            <a:r>
              <a:rPr lang="zh-CN" altLang="en-US" sz="1400" dirty="0" smtClean="0">
                <a:solidFill>
                  <a:schemeClr val="bg1"/>
                </a:solidFill>
              </a:rPr>
              <a:t> lamp control</a:t>
            </a:r>
            <a:endParaRPr lang="zh-CN" altLang="en-US" sz="1400" dirty="0">
              <a:solidFill>
                <a:schemeClr val="bg1"/>
              </a:solidFill>
            </a:endParaRPr>
          </a:p>
        </p:txBody>
      </p:sp>
      <p:sp>
        <p:nvSpPr>
          <p:cNvPr id="30" name="TextBox 29"/>
          <p:cNvSpPr txBox="1"/>
          <p:nvPr/>
        </p:nvSpPr>
        <p:spPr>
          <a:xfrm>
            <a:off x="6583640" y="3277290"/>
            <a:ext cx="935841" cy="333331"/>
          </a:xfrm>
          <a:prstGeom prst="rect">
            <a:avLst/>
          </a:prstGeom>
          <a:noFill/>
        </p:spPr>
        <p:txBody>
          <a:bodyPr wrap="square" rtlCol="0">
            <a:spAutoFit/>
          </a:bodyPr>
          <a:lstStyle/>
          <a:p>
            <a:pPr algn="ctr"/>
            <a:r>
              <a:rPr lang="en-US" altLang="zh-CN" sz="1400" dirty="0" smtClean="0">
                <a:solidFill>
                  <a:schemeClr val="bg1"/>
                </a:solidFill>
              </a:rPr>
              <a:t>AR550C</a:t>
            </a:r>
            <a:endParaRPr lang="zh-CN" altLang="en-US" sz="1400" dirty="0">
              <a:solidFill>
                <a:schemeClr val="bg1"/>
              </a:solidFill>
            </a:endParaRPr>
          </a:p>
        </p:txBody>
      </p:sp>
      <p:pic>
        <p:nvPicPr>
          <p:cNvPr id="5579" name="Picture 2"/>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324095" y="1949023"/>
            <a:ext cx="565580" cy="302220"/>
          </a:xfrm>
          <a:prstGeom prst="rect">
            <a:avLst/>
          </a:prstGeom>
          <a:noFill/>
          <a:ln w="9525">
            <a:noFill/>
            <a:miter lim="800000"/>
            <a:headEnd/>
            <a:tailEnd/>
          </a:ln>
          <a:effectLst>
            <a:glow rad="101600">
              <a:schemeClr val="accent5">
                <a:satMod val="175000"/>
                <a:alpha val="40000"/>
              </a:schemeClr>
            </a:glow>
          </a:effectLst>
        </p:spPr>
      </p:pic>
      <p:sp>
        <p:nvSpPr>
          <p:cNvPr id="5581" name="矩形 5580"/>
          <p:cNvSpPr/>
          <p:nvPr/>
        </p:nvSpPr>
        <p:spPr>
          <a:xfrm>
            <a:off x="546489" y="226969"/>
            <a:ext cx="10879690" cy="954107"/>
          </a:xfrm>
          <a:prstGeom prst="rect">
            <a:avLst/>
          </a:prstGeom>
        </p:spPr>
        <p:txBody>
          <a:bodyPr wrap="square">
            <a:sp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r>
              <a:rPr lang="en-US" altLang="zh-CN"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mart Distribution Box</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nd</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Intelligent Power Distribution </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Ensur</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e</a:t>
            </a:r>
            <a:r>
              <a:rPr lang="en-US" altLang="zh-CN"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28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ersonal Safety</a:t>
            </a:r>
            <a:r>
              <a:rPr lang="en-US" altLang="zh-CN" sz="2800" b="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en-US" altLang="zh-CN" sz="28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nd </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More-</a:t>
            </a:r>
            <a:r>
              <a:rPr lang="en-US" altLang="zh-CN" sz="28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Convenient Maintenance</a:t>
            </a:r>
          </a:p>
        </p:txBody>
      </p:sp>
      <p:pic>
        <p:nvPicPr>
          <p:cNvPr id="4469" name="Picture 4" descr="北京通州.1971"/>
          <p:cNvPicPr>
            <a:picLocks noChangeAspect="1" noChangeArrowheads="1"/>
          </p:cNvPicPr>
          <p:nvPr/>
        </p:nvPicPr>
        <p:blipFill>
          <a:blip r:embed="rId5" cstate="print">
            <a:extLst>
              <a:ext uri="{28A0092B-C50C-407E-A947-70E740481C1C}">
                <a14:useLocalDpi xmlns:a14="http://schemas.microsoft.com/office/drawing/2010/main" val="0"/>
              </a:ext>
            </a:extLst>
          </a:blip>
          <a:srcRect l="47488" t="13013" r="37050" b="10396"/>
          <a:stretch>
            <a:fillRect/>
          </a:stretch>
        </p:blipFill>
        <p:spPr bwMode="auto">
          <a:xfrm>
            <a:off x="3899591" y="1440866"/>
            <a:ext cx="1460500" cy="443071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8" name="椭圆 37"/>
          <p:cNvSpPr/>
          <p:nvPr/>
        </p:nvSpPr>
        <p:spPr>
          <a:xfrm>
            <a:off x="4585419" y="4624327"/>
            <a:ext cx="272923" cy="272923"/>
          </a:xfrm>
          <a:prstGeom prst="ellipse">
            <a:avLst/>
          </a:prstGeom>
          <a:gradFill flip="none" rotWithShape="1">
            <a:gsLst>
              <a:gs pos="0">
                <a:srgbClr val="FFC000">
                  <a:shade val="30000"/>
                  <a:satMod val="115000"/>
                  <a:alpha val="0"/>
                </a:srgbClr>
              </a:gs>
              <a:gs pos="50000">
                <a:srgbClr val="FFC000">
                  <a:shade val="67500"/>
                  <a:satMod val="115000"/>
                </a:srgbClr>
              </a:gs>
              <a:gs pos="100000">
                <a:srgbClr val="FFC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3" name="肘形连接符 42"/>
          <p:cNvCxnSpPr>
            <a:stCxn id="11265" idx="1"/>
            <a:endCxn id="38" idx="6"/>
          </p:cNvCxnSpPr>
          <p:nvPr/>
        </p:nvCxnSpPr>
        <p:spPr>
          <a:xfrm rot="10800000">
            <a:off x="4858342" y="4760789"/>
            <a:ext cx="828138" cy="298594"/>
          </a:xfrm>
          <a:prstGeom prst="bentConnector3">
            <a:avLst>
              <a:gd name="adj1" fmla="val 50000"/>
            </a:avLst>
          </a:prstGeom>
          <a:ln>
            <a:solidFill>
              <a:srgbClr val="FFC000"/>
            </a:solidFill>
            <a:headEnd type="oval" w="med" len="med"/>
            <a:tailEnd type="triangle" w="med" len="med"/>
          </a:ln>
          <a:effectLst>
            <a:glow rad="101600">
              <a:schemeClr val="accent6">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11265" name="Picture 1"/>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686480" y="4312707"/>
            <a:ext cx="771147" cy="1493351"/>
          </a:xfrm>
          <a:prstGeom prst="rect">
            <a:avLst/>
          </a:prstGeom>
          <a:noFill/>
          <a:ln w="9525">
            <a:noFill/>
            <a:miter lim="800000"/>
            <a:headEnd/>
            <a:tailEnd/>
          </a:ln>
        </p:spPr>
      </p:pic>
      <p:cxnSp>
        <p:nvCxnSpPr>
          <p:cNvPr id="41" name="肘形连接符 40"/>
          <p:cNvCxnSpPr>
            <a:stCxn id="19" idx="2"/>
            <a:endCxn id="39" idx="0"/>
          </p:cNvCxnSpPr>
          <p:nvPr/>
        </p:nvCxnSpPr>
        <p:spPr>
          <a:xfrm rot="5400000">
            <a:off x="6037074" y="3750637"/>
            <a:ext cx="625786" cy="457841"/>
          </a:xfrm>
          <a:prstGeom prst="bentConnector3">
            <a:avLst>
              <a:gd name="adj1" fmla="val 50000"/>
            </a:avLst>
          </a:prstGeom>
          <a:ln>
            <a:solidFill>
              <a:srgbClr val="00B050"/>
            </a:solidFill>
            <a:headEnd type="diamond" w="med" len="med"/>
            <a:tailEnd type="triangle" w="med" len="med"/>
          </a:ln>
          <a:effectLst>
            <a:glow rad="635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347668" y="4393194"/>
            <a:ext cx="1338631" cy="461665"/>
          </a:xfrm>
          <a:prstGeom prst="rect">
            <a:avLst/>
          </a:prstGeom>
          <a:gradFill flip="none" rotWithShape="1">
            <a:gsLst>
              <a:gs pos="100000">
                <a:srgbClr val="00B050">
                  <a:shade val="30000"/>
                  <a:satMod val="115000"/>
                  <a:alpha val="0"/>
                </a:srgbClr>
              </a:gs>
              <a:gs pos="50000">
                <a:srgbClr val="00B050">
                  <a:shade val="67500"/>
                  <a:satMod val="115000"/>
                </a:srgbClr>
              </a:gs>
              <a:gs pos="100000">
                <a:srgbClr val="00B050">
                  <a:shade val="100000"/>
                  <a:satMod val="115000"/>
                </a:srgbClr>
              </a:gs>
            </a:gsLst>
            <a:path path="circle">
              <a:fillToRect l="50000" t="50000" r="50000" b="50000"/>
            </a:path>
            <a:tileRect/>
          </a:gradFill>
        </p:spPr>
        <p:txBody>
          <a:bodyPr wrap="square" rtlCol="0">
            <a:spAutoFit/>
          </a:bodyPr>
          <a:lstStyle/>
          <a:p>
            <a:pPr algn="ctr"/>
            <a:r>
              <a:rPr lang="zh-CN" altLang="en-US" sz="1200" b="1" dirty="0" smtClean="0">
                <a:solidFill>
                  <a:schemeClr val="bg1"/>
                </a:solidFill>
                <a:effectLst>
                  <a:outerShdw blurRad="38100" dist="38100" dir="2700000" algn="tl">
                    <a:srgbClr val="000000">
                      <a:alpha val="43137"/>
                    </a:srgbClr>
                  </a:outerShdw>
                </a:effectLst>
              </a:rPr>
              <a:t>Weak-current </a:t>
            </a:r>
            <a:r>
              <a:rPr lang="en-US" altLang="zh-CN" sz="1200" b="1" dirty="0" smtClean="0">
                <a:solidFill>
                  <a:srgbClr val="00B050"/>
                </a:solidFill>
                <a:effectLst>
                  <a:outerShdw blurRad="38100" dist="38100" dir="2700000" algn="tl">
                    <a:srgbClr val="000000">
                      <a:alpha val="43137"/>
                    </a:srgbClr>
                  </a:outerShdw>
                </a:effectLst>
              </a:rPr>
              <a:t>c</a:t>
            </a:r>
            <a:r>
              <a:rPr lang="zh-CN" altLang="en-US" sz="1200" b="1" dirty="0" smtClean="0">
                <a:solidFill>
                  <a:srgbClr val="00B050"/>
                </a:solidFill>
                <a:effectLst>
                  <a:outerShdw blurRad="38100" dist="38100" dir="2700000" algn="tl">
                    <a:srgbClr val="000000">
                      <a:alpha val="43137"/>
                    </a:srgbClr>
                  </a:outerShdw>
                </a:effectLst>
              </a:rPr>
              <a:t>ompartment</a:t>
            </a:r>
            <a:endParaRPr lang="zh-CN" altLang="en-US" sz="1200" b="1" dirty="0">
              <a:solidFill>
                <a:srgbClr val="00B050"/>
              </a:solidFill>
              <a:effectLst>
                <a:outerShdw blurRad="38100" dist="38100" dir="2700000" algn="tl">
                  <a:srgbClr val="000000">
                    <a:alpha val="43137"/>
                  </a:srgbClr>
                </a:outerShdw>
              </a:effectLst>
            </a:endParaRPr>
          </a:p>
        </p:txBody>
      </p:sp>
      <p:sp>
        <p:nvSpPr>
          <p:cNvPr id="17" name="TextBox 16"/>
          <p:cNvSpPr txBox="1"/>
          <p:nvPr/>
        </p:nvSpPr>
        <p:spPr>
          <a:xfrm>
            <a:off x="6341663" y="5274706"/>
            <a:ext cx="1338631" cy="461665"/>
          </a:xfrm>
          <a:prstGeom prst="rect">
            <a:avLst/>
          </a:prstGeom>
          <a:gradFill flip="none" rotWithShape="1">
            <a:gsLst>
              <a:gs pos="100000">
                <a:schemeClr val="accent6">
                  <a:lumMod val="75000"/>
                  <a:shade val="30000"/>
                  <a:satMod val="115000"/>
                  <a:alpha val="0"/>
                </a:schemeClr>
              </a:gs>
              <a:gs pos="50000">
                <a:schemeClr val="accent6">
                  <a:lumMod val="75000"/>
                  <a:shade val="67500"/>
                  <a:satMod val="115000"/>
                </a:schemeClr>
              </a:gs>
              <a:gs pos="100000">
                <a:schemeClr val="accent6">
                  <a:lumMod val="75000"/>
                  <a:shade val="100000"/>
                  <a:satMod val="115000"/>
                </a:schemeClr>
              </a:gs>
            </a:gsLst>
            <a:path path="circle">
              <a:fillToRect l="50000" t="50000" r="50000" b="50000"/>
            </a:path>
            <a:tileRect/>
          </a:gradFill>
        </p:spPr>
        <p:txBody>
          <a:bodyPr wrap="square" rtlCol="0">
            <a:spAutoFit/>
          </a:bodyPr>
          <a:lstStyle/>
          <a:p>
            <a:pPr algn="ctr"/>
            <a:r>
              <a:rPr lang="zh-CN" altLang="en-US" sz="1200" b="1" dirty="0" smtClean="0">
                <a:solidFill>
                  <a:schemeClr val="bg1"/>
                </a:solidFill>
                <a:effectLst>
                  <a:outerShdw blurRad="38100" dist="38100" dir="2700000" algn="tl">
                    <a:srgbClr val="000000">
                      <a:alpha val="43137"/>
                    </a:srgbClr>
                  </a:outerShdw>
                </a:effectLst>
              </a:rPr>
              <a:t>Strong-current </a:t>
            </a:r>
            <a:r>
              <a:rPr lang="en-US" altLang="zh-CN" sz="1200" b="1" dirty="0" smtClean="0">
                <a:solidFill>
                  <a:srgbClr val="00B050"/>
                </a:solidFill>
                <a:effectLst>
                  <a:outerShdw blurRad="38100" dist="38100" dir="2700000" algn="tl">
                    <a:srgbClr val="000000">
                      <a:alpha val="43137"/>
                    </a:srgbClr>
                  </a:outerShdw>
                </a:effectLst>
              </a:rPr>
              <a:t>c</a:t>
            </a:r>
            <a:r>
              <a:rPr lang="zh-CN" altLang="en-US" sz="1200" b="1" dirty="0" smtClean="0">
                <a:solidFill>
                  <a:srgbClr val="00B050"/>
                </a:solidFill>
                <a:effectLst>
                  <a:outerShdw blurRad="38100" dist="38100" dir="2700000" algn="tl">
                    <a:srgbClr val="000000">
                      <a:alpha val="43137"/>
                    </a:srgbClr>
                  </a:outerShdw>
                </a:effectLst>
              </a:rPr>
              <a:t>ompartment</a:t>
            </a:r>
            <a:endParaRPr lang="zh-CN" altLang="en-US" sz="1200" b="1" dirty="0">
              <a:solidFill>
                <a:srgbClr val="00B050"/>
              </a:solidFill>
              <a:effectLst>
                <a:outerShdw blurRad="38100" dist="38100" dir="2700000" algn="tl">
                  <a:srgbClr val="000000">
                    <a:alpha val="43137"/>
                  </a:srgbClr>
                </a:outerShdw>
              </a:effectLst>
            </a:endParaRPr>
          </a:p>
        </p:txBody>
      </p:sp>
      <p:sp>
        <p:nvSpPr>
          <p:cNvPr id="4472" name="矩形 4471"/>
          <p:cNvSpPr/>
          <p:nvPr/>
        </p:nvSpPr>
        <p:spPr>
          <a:xfrm>
            <a:off x="5867915" y="4437906"/>
            <a:ext cx="434175" cy="3582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5984584" y="4292450"/>
            <a:ext cx="272923" cy="272923"/>
          </a:xfrm>
          <a:prstGeom prst="ellipse">
            <a:avLst/>
          </a:prstGeom>
          <a:gradFill flip="none" rotWithShape="1">
            <a:gsLst>
              <a:gs pos="0">
                <a:srgbClr val="92D050">
                  <a:shade val="30000"/>
                  <a:satMod val="115000"/>
                  <a:alpha val="0"/>
                </a:srgbClr>
              </a:gs>
              <a:gs pos="50000">
                <a:srgbClr val="92D050">
                  <a:shade val="67500"/>
                  <a:satMod val="115000"/>
                </a:srgbClr>
              </a:gs>
              <a:gs pos="100000">
                <a:srgbClr val="92D05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3" name="矩形 4472"/>
          <p:cNvSpPr/>
          <p:nvPr/>
        </p:nvSpPr>
        <p:spPr>
          <a:xfrm>
            <a:off x="5881563" y="5276485"/>
            <a:ext cx="434175" cy="358261"/>
          </a:xfrm>
          <a:prstGeom prst="rect">
            <a:avLst/>
          </a:prstGeom>
          <a:noFill/>
          <a:ln w="571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fade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429"/>
          <p:cNvGrpSpPr/>
          <p:nvPr/>
        </p:nvGrpSpPr>
        <p:grpSpPr>
          <a:xfrm>
            <a:off x="1232288" y="1341562"/>
            <a:ext cx="2376265" cy="2160240"/>
            <a:chOff x="1273051" y="1341562"/>
            <a:chExt cx="2115021" cy="2160240"/>
          </a:xfrm>
        </p:grpSpPr>
        <p:sp>
          <p:nvSpPr>
            <p:cNvPr id="421" name="矩形 420"/>
            <p:cNvSpPr/>
            <p:nvPr/>
          </p:nvSpPr>
          <p:spPr>
            <a:xfrm>
              <a:off x="1273051" y="1341562"/>
              <a:ext cx="2115021" cy="2160240"/>
            </a:xfrm>
            <a:prstGeom prst="rect">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lin ang="10800000" scaled="1"/>
              <a:tileRect/>
            </a:gradFill>
            <a:ln>
              <a:noFill/>
            </a:ln>
            <a:scene3d>
              <a:camera prst="perspectiveHeroicExtremeLef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25" name="TextBox 424"/>
            <p:cNvSpPr txBox="1"/>
            <p:nvPr/>
          </p:nvSpPr>
          <p:spPr>
            <a:xfrm>
              <a:off x="1370671" y="1417638"/>
              <a:ext cx="1934139" cy="1938992"/>
            </a:xfrm>
            <a:prstGeom prst="rect">
              <a:avLst/>
            </a:prstGeom>
            <a:noFill/>
            <a:scene3d>
              <a:camera prst="perspectiveHeroicExtremeLeftFacing"/>
              <a:lightRig rig="threePt" dir="t"/>
            </a:scene3d>
          </p:spPr>
          <p:txBody>
            <a:bodyPr wrap="square" rtlCol="0">
              <a:spAutoFit/>
            </a:bodyPr>
            <a:lstStyle/>
            <a:p>
              <a:pPr algn="ctr"/>
              <a:r>
                <a:rPr lang="zh-CN" altLang="en-US" sz="1400" dirty="0" smtClean="0">
                  <a:solidFill>
                    <a:schemeClr val="bg1"/>
                  </a:solidFill>
                  <a:latin typeface="+mn-ea"/>
                </a:rPr>
                <a:t>Automatic deployment and centralized O&amp;M of ICT devices such as networks, storage devices, and servers </a:t>
              </a:r>
              <a:r>
                <a:rPr lang="zh-CN" altLang="en-US" sz="1800" b="1" dirty="0" smtClean="0">
                  <a:solidFill>
                    <a:srgbClr val="FFC000"/>
                  </a:solidFill>
                  <a:latin typeface="+mn-ea"/>
                </a:rPr>
                <a:t>reduce</a:t>
              </a:r>
              <a:r>
                <a:rPr lang="zh-CN" altLang="en-US" sz="1800" b="1" dirty="0" smtClean="0">
                  <a:solidFill>
                    <a:srgbClr val="00B050"/>
                  </a:solidFill>
                  <a:latin typeface="+mn-ea"/>
                </a:rPr>
                <a:t> </a:t>
              </a:r>
              <a:r>
                <a:rPr lang="zh-CN" altLang="en-US" sz="1400" dirty="0" smtClean="0">
                  <a:solidFill>
                    <a:schemeClr val="bg1"/>
                  </a:solidFill>
                  <a:latin typeface="+mn-ea"/>
                </a:rPr>
                <a:t>manpower </a:t>
              </a:r>
              <a:r>
                <a:rPr lang="en-US" altLang="zh-CN" sz="1400" dirty="0" smtClean="0">
                  <a:solidFill>
                    <a:srgbClr val="00B050"/>
                  </a:solidFill>
                  <a:latin typeface="+mn-ea"/>
                </a:rPr>
                <a:t>requirements</a:t>
              </a:r>
              <a:r>
                <a:rPr lang="zh-CN" altLang="en-US" sz="1400" dirty="0" smtClean="0">
                  <a:solidFill>
                    <a:srgbClr val="00B050"/>
                  </a:solidFill>
                  <a:latin typeface="+mn-ea"/>
                </a:rPr>
                <a:t> </a:t>
              </a:r>
              <a:r>
                <a:rPr lang="zh-CN" altLang="en-US" sz="1400" dirty="0" smtClean="0">
                  <a:solidFill>
                    <a:schemeClr val="bg1"/>
                  </a:solidFill>
                  <a:latin typeface="+mn-ea"/>
                </a:rPr>
                <a:t>and </a:t>
              </a:r>
              <a:r>
                <a:rPr lang="zh-CN" altLang="en-US" sz="1800" b="1" dirty="0" smtClean="0">
                  <a:solidFill>
                    <a:srgbClr val="FFC000"/>
                  </a:solidFill>
                  <a:latin typeface="+mn-ea"/>
                </a:rPr>
                <a:t>shorten</a:t>
              </a:r>
              <a:r>
                <a:rPr lang="zh-CN" altLang="en-US" sz="1800" b="1" dirty="0" smtClean="0">
                  <a:solidFill>
                    <a:srgbClr val="00B050"/>
                  </a:solidFill>
                  <a:latin typeface="+mn-ea"/>
                </a:rPr>
                <a:t> </a:t>
              </a:r>
              <a:r>
                <a:rPr lang="zh-CN" altLang="en-US" sz="1400" dirty="0" smtClean="0">
                  <a:solidFill>
                    <a:schemeClr val="bg1"/>
                  </a:solidFill>
                  <a:latin typeface="+mn-ea"/>
                </a:rPr>
                <a:t>fault time</a:t>
              </a:r>
              <a:endParaRPr lang="zh-CN" altLang="en-US" sz="1400" dirty="0">
                <a:solidFill>
                  <a:schemeClr val="bg1"/>
                </a:solidFill>
                <a:latin typeface="+mn-ea"/>
              </a:endParaRPr>
            </a:p>
          </p:txBody>
        </p:sp>
      </p:grpSp>
      <p:grpSp>
        <p:nvGrpSpPr>
          <p:cNvPr id="3" name="组合 431"/>
          <p:cNvGrpSpPr/>
          <p:nvPr/>
        </p:nvGrpSpPr>
        <p:grpSpPr>
          <a:xfrm>
            <a:off x="8550315" y="1343596"/>
            <a:ext cx="2575446" cy="2160240"/>
            <a:chOff x="8591078" y="1341562"/>
            <a:chExt cx="2115021" cy="2160240"/>
          </a:xfrm>
        </p:grpSpPr>
        <p:sp>
          <p:nvSpPr>
            <p:cNvPr id="423" name="矩形 422"/>
            <p:cNvSpPr/>
            <p:nvPr/>
          </p:nvSpPr>
          <p:spPr>
            <a:xfrm>
              <a:off x="8591078" y="1341562"/>
              <a:ext cx="2115021" cy="2160240"/>
            </a:xfrm>
            <a:prstGeom prst="rect">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lin ang="10800000" scaled="1"/>
              <a:tileRect/>
            </a:gradFill>
            <a:ln>
              <a:noFill/>
            </a:ln>
            <a:scene3d>
              <a:camera prst="perspectiveHeroicExtremeLef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27" name="TextBox 426"/>
            <p:cNvSpPr txBox="1"/>
            <p:nvPr/>
          </p:nvSpPr>
          <p:spPr>
            <a:xfrm>
              <a:off x="8857272" y="1425096"/>
              <a:ext cx="1702974" cy="1938992"/>
            </a:xfrm>
            <a:prstGeom prst="rect">
              <a:avLst/>
            </a:prstGeom>
            <a:noFill/>
            <a:scene3d>
              <a:camera prst="perspectiveHeroicExtremeLeftFacing"/>
              <a:lightRig rig="threePt" dir="t"/>
            </a:scene3d>
          </p:spPr>
          <p:txBody>
            <a:bodyPr wrap="square" rtlCol="0">
              <a:spAutoFit/>
            </a:bodyPr>
            <a:lstStyle/>
            <a:p>
              <a:pPr algn="ctr"/>
              <a:r>
                <a:rPr lang="zh-CN" altLang="en-US" sz="1400" dirty="0" smtClean="0">
                  <a:solidFill>
                    <a:schemeClr val="bg1"/>
                  </a:solidFill>
                  <a:latin typeface="+mn-ea"/>
                </a:rPr>
                <a:t>Unified management and </a:t>
              </a:r>
              <a:r>
                <a:rPr lang="en-US" altLang="zh-CN" sz="1400" dirty="0" smtClean="0">
                  <a:solidFill>
                    <a:srgbClr val="00B050"/>
                  </a:solidFill>
                  <a:latin typeface="+mn-ea"/>
                </a:rPr>
                <a:t>efficient </a:t>
              </a:r>
              <a:r>
                <a:rPr lang="zh-CN" altLang="en-US" sz="1400" dirty="0" smtClean="0">
                  <a:solidFill>
                    <a:schemeClr val="bg1"/>
                  </a:solidFill>
                  <a:latin typeface="+mn-ea"/>
                </a:rPr>
                <a:t>planning of various smart IoT services </a:t>
              </a:r>
              <a:r>
                <a:rPr lang="en-US" altLang="zh-CN" sz="1400" dirty="0" smtClean="0">
                  <a:solidFill>
                    <a:schemeClr val="bg1"/>
                  </a:solidFill>
                  <a:latin typeface="+mn-ea"/>
                </a:rPr>
                <a:t>and </a:t>
              </a:r>
              <a:r>
                <a:rPr lang="zh-CN" altLang="en-US" sz="1400" dirty="0">
                  <a:solidFill>
                    <a:schemeClr val="bg1"/>
                  </a:solidFill>
                  <a:latin typeface="+mn-ea"/>
                </a:rPr>
                <a:t>city information</a:t>
              </a:r>
            </a:p>
            <a:p>
              <a:pPr algn="ctr"/>
              <a:r>
                <a:rPr lang="zh-CN" altLang="en-US" sz="1400" dirty="0" smtClean="0">
                  <a:solidFill>
                    <a:schemeClr val="bg1"/>
                  </a:solidFill>
                  <a:latin typeface="+mn-ea"/>
                </a:rPr>
                <a:t>enable </a:t>
              </a:r>
              <a:r>
                <a:rPr lang="zh-CN" altLang="en-US" sz="1800" b="1" dirty="0" smtClean="0">
                  <a:solidFill>
                    <a:srgbClr val="FFC000"/>
                  </a:solidFill>
                  <a:latin typeface="+mn-ea"/>
                </a:rPr>
                <a:t>comprehensive monitoring</a:t>
              </a:r>
              <a:endParaRPr lang="zh-CN" altLang="en-US" sz="1400" dirty="0">
                <a:solidFill>
                  <a:schemeClr val="bg1"/>
                </a:solidFill>
                <a:latin typeface="+mn-ea"/>
              </a:endParaRPr>
            </a:p>
          </p:txBody>
        </p:sp>
      </p:grpSp>
      <p:grpSp>
        <p:nvGrpSpPr>
          <p:cNvPr id="4" name="组合 430"/>
          <p:cNvGrpSpPr/>
          <p:nvPr/>
        </p:nvGrpSpPr>
        <p:grpSpPr>
          <a:xfrm>
            <a:off x="4891302" y="1343596"/>
            <a:ext cx="2376000" cy="2160240"/>
            <a:chOff x="4918670" y="1341562"/>
            <a:chExt cx="2115021" cy="2160240"/>
          </a:xfrm>
        </p:grpSpPr>
        <p:sp>
          <p:nvSpPr>
            <p:cNvPr id="422" name="矩形 421"/>
            <p:cNvSpPr/>
            <p:nvPr/>
          </p:nvSpPr>
          <p:spPr>
            <a:xfrm>
              <a:off x="4918670" y="1341562"/>
              <a:ext cx="2115021" cy="2160240"/>
            </a:xfrm>
            <a:prstGeom prst="rect">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lin ang="10800000" scaled="1"/>
              <a:tileRect/>
            </a:gradFill>
            <a:ln>
              <a:noFill/>
            </a:ln>
            <a:scene3d>
              <a:camera prst="perspectiveHeroicExtremeLeftFacing"/>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26" name="TextBox 425"/>
            <p:cNvSpPr txBox="1"/>
            <p:nvPr/>
          </p:nvSpPr>
          <p:spPr>
            <a:xfrm>
              <a:off x="5136409" y="1384826"/>
              <a:ext cx="1747645" cy="2000548"/>
            </a:xfrm>
            <a:prstGeom prst="rect">
              <a:avLst/>
            </a:prstGeom>
            <a:noFill/>
            <a:scene3d>
              <a:camera prst="perspectiveHeroicExtremeLeftFacing"/>
              <a:lightRig rig="threePt" dir="t"/>
            </a:scene3d>
          </p:spPr>
          <p:txBody>
            <a:bodyPr wrap="square" rtlCol="0">
              <a:spAutoFit/>
            </a:bodyPr>
            <a:lstStyle/>
            <a:p>
              <a:pPr algn="ctr"/>
              <a:r>
                <a:rPr lang="zh-CN" altLang="en-US" sz="1400" kern="0" dirty="0" smtClean="0">
                  <a:solidFill>
                    <a:schemeClr val="bg1"/>
                  </a:solidFill>
                  <a:latin typeface="微软雅黑" pitchFamily="34" charset="-122"/>
                  <a:ea typeface="微软雅黑" pitchFamily="34" charset="-122"/>
                </a:rPr>
                <a:t>Intelligent analysis and proper planning of network and storage resources shorten the business rollout time from</a:t>
              </a:r>
              <a:r>
                <a:rPr lang="zh-CN" altLang="en-US" sz="1600" b="1" kern="0" dirty="0" smtClean="0">
                  <a:solidFill>
                    <a:schemeClr val="bg1"/>
                  </a:solidFill>
                  <a:latin typeface="微软雅黑" pitchFamily="34" charset="-122"/>
                  <a:ea typeface="微软雅黑" pitchFamily="34" charset="-122"/>
                </a:rPr>
                <a:t> </a:t>
              </a:r>
              <a:r>
                <a:rPr lang="zh-CN" altLang="en-US" sz="1800" b="1" kern="0" dirty="0" smtClean="0">
                  <a:solidFill>
                    <a:srgbClr val="FFC000"/>
                  </a:solidFill>
                  <a:latin typeface="微软雅黑" pitchFamily="34" charset="-122"/>
                  <a:ea typeface="微软雅黑" pitchFamily="34" charset="-122"/>
                </a:rPr>
                <a:t>months to hours</a:t>
              </a:r>
              <a:endParaRPr lang="zh-CN" altLang="en-US" sz="1400" b="1" dirty="0">
                <a:solidFill>
                  <a:srgbClr val="FFC000"/>
                </a:solidFill>
                <a:latin typeface="+mn-ea"/>
              </a:endParaRPr>
            </a:p>
          </p:txBody>
        </p:sp>
      </p:grpSp>
      <p:sp>
        <p:nvSpPr>
          <p:cNvPr id="212" name="流程图: 手动操作 211"/>
          <p:cNvSpPr/>
          <p:nvPr/>
        </p:nvSpPr>
        <p:spPr>
          <a:xfrm rot="16200000">
            <a:off x="2350604" y="4741084"/>
            <a:ext cx="1835329" cy="391796"/>
          </a:xfrm>
          <a:prstGeom prst="flowChartManualOperation">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b="1"/>
          </a:p>
        </p:txBody>
      </p:sp>
      <p:sp>
        <p:nvSpPr>
          <p:cNvPr id="195" name="矩形 194"/>
          <p:cNvSpPr/>
          <p:nvPr/>
        </p:nvSpPr>
        <p:spPr bwMode="auto">
          <a:xfrm>
            <a:off x="1113172" y="4018849"/>
            <a:ext cx="1959198"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196" name="矩形 195"/>
          <p:cNvSpPr/>
          <p:nvPr/>
        </p:nvSpPr>
        <p:spPr bwMode="auto">
          <a:xfrm>
            <a:off x="1113172" y="4637844"/>
            <a:ext cx="1959198"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197" name="矩形 196"/>
          <p:cNvSpPr/>
          <p:nvPr/>
        </p:nvSpPr>
        <p:spPr bwMode="auto">
          <a:xfrm>
            <a:off x="1113172" y="5256839"/>
            <a:ext cx="1959198"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202" name="矩形 201"/>
          <p:cNvSpPr/>
          <p:nvPr/>
        </p:nvSpPr>
        <p:spPr bwMode="auto">
          <a:xfrm>
            <a:off x="9122803" y="4017724"/>
            <a:ext cx="2216205"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203" name="矩形 202"/>
          <p:cNvSpPr/>
          <p:nvPr/>
        </p:nvSpPr>
        <p:spPr bwMode="auto">
          <a:xfrm>
            <a:off x="9122803" y="4636719"/>
            <a:ext cx="2227737"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204" name="矩形 203"/>
          <p:cNvSpPr/>
          <p:nvPr/>
        </p:nvSpPr>
        <p:spPr bwMode="auto">
          <a:xfrm>
            <a:off x="9122804" y="5255714"/>
            <a:ext cx="2227736" cy="574782"/>
          </a:xfrm>
          <a:prstGeom prst="rect">
            <a:avLst/>
          </a:prstGeom>
          <a:noFill/>
          <a:ln w="3175">
            <a:solidFill>
              <a:schemeClr val="bg1"/>
            </a:solidFill>
            <a:prstDash val="sysDot"/>
          </a:ln>
          <a:effectLst/>
          <a:scene3d>
            <a:camera prst="orthographicFront"/>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9444" fontAlgn="base">
              <a:spcBef>
                <a:spcPct val="0"/>
              </a:spcBef>
              <a:spcAft>
                <a:spcPct val="0"/>
              </a:spcAft>
              <a:buClr>
                <a:srgbClr val="CC9900"/>
              </a:buClr>
              <a:buFont typeface="Wingdings" pitchFamily="2" charset="2"/>
              <a:buChar char="n"/>
            </a:pPr>
            <a:endParaRPr lang="zh-CN" altLang="en-US" sz="1100" b="1" dirty="0" smtClean="0">
              <a:latin typeface="Arial" charset="0"/>
              <a:ea typeface="宋体" charset="-122"/>
            </a:endParaRPr>
          </a:p>
        </p:txBody>
      </p:sp>
      <p:sp>
        <p:nvSpPr>
          <p:cNvPr id="205" name="圆角矩形 204"/>
          <p:cNvSpPr/>
          <p:nvPr/>
        </p:nvSpPr>
        <p:spPr>
          <a:xfrm>
            <a:off x="3279765" y="4009926"/>
            <a:ext cx="2784857" cy="1829491"/>
          </a:xfrm>
          <a:prstGeom prst="roundRect">
            <a:avLst>
              <a:gd name="adj" fmla="val 4763"/>
            </a:avLst>
          </a:prstGeom>
          <a:noFill/>
          <a:ln w="3175">
            <a:solidFill>
              <a:schemeClr val="bg1"/>
            </a:solid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b="1"/>
          </a:p>
        </p:txBody>
      </p:sp>
      <p:sp>
        <p:nvSpPr>
          <p:cNvPr id="213" name="流程图: 手动操作 212"/>
          <p:cNvSpPr/>
          <p:nvPr/>
        </p:nvSpPr>
        <p:spPr>
          <a:xfrm rot="16200000" flipV="1">
            <a:off x="8024540" y="4735474"/>
            <a:ext cx="1835329" cy="384236"/>
          </a:xfrm>
          <a:prstGeom prst="flowChartManualOperation">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16200000" scaled="1"/>
            <a:tileRect/>
          </a:gradFill>
          <a:ln>
            <a:no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b="1"/>
          </a:p>
        </p:txBody>
      </p:sp>
      <p:sp>
        <p:nvSpPr>
          <p:cNvPr id="207" name="圆角矩形 206"/>
          <p:cNvSpPr/>
          <p:nvPr/>
        </p:nvSpPr>
        <p:spPr>
          <a:xfrm>
            <a:off x="6130219" y="4009926"/>
            <a:ext cx="2765913" cy="1829491"/>
          </a:xfrm>
          <a:prstGeom prst="roundRect">
            <a:avLst>
              <a:gd name="adj" fmla="val 4763"/>
            </a:avLst>
          </a:prstGeom>
          <a:noFill/>
          <a:ln w="3175">
            <a:solidFill>
              <a:schemeClr val="bg1"/>
            </a:solid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b="1"/>
          </a:p>
        </p:txBody>
      </p:sp>
      <p:pic>
        <p:nvPicPr>
          <p:cNvPr id="1030" name="Picture 6"/>
          <p:cNvPicPr>
            <a:picLocks noChangeAspect="1" noChangeArrowheads="1"/>
          </p:cNvPicPr>
          <p:nvPr/>
        </p:nvPicPr>
        <p:blipFill>
          <a:blip r:embed="rId3" cstate="print"/>
          <a:srcRect/>
          <a:stretch>
            <a:fillRect/>
          </a:stretch>
        </p:blipFill>
        <p:spPr bwMode="auto">
          <a:xfrm>
            <a:off x="3310518" y="4030738"/>
            <a:ext cx="2742572" cy="1792221"/>
          </a:xfrm>
          <a:prstGeom prst="roundRect">
            <a:avLst>
              <a:gd name="adj" fmla="val 4859"/>
            </a:avLst>
          </a:prstGeom>
          <a:noFill/>
          <a:ln w="9525">
            <a:noFill/>
            <a:miter lim="800000"/>
            <a:headEnd/>
            <a:tailEnd/>
          </a:ln>
          <a:effectLst>
            <a:outerShdw blurRad="44450" dist="27940" dir="5400000" algn="ctr">
              <a:srgbClr val="000000">
                <a:alpha val="32000"/>
              </a:srgbClr>
            </a:outerShdw>
          </a:effectLst>
          <a:scene3d>
            <a:camera prst="orthographicFront"/>
            <a:lightRig rig="threePt" dir="t"/>
          </a:scene3d>
        </p:spPr>
      </p:pic>
      <p:pic>
        <p:nvPicPr>
          <p:cNvPr id="1029" name="Picture 5"/>
          <p:cNvPicPr>
            <a:picLocks noChangeAspect="1" noChangeArrowheads="1"/>
          </p:cNvPicPr>
          <p:nvPr/>
        </p:nvPicPr>
        <p:blipFill>
          <a:blip r:embed="rId4" cstate="print"/>
          <a:srcRect/>
          <a:stretch>
            <a:fillRect/>
          </a:stretch>
        </p:blipFill>
        <p:spPr bwMode="auto">
          <a:xfrm rot="19556669">
            <a:off x="3228266" y="4023235"/>
            <a:ext cx="593370" cy="392266"/>
          </a:xfrm>
          <a:prstGeom prst="roundRect">
            <a:avLst/>
          </a:prstGeom>
          <a:noFill/>
          <a:ln w="9525">
            <a:noFill/>
            <a:miter lim="800000"/>
            <a:headEnd/>
            <a:tailEnd/>
          </a:ln>
          <a:effectLst>
            <a:glow rad="101600">
              <a:schemeClr val="accent6">
                <a:satMod val="175000"/>
                <a:alpha val="40000"/>
              </a:schemeClr>
            </a:glow>
          </a:effectLst>
          <a:scene3d>
            <a:camera prst="orthographicFront"/>
            <a:lightRig rig="threePt" dir="t"/>
          </a:scene3d>
        </p:spPr>
      </p:pic>
      <p:sp>
        <p:nvSpPr>
          <p:cNvPr id="21" name="Freeform 60"/>
          <p:cNvSpPr>
            <a:spLocks noChangeAspect="1" noEditPoints="1"/>
          </p:cNvSpPr>
          <p:nvPr/>
        </p:nvSpPr>
        <p:spPr bwMode="auto">
          <a:xfrm>
            <a:off x="9251555" y="4095613"/>
            <a:ext cx="187169" cy="184173"/>
          </a:xfrm>
          <a:custGeom>
            <a:avLst/>
            <a:gdLst>
              <a:gd name="T0" fmla="*/ 2147483647 w 2071"/>
              <a:gd name="T1" fmla="*/ 2147483647 h 2059"/>
              <a:gd name="T2" fmla="*/ 2147483647 w 2071"/>
              <a:gd name="T3" fmla="*/ 2147483647 h 2059"/>
              <a:gd name="T4" fmla="*/ 2147483647 w 2071"/>
              <a:gd name="T5" fmla="*/ 2147483647 h 2059"/>
              <a:gd name="T6" fmla="*/ 2147483647 w 2071"/>
              <a:gd name="T7" fmla="*/ 2147483647 h 2059"/>
              <a:gd name="T8" fmla="*/ 2147483647 w 2071"/>
              <a:gd name="T9" fmla="*/ 2147483647 h 2059"/>
              <a:gd name="T10" fmla="*/ 2147483647 w 2071"/>
              <a:gd name="T11" fmla="*/ 2147483647 h 2059"/>
              <a:gd name="T12" fmla="*/ 2147483647 w 2071"/>
              <a:gd name="T13" fmla="*/ 2147483647 h 2059"/>
              <a:gd name="T14" fmla="*/ 2147483647 w 2071"/>
              <a:gd name="T15" fmla="*/ 2147483647 h 2059"/>
              <a:gd name="T16" fmla="*/ 2147483647 w 2071"/>
              <a:gd name="T17" fmla="*/ 2147483647 h 2059"/>
              <a:gd name="T18" fmla="*/ 2147483647 w 2071"/>
              <a:gd name="T19" fmla="*/ 2147483647 h 2059"/>
              <a:gd name="T20" fmla="*/ 2147483647 w 2071"/>
              <a:gd name="T21" fmla="*/ 2147483647 h 2059"/>
              <a:gd name="T22" fmla="*/ 2147483647 w 2071"/>
              <a:gd name="T23" fmla="*/ 2147483647 h 2059"/>
              <a:gd name="T24" fmla="*/ 2147483647 w 2071"/>
              <a:gd name="T25" fmla="*/ 2147483647 h 2059"/>
              <a:gd name="T26" fmla="*/ 2147483647 w 2071"/>
              <a:gd name="T27" fmla="*/ 2147483647 h 2059"/>
              <a:gd name="T28" fmla="*/ 2147483647 w 2071"/>
              <a:gd name="T29" fmla="*/ 2147483647 h 2059"/>
              <a:gd name="T30" fmla="*/ 2147483647 w 2071"/>
              <a:gd name="T31" fmla="*/ 2147483647 h 2059"/>
              <a:gd name="T32" fmla="*/ 2147483647 w 2071"/>
              <a:gd name="T33" fmla="*/ 2147483647 h 2059"/>
              <a:gd name="T34" fmla="*/ 2147483647 w 2071"/>
              <a:gd name="T35" fmla="*/ 2147483647 h 2059"/>
              <a:gd name="T36" fmla="*/ 2147483647 w 2071"/>
              <a:gd name="T37" fmla="*/ 2147483647 h 2059"/>
              <a:gd name="T38" fmla="*/ 2147483647 w 2071"/>
              <a:gd name="T39" fmla="*/ 2147483647 h 2059"/>
              <a:gd name="T40" fmla="*/ 2147483647 w 2071"/>
              <a:gd name="T41" fmla="*/ 2147483647 h 2059"/>
              <a:gd name="T42" fmla="*/ 2147483647 w 2071"/>
              <a:gd name="T43" fmla="*/ 2147483647 h 2059"/>
              <a:gd name="T44" fmla="*/ 2147483647 w 2071"/>
              <a:gd name="T45" fmla="*/ 2147483647 h 2059"/>
              <a:gd name="T46" fmla="*/ 2147483647 w 2071"/>
              <a:gd name="T47" fmla="*/ 2147483647 h 2059"/>
              <a:gd name="T48" fmla="*/ 2147483647 w 2071"/>
              <a:gd name="T49" fmla="*/ 2147483647 h 2059"/>
              <a:gd name="T50" fmla="*/ 2147483647 w 2071"/>
              <a:gd name="T51" fmla="*/ 2147483647 h 2059"/>
              <a:gd name="T52" fmla="*/ 2147483647 w 2071"/>
              <a:gd name="T53" fmla="*/ 2147483647 h 2059"/>
              <a:gd name="T54" fmla="*/ 2147483647 w 2071"/>
              <a:gd name="T55" fmla="*/ 2147483647 h 2059"/>
              <a:gd name="T56" fmla="*/ 2147483647 w 2071"/>
              <a:gd name="T57" fmla="*/ 2147483647 h 2059"/>
              <a:gd name="T58" fmla="*/ 2147483647 w 2071"/>
              <a:gd name="T59" fmla="*/ 2147483647 h 2059"/>
              <a:gd name="T60" fmla="*/ 2147483647 w 2071"/>
              <a:gd name="T61" fmla="*/ 2147483647 h 2059"/>
              <a:gd name="T62" fmla="*/ 2147483647 w 2071"/>
              <a:gd name="T63" fmla="*/ 2147483647 h 2059"/>
              <a:gd name="T64" fmla="*/ 2147483647 w 2071"/>
              <a:gd name="T65" fmla="*/ 2147483647 h 2059"/>
              <a:gd name="T66" fmla="*/ 2147483647 w 2071"/>
              <a:gd name="T67" fmla="*/ 2147483647 h 205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71"/>
              <a:gd name="T103" fmla="*/ 0 h 2059"/>
              <a:gd name="T104" fmla="*/ 2071 w 2071"/>
              <a:gd name="T105" fmla="*/ 2059 h 205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71" h="2059">
                <a:moveTo>
                  <a:pt x="1095" y="825"/>
                </a:moveTo>
                <a:cubicBezTo>
                  <a:pt x="1456" y="464"/>
                  <a:pt x="1456" y="464"/>
                  <a:pt x="1456" y="464"/>
                </a:cubicBezTo>
                <a:cubicBezTo>
                  <a:pt x="1481" y="435"/>
                  <a:pt x="1520" y="422"/>
                  <a:pt x="1558" y="431"/>
                </a:cubicBezTo>
                <a:cubicBezTo>
                  <a:pt x="1595" y="440"/>
                  <a:pt x="1625" y="469"/>
                  <a:pt x="1634" y="507"/>
                </a:cubicBezTo>
                <a:cubicBezTo>
                  <a:pt x="1643" y="544"/>
                  <a:pt x="1630" y="584"/>
                  <a:pt x="1600" y="609"/>
                </a:cubicBezTo>
                <a:cubicBezTo>
                  <a:pt x="1243" y="965"/>
                  <a:pt x="1243" y="965"/>
                  <a:pt x="1243" y="965"/>
                </a:cubicBezTo>
                <a:cubicBezTo>
                  <a:pt x="1270" y="1054"/>
                  <a:pt x="1234" y="1150"/>
                  <a:pt x="1155" y="1199"/>
                </a:cubicBezTo>
                <a:cubicBezTo>
                  <a:pt x="1076" y="1247"/>
                  <a:pt x="974" y="1237"/>
                  <a:pt x="907" y="1173"/>
                </a:cubicBezTo>
                <a:cubicBezTo>
                  <a:pt x="839" y="1110"/>
                  <a:pt x="823" y="1008"/>
                  <a:pt x="867" y="927"/>
                </a:cubicBezTo>
                <a:cubicBezTo>
                  <a:pt x="911" y="845"/>
                  <a:pt x="1005" y="804"/>
                  <a:pt x="1095" y="825"/>
                </a:cubicBezTo>
                <a:close/>
                <a:moveTo>
                  <a:pt x="1969" y="1536"/>
                </a:moveTo>
                <a:cubicBezTo>
                  <a:pt x="1354" y="1536"/>
                  <a:pt x="1354" y="1536"/>
                  <a:pt x="1354" y="1536"/>
                </a:cubicBezTo>
                <a:cubicBezTo>
                  <a:pt x="1298" y="1536"/>
                  <a:pt x="1252" y="1491"/>
                  <a:pt x="1252" y="1434"/>
                </a:cubicBezTo>
                <a:cubicBezTo>
                  <a:pt x="1252" y="1378"/>
                  <a:pt x="1298" y="1332"/>
                  <a:pt x="1354" y="1332"/>
                </a:cubicBezTo>
                <a:cubicBezTo>
                  <a:pt x="1969" y="1332"/>
                  <a:pt x="1969" y="1332"/>
                  <a:pt x="1969" y="1332"/>
                </a:cubicBezTo>
                <a:cubicBezTo>
                  <a:pt x="2025" y="1332"/>
                  <a:pt x="2071" y="1378"/>
                  <a:pt x="2071" y="1434"/>
                </a:cubicBezTo>
                <a:cubicBezTo>
                  <a:pt x="2071" y="1491"/>
                  <a:pt x="2025" y="1536"/>
                  <a:pt x="1969" y="1536"/>
                </a:cubicBezTo>
                <a:close/>
                <a:moveTo>
                  <a:pt x="1969" y="2048"/>
                </a:moveTo>
                <a:cubicBezTo>
                  <a:pt x="1764" y="2048"/>
                  <a:pt x="1764" y="2048"/>
                  <a:pt x="1764" y="2048"/>
                </a:cubicBezTo>
                <a:cubicBezTo>
                  <a:pt x="1708" y="2048"/>
                  <a:pt x="1662" y="2003"/>
                  <a:pt x="1662" y="1946"/>
                </a:cubicBezTo>
                <a:cubicBezTo>
                  <a:pt x="1662" y="1890"/>
                  <a:pt x="1708" y="1844"/>
                  <a:pt x="1764" y="1844"/>
                </a:cubicBezTo>
                <a:cubicBezTo>
                  <a:pt x="1969" y="1844"/>
                  <a:pt x="1969" y="1844"/>
                  <a:pt x="1969" y="1844"/>
                </a:cubicBezTo>
                <a:cubicBezTo>
                  <a:pt x="2025" y="1844"/>
                  <a:pt x="2071" y="1890"/>
                  <a:pt x="2071" y="1946"/>
                </a:cubicBezTo>
                <a:cubicBezTo>
                  <a:pt x="2071" y="2003"/>
                  <a:pt x="2025" y="2048"/>
                  <a:pt x="1969" y="2048"/>
                </a:cubicBezTo>
                <a:close/>
                <a:moveTo>
                  <a:pt x="1354" y="2048"/>
                </a:moveTo>
                <a:cubicBezTo>
                  <a:pt x="404" y="2048"/>
                  <a:pt x="404" y="2048"/>
                  <a:pt x="404" y="2048"/>
                </a:cubicBezTo>
                <a:cubicBezTo>
                  <a:pt x="270" y="2059"/>
                  <a:pt x="141" y="1993"/>
                  <a:pt x="70" y="1878"/>
                </a:cubicBezTo>
                <a:cubicBezTo>
                  <a:pt x="0" y="1762"/>
                  <a:pt x="0" y="1618"/>
                  <a:pt x="70" y="1503"/>
                </a:cubicBezTo>
                <a:cubicBezTo>
                  <a:pt x="141" y="1388"/>
                  <a:pt x="270" y="1322"/>
                  <a:pt x="404" y="1332"/>
                </a:cubicBezTo>
                <a:cubicBezTo>
                  <a:pt x="740" y="1332"/>
                  <a:pt x="740" y="1332"/>
                  <a:pt x="740" y="1332"/>
                </a:cubicBezTo>
                <a:cubicBezTo>
                  <a:pt x="797" y="1332"/>
                  <a:pt x="842" y="1378"/>
                  <a:pt x="842" y="1434"/>
                </a:cubicBezTo>
                <a:cubicBezTo>
                  <a:pt x="842" y="1491"/>
                  <a:pt x="797" y="1536"/>
                  <a:pt x="740" y="1536"/>
                </a:cubicBezTo>
                <a:cubicBezTo>
                  <a:pt x="404" y="1536"/>
                  <a:pt x="404" y="1536"/>
                  <a:pt x="404" y="1536"/>
                </a:cubicBezTo>
                <a:cubicBezTo>
                  <a:pt x="345" y="1529"/>
                  <a:pt x="287" y="1557"/>
                  <a:pt x="255" y="1608"/>
                </a:cubicBezTo>
                <a:cubicBezTo>
                  <a:pt x="223" y="1658"/>
                  <a:pt x="223" y="1722"/>
                  <a:pt x="255" y="1773"/>
                </a:cubicBezTo>
                <a:cubicBezTo>
                  <a:pt x="287" y="1823"/>
                  <a:pt x="345" y="1851"/>
                  <a:pt x="404" y="1844"/>
                </a:cubicBezTo>
                <a:cubicBezTo>
                  <a:pt x="1354" y="1844"/>
                  <a:pt x="1354" y="1844"/>
                  <a:pt x="1354" y="1844"/>
                </a:cubicBezTo>
                <a:cubicBezTo>
                  <a:pt x="1411" y="1844"/>
                  <a:pt x="1457" y="1889"/>
                  <a:pt x="1457" y="1946"/>
                </a:cubicBezTo>
                <a:cubicBezTo>
                  <a:pt x="1457" y="2003"/>
                  <a:pt x="1411" y="2048"/>
                  <a:pt x="1354" y="2048"/>
                </a:cubicBezTo>
                <a:close/>
                <a:moveTo>
                  <a:pt x="542" y="379"/>
                </a:moveTo>
                <a:cubicBezTo>
                  <a:pt x="659" y="288"/>
                  <a:pt x="798" y="230"/>
                  <a:pt x="945" y="212"/>
                </a:cubicBezTo>
                <a:cubicBezTo>
                  <a:pt x="945" y="308"/>
                  <a:pt x="945" y="308"/>
                  <a:pt x="945" y="308"/>
                </a:cubicBezTo>
                <a:cubicBezTo>
                  <a:pt x="945" y="364"/>
                  <a:pt x="991" y="410"/>
                  <a:pt x="1047" y="410"/>
                </a:cubicBezTo>
                <a:cubicBezTo>
                  <a:pt x="1104" y="410"/>
                  <a:pt x="1150" y="364"/>
                  <a:pt x="1150" y="308"/>
                </a:cubicBezTo>
                <a:cubicBezTo>
                  <a:pt x="1150" y="212"/>
                  <a:pt x="1150" y="212"/>
                  <a:pt x="1150" y="212"/>
                </a:cubicBezTo>
                <a:cubicBezTo>
                  <a:pt x="1521" y="258"/>
                  <a:pt x="1813" y="551"/>
                  <a:pt x="1860" y="922"/>
                </a:cubicBezTo>
                <a:cubicBezTo>
                  <a:pt x="1764" y="922"/>
                  <a:pt x="1764" y="922"/>
                  <a:pt x="1764" y="922"/>
                </a:cubicBezTo>
                <a:cubicBezTo>
                  <a:pt x="1708" y="922"/>
                  <a:pt x="1662" y="968"/>
                  <a:pt x="1662" y="1024"/>
                </a:cubicBezTo>
                <a:cubicBezTo>
                  <a:pt x="1662" y="1081"/>
                  <a:pt x="1708" y="1127"/>
                  <a:pt x="1764" y="1127"/>
                </a:cubicBezTo>
                <a:cubicBezTo>
                  <a:pt x="1969" y="1127"/>
                  <a:pt x="1969" y="1127"/>
                  <a:pt x="1969" y="1127"/>
                </a:cubicBezTo>
                <a:cubicBezTo>
                  <a:pt x="1996" y="1127"/>
                  <a:pt x="2022" y="1116"/>
                  <a:pt x="2041" y="1097"/>
                </a:cubicBezTo>
                <a:cubicBezTo>
                  <a:pt x="2061" y="1078"/>
                  <a:pt x="2071" y="1052"/>
                  <a:pt x="2071" y="1024"/>
                </a:cubicBezTo>
                <a:cubicBezTo>
                  <a:pt x="2071" y="459"/>
                  <a:pt x="1613" y="0"/>
                  <a:pt x="1047" y="0"/>
                </a:cubicBezTo>
                <a:cubicBezTo>
                  <a:pt x="482" y="0"/>
                  <a:pt x="23" y="459"/>
                  <a:pt x="23" y="1024"/>
                </a:cubicBezTo>
                <a:cubicBezTo>
                  <a:pt x="23" y="1052"/>
                  <a:pt x="34" y="1078"/>
                  <a:pt x="53" y="1097"/>
                </a:cubicBezTo>
                <a:cubicBezTo>
                  <a:pt x="72" y="1116"/>
                  <a:pt x="98" y="1127"/>
                  <a:pt x="126" y="1127"/>
                </a:cubicBezTo>
                <a:cubicBezTo>
                  <a:pt x="330" y="1127"/>
                  <a:pt x="330" y="1127"/>
                  <a:pt x="330" y="1127"/>
                </a:cubicBezTo>
                <a:cubicBezTo>
                  <a:pt x="387" y="1127"/>
                  <a:pt x="433" y="1081"/>
                  <a:pt x="433" y="1024"/>
                </a:cubicBezTo>
                <a:cubicBezTo>
                  <a:pt x="433" y="968"/>
                  <a:pt x="387" y="922"/>
                  <a:pt x="330" y="922"/>
                </a:cubicBezTo>
                <a:cubicBezTo>
                  <a:pt x="234" y="922"/>
                  <a:pt x="234" y="922"/>
                  <a:pt x="234" y="922"/>
                </a:cubicBezTo>
                <a:cubicBezTo>
                  <a:pt x="252" y="777"/>
                  <a:pt x="309" y="640"/>
                  <a:pt x="399" y="524"/>
                </a:cubicBezTo>
                <a:cubicBezTo>
                  <a:pt x="430" y="556"/>
                  <a:pt x="430" y="556"/>
                  <a:pt x="430" y="556"/>
                </a:cubicBezTo>
                <a:cubicBezTo>
                  <a:pt x="449" y="575"/>
                  <a:pt x="475" y="585"/>
                  <a:pt x="502" y="585"/>
                </a:cubicBezTo>
                <a:cubicBezTo>
                  <a:pt x="543" y="584"/>
                  <a:pt x="580" y="559"/>
                  <a:pt x="595" y="522"/>
                </a:cubicBezTo>
                <a:cubicBezTo>
                  <a:pt x="611" y="484"/>
                  <a:pt x="603" y="440"/>
                  <a:pt x="574" y="411"/>
                </a:cubicBezTo>
                <a:lnTo>
                  <a:pt x="542" y="379"/>
                </a:lnTo>
                <a:close/>
                <a:moveTo>
                  <a:pt x="542" y="379"/>
                </a:moveTo>
                <a:cubicBezTo>
                  <a:pt x="542" y="379"/>
                  <a:pt x="542" y="379"/>
                  <a:pt x="542" y="379"/>
                </a:cubicBezTo>
              </a:path>
            </a:pathLst>
          </a:custGeom>
          <a:solidFill>
            <a:srgbClr val="FFFFFF"/>
          </a:solidFill>
          <a:ln w="9525">
            <a:noFill/>
            <a:round/>
            <a:headEnd/>
            <a:tailEnd/>
          </a:ln>
          <a:scene3d>
            <a:camera prst="orthographicFront"/>
            <a:lightRig rig="threePt" dir="t"/>
          </a:scene3d>
        </p:spPr>
        <p:txBody>
          <a:bodyPr/>
          <a:lstStyle/>
          <a:p>
            <a:endParaRPr lang="zh-CN" altLang="en-US"/>
          </a:p>
        </p:txBody>
      </p:sp>
      <p:sp>
        <p:nvSpPr>
          <p:cNvPr id="22" name="TextBox 21"/>
          <p:cNvSpPr txBox="1"/>
          <p:nvPr/>
        </p:nvSpPr>
        <p:spPr>
          <a:xfrm>
            <a:off x="9078681" y="4240982"/>
            <a:ext cx="650100" cy="3693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Air pressure</a:t>
            </a:r>
            <a:endParaRPr lang="zh-CN" altLang="en-US" sz="900" dirty="0">
              <a:solidFill>
                <a:schemeClr val="bg1"/>
              </a:solidFill>
            </a:endParaRPr>
          </a:p>
        </p:txBody>
      </p:sp>
      <p:sp>
        <p:nvSpPr>
          <p:cNvPr id="23" name="TextBox 22"/>
          <p:cNvSpPr txBox="1"/>
          <p:nvPr/>
        </p:nvSpPr>
        <p:spPr>
          <a:xfrm>
            <a:off x="9509622" y="4265967"/>
            <a:ext cx="924985"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Temperature</a:t>
            </a:r>
            <a:endParaRPr lang="zh-CN" altLang="en-US" sz="900" dirty="0">
              <a:solidFill>
                <a:schemeClr val="bg1"/>
              </a:solidFill>
            </a:endParaRPr>
          </a:p>
        </p:txBody>
      </p:sp>
      <p:sp>
        <p:nvSpPr>
          <p:cNvPr id="24" name="TextBox 23"/>
          <p:cNvSpPr txBox="1"/>
          <p:nvPr/>
        </p:nvSpPr>
        <p:spPr>
          <a:xfrm>
            <a:off x="10200525" y="4398129"/>
            <a:ext cx="661484"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Humidity</a:t>
            </a:r>
            <a:endParaRPr lang="zh-CN" altLang="en-US" sz="900" dirty="0">
              <a:solidFill>
                <a:schemeClr val="bg1"/>
              </a:solidFill>
            </a:endParaRPr>
          </a:p>
        </p:txBody>
      </p:sp>
      <p:sp>
        <p:nvSpPr>
          <p:cNvPr id="25" name="TextBox 24"/>
          <p:cNvSpPr txBox="1"/>
          <p:nvPr/>
        </p:nvSpPr>
        <p:spPr>
          <a:xfrm>
            <a:off x="10701500" y="4298271"/>
            <a:ext cx="648000"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Pollution</a:t>
            </a:r>
            <a:endParaRPr lang="zh-CN" altLang="en-US" sz="900" dirty="0">
              <a:solidFill>
                <a:schemeClr val="bg1"/>
              </a:solidFill>
            </a:endParaRPr>
          </a:p>
        </p:txBody>
      </p:sp>
      <p:pic>
        <p:nvPicPr>
          <p:cNvPr id="26" name="Picture 8"/>
          <p:cNvPicPr>
            <a:picLocks noChangeAspect="1" noChangeArrowheads="1"/>
          </p:cNvPicPr>
          <p:nvPr/>
        </p:nvPicPr>
        <p:blipFill>
          <a:blip r:embed="rId5" cstate="print"/>
          <a:srcRect/>
          <a:stretch>
            <a:fillRect/>
          </a:stretch>
        </p:blipFill>
        <p:spPr bwMode="auto">
          <a:xfrm>
            <a:off x="9866198" y="4086417"/>
            <a:ext cx="165572" cy="184173"/>
          </a:xfrm>
          <a:prstGeom prst="rect">
            <a:avLst/>
          </a:prstGeom>
          <a:noFill/>
          <a:ln w="9525">
            <a:noFill/>
            <a:miter lim="800000"/>
            <a:headEnd/>
            <a:tailEnd/>
          </a:ln>
          <a:scene3d>
            <a:camera prst="orthographicFront"/>
            <a:lightRig rig="threePt" dir="t"/>
          </a:scene3d>
        </p:spPr>
      </p:pic>
      <p:pic>
        <p:nvPicPr>
          <p:cNvPr id="27" name="图片 393"/>
          <p:cNvPicPr>
            <a:picLocks noChangeAspect="1"/>
          </p:cNvPicPr>
          <p:nvPr/>
        </p:nvPicPr>
        <p:blipFill>
          <a:blip r:embed="rId6" cstate="print">
            <a:lum bright="70000" contrast="-70000"/>
          </a:blip>
          <a:srcRect/>
          <a:stretch>
            <a:fillRect/>
          </a:stretch>
        </p:blipFill>
        <p:spPr bwMode="auto">
          <a:xfrm>
            <a:off x="10388722" y="4150456"/>
            <a:ext cx="241880" cy="239854"/>
          </a:xfrm>
          <a:prstGeom prst="rect">
            <a:avLst/>
          </a:prstGeom>
          <a:noFill/>
          <a:ln w="9525">
            <a:noFill/>
            <a:miter lim="800000"/>
            <a:headEnd/>
            <a:tailEnd/>
          </a:ln>
          <a:scene3d>
            <a:camera prst="orthographicFront"/>
            <a:lightRig rig="threePt" dir="t"/>
          </a:scene3d>
        </p:spPr>
      </p:pic>
      <p:pic>
        <p:nvPicPr>
          <p:cNvPr id="28" name="Picture 35"/>
          <p:cNvPicPr>
            <a:picLocks noChangeAspect="1" noChangeArrowheads="1"/>
          </p:cNvPicPr>
          <p:nvPr/>
        </p:nvPicPr>
        <p:blipFill>
          <a:blip r:embed="rId7" cstate="print"/>
          <a:srcRect/>
          <a:stretch>
            <a:fillRect/>
          </a:stretch>
        </p:blipFill>
        <p:spPr bwMode="auto">
          <a:xfrm>
            <a:off x="10940032" y="4096698"/>
            <a:ext cx="185729" cy="185601"/>
          </a:xfrm>
          <a:prstGeom prst="rect">
            <a:avLst/>
          </a:prstGeom>
          <a:noFill/>
          <a:ln w="9525">
            <a:noFill/>
            <a:miter lim="800000"/>
            <a:headEnd/>
            <a:tailEnd/>
          </a:ln>
          <a:scene3d>
            <a:camera prst="orthographicFront"/>
            <a:lightRig rig="threePt" dir="t"/>
          </a:scene3d>
        </p:spPr>
      </p:pic>
      <p:sp>
        <p:nvSpPr>
          <p:cNvPr id="29" name="TextBox 28"/>
          <p:cNvSpPr txBox="1"/>
          <p:nvPr/>
        </p:nvSpPr>
        <p:spPr>
          <a:xfrm>
            <a:off x="9133229" y="4963459"/>
            <a:ext cx="612000"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Screen</a:t>
            </a:r>
            <a:endParaRPr lang="zh-CN" altLang="en-US" sz="900" dirty="0">
              <a:solidFill>
                <a:schemeClr val="bg1"/>
              </a:solidFill>
            </a:endParaRPr>
          </a:p>
        </p:txBody>
      </p:sp>
      <p:sp>
        <p:nvSpPr>
          <p:cNvPr id="30" name="TextBox 29"/>
          <p:cNvSpPr txBox="1"/>
          <p:nvPr/>
        </p:nvSpPr>
        <p:spPr>
          <a:xfrm>
            <a:off x="9745230" y="4962539"/>
            <a:ext cx="728618"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Broadcast </a:t>
            </a:r>
            <a:endParaRPr lang="zh-CN" altLang="en-US" sz="900" dirty="0">
              <a:solidFill>
                <a:schemeClr val="bg1"/>
              </a:solidFill>
            </a:endParaRPr>
          </a:p>
        </p:txBody>
      </p:sp>
      <p:sp>
        <p:nvSpPr>
          <p:cNvPr id="31" name="TextBox 30"/>
          <p:cNvSpPr txBox="1"/>
          <p:nvPr/>
        </p:nvSpPr>
        <p:spPr>
          <a:xfrm>
            <a:off x="10429551" y="4972640"/>
            <a:ext cx="688266"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Intercom </a:t>
            </a:r>
            <a:endParaRPr lang="zh-CN" altLang="en-US" sz="900" dirty="0">
              <a:solidFill>
                <a:schemeClr val="bg1"/>
              </a:solidFill>
            </a:endParaRPr>
          </a:p>
        </p:txBody>
      </p:sp>
      <p:grpSp>
        <p:nvGrpSpPr>
          <p:cNvPr id="5" name="组合 2075"/>
          <p:cNvGrpSpPr/>
          <p:nvPr/>
        </p:nvGrpSpPr>
        <p:grpSpPr>
          <a:xfrm>
            <a:off x="10025133" y="4782726"/>
            <a:ext cx="161457" cy="140660"/>
            <a:chOff x="11453813" y="796925"/>
            <a:chExt cx="614363" cy="539750"/>
          </a:xfrm>
          <a:solidFill>
            <a:schemeClr val="bg1"/>
          </a:solidFill>
          <a:scene3d>
            <a:camera prst="orthographicFront"/>
            <a:lightRig rig="threePt" dir="t"/>
          </a:scene3d>
        </p:grpSpPr>
        <p:sp>
          <p:nvSpPr>
            <p:cNvPr id="38" name="Freeform 584"/>
            <p:cNvSpPr>
              <a:spLocks/>
            </p:cNvSpPr>
            <p:nvPr/>
          </p:nvSpPr>
          <p:spPr bwMode="auto">
            <a:xfrm>
              <a:off x="11909426" y="800100"/>
              <a:ext cx="158750" cy="536575"/>
            </a:xfrm>
            <a:custGeom>
              <a:avLst/>
              <a:gdLst/>
              <a:ahLst/>
              <a:cxnLst>
                <a:cxn ang="0">
                  <a:pos x="6" y="33"/>
                </a:cxn>
                <a:cxn ang="0">
                  <a:pos x="6" y="33"/>
                </a:cxn>
                <a:cxn ang="0">
                  <a:pos x="18" y="47"/>
                </a:cxn>
                <a:cxn ang="0">
                  <a:pos x="31" y="63"/>
                </a:cxn>
                <a:cxn ang="0">
                  <a:pos x="41" y="79"/>
                </a:cxn>
                <a:cxn ang="0">
                  <a:pos x="49" y="96"/>
                </a:cxn>
                <a:cxn ang="0">
                  <a:pos x="55" y="114"/>
                </a:cxn>
                <a:cxn ang="0">
                  <a:pos x="59" y="132"/>
                </a:cxn>
                <a:cxn ang="0">
                  <a:pos x="61" y="151"/>
                </a:cxn>
                <a:cxn ang="0">
                  <a:pos x="61" y="169"/>
                </a:cxn>
                <a:cxn ang="0">
                  <a:pos x="61" y="169"/>
                </a:cxn>
                <a:cxn ang="0">
                  <a:pos x="61" y="188"/>
                </a:cxn>
                <a:cxn ang="0">
                  <a:pos x="59" y="206"/>
                </a:cxn>
                <a:cxn ang="0">
                  <a:pos x="55" y="224"/>
                </a:cxn>
                <a:cxn ang="0">
                  <a:pos x="49" y="241"/>
                </a:cxn>
                <a:cxn ang="0">
                  <a:pos x="41" y="259"/>
                </a:cxn>
                <a:cxn ang="0">
                  <a:pos x="31" y="275"/>
                </a:cxn>
                <a:cxn ang="0">
                  <a:pos x="18" y="289"/>
                </a:cxn>
                <a:cxn ang="0">
                  <a:pos x="6" y="306"/>
                </a:cxn>
                <a:cxn ang="0">
                  <a:pos x="6" y="306"/>
                </a:cxn>
                <a:cxn ang="0">
                  <a:pos x="2" y="312"/>
                </a:cxn>
                <a:cxn ang="0">
                  <a:pos x="0" y="318"/>
                </a:cxn>
                <a:cxn ang="0">
                  <a:pos x="2" y="326"/>
                </a:cxn>
                <a:cxn ang="0">
                  <a:pos x="6" y="332"/>
                </a:cxn>
                <a:cxn ang="0">
                  <a:pos x="6" y="332"/>
                </a:cxn>
                <a:cxn ang="0">
                  <a:pos x="12" y="336"/>
                </a:cxn>
                <a:cxn ang="0">
                  <a:pos x="18" y="338"/>
                </a:cxn>
                <a:cxn ang="0">
                  <a:pos x="27" y="336"/>
                </a:cxn>
                <a:cxn ang="0">
                  <a:pos x="33" y="332"/>
                </a:cxn>
                <a:cxn ang="0">
                  <a:pos x="33" y="332"/>
                </a:cxn>
                <a:cxn ang="0">
                  <a:pos x="49" y="314"/>
                </a:cxn>
                <a:cxn ang="0">
                  <a:pos x="63" y="296"/>
                </a:cxn>
                <a:cxn ang="0">
                  <a:pos x="73" y="277"/>
                </a:cxn>
                <a:cxn ang="0">
                  <a:pos x="84" y="257"/>
                </a:cxn>
                <a:cxn ang="0">
                  <a:pos x="92" y="234"/>
                </a:cxn>
                <a:cxn ang="0">
                  <a:pos x="96" y="212"/>
                </a:cxn>
                <a:cxn ang="0">
                  <a:pos x="100" y="192"/>
                </a:cxn>
                <a:cxn ang="0">
                  <a:pos x="100" y="169"/>
                </a:cxn>
                <a:cxn ang="0">
                  <a:pos x="100" y="169"/>
                </a:cxn>
                <a:cxn ang="0">
                  <a:pos x="100" y="147"/>
                </a:cxn>
                <a:cxn ang="0">
                  <a:pos x="96" y="124"/>
                </a:cxn>
                <a:cxn ang="0">
                  <a:pos x="92" y="104"/>
                </a:cxn>
                <a:cxn ang="0">
                  <a:pos x="84" y="81"/>
                </a:cxn>
                <a:cxn ang="0">
                  <a:pos x="73" y="61"/>
                </a:cxn>
                <a:cxn ang="0">
                  <a:pos x="63" y="41"/>
                </a:cxn>
                <a:cxn ang="0">
                  <a:pos x="49" y="22"/>
                </a:cxn>
                <a:cxn ang="0">
                  <a:pos x="33" y="6"/>
                </a:cxn>
                <a:cxn ang="0">
                  <a:pos x="33" y="6"/>
                </a:cxn>
                <a:cxn ang="0">
                  <a:pos x="27" y="2"/>
                </a:cxn>
                <a:cxn ang="0">
                  <a:pos x="18" y="0"/>
                </a:cxn>
                <a:cxn ang="0">
                  <a:pos x="12" y="2"/>
                </a:cxn>
                <a:cxn ang="0">
                  <a:pos x="6" y="6"/>
                </a:cxn>
                <a:cxn ang="0">
                  <a:pos x="6" y="6"/>
                </a:cxn>
                <a:cxn ang="0">
                  <a:pos x="2" y="12"/>
                </a:cxn>
                <a:cxn ang="0">
                  <a:pos x="0" y="18"/>
                </a:cxn>
                <a:cxn ang="0">
                  <a:pos x="2" y="26"/>
                </a:cxn>
                <a:cxn ang="0">
                  <a:pos x="6" y="33"/>
                </a:cxn>
                <a:cxn ang="0">
                  <a:pos x="6" y="33"/>
                </a:cxn>
              </a:cxnLst>
              <a:rect l="0" t="0" r="r" b="b"/>
              <a:pathLst>
                <a:path w="100" h="338">
                  <a:moveTo>
                    <a:pt x="6" y="33"/>
                  </a:moveTo>
                  <a:lnTo>
                    <a:pt x="6" y="33"/>
                  </a:lnTo>
                  <a:lnTo>
                    <a:pt x="18" y="47"/>
                  </a:lnTo>
                  <a:lnTo>
                    <a:pt x="31" y="63"/>
                  </a:lnTo>
                  <a:lnTo>
                    <a:pt x="41" y="79"/>
                  </a:lnTo>
                  <a:lnTo>
                    <a:pt x="49" y="96"/>
                  </a:lnTo>
                  <a:lnTo>
                    <a:pt x="55" y="114"/>
                  </a:lnTo>
                  <a:lnTo>
                    <a:pt x="59" y="132"/>
                  </a:lnTo>
                  <a:lnTo>
                    <a:pt x="61" y="151"/>
                  </a:lnTo>
                  <a:lnTo>
                    <a:pt x="61" y="169"/>
                  </a:lnTo>
                  <a:lnTo>
                    <a:pt x="61" y="169"/>
                  </a:lnTo>
                  <a:lnTo>
                    <a:pt x="61" y="188"/>
                  </a:lnTo>
                  <a:lnTo>
                    <a:pt x="59" y="206"/>
                  </a:lnTo>
                  <a:lnTo>
                    <a:pt x="55" y="224"/>
                  </a:lnTo>
                  <a:lnTo>
                    <a:pt x="49" y="241"/>
                  </a:lnTo>
                  <a:lnTo>
                    <a:pt x="41" y="259"/>
                  </a:lnTo>
                  <a:lnTo>
                    <a:pt x="31" y="275"/>
                  </a:lnTo>
                  <a:lnTo>
                    <a:pt x="18" y="289"/>
                  </a:lnTo>
                  <a:lnTo>
                    <a:pt x="6" y="306"/>
                  </a:lnTo>
                  <a:lnTo>
                    <a:pt x="6" y="306"/>
                  </a:lnTo>
                  <a:lnTo>
                    <a:pt x="2" y="312"/>
                  </a:lnTo>
                  <a:lnTo>
                    <a:pt x="0" y="318"/>
                  </a:lnTo>
                  <a:lnTo>
                    <a:pt x="2" y="326"/>
                  </a:lnTo>
                  <a:lnTo>
                    <a:pt x="6" y="332"/>
                  </a:lnTo>
                  <a:lnTo>
                    <a:pt x="6" y="332"/>
                  </a:lnTo>
                  <a:lnTo>
                    <a:pt x="12" y="336"/>
                  </a:lnTo>
                  <a:lnTo>
                    <a:pt x="18" y="338"/>
                  </a:lnTo>
                  <a:lnTo>
                    <a:pt x="27" y="336"/>
                  </a:lnTo>
                  <a:lnTo>
                    <a:pt x="33" y="332"/>
                  </a:lnTo>
                  <a:lnTo>
                    <a:pt x="33" y="332"/>
                  </a:lnTo>
                  <a:lnTo>
                    <a:pt x="49" y="314"/>
                  </a:lnTo>
                  <a:lnTo>
                    <a:pt x="63" y="296"/>
                  </a:lnTo>
                  <a:lnTo>
                    <a:pt x="73" y="277"/>
                  </a:lnTo>
                  <a:lnTo>
                    <a:pt x="84" y="257"/>
                  </a:lnTo>
                  <a:lnTo>
                    <a:pt x="92" y="234"/>
                  </a:lnTo>
                  <a:lnTo>
                    <a:pt x="96" y="212"/>
                  </a:lnTo>
                  <a:lnTo>
                    <a:pt x="100" y="192"/>
                  </a:lnTo>
                  <a:lnTo>
                    <a:pt x="100" y="169"/>
                  </a:lnTo>
                  <a:lnTo>
                    <a:pt x="100" y="169"/>
                  </a:lnTo>
                  <a:lnTo>
                    <a:pt x="100" y="147"/>
                  </a:lnTo>
                  <a:lnTo>
                    <a:pt x="96" y="124"/>
                  </a:lnTo>
                  <a:lnTo>
                    <a:pt x="92" y="104"/>
                  </a:lnTo>
                  <a:lnTo>
                    <a:pt x="84" y="81"/>
                  </a:lnTo>
                  <a:lnTo>
                    <a:pt x="73" y="61"/>
                  </a:lnTo>
                  <a:lnTo>
                    <a:pt x="63" y="41"/>
                  </a:lnTo>
                  <a:lnTo>
                    <a:pt x="49" y="22"/>
                  </a:lnTo>
                  <a:lnTo>
                    <a:pt x="33" y="6"/>
                  </a:lnTo>
                  <a:lnTo>
                    <a:pt x="33" y="6"/>
                  </a:lnTo>
                  <a:lnTo>
                    <a:pt x="27" y="2"/>
                  </a:lnTo>
                  <a:lnTo>
                    <a:pt x="18" y="0"/>
                  </a:lnTo>
                  <a:lnTo>
                    <a:pt x="12" y="2"/>
                  </a:lnTo>
                  <a:lnTo>
                    <a:pt x="6" y="6"/>
                  </a:lnTo>
                  <a:lnTo>
                    <a:pt x="6" y="6"/>
                  </a:lnTo>
                  <a:lnTo>
                    <a:pt x="2" y="12"/>
                  </a:lnTo>
                  <a:lnTo>
                    <a:pt x="0" y="18"/>
                  </a:lnTo>
                  <a:lnTo>
                    <a:pt x="2" y="26"/>
                  </a:lnTo>
                  <a:lnTo>
                    <a:pt x="6" y="33"/>
                  </a:lnTo>
                  <a:lnTo>
                    <a:pt x="6"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585"/>
            <p:cNvSpPr>
              <a:spLocks/>
            </p:cNvSpPr>
            <p:nvPr/>
          </p:nvSpPr>
          <p:spPr bwMode="auto">
            <a:xfrm>
              <a:off x="11809413" y="896938"/>
              <a:ext cx="119063" cy="339725"/>
            </a:xfrm>
            <a:custGeom>
              <a:avLst/>
              <a:gdLst/>
              <a:ahLst/>
              <a:cxnLst>
                <a:cxn ang="0">
                  <a:pos x="6" y="35"/>
                </a:cxn>
                <a:cxn ang="0">
                  <a:pos x="6" y="35"/>
                </a:cxn>
                <a:cxn ang="0">
                  <a:pos x="18" y="51"/>
                </a:cxn>
                <a:cxn ang="0">
                  <a:pos x="28" y="69"/>
                </a:cxn>
                <a:cxn ang="0">
                  <a:pos x="34" y="88"/>
                </a:cxn>
                <a:cxn ang="0">
                  <a:pos x="37" y="108"/>
                </a:cxn>
                <a:cxn ang="0">
                  <a:pos x="37" y="108"/>
                </a:cxn>
                <a:cxn ang="0">
                  <a:pos x="34" y="129"/>
                </a:cxn>
                <a:cxn ang="0">
                  <a:pos x="28" y="147"/>
                </a:cxn>
                <a:cxn ang="0">
                  <a:pos x="18" y="165"/>
                </a:cxn>
                <a:cxn ang="0">
                  <a:pos x="6" y="182"/>
                </a:cxn>
                <a:cxn ang="0">
                  <a:pos x="6" y="182"/>
                </a:cxn>
                <a:cxn ang="0">
                  <a:pos x="2" y="188"/>
                </a:cxn>
                <a:cxn ang="0">
                  <a:pos x="0" y="196"/>
                </a:cxn>
                <a:cxn ang="0">
                  <a:pos x="2" y="202"/>
                </a:cxn>
                <a:cxn ang="0">
                  <a:pos x="6" y="210"/>
                </a:cxn>
                <a:cxn ang="0">
                  <a:pos x="6" y="210"/>
                </a:cxn>
                <a:cxn ang="0">
                  <a:pos x="12" y="214"/>
                </a:cxn>
                <a:cxn ang="0">
                  <a:pos x="18" y="214"/>
                </a:cxn>
                <a:cxn ang="0">
                  <a:pos x="26" y="214"/>
                </a:cxn>
                <a:cxn ang="0">
                  <a:pos x="32" y="210"/>
                </a:cxn>
                <a:cxn ang="0">
                  <a:pos x="32" y="210"/>
                </a:cxn>
                <a:cxn ang="0">
                  <a:pos x="43" y="198"/>
                </a:cxn>
                <a:cxn ang="0">
                  <a:pos x="51" y="188"/>
                </a:cxn>
                <a:cxn ang="0">
                  <a:pos x="59" y="175"/>
                </a:cxn>
                <a:cxn ang="0">
                  <a:pos x="63" y="161"/>
                </a:cxn>
                <a:cxn ang="0">
                  <a:pos x="69" y="149"/>
                </a:cxn>
                <a:cxn ang="0">
                  <a:pos x="71" y="135"/>
                </a:cxn>
                <a:cxn ang="0">
                  <a:pos x="73" y="122"/>
                </a:cxn>
                <a:cxn ang="0">
                  <a:pos x="75" y="108"/>
                </a:cxn>
                <a:cxn ang="0">
                  <a:pos x="75" y="108"/>
                </a:cxn>
                <a:cxn ang="0">
                  <a:pos x="73" y="94"/>
                </a:cxn>
                <a:cxn ang="0">
                  <a:pos x="71" y="80"/>
                </a:cxn>
                <a:cxn ang="0">
                  <a:pos x="69" y="67"/>
                </a:cxn>
                <a:cxn ang="0">
                  <a:pos x="63" y="53"/>
                </a:cxn>
                <a:cxn ang="0">
                  <a:pos x="59" y="41"/>
                </a:cxn>
                <a:cxn ang="0">
                  <a:pos x="51" y="29"/>
                </a:cxn>
                <a:cxn ang="0">
                  <a:pos x="43" y="18"/>
                </a:cxn>
                <a:cxn ang="0">
                  <a:pos x="32" y="6"/>
                </a:cxn>
                <a:cxn ang="0">
                  <a:pos x="32" y="6"/>
                </a:cxn>
                <a:cxn ang="0">
                  <a:pos x="26" y="2"/>
                </a:cxn>
                <a:cxn ang="0">
                  <a:pos x="18" y="0"/>
                </a:cxn>
                <a:cxn ang="0">
                  <a:pos x="12" y="2"/>
                </a:cxn>
                <a:cxn ang="0">
                  <a:pos x="6" y="6"/>
                </a:cxn>
                <a:cxn ang="0">
                  <a:pos x="6" y="6"/>
                </a:cxn>
                <a:cxn ang="0">
                  <a:pos x="2" y="12"/>
                </a:cxn>
                <a:cxn ang="0">
                  <a:pos x="0" y="20"/>
                </a:cxn>
                <a:cxn ang="0">
                  <a:pos x="2" y="29"/>
                </a:cxn>
                <a:cxn ang="0">
                  <a:pos x="6" y="35"/>
                </a:cxn>
                <a:cxn ang="0">
                  <a:pos x="6" y="35"/>
                </a:cxn>
              </a:cxnLst>
              <a:rect l="0" t="0" r="r" b="b"/>
              <a:pathLst>
                <a:path w="75" h="214">
                  <a:moveTo>
                    <a:pt x="6" y="35"/>
                  </a:moveTo>
                  <a:lnTo>
                    <a:pt x="6" y="35"/>
                  </a:lnTo>
                  <a:lnTo>
                    <a:pt x="18" y="51"/>
                  </a:lnTo>
                  <a:lnTo>
                    <a:pt x="28" y="69"/>
                  </a:lnTo>
                  <a:lnTo>
                    <a:pt x="34" y="88"/>
                  </a:lnTo>
                  <a:lnTo>
                    <a:pt x="37" y="108"/>
                  </a:lnTo>
                  <a:lnTo>
                    <a:pt x="37" y="108"/>
                  </a:lnTo>
                  <a:lnTo>
                    <a:pt x="34" y="129"/>
                  </a:lnTo>
                  <a:lnTo>
                    <a:pt x="28" y="147"/>
                  </a:lnTo>
                  <a:lnTo>
                    <a:pt x="18" y="165"/>
                  </a:lnTo>
                  <a:lnTo>
                    <a:pt x="6" y="182"/>
                  </a:lnTo>
                  <a:lnTo>
                    <a:pt x="6" y="182"/>
                  </a:lnTo>
                  <a:lnTo>
                    <a:pt x="2" y="188"/>
                  </a:lnTo>
                  <a:lnTo>
                    <a:pt x="0" y="196"/>
                  </a:lnTo>
                  <a:lnTo>
                    <a:pt x="2" y="202"/>
                  </a:lnTo>
                  <a:lnTo>
                    <a:pt x="6" y="210"/>
                  </a:lnTo>
                  <a:lnTo>
                    <a:pt x="6" y="210"/>
                  </a:lnTo>
                  <a:lnTo>
                    <a:pt x="12" y="214"/>
                  </a:lnTo>
                  <a:lnTo>
                    <a:pt x="18" y="214"/>
                  </a:lnTo>
                  <a:lnTo>
                    <a:pt x="26" y="214"/>
                  </a:lnTo>
                  <a:lnTo>
                    <a:pt x="32" y="210"/>
                  </a:lnTo>
                  <a:lnTo>
                    <a:pt x="32" y="210"/>
                  </a:lnTo>
                  <a:lnTo>
                    <a:pt x="43" y="198"/>
                  </a:lnTo>
                  <a:lnTo>
                    <a:pt x="51" y="188"/>
                  </a:lnTo>
                  <a:lnTo>
                    <a:pt x="59" y="175"/>
                  </a:lnTo>
                  <a:lnTo>
                    <a:pt x="63" y="161"/>
                  </a:lnTo>
                  <a:lnTo>
                    <a:pt x="69" y="149"/>
                  </a:lnTo>
                  <a:lnTo>
                    <a:pt x="71" y="135"/>
                  </a:lnTo>
                  <a:lnTo>
                    <a:pt x="73" y="122"/>
                  </a:lnTo>
                  <a:lnTo>
                    <a:pt x="75" y="108"/>
                  </a:lnTo>
                  <a:lnTo>
                    <a:pt x="75" y="108"/>
                  </a:lnTo>
                  <a:lnTo>
                    <a:pt x="73" y="94"/>
                  </a:lnTo>
                  <a:lnTo>
                    <a:pt x="71" y="80"/>
                  </a:lnTo>
                  <a:lnTo>
                    <a:pt x="69" y="67"/>
                  </a:lnTo>
                  <a:lnTo>
                    <a:pt x="63" y="53"/>
                  </a:lnTo>
                  <a:lnTo>
                    <a:pt x="59" y="41"/>
                  </a:lnTo>
                  <a:lnTo>
                    <a:pt x="51" y="29"/>
                  </a:lnTo>
                  <a:lnTo>
                    <a:pt x="43" y="18"/>
                  </a:lnTo>
                  <a:lnTo>
                    <a:pt x="32" y="6"/>
                  </a:lnTo>
                  <a:lnTo>
                    <a:pt x="32" y="6"/>
                  </a:lnTo>
                  <a:lnTo>
                    <a:pt x="26" y="2"/>
                  </a:lnTo>
                  <a:lnTo>
                    <a:pt x="18" y="0"/>
                  </a:lnTo>
                  <a:lnTo>
                    <a:pt x="12" y="2"/>
                  </a:lnTo>
                  <a:lnTo>
                    <a:pt x="6" y="6"/>
                  </a:lnTo>
                  <a:lnTo>
                    <a:pt x="6" y="6"/>
                  </a:lnTo>
                  <a:lnTo>
                    <a:pt x="2" y="12"/>
                  </a:lnTo>
                  <a:lnTo>
                    <a:pt x="0" y="20"/>
                  </a:lnTo>
                  <a:lnTo>
                    <a:pt x="2" y="29"/>
                  </a:lnTo>
                  <a:lnTo>
                    <a:pt x="6" y="35"/>
                  </a:lnTo>
                  <a:lnTo>
                    <a:pt x="6"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0" name="Freeform 586"/>
            <p:cNvSpPr>
              <a:spLocks/>
            </p:cNvSpPr>
            <p:nvPr/>
          </p:nvSpPr>
          <p:spPr bwMode="auto">
            <a:xfrm>
              <a:off x="11453813" y="936625"/>
              <a:ext cx="115888" cy="241300"/>
            </a:xfrm>
            <a:custGeom>
              <a:avLst/>
              <a:gdLst/>
              <a:ahLst/>
              <a:cxnLst>
                <a:cxn ang="0">
                  <a:pos x="73" y="134"/>
                </a:cxn>
                <a:cxn ang="0">
                  <a:pos x="73" y="134"/>
                </a:cxn>
                <a:cxn ang="0">
                  <a:pos x="71" y="142"/>
                </a:cxn>
                <a:cxn ang="0">
                  <a:pos x="67" y="148"/>
                </a:cxn>
                <a:cxn ang="0">
                  <a:pos x="59" y="152"/>
                </a:cxn>
                <a:cxn ang="0">
                  <a:pos x="53" y="152"/>
                </a:cxn>
                <a:cxn ang="0">
                  <a:pos x="20" y="146"/>
                </a:cxn>
                <a:cxn ang="0">
                  <a:pos x="20" y="146"/>
                </a:cxn>
                <a:cxn ang="0">
                  <a:pos x="12" y="142"/>
                </a:cxn>
                <a:cxn ang="0">
                  <a:pos x="6" y="136"/>
                </a:cxn>
                <a:cxn ang="0">
                  <a:pos x="2" y="128"/>
                </a:cxn>
                <a:cxn ang="0">
                  <a:pos x="0" y="120"/>
                </a:cxn>
                <a:cxn ang="0">
                  <a:pos x="0" y="32"/>
                </a:cxn>
                <a:cxn ang="0">
                  <a:pos x="0" y="32"/>
                </a:cxn>
                <a:cxn ang="0">
                  <a:pos x="2" y="24"/>
                </a:cxn>
                <a:cxn ang="0">
                  <a:pos x="6" y="16"/>
                </a:cxn>
                <a:cxn ang="0">
                  <a:pos x="12" y="10"/>
                </a:cxn>
                <a:cxn ang="0">
                  <a:pos x="20" y="6"/>
                </a:cxn>
                <a:cxn ang="0">
                  <a:pos x="53" y="0"/>
                </a:cxn>
                <a:cxn ang="0">
                  <a:pos x="53" y="0"/>
                </a:cxn>
                <a:cxn ang="0">
                  <a:pos x="59" y="0"/>
                </a:cxn>
                <a:cxn ang="0">
                  <a:pos x="67" y="4"/>
                </a:cxn>
                <a:cxn ang="0">
                  <a:pos x="71" y="10"/>
                </a:cxn>
                <a:cxn ang="0">
                  <a:pos x="73" y="18"/>
                </a:cxn>
                <a:cxn ang="0">
                  <a:pos x="73" y="134"/>
                </a:cxn>
              </a:cxnLst>
              <a:rect l="0" t="0" r="r" b="b"/>
              <a:pathLst>
                <a:path w="73" h="152">
                  <a:moveTo>
                    <a:pt x="73" y="134"/>
                  </a:moveTo>
                  <a:lnTo>
                    <a:pt x="73" y="134"/>
                  </a:lnTo>
                  <a:lnTo>
                    <a:pt x="71" y="142"/>
                  </a:lnTo>
                  <a:lnTo>
                    <a:pt x="67" y="148"/>
                  </a:lnTo>
                  <a:lnTo>
                    <a:pt x="59" y="152"/>
                  </a:lnTo>
                  <a:lnTo>
                    <a:pt x="53" y="152"/>
                  </a:lnTo>
                  <a:lnTo>
                    <a:pt x="20" y="146"/>
                  </a:lnTo>
                  <a:lnTo>
                    <a:pt x="20" y="146"/>
                  </a:lnTo>
                  <a:lnTo>
                    <a:pt x="12" y="142"/>
                  </a:lnTo>
                  <a:lnTo>
                    <a:pt x="6" y="136"/>
                  </a:lnTo>
                  <a:lnTo>
                    <a:pt x="2" y="128"/>
                  </a:lnTo>
                  <a:lnTo>
                    <a:pt x="0" y="120"/>
                  </a:lnTo>
                  <a:lnTo>
                    <a:pt x="0" y="32"/>
                  </a:lnTo>
                  <a:lnTo>
                    <a:pt x="0" y="32"/>
                  </a:lnTo>
                  <a:lnTo>
                    <a:pt x="2" y="24"/>
                  </a:lnTo>
                  <a:lnTo>
                    <a:pt x="6" y="16"/>
                  </a:lnTo>
                  <a:lnTo>
                    <a:pt x="12" y="10"/>
                  </a:lnTo>
                  <a:lnTo>
                    <a:pt x="20" y="6"/>
                  </a:lnTo>
                  <a:lnTo>
                    <a:pt x="53" y="0"/>
                  </a:lnTo>
                  <a:lnTo>
                    <a:pt x="53" y="0"/>
                  </a:lnTo>
                  <a:lnTo>
                    <a:pt x="59" y="0"/>
                  </a:lnTo>
                  <a:lnTo>
                    <a:pt x="67" y="4"/>
                  </a:lnTo>
                  <a:lnTo>
                    <a:pt x="71" y="10"/>
                  </a:lnTo>
                  <a:lnTo>
                    <a:pt x="73" y="18"/>
                  </a:lnTo>
                  <a:lnTo>
                    <a:pt x="73" y="1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587"/>
            <p:cNvSpPr>
              <a:spLocks/>
            </p:cNvSpPr>
            <p:nvPr/>
          </p:nvSpPr>
          <p:spPr bwMode="auto">
            <a:xfrm>
              <a:off x="11588751" y="796925"/>
              <a:ext cx="174625" cy="520700"/>
            </a:xfrm>
            <a:custGeom>
              <a:avLst/>
              <a:gdLst/>
              <a:ahLst/>
              <a:cxnLst>
                <a:cxn ang="0">
                  <a:pos x="110" y="316"/>
                </a:cxn>
                <a:cxn ang="0">
                  <a:pos x="110" y="316"/>
                </a:cxn>
                <a:cxn ang="0">
                  <a:pos x="110" y="324"/>
                </a:cxn>
                <a:cxn ang="0">
                  <a:pos x="106" y="328"/>
                </a:cxn>
                <a:cxn ang="0">
                  <a:pos x="100" y="328"/>
                </a:cxn>
                <a:cxn ang="0">
                  <a:pos x="94" y="324"/>
                </a:cxn>
                <a:cxn ang="0">
                  <a:pos x="17" y="259"/>
                </a:cxn>
                <a:cxn ang="0">
                  <a:pos x="17" y="259"/>
                </a:cxn>
                <a:cxn ang="0">
                  <a:pos x="10" y="253"/>
                </a:cxn>
                <a:cxn ang="0">
                  <a:pos x="4" y="245"/>
                </a:cxn>
                <a:cxn ang="0">
                  <a:pos x="0" y="234"/>
                </a:cxn>
                <a:cxn ang="0">
                  <a:pos x="0" y="224"/>
                </a:cxn>
                <a:cxn ang="0">
                  <a:pos x="0" y="104"/>
                </a:cxn>
                <a:cxn ang="0">
                  <a:pos x="0" y="104"/>
                </a:cxn>
                <a:cxn ang="0">
                  <a:pos x="0" y="94"/>
                </a:cxn>
                <a:cxn ang="0">
                  <a:pos x="4" y="83"/>
                </a:cxn>
                <a:cxn ang="0">
                  <a:pos x="10" y="75"/>
                </a:cxn>
                <a:cxn ang="0">
                  <a:pos x="17" y="69"/>
                </a:cxn>
                <a:cxn ang="0">
                  <a:pos x="94" y="4"/>
                </a:cxn>
                <a:cxn ang="0">
                  <a:pos x="94" y="4"/>
                </a:cxn>
                <a:cxn ang="0">
                  <a:pos x="100" y="0"/>
                </a:cxn>
                <a:cxn ang="0">
                  <a:pos x="106" y="0"/>
                </a:cxn>
                <a:cxn ang="0">
                  <a:pos x="110" y="4"/>
                </a:cxn>
                <a:cxn ang="0">
                  <a:pos x="110" y="12"/>
                </a:cxn>
                <a:cxn ang="0">
                  <a:pos x="110" y="316"/>
                </a:cxn>
              </a:cxnLst>
              <a:rect l="0" t="0" r="r" b="b"/>
              <a:pathLst>
                <a:path w="110" h="328">
                  <a:moveTo>
                    <a:pt x="110" y="316"/>
                  </a:moveTo>
                  <a:lnTo>
                    <a:pt x="110" y="316"/>
                  </a:lnTo>
                  <a:lnTo>
                    <a:pt x="110" y="324"/>
                  </a:lnTo>
                  <a:lnTo>
                    <a:pt x="106" y="328"/>
                  </a:lnTo>
                  <a:lnTo>
                    <a:pt x="100" y="328"/>
                  </a:lnTo>
                  <a:lnTo>
                    <a:pt x="94" y="324"/>
                  </a:lnTo>
                  <a:lnTo>
                    <a:pt x="17" y="259"/>
                  </a:lnTo>
                  <a:lnTo>
                    <a:pt x="17" y="259"/>
                  </a:lnTo>
                  <a:lnTo>
                    <a:pt x="10" y="253"/>
                  </a:lnTo>
                  <a:lnTo>
                    <a:pt x="4" y="245"/>
                  </a:lnTo>
                  <a:lnTo>
                    <a:pt x="0" y="234"/>
                  </a:lnTo>
                  <a:lnTo>
                    <a:pt x="0" y="224"/>
                  </a:lnTo>
                  <a:lnTo>
                    <a:pt x="0" y="104"/>
                  </a:lnTo>
                  <a:lnTo>
                    <a:pt x="0" y="104"/>
                  </a:lnTo>
                  <a:lnTo>
                    <a:pt x="0" y="94"/>
                  </a:lnTo>
                  <a:lnTo>
                    <a:pt x="4" y="83"/>
                  </a:lnTo>
                  <a:lnTo>
                    <a:pt x="10" y="75"/>
                  </a:lnTo>
                  <a:lnTo>
                    <a:pt x="17" y="69"/>
                  </a:lnTo>
                  <a:lnTo>
                    <a:pt x="94" y="4"/>
                  </a:lnTo>
                  <a:lnTo>
                    <a:pt x="94" y="4"/>
                  </a:lnTo>
                  <a:lnTo>
                    <a:pt x="100" y="0"/>
                  </a:lnTo>
                  <a:lnTo>
                    <a:pt x="106" y="0"/>
                  </a:lnTo>
                  <a:lnTo>
                    <a:pt x="110" y="4"/>
                  </a:lnTo>
                  <a:lnTo>
                    <a:pt x="110" y="12"/>
                  </a:lnTo>
                  <a:lnTo>
                    <a:pt x="110" y="3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42" name="Freeform 37"/>
          <p:cNvSpPr>
            <a:spLocks noEditPoints="1"/>
          </p:cNvSpPr>
          <p:nvPr/>
        </p:nvSpPr>
        <p:spPr bwMode="auto">
          <a:xfrm>
            <a:off x="10645015" y="4709020"/>
            <a:ext cx="190003" cy="263620"/>
          </a:xfrm>
          <a:custGeom>
            <a:avLst/>
            <a:gdLst/>
            <a:ahLst/>
            <a:cxnLst>
              <a:cxn ang="0">
                <a:pos x="11396" y="7284"/>
              </a:cxn>
              <a:cxn ang="0">
                <a:pos x="10725" y="8227"/>
              </a:cxn>
              <a:cxn ang="0">
                <a:pos x="10190" y="7553"/>
              </a:cxn>
              <a:cxn ang="0">
                <a:pos x="9117" y="7014"/>
              </a:cxn>
              <a:cxn ang="0">
                <a:pos x="9117" y="8227"/>
              </a:cxn>
              <a:cxn ang="0">
                <a:pos x="8447" y="2158"/>
              </a:cxn>
              <a:cxn ang="0">
                <a:pos x="8178" y="1348"/>
              </a:cxn>
              <a:cxn ang="0">
                <a:pos x="7642" y="674"/>
              </a:cxn>
              <a:cxn ang="0">
                <a:pos x="6838" y="135"/>
              </a:cxn>
              <a:cxn ang="0">
                <a:pos x="5899" y="0"/>
              </a:cxn>
              <a:cxn ang="0">
                <a:pos x="4961" y="135"/>
              </a:cxn>
              <a:cxn ang="0">
                <a:pos x="4156" y="674"/>
              </a:cxn>
              <a:cxn ang="0">
                <a:pos x="3620" y="1348"/>
              </a:cxn>
              <a:cxn ang="0">
                <a:pos x="3352" y="2158"/>
              </a:cxn>
              <a:cxn ang="0">
                <a:pos x="2682" y="8227"/>
              </a:cxn>
              <a:cxn ang="0">
                <a:pos x="2682" y="7014"/>
              </a:cxn>
              <a:cxn ang="0">
                <a:pos x="1609" y="7553"/>
              </a:cxn>
              <a:cxn ang="0">
                <a:pos x="939" y="8227"/>
              </a:cxn>
              <a:cxn ang="0">
                <a:pos x="268" y="7284"/>
              </a:cxn>
              <a:cxn ang="0">
                <a:pos x="134" y="8498"/>
              </a:cxn>
              <a:cxn ang="0">
                <a:pos x="134" y="8902"/>
              </a:cxn>
              <a:cxn ang="0">
                <a:pos x="268" y="9846"/>
              </a:cxn>
              <a:cxn ang="0">
                <a:pos x="939" y="9711"/>
              </a:cxn>
              <a:cxn ang="0">
                <a:pos x="1743" y="9172"/>
              </a:cxn>
              <a:cxn ang="0">
                <a:pos x="2145" y="10655"/>
              </a:cxn>
              <a:cxn ang="0">
                <a:pos x="2816" y="11734"/>
              </a:cxn>
              <a:cxn ang="0">
                <a:pos x="3888" y="12679"/>
              </a:cxn>
              <a:cxn ang="0">
                <a:pos x="5229" y="13083"/>
              </a:cxn>
              <a:cxn ang="0">
                <a:pos x="2145" y="15511"/>
              </a:cxn>
              <a:cxn ang="0">
                <a:pos x="9653" y="16320"/>
              </a:cxn>
              <a:cxn ang="0">
                <a:pos x="6569" y="15511"/>
              </a:cxn>
              <a:cxn ang="0">
                <a:pos x="7105" y="12948"/>
              </a:cxn>
              <a:cxn ang="0">
                <a:pos x="8312" y="12274"/>
              </a:cxn>
              <a:cxn ang="0">
                <a:pos x="9251" y="11195"/>
              </a:cxn>
              <a:cxn ang="0">
                <a:pos x="9921" y="9846"/>
              </a:cxn>
              <a:cxn ang="0">
                <a:pos x="10725" y="9172"/>
              </a:cxn>
              <a:cxn ang="0">
                <a:pos x="11396" y="9846"/>
              </a:cxn>
              <a:cxn ang="0">
                <a:pos x="11396" y="9037"/>
              </a:cxn>
              <a:cxn ang="0">
                <a:pos x="11664" y="8632"/>
              </a:cxn>
              <a:cxn ang="0">
                <a:pos x="11396" y="8227"/>
              </a:cxn>
              <a:cxn ang="0">
                <a:pos x="6972" y="1888"/>
              </a:cxn>
              <a:cxn ang="0">
                <a:pos x="7508" y="1888"/>
              </a:cxn>
              <a:cxn ang="0">
                <a:pos x="7642" y="3641"/>
              </a:cxn>
              <a:cxn ang="0">
                <a:pos x="7239" y="3912"/>
              </a:cxn>
              <a:cxn ang="0">
                <a:pos x="6972" y="3641"/>
              </a:cxn>
              <a:cxn ang="0">
                <a:pos x="8044" y="11060"/>
              </a:cxn>
              <a:cxn ang="0">
                <a:pos x="7105" y="11869"/>
              </a:cxn>
              <a:cxn ang="0">
                <a:pos x="5899" y="12139"/>
              </a:cxn>
              <a:cxn ang="0">
                <a:pos x="4692" y="11869"/>
              </a:cxn>
              <a:cxn ang="0">
                <a:pos x="3620" y="11060"/>
              </a:cxn>
              <a:cxn ang="0">
                <a:pos x="2816" y="9172"/>
              </a:cxn>
              <a:cxn ang="0">
                <a:pos x="3352" y="9441"/>
              </a:cxn>
              <a:cxn ang="0">
                <a:pos x="3620" y="10251"/>
              </a:cxn>
              <a:cxn ang="0">
                <a:pos x="4156" y="10925"/>
              </a:cxn>
              <a:cxn ang="0">
                <a:pos x="4961" y="11465"/>
              </a:cxn>
              <a:cxn ang="0">
                <a:pos x="5899" y="11599"/>
              </a:cxn>
              <a:cxn ang="0">
                <a:pos x="6838" y="11465"/>
              </a:cxn>
              <a:cxn ang="0">
                <a:pos x="7642" y="10925"/>
              </a:cxn>
              <a:cxn ang="0">
                <a:pos x="8178" y="10251"/>
              </a:cxn>
              <a:cxn ang="0">
                <a:pos x="8447" y="9441"/>
              </a:cxn>
              <a:cxn ang="0">
                <a:pos x="8983" y="9172"/>
              </a:cxn>
              <a:cxn ang="0">
                <a:pos x="8044" y="11060"/>
              </a:cxn>
            </a:cxnLst>
            <a:rect l="0" t="0" r="r" b="b"/>
            <a:pathLst>
              <a:path w="11664" h="16320">
                <a:moveTo>
                  <a:pt x="11396" y="8227"/>
                </a:moveTo>
                <a:lnTo>
                  <a:pt x="11396" y="7284"/>
                </a:lnTo>
                <a:lnTo>
                  <a:pt x="10725" y="7284"/>
                </a:lnTo>
                <a:lnTo>
                  <a:pt x="10725" y="8227"/>
                </a:lnTo>
                <a:lnTo>
                  <a:pt x="10190" y="8227"/>
                </a:lnTo>
                <a:lnTo>
                  <a:pt x="10190" y="7553"/>
                </a:lnTo>
                <a:lnTo>
                  <a:pt x="10190" y="7014"/>
                </a:lnTo>
                <a:lnTo>
                  <a:pt x="9117" y="7014"/>
                </a:lnTo>
                <a:lnTo>
                  <a:pt x="9117" y="7553"/>
                </a:lnTo>
                <a:lnTo>
                  <a:pt x="9117" y="8227"/>
                </a:lnTo>
                <a:lnTo>
                  <a:pt x="8447" y="8227"/>
                </a:lnTo>
                <a:lnTo>
                  <a:pt x="8447" y="2158"/>
                </a:lnTo>
                <a:lnTo>
                  <a:pt x="8312" y="1753"/>
                </a:lnTo>
                <a:lnTo>
                  <a:pt x="8178" y="1348"/>
                </a:lnTo>
                <a:lnTo>
                  <a:pt x="7911" y="945"/>
                </a:lnTo>
                <a:lnTo>
                  <a:pt x="7642" y="674"/>
                </a:lnTo>
                <a:lnTo>
                  <a:pt x="7239" y="405"/>
                </a:lnTo>
                <a:lnTo>
                  <a:pt x="6838" y="135"/>
                </a:lnTo>
                <a:lnTo>
                  <a:pt x="6435" y="0"/>
                </a:lnTo>
                <a:lnTo>
                  <a:pt x="5899" y="0"/>
                </a:lnTo>
                <a:lnTo>
                  <a:pt x="5363" y="0"/>
                </a:lnTo>
                <a:lnTo>
                  <a:pt x="4961" y="135"/>
                </a:lnTo>
                <a:lnTo>
                  <a:pt x="4559" y="405"/>
                </a:lnTo>
                <a:lnTo>
                  <a:pt x="4156" y="674"/>
                </a:lnTo>
                <a:lnTo>
                  <a:pt x="3888" y="945"/>
                </a:lnTo>
                <a:lnTo>
                  <a:pt x="3620" y="1348"/>
                </a:lnTo>
                <a:lnTo>
                  <a:pt x="3486" y="1753"/>
                </a:lnTo>
                <a:lnTo>
                  <a:pt x="3352" y="2158"/>
                </a:lnTo>
                <a:lnTo>
                  <a:pt x="3352" y="8227"/>
                </a:lnTo>
                <a:lnTo>
                  <a:pt x="2682" y="8227"/>
                </a:lnTo>
                <a:lnTo>
                  <a:pt x="2682" y="7553"/>
                </a:lnTo>
                <a:lnTo>
                  <a:pt x="2682" y="7014"/>
                </a:lnTo>
                <a:lnTo>
                  <a:pt x="1609" y="7014"/>
                </a:lnTo>
                <a:lnTo>
                  <a:pt x="1609" y="7553"/>
                </a:lnTo>
                <a:lnTo>
                  <a:pt x="1609" y="8227"/>
                </a:lnTo>
                <a:lnTo>
                  <a:pt x="939" y="8227"/>
                </a:lnTo>
                <a:lnTo>
                  <a:pt x="939" y="7284"/>
                </a:lnTo>
                <a:lnTo>
                  <a:pt x="268" y="7284"/>
                </a:lnTo>
                <a:lnTo>
                  <a:pt x="268" y="8227"/>
                </a:lnTo>
                <a:lnTo>
                  <a:pt x="134" y="8498"/>
                </a:lnTo>
                <a:lnTo>
                  <a:pt x="0" y="8632"/>
                </a:lnTo>
                <a:lnTo>
                  <a:pt x="134" y="8902"/>
                </a:lnTo>
                <a:lnTo>
                  <a:pt x="268" y="9037"/>
                </a:lnTo>
                <a:lnTo>
                  <a:pt x="268" y="9846"/>
                </a:lnTo>
                <a:lnTo>
                  <a:pt x="939" y="9846"/>
                </a:lnTo>
                <a:lnTo>
                  <a:pt x="939" y="9711"/>
                </a:lnTo>
                <a:lnTo>
                  <a:pt x="939" y="9172"/>
                </a:lnTo>
                <a:lnTo>
                  <a:pt x="1743" y="9172"/>
                </a:lnTo>
                <a:lnTo>
                  <a:pt x="1877" y="9846"/>
                </a:lnTo>
                <a:lnTo>
                  <a:pt x="2145" y="10655"/>
                </a:lnTo>
                <a:lnTo>
                  <a:pt x="2413" y="11195"/>
                </a:lnTo>
                <a:lnTo>
                  <a:pt x="2816" y="11734"/>
                </a:lnTo>
                <a:lnTo>
                  <a:pt x="3352" y="12274"/>
                </a:lnTo>
                <a:lnTo>
                  <a:pt x="3888" y="12679"/>
                </a:lnTo>
                <a:lnTo>
                  <a:pt x="4559" y="12948"/>
                </a:lnTo>
                <a:lnTo>
                  <a:pt x="5229" y="13083"/>
                </a:lnTo>
                <a:lnTo>
                  <a:pt x="5229" y="15511"/>
                </a:lnTo>
                <a:lnTo>
                  <a:pt x="2145" y="15511"/>
                </a:lnTo>
                <a:lnTo>
                  <a:pt x="2145" y="16320"/>
                </a:lnTo>
                <a:lnTo>
                  <a:pt x="9653" y="16320"/>
                </a:lnTo>
                <a:lnTo>
                  <a:pt x="9653" y="15511"/>
                </a:lnTo>
                <a:lnTo>
                  <a:pt x="6569" y="15511"/>
                </a:lnTo>
                <a:lnTo>
                  <a:pt x="6569" y="13083"/>
                </a:lnTo>
                <a:lnTo>
                  <a:pt x="7105" y="12948"/>
                </a:lnTo>
                <a:lnTo>
                  <a:pt x="7776" y="12679"/>
                </a:lnTo>
                <a:lnTo>
                  <a:pt x="8312" y="12274"/>
                </a:lnTo>
                <a:lnTo>
                  <a:pt x="8848" y="11734"/>
                </a:lnTo>
                <a:lnTo>
                  <a:pt x="9251" y="11195"/>
                </a:lnTo>
                <a:lnTo>
                  <a:pt x="9653" y="10655"/>
                </a:lnTo>
                <a:lnTo>
                  <a:pt x="9921" y="9846"/>
                </a:lnTo>
                <a:lnTo>
                  <a:pt x="10055" y="9172"/>
                </a:lnTo>
                <a:lnTo>
                  <a:pt x="10725" y="9172"/>
                </a:lnTo>
                <a:lnTo>
                  <a:pt x="10725" y="9846"/>
                </a:lnTo>
                <a:lnTo>
                  <a:pt x="11396" y="9846"/>
                </a:lnTo>
                <a:lnTo>
                  <a:pt x="11396" y="9711"/>
                </a:lnTo>
                <a:lnTo>
                  <a:pt x="11396" y="9037"/>
                </a:lnTo>
                <a:lnTo>
                  <a:pt x="11664" y="8902"/>
                </a:lnTo>
                <a:lnTo>
                  <a:pt x="11664" y="8632"/>
                </a:lnTo>
                <a:lnTo>
                  <a:pt x="11664" y="8498"/>
                </a:lnTo>
                <a:lnTo>
                  <a:pt x="11396" y="8227"/>
                </a:lnTo>
                <a:close/>
                <a:moveTo>
                  <a:pt x="6972" y="2158"/>
                </a:moveTo>
                <a:lnTo>
                  <a:pt x="6972" y="1888"/>
                </a:lnTo>
                <a:lnTo>
                  <a:pt x="7239" y="1753"/>
                </a:lnTo>
                <a:lnTo>
                  <a:pt x="7508" y="1888"/>
                </a:lnTo>
                <a:lnTo>
                  <a:pt x="7642" y="2158"/>
                </a:lnTo>
                <a:lnTo>
                  <a:pt x="7642" y="3641"/>
                </a:lnTo>
                <a:lnTo>
                  <a:pt x="7508" y="3777"/>
                </a:lnTo>
                <a:lnTo>
                  <a:pt x="7239" y="3912"/>
                </a:lnTo>
                <a:lnTo>
                  <a:pt x="6972" y="3777"/>
                </a:lnTo>
                <a:lnTo>
                  <a:pt x="6972" y="3641"/>
                </a:lnTo>
                <a:lnTo>
                  <a:pt x="6972" y="2158"/>
                </a:lnTo>
                <a:close/>
                <a:moveTo>
                  <a:pt x="8044" y="11060"/>
                </a:moveTo>
                <a:lnTo>
                  <a:pt x="7642" y="11465"/>
                </a:lnTo>
                <a:lnTo>
                  <a:pt x="7105" y="11869"/>
                </a:lnTo>
                <a:lnTo>
                  <a:pt x="6435" y="12004"/>
                </a:lnTo>
                <a:lnTo>
                  <a:pt x="5899" y="12139"/>
                </a:lnTo>
                <a:lnTo>
                  <a:pt x="5229" y="12004"/>
                </a:lnTo>
                <a:lnTo>
                  <a:pt x="4692" y="11869"/>
                </a:lnTo>
                <a:lnTo>
                  <a:pt x="4156" y="11465"/>
                </a:lnTo>
                <a:lnTo>
                  <a:pt x="3620" y="11060"/>
                </a:lnTo>
                <a:lnTo>
                  <a:pt x="3218" y="10251"/>
                </a:lnTo>
                <a:lnTo>
                  <a:pt x="2816" y="9172"/>
                </a:lnTo>
                <a:lnTo>
                  <a:pt x="3352" y="9172"/>
                </a:lnTo>
                <a:lnTo>
                  <a:pt x="3352" y="9441"/>
                </a:lnTo>
                <a:lnTo>
                  <a:pt x="3486" y="9846"/>
                </a:lnTo>
                <a:lnTo>
                  <a:pt x="3620" y="10251"/>
                </a:lnTo>
                <a:lnTo>
                  <a:pt x="3888" y="10655"/>
                </a:lnTo>
                <a:lnTo>
                  <a:pt x="4156" y="10925"/>
                </a:lnTo>
                <a:lnTo>
                  <a:pt x="4559" y="11195"/>
                </a:lnTo>
                <a:lnTo>
                  <a:pt x="4961" y="11465"/>
                </a:lnTo>
                <a:lnTo>
                  <a:pt x="5363" y="11599"/>
                </a:lnTo>
                <a:lnTo>
                  <a:pt x="5899" y="11599"/>
                </a:lnTo>
                <a:lnTo>
                  <a:pt x="6435" y="11599"/>
                </a:lnTo>
                <a:lnTo>
                  <a:pt x="6838" y="11465"/>
                </a:lnTo>
                <a:lnTo>
                  <a:pt x="7239" y="11195"/>
                </a:lnTo>
                <a:lnTo>
                  <a:pt x="7642" y="10925"/>
                </a:lnTo>
                <a:lnTo>
                  <a:pt x="7911" y="10655"/>
                </a:lnTo>
                <a:lnTo>
                  <a:pt x="8178" y="10251"/>
                </a:lnTo>
                <a:lnTo>
                  <a:pt x="8312" y="9846"/>
                </a:lnTo>
                <a:lnTo>
                  <a:pt x="8447" y="9441"/>
                </a:lnTo>
                <a:lnTo>
                  <a:pt x="8447" y="9172"/>
                </a:lnTo>
                <a:lnTo>
                  <a:pt x="8983" y="9172"/>
                </a:lnTo>
                <a:lnTo>
                  <a:pt x="8581" y="10251"/>
                </a:lnTo>
                <a:lnTo>
                  <a:pt x="8044" y="11060"/>
                </a:lnTo>
                <a:close/>
              </a:path>
            </a:pathLst>
          </a:custGeom>
          <a:solidFill>
            <a:schemeClr val="bg1"/>
          </a:solidFill>
          <a:ln w="9525">
            <a:noFill/>
            <a:round/>
            <a:headEnd/>
            <a:tailEnd/>
          </a:ln>
          <a:scene3d>
            <a:camera prst="orthographicFront"/>
            <a:lightRig rig="threePt" dir="t"/>
          </a:scene3d>
        </p:spPr>
        <p:txBody>
          <a:bodyPr vert="horz" wrap="square" lIns="91440" tIns="45720" rIns="91440" bIns="45720" numCol="1" anchor="t" anchorCtr="0" compatLnSpc="1">
            <a:prstTxWarp prst="textNoShape">
              <a:avLst/>
            </a:prstTxWarp>
          </a:bodyPr>
          <a:lstStyle/>
          <a:p>
            <a:endParaRPr lang="zh-CN" altLang="en-US"/>
          </a:p>
        </p:txBody>
      </p:sp>
      <p:sp>
        <p:nvSpPr>
          <p:cNvPr id="43" name="TextBox 42"/>
          <p:cNvSpPr txBox="1"/>
          <p:nvPr/>
        </p:nvSpPr>
        <p:spPr>
          <a:xfrm>
            <a:off x="9092230" y="5619516"/>
            <a:ext cx="707290"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rgbClr val="00B050"/>
                </a:solidFill>
              </a:rPr>
              <a:t>Trash bin</a:t>
            </a:r>
            <a:endParaRPr lang="zh-CN" altLang="en-US" sz="900" dirty="0">
              <a:solidFill>
                <a:srgbClr val="00B050"/>
              </a:solidFill>
            </a:endParaRPr>
          </a:p>
        </p:txBody>
      </p:sp>
      <p:sp>
        <p:nvSpPr>
          <p:cNvPr id="44" name="TextBox 43"/>
          <p:cNvSpPr txBox="1"/>
          <p:nvPr/>
        </p:nvSpPr>
        <p:spPr>
          <a:xfrm>
            <a:off x="9745229" y="5482060"/>
            <a:ext cx="660671" cy="3693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Garbage truck</a:t>
            </a:r>
            <a:endParaRPr lang="zh-CN" altLang="en-US" sz="900" dirty="0">
              <a:solidFill>
                <a:schemeClr val="bg1"/>
              </a:solidFill>
            </a:endParaRPr>
          </a:p>
        </p:txBody>
      </p:sp>
      <p:sp>
        <p:nvSpPr>
          <p:cNvPr id="45" name="TextBox 44"/>
          <p:cNvSpPr txBox="1"/>
          <p:nvPr/>
        </p:nvSpPr>
        <p:spPr>
          <a:xfrm>
            <a:off x="10320246" y="5611148"/>
            <a:ext cx="1080679" cy="230832"/>
          </a:xfrm>
          <a:prstGeom prst="rect">
            <a:avLst/>
          </a:prstGeom>
          <a:noFill/>
          <a:scene3d>
            <a:camera prst="orthographicFront"/>
            <a:lightRig rig="threePt" dir="t"/>
          </a:scene3d>
        </p:spPr>
        <p:txBody>
          <a:bodyPr wrap="square" rtlCol="0">
            <a:spAutoFit/>
          </a:bodyPr>
          <a:lstStyle/>
          <a:p>
            <a:pPr algn="ctr"/>
            <a:r>
              <a:rPr lang="zh-CN" altLang="en-US" sz="900" dirty="0" smtClean="0">
                <a:solidFill>
                  <a:schemeClr val="bg1"/>
                </a:solidFill>
              </a:rPr>
              <a:t>Sanitation worker</a:t>
            </a:r>
            <a:endParaRPr lang="zh-CN" altLang="en-US" sz="900" dirty="0">
              <a:solidFill>
                <a:schemeClr val="bg1"/>
              </a:solidFill>
            </a:endParaRPr>
          </a:p>
        </p:txBody>
      </p:sp>
      <p:sp>
        <p:nvSpPr>
          <p:cNvPr id="47" name="Freeform 82"/>
          <p:cNvSpPr>
            <a:spLocks noEditPoints="1"/>
          </p:cNvSpPr>
          <p:nvPr/>
        </p:nvSpPr>
        <p:spPr bwMode="auto">
          <a:xfrm>
            <a:off x="9875359" y="5312133"/>
            <a:ext cx="355546" cy="176019"/>
          </a:xfrm>
          <a:custGeom>
            <a:avLst/>
            <a:gdLst/>
            <a:ahLst/>
            <a:cxnLst>
              <a:cxn ang="0">
                <a:pos x="16000" y="4310"/>
              </a:cxn>
              <a:cxn ang="0">
                <a:pos x="16737" y="5466"/>
              </a:cxn>
              <a:cxn ang="0">
                <a:pos x="16633" y="7147"/>
              </a:cxn>
              <a:cxn ang="0">
                <a:pos x="16317" y="6097"/>
              </a:cxn>
              <a:cxn ang="0">
                <a:pos x="15474" y="5361"/>
              </a:cxn>
              <a:cxn ang="0">
                <a:pos x="14422" y="5255"/>
              </a:cxn>
              <a:cxn ang="0">
                <a:pos x="13369" y="5781"/>
              </a:cxn>
              <a:cxn ang="0">
                <a:pos x="12948" y="6727"/>
              </a:cxn>
              <a:cxn ang="0">
                <a:pos x="10211" y="7463"/>
              </a:cxn>
              <a:cxn ang="0">
                <a:pos x="4632" y="7989"/>
              </a:cxn>
              <a:cxn ang="0">
                <a:pos x="4843" y="6622"/>
              </a:cxn>
              <a:cxn ang="0">
                <a:pos x="10421" y="1156"/>
              </a:cxn>
              <a:cxn ang="0">
                <a:pos x="15264" y="3468"/>
              </a:cxn>
              <a:cxn ang="0">
                <a:pos x="2421" y="5781"/>
              </a:cxn>
              <a:cxn ang="0">
                <a:pos x="1474" y="7147"/>
              </a:cxn>
              <a:cxn ang="0">
                <a:pos x="2421" y="8513"/>
              </a:cxn>
              <a:cxn ang="0">
                <a:pos x="4000" y="8199"/>
              </a:cxn>
              <a:cxn ang="0">
                <a:pos x="4316" y="6517"/>
              </a:cxn>
              <a:cxn ang="0">
                <a:pos x="2948" y="5571"/>
              </a:cxn>
              <a:cxn ang="0">
                <a:pos x="3579" y="6517"/>
              </a:cxn>
              <a:cxn ang="0">
                <a:pos x="3685" y="7463"/>
              </a:cxn>
              <a:cxn ang="0">
                <a:pos x="2948" y="7989"/>
              </a:cxn>
              <a:cxn ang="0">
                <a:pos x="2211" y="7463"/>
              </a:cxn>
              <a:cxn ang="0">
                <a:pos x="2421" y="6517"/>
              </a:cxn>
              <a:cxn ang="0">
                <a:pos x="9474" y="0"/>
              </a:cxn>
              <a:cxn ang="0">
                <a:pos x="421" y="420"/>
              </a:cxn>
              <a:cxn ang="0">
                <a:pos x="6000" y="1052"/>
              </a:cxn>
              <a:cxn ang="0">
                <a:pos x="6000" y="3889"/>
              </a:cxn>
              <a:cxn ang="0">
                <a:pos x="527" y="5781"/>
              </a:cxn>
              <a:cxn ang="0">
                <a:pos x="1895" y="5676"/>
              </a:cxn>
              <a:cxn ang="0">
                <a:pos x="2948" y="5255"/>
              </a:cxn>
              <a:cxn ang="0">
                <a:pos x="4106" y="5676"/>
              </a:cxn>
              <a:cxn ang="0">
                <a:pos x="9474" y="5781"/>
              </a:cxn>
              <a:cxn ang="0">
                <a:pos x="9896" y="316"/>
              </a:cxn>
              <a:cxn ang="0">
                <a:pos x="1264" y="6307"/>
              </a:cxn>
              <a:cxn ang="0">
                <a:pos x="1158" y="7463"/>
              </a:cxn>
              <a:cxn ang="0">
                <a:pos x="0" y="6307"/>
              </a:cxn>
              <a:cxn ang="0">
                <a:pos x="10421" y="7778"/>
              </a:cxn>
              <a:cxn ang="0">
                <a:pos x="12948" y="7778"/>
              </a:cxn>
              <a:cxn ang="0">
                <a:pos x="13685" y="6097"/>
              </a:cxn>
              <a:cxn ang="0">
                <a:pos x="13369" y="7673"/>
              </a:cxn>
              <a:cxn ang="0">
                <a:pos x="14737" y="8619"/>
              </a:cxn>
              <a:cxn ang="0">
                <a:pos x="16106" y="7673"/>
              </a:cxn>
              <a:cxn ang="0">
                <a:pos x="15790" y="6097"/>
              </a:cxn>
              <a:cxn ang="0">
                <a:pos x="14737" y="6307"/>
              </a:cxn>
              <a:cxn ang="0">
                <a:pos x="14001" y="6832"/>
              </a:cxn>
              <a:cxn ang="0">
                <a:pos x="14212" y="7673"/>
              </a:cxn>
              <a:cxn ang="0">
                <a:pos x="15053" y="7883"/>
              </a:cxn>
              <a:cxn ang="0">
                <a:pos x="15580" y="7147"/>
              </a:cxn>
              <a:cxn ang="0">
                <a:pos x="15053" y="6411"/>
              </a:cxn>
              <a:cxn ang="0">
                <a:pos x="11053" y="4310"/>
              </a:cxn>
              <a:cxn ang="0">
                <a:pos x="12105" y="3994"/>
              </a:cxn>
              <a:cxn ang="0">
                <a:pos x="14527" y="3889"/>
              </a:cxn>
              <a:cxn ang="0">
                <a:pos x="11158" y="1682"/>
              </a:cxn>
              <a:cxn ang="0">
                <a:pos x="13369" y="3784"/>
              </a:cxn>
            </a:cxnLst>
            <a:rect l="0" t="0" r="r" b="b"/>
            <a:pathLst>
              <a:path w="17264" h="8619">
                <a:moveTo>
                  <a:pt x="16211" y="3889"/>
                </a:moveTo>
                <a:lnTo>
                  <a:pt x="16421" y="4310"/>
                </a:lnTo>
                <a:lnTo>
                  <a:pt x="16000" y="4310"/>
                </a:lnTo>
                <a:lnTo>
                  <a:pt x="16000" y="5045"/>
                </a:lnTo>
                <a:lnTo>
                  <a:pt x="16633" y="5045"/>
                </a:lnTo>
                <a:lnTo>
                  <a:pt x="16737" y="5466"/>
                </a:lnTo>
                <a:lnTo>
                  <a:pt x="17264" y="5571"/>
                </a:lnTo>
                <a:lnTo>
                  <a:pt x="17158" y="6937"/>
                </a:lnTo>
                <a:lnTo>
                  <a:pt x="16633" y="7147"/>
                </a:lnTo>
                <a:lnTo>
                  <a:pt x="16633" y="6727"/>
                </a:lnTo>
                <a:lnTo>
                  <a:pt x="16527" y="6411"/>
                </a:lnTo>
                <a:lnTo>
                  <a:pt x="16317" y="6097"/>
                </a:lnTo>
                <a:lnTo>
                  <a:pt x="16106" y="5781"/>
                </a:lnTo>
                <a:lnTo>
                  <a:pt x="15790" y="5571"/>
                </a:lnTo>
                <a:lnTo>
                  <a:pt x="15474" y="5361"/>
                </a:lnTo>
                <a:lnTo>
                  <a:pt x="15159" y="5255"/>
                </a:lnTo>
                <a:lnTo>
                  <a:pt x="14737" y="5255"/>
                </a:lnTo>
                <a:lnTo>
                  <a:pt x="14422" y="5255"/>
                </a:lnTo>
                <a:lnTo>
                  <a:pt x="14001" y="5361"/>
                </a:lnTo>
                <a:lnTo>
                  <a:pt x="13685" y="5571"/>
                </a:lnTo>
                <a:lnTo>
                  <a:pt x="13369" y="5781"/>
                </a:lnTo>
                <a:lnTo>
                  <a:pt x="13158" y="6097"/>
                </a:lnTo>
                <a:lnTo>
                  <a:pt x="13054" y="6411"/>
                </a:lnTo>
                <a:lnTo>
                  <a:pt x="12948" y="6727"/>
                </a:lnTo>
                <a:lnTo>
                  <a:pt x="12842" y="7147"/>
                </a:lnTo>
                <a:lnTo>
                  <a:pt x="12842" y="7463"/>
                </a:lnTo>
                <a:lnTo>
                  <a:pt x="10211" y="7463"/>
                </a:lnTo>
                <a:lnTo>
                  <a:pt x="9896" y="7989"/>
                </a:lnTo>
                <a:lnTo>
                  <a:pt x="5895" y="7989"/>
                </a:lnTo>
                <a:lnTo>
                  <a:pt x="4632" y="7989"/>
                </a:lnTo>
                <a:lnTo>
                  <a:pt x="4843" y="7463"/>
                </a:lnTo>
                <a:lnTo>
                  <a:pt x="4843" y="7043"/>
                </a:lnTo>
                <a:lnTo>
                  <a:pt x="4843" y="6622"/>
                </a:lnTo>
                <a:lnTo>
                  <a:pt x="4737" y="6307"/>
                </a:lnTo>
                <a:lnTo>
                  <a:pt x="10106" y="6307"/>
                </a:lnTo>
                <a:lnTo>
                  <a:pt x="10421" y="1156"/>
                </a:lnTo>
                <a:lnTo>
                  <a:pt x="12317" y="1156"/>
                </a:lnTo>
                <a:lnTo>
                  <a:pt x="13685" y="1262"/>
                </a:lnTo>
                <a:lnTo>
                  <a:pt x="15264" y="3468"/>
                </a:lnTo>
                <a:lnTo>
                  <a:pt x="16211" y="3889"/>
                </a:lnTo>
                <a:close/>
                <a:moveTo>
                  <a:pt x="2948" y="5571"/>
                </a:moveTo>
                <a:lnTo>
                  <a:pt x="2421" y="5781"/>
                </a:lnTo>
                <a:lnTo>
                  <a:pt x="1895" y="6097"/>
                </a:lnTo>
                <a:lnTo>
                  <a:pt x="1579" y="6517"/>
                </a:lnTo>
                <a:lnTo>
                  <a:pt x="1474" y="7147"/>
                </a:lnTo>
                <a:lnTo>
                  <a:pt x="1579" y="7673"/>
                </a:lnTo>
                <a:lnTo>
                  <a:pt x="1895" y="8199"/>
                </a:lnTo>
                <a:lnTo>
                  <a:pt x="2421" y="8513"/>
                </a:lnTo>
                <a:lnTo>
                  <a:pt x="2948" y="8619"/>
                </a:lnTo>
                <a:lnTo>
                  <a:pt x="3579" y="8513"/>
                </a:lnTo>
                <a:lnTo>
                  <a:pt x="4000" y="8199"/>
                </a:lnTo>
                <a:lnTo>
                  <a:pt x="4316" y="7673"/>
                </a:lnTo>
                <a:lnTo>
                  <a:pt x="4526" y="7147"/>
                </a:lnTo>
                <a:lnTo>
                  <a:pt x="4316" y="6517"/>
                </a:lnTo>
                <a:lnTo>
                  <a:pt x="4000" y="6097"/>
                </a:lnTo>
                <a:lnTo>
                  <a:pt x="3579" y="5781"/>
                </a:lnTo>
                <a:lnTo>
                  <a:pt x="2948" y="5571"/>
                </a:lnTo>
                <a:close/>
                <a:moveTo>
                  <a:pt x="2948" y="6307"/>
                </a:moveTo>
                <a:lnTo>
                  <a:pt x="3263" y="6411"/>
                </a:lnTo>
                <a:lnTo>
                  <a:pt x="3579" y="6517"/>
                </a:lnTo>
                <a:lnTo>
                  <a:pt x="3685" y="6832"/>
                </a:lnTo>
                <a:lnTo>
                  <a:pt x="3789" y="7147"/>
                </a:lnTo>
                <a:lnTo>
                  <a:pt x="3685" y="7463"/>
                </a:lnTo>
                <a:lnTo>
                  <a:pt x="3579" y="7673"/>
                </a:lnTo>
                <a:lnTo>
                  <a:pt x="3263" y="7883"/>
                </a:lnTo>
                <a:lnTo>
                  <a:pt x="2948" y="7989"/>
                </a:lnTo>
                <a:lnTo>
                  <a:pt x="2632" y="7883"/>
                </a:lnTo>
                <a:lnTo>
                  <a:pt x="2421" y="7673"/>
                </a:lnTo>
                <a:lnTo>
                  <a:pt x="2211" y="7463"/>
                </a:lnTo>
                <a:lnTo>
                  <a:pt x="2105" y="7147"/>
                </a:lnTo>
                <a:lnTo>
                  <a:pt x="2211" y="6832"/>
                </a:lnTo>
                <a:lnTo>
                  <a:pt x="2421" y="6517"/>
                </a:lnTo>
                <a:lnTo>
                  <a:pt x="2632" y="6411"/>
                </a:lnTo>
                <a:lnTo>
                  <a:pt x="2948" y="6307"/>
                </a:lnTo>
                <a:close/>
                <a:moveTo>
                  <a:pt x="9474" y="0"/>
                </a:moveTo>
                <a:lnTo>
                  <a:pt x="842" y="0"/>
                </a:lnTo>
                <a:lnTo>
                  <a:pt x="527" y="106"/>
                </a:lnTo>
                <a:lnTo>
                  <a:pt x="421" y="420"/>
                </a:lnTo>
                <a:lnTo>
                  <a:pt x="421" y="1997"/>
                </a:lnTo>
                <a:lnTo>
                  <a:pt x="6000" y="1997"/>
                </a:lnTo>
                <a:lnTo>
                  <a:pt x="6000" y="1052"/>
                </a:lnTo>
                <a:lnTo>
                  <a:pt x="8842" y="2943"/>
                </a:lnTo>
                <a:lnTo>
                  <a:pt x="6000" y="4835"/>
                </a:lnTo>
                <a:lnTo>
                  <a:pt x="6000" y="3889"/>
                </a:lnTo>
                <a:lnTo>
                  <a:pt x="421" y="3889"/>
                </a:lnTo>
                <a:lnTo>
                  <a:pt x="421" y="5466"/>
                </a:lnTo>
                <a:lnTo>
                  <a:pt x="527" y="5781"/>
                </a:lnTo>
                <a:lnTo>
                  <a:pt x="842" y="5886"/>
                </a:lnTo>
                <a:lnTo>
                  <a:pt x="1579" y="5886"/>
                </a:lnTo>
                <a:lnTo>
                  <a:pt x="1895" y="5676"/>
                </a:lnTo>
                <a:lnTo>
                  <a:pt x="2211" y="5466"/>
                </a:lnTo>
                <a:lnTo>
                  <a:pt x="2526" y="5361"/>
                </a:lnTo>
                <a:lnTo>
                  <a:pt x="2948" y="5255"/>
                </a:lnTo>
                <a:lnTo>
                  <a:pt x="3369" y="5361"/>
                </a:lnTo>
                <a:lnTo>
                  <a:pt x="3685" y="5466"/>
                </a:lnTo>
                <a:lnTo>
                  <a:pt x="4106" y="5676"/>
                </a:lnTo>
                <a:lnTo>
                  <a:pt x="4316" y="5886"/>
                </a:lnTo>
                <a:lnTo>
                  <a:pt x="9263" y="5886"/>
                </a:lnTo>
                <a:lnTo>
                  <a:pt x="9474" y="5781"/>
                </a:lnTo>
                <a:lnTo>
                  <a:pt x="9685" y="5466"/>
                </a:lnTo>
                <a:lnTo>
                  <a:pt x="9896" y="420"/>
                </a:lnTo>
                <a:lnTo>
                  <a:pt x="9896" y="316"/>
                </a:lnTo>
                <a:lnTo>
                  <a:pt x="9790" y="106"/>
                </a:lnTo>
                <a:lnTo>
                  <a:pt x="9474" y="0"/>
                </a:lnTo>
                <a:close/>
                <a:moveTo>
                  <a:pt x="1264" y="6307"/>
                </a:moveTo>
                <a:lnTo>
                  <a:pt x="1158" y="6727"/>
                </a:lnTo>
                <a:lnTo>
                  <a:pt x="1053" y="7147"/>
                </a:lnTo>
                <a:lnTo>
                  <a:pt x="1158" y="7463"/>
                </a:lnTo>
                <a:lnTo>
                  <a:pt x="842" y="7463"/>
                </a:lnTo>
                <a:lnTo>
                  <a:pt x="0" y="7147"/>
                </a:lnTo>
                <a:lnTo>
                  <a:pt x="0" y="6307"/>
                </a:lnTo>
                <a:lnTo>
                  <a:pt x="1264" y="6307"/>
                </a:lnTo>
                <a:close/>
                <a:moveTo>
                  <a:pt x="12948" y="7778"/>
                </a:moveTo>
                <a:lnTo>
                  <a:pt x="10421" y="7778"/>
                </a:lnTo>
                <a:lnTo>
                  <a:pt x="10211" y="8093"/>
                </a:lnTo>
                <a:lnTo>
                  <a:pt x="12948" y="8093"/>
                </a:lnTo>
                <a:lnTo>
                  <a:pt x="12948" y="7778"/>
                </a:lnTo>
                <a:close/>
                <a:moveTo>
                  <a:pt x="14737" y="5571"/>
                </a:moveTo>
                <a:lnTo>
                  <a:pt x="14212" y="5781"/>
                </a:lnTo>
                <a:lnTo>
                  <a:pt x="13685" y="6097"/>
                </a:lnTo>
                <a:lnTo>
                  <a:pt x="13369" y="6517"/>
                </a:lnTo>
                <a:lnTo>
                  <a:pt x="13264" y="7147"/>
                </a:lnTo>
                <a:lnTo>
                  <a:pt x="13369" y="7673"/>
                </a:lnTo>
                <a:lnTo>
                  <a:pt x="13685" y="8199"/>
                </a:lnTo>
                <a:lnTo>
                  <a:pt x="14212" y="8513"/>
                </a:lnTo>
                <a:lnTo>
                  <a:pt x="14737" y="8619"/>
                </a:lnTo>
                <a:lnTo>
                  <a:pt x="15369" y="8513"/>
                </a:lnTo>
                <a:lnTo>
                  <a:pt x="15790" y="8199"/>
                </a:lnTo>
                <a:lnTo>
                  <a:pt x="16106" y="7673"/>
                </a:lnTo>
                <a:lnTo>
                  <a:pt x="16317" y="7147"/>
                </a:lnTo>
                <a:lnTo>
                  <a:pt x="16106" y="6517"/>
                </a:lnTo>
                <a:lnTo>
                  <a:pt x="15790" y="6097"/>
                </a:lnTo>
                <a:lnTo>
                  <a:pt x="15369" y="5781"/>
                </a:lnTo>
                <a:lnTo>
                  <a:pt x="14737" y="5571"/>
                </a:lnTo>
                <a:close/>
                <a:moveTo>
                  <a:pt x="14737" y="6307"/>
                </a:moveTo>
                <a:lnTo>
                  <a:pt x="14422" y="6411"/>
                </a:lnTo>
                <a:lnTo>
                  <a:pt x="14212" y="6517"/>
                </a:lnTo>
                <a:lnTo>
                  <a:pt x="14001" y="6832"/>
                </a:lnTo>
                <a:lnTo>
                  <a:pt x="13895" y="7147"/>
                </a:lnTo>
                <a:lnTo>
                  <a:pt x="14001" y="7463"/>
                </a:lnTo>
                <a:lnTo>
                  <a:pt x="14212" y="7673"/>
                </a:lnTo>
                <a:lnTo>
                  <a:pt x="14422" y="7883"/>
                </a:lnTo>
                <a:lnTo>
                  <a:pt x="14737" y="7989"/>
                </a:lnTo>
                <a:lnTo>
                  <a:pt x="15053" y="7883"/>
                </a:lnTo>
                <a:lnTo>
                  <a:pt x="15369" y="7673"/>
                </a:lnTo>
                <a:lnTo>
                  <a:pt x="15474" y="7463"/>
                </a:lnTo>
                <a:lnTo>
                  <a:pt x="15580" y="7147"/>
                </a:lnTo>
                <a:lnTo>
                  <a:pt x="15474" y="6832"/>
                </a:lnTo>
                <a:lnTo>
                  <a:pt x="15369" y="6517"/>
                </a:lnTo>
                <a:lnTo>
                  <a:pt x="15053" y="6411"/>
                </a:lnTo>
                <a:lnTo>
                  <a:pt x="14737" y="6307"/>
                </a:lnTo>
                <a:close/>
                <a:moveTo>
                  <a:pt x="11053" y="3889"/>
                </a:moveTo>
                <a:lnTo>
                  <a:pt x="11053" y="4310"/>
                </a:lnTo>
                <a:lnTo>
                  <a:pt x="11474" y="4204"/>
                </a:lnTo>
                <a:lnTo>
                  <a:pt x="12001" y="4099"/>
                </a:lnTo>
                <a:lnTo>
                  <a:pt x="12105" y="3994"/>
                </a:lnTo>
                <a:lnTo>
                  <a:pt x="12105" y="3889"/>
                </a:lnTo>
                <a:lnTo>
                  <a:pt x="11053" y="3889"/>
                </a:lnTo>
                <a:close/>
                <a:moveTo>
                  <a:pt x="14527" y="3889"/>
                </a:moveTo>
                <a:lnTo>
                  <a:pt x="13895" y="2838"/>
                </a:lnTo>
                <a:lnTo>
                  <a:pt x="13264" y="1787"/>
                </a:lnTo>
                <a:lnTo>
                  <a:pt x="11158" y="1682"/>
                </a:lnTo>
                <a:lnTo>
                  <a:pt x="11053" y="3468"/>
                </a:lnTo>
                <a:lnTo>
                  <a:pt x="13158" y="3574"/>
                </a:lnTo>
                <a:lnTo>
                  <a:pt x="13369" y="3784"/>
                </a:lnTo>
                <a:lnTo>
                  <a:pt x="14527" y="3889"/>
                </a:lnTo>
                <a:close/>
              </a:path>
            </a:pathLst>
          </a:custGeom>
          <a:solidFill>
            <a:schemeClr val="bg1"/>
          </a:solidFill>
          <a:ln w="9525">
            <a:noFill/>
            <a:round/>
            <a:headEnd/>
            <a:tailEnd/>
          </a:ln>
          <a:scene3d>
            <a:camera prst="orthographicFront"/>
            <a:lightRig rig="threePt" dir="t"/>
          </a:scene3d>
        </p:spPr>
        <p:txBody>
          <a:bodyPr vert="horz" wrap="square" lIns="91440" tIns="45720" rIns="91440" bIns="45720" numCol="1" anchor="t" anchorCtr="0" compatLnSpc="1">
            <a:prstTxWarp prst="textNoShape">
              <a:avLst/>
            </a:prstTxWarp>
          </a:bodyPr>
          <a:lstStyle/>
          <a:p>
            <a:endParaRPr lang="zh-CN" altLang="en-US"/>
          </a:p>
        </p:txBody>
      </p:sp>
      <p:pic>
        <p:nvPicPr>
          <p:cNvPr id="48" name="手机-2.pdf" descr="手机-2.pdf"/>
          <p:cNvPicPr>
            <a:picLocks noChangeAspect="1"/>
          </p:cNvPicPr>
          <p:nvPr/>
        </p:nvPicPr>
        <p:blipFill>
          <a:blip r:embed="rId8" cstate="print"/>
          <a:srcRect/>
          <a:stretch>
            <a:fillRect/>
          </a:stretch>
        </p:blipFill>
        <p:spPr bwMode="auto">
          <a:xfrm>
            <a:off x="9360994" y="4714922"/>
            <a:ext cx="155020" cy="251933"/>
          </a:xfrm>
          <a:prstGeom prst="rect">
            <a:avLst/>
          </a:prstGeom>
          <a:noFill/>
          <a:ln w="12700">
            <a:noFill/>
            <a:miter lim="400000"/>
            <a:headEnd/>
            <a:tailEnd/>
          </a:ln>
          <a:scene3d>
            <a:camera prst="orthographicFront"/>
            <a:lightRig rig="threePt" dir="t"/>
          </a:scene3d>
        </p:spPr>
      </p:pic>
      <p:sp>
        <p:nvSpPr>
          <p:cNvPr id="49" name="Freeform 74"/>
          <p:cNvSpPr>
            <a:spLocks noEditPoints="1"/>
          </p:cNvSpPr>
          <p:nvPr/>
        </p:nvSpPr>
        <p:spPr bwMode="auto">
          <a:xfrm>
            <a:off x="10690316" y="5331024"/>
            <a:ext cx="114274" cy="259010"/>
          </a:xfrm>
          <a:custGeom>
            <a:avLst/>
            <a:gdLst>
              <a:gd name="T0" fmla="*/ 2147483646 w 580"/>
              <a:gd name="T1" fmla="*/ 2147483646 h 1459"/>
              <a:gd name="T2" fmla="*/ 2147483646 w 580"/>
              <a:gd name="T3" fmla="*/ 2147483646 h 1459"/>
              <a:gd name="T4" fmla="*/ 2147483646 w 580"/>
              <a:gd name="T5" fmla="*/ 2147483646 h 1459"/>
              <a:gd name="T6" fmla="*/ 2147483646 w 580"/>
              <a:gd name="T7" fmla="*/ 2147483646 h 1459"/>
              <a:gd name="T8" fmla="*/ 2147483646 w 580"/>
              <a:gd name="T9" fmla="*/ 2147483646 h 1459"/>
              <a:gd name="T10" fmla="*/ 2147483646 w 580"/>
              <a:gd name="T11" fmla="*/ 2147483646 h 1459"/>
              <a:gd name="T12" fmla="*/ 2147483646 w 580"/>
              <a:gd name="T13" fmla="*/ 2147483646 h 1459"/>
              <a:gd name="T14" fmla="*/ 2147483646 w 580"/>
              <a:gd name="T15" fmla="*/ 2147483646 h 1459"/>
              <a:gd name="T16" fmla="*/ 2147483646 w 580"/>
              <a:gd name="T17" fmla="*/ 2147483646 h 1459"/>
              <a:gd name="T18" fmla="*/ 2147483646 w 580"/>
              <a:gd name="T19" fmla="*/ 2147483646 h 1459"/>
              <a:gd name="T20" fmla="*/ 2147483646 w 580"/>
              <a:gd name="T21" fmla="*/ 2147483646 h 1459"/>
              <a:gd name="T22" fmla="*/ 2147483646 w 580"/>
              <a:gd name="T23" fmla="*/ 2147483646 h 1459"/>
              <a:gd name="T24" fmla="*/ 2147483646 w 580"/>
              <a:gd name="T25" fmla="*/ 2147483646 h 1459"/>
              <a:gd name="T26" fmla="*/ 2147483646 w 580"/>
              <a:gd name="T27" fmla="*/ 2147483646 h 1459"/>
              <a:gd name="T28" fmla="*/ 2147483646 w 580"/>
              <a:gd name="T29" fmla="*/ 2147483646 h 1459"/>
              <a:gd name="T30" fmla="*/ 2147483646 w 580"/>
              <a:gd name="T31" fmla="*/ 2147483646 h 1459"/>
              <a:gd name="T32" fmla="*/ 2147483646 w 580"/>
              <a:gd name="T33" fmla="*/ 2147483646 h 1459"/>
              <a:gd name="T34" fmla="*/ 2147483646 w 580"/>
              <a:gd name="T35" fmla="*/ 2147483646 h 1459"/>
              <a:gd name="T36" fmla="*/ 2147483646 w 580"/>
              <a:gd name="T37" fmla="*/ 2147483646 h 1459"/>
              <a:gd name="T38" fmla="*/ 2147483646 w 580"/>
              <a:gd name="T39" fmla="*/ 2147483646 h 1459"/>
              <a:gd name="T40" fmla="*/ 2147483646 w 580"/>
              <a:gd name="T41" fmla="*/ 2147483646 h 1459"/>
              <a:gd name="T42" fmla="*/ 2147483646 w 580"/>
              <a:gd name="T43" fmla="*/ 2147483646 h 1459"/>
              <a:gd name="T44" fmla="*/ 2147483646 w 580"/>
              <a:gd name="T45" fmla="*/ 2147483646 h 1459"/>
              <a:gd name="T46" fmla="*/ 2147483646 w 580"/>
              <a:gd name="T47" fmla="*/ 2147483646 h 1459"/>
              <a:gd name="T48" fmla="*/ 2147483646 w 580"/>
              <a:gd name="T49" fmla="*/ 2147483646 h 1459"/>
              <a:gd name="T50" fmla="*/ 2147483646 w 580"/>
              <a:gd name="T51" fmla="*/ 2147483646 h 1459"/>
              <a:gd name="T52" fmla="*/ 2147483646 w 580"/>
              <a:gd name="T53" fmla="*/ 2147483646 h 1459"/>
              <a:gd name="T54" fmla="*/ 2147483646 w 580"/>
              <a:gd name="T55" fmla="*/ 2147483646 h 1459"/>
              <a:gd name="T56" fmla="*/ 2147483646 w 580"/>
              <a:gd name="T57" fmla="*/ 2147483646 h 1459"/>
              <a:gd name="T58" fmla="*/ 2147483646 w 580"/>
              <a:gd name="T59" fmla="*/ 2147483646 h 1459"/>
              <a:gd name="T60" fmla="*/ 2147483646 w 580"/>
              <a:gd name="T61" fmla="*/ 2147483646 h 1459"/>
              <a:gd name="T62" fmla="*/ 2147483646 w 580"/>
              <a:gd name="T63" fmla="*/ 2147483646 h 1459"/>
              <a:gd name="T64" fmla="*/ 2147483646 w 580"/>
              <a:gd name="T65" fmla="*/ 2147483646 h 1459"/>
              <a:gd name="T66" fmla="*/ 2147483646 w 580"/>
              <a:gd name="T67" fmla="*/ 0 h 1459"/>
              <a:gd name="T68" fmla="*/ 2147483646 w 580"/>
              <a:gd name="T69" fmla="*/ 2147483646 h 1459"/>
              <a:gd name="T70" fmla="*/ 2147483646 w 580"/>
              <a:gd name="T71" fmla="*/ 2147483646 h 1459"/>
              <a:gd name="T72" fmla="*/ 2147483646 w 580"/>
              <a:gd name="T73" fmla="*/ 2147483646 h 1459"/>
              <a:gd name="T74" fmla="*/ 0 w 580"/>
              <a:gd name="T75" fmla="*/ 2147483646 h 1459"/>
              <a:gd name="T76" fmla="*/ 0 w 580"/>
              <a:gd name="T77" fmla="*/ 2147483646 h 1459"/>
              <a:gd name="T78" fmla="*/ 2147483646 w 580"/>
              <a:gd name="T79" fmla="*/ 2147483646 h 1459"/>
              <a:gd name="T80" fmla="*/ 2147483646 w 580"/>
              <a:gd name="T81" fmla="*/ 2147483646 h 1459"/>
              <a:gd name="T82" fmla="*/ 2147483646 w 580"/>
              <a:gd name="T83" fmla="*/ 2147483646 h 1459"/>
              <a:gd name="T84" fmla="*/ 2147483646 w 580"/>
              <a:gd name="T85" fmla="*/ 2147483646 h 1459"/>
              <a:gd name="T86" fmla="*/ 2147483646 w 580"/>
              <a:gd name="T87" fmla="*/ 2147483646 h 1459"/>
              <a:gd name="T88" fmla="*/ 2147483646 w 580"/>
              <a:gd name="T89" fmla="*/ 2147483646 h 1459"/>
              <a:gd name="T90" fmla="*/ 2147483646 w 580"/>
              <a:gd name="T91" fmla="*/ 2147483646 h 1459"/>
              <a:gd name="T92" fmla="*/ 2147483646 w 580"/>
              <a:gd name="T93" fmla="*/ 2147483646 h 1459"/>
              <a:gd name="T94" fmla="*/ 2147483646 w 580"/>
              <a:gd name="T95" fmla="*/ 2147483646 h 1459"/>
              <a:gd name="T96" fmla="*/ 2147483646 w 580"/>
              <a:gd name="T97" fmla="*/ 2147483646 h 1459"/>
              <a:gd name="T98" fmla="*/ 2147483646 w 580"/>
              <a:gd name="T99" fmla="*/ 2147483646 h 1459"/>
              <a:gd name="T100" fmla="*/ 2147483646 w 580"/>
              <a:gd name="T101" fmla="*/ 2147483646 h 1459"/>
              <a:gd name="T102" fmla="*/ 2147483646 w 580"/>
              <a:gd name="T103" fmla="*/ 2147483646 h 145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80"/>
              <a:gd name="T157" fmla="*/ 0 h 1459"/>
              <a:gd name="T158" fmla="*/ 580 w 580"/>
              <a:gd name="T159" fmla="*/ 1459 h 145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80" h="1459">
                <a:moveTo>
                  <a:pt x="514" y="1033"/>
                </a:moveTo>
                <a:lnTo>
                  <a:pt x="514" y="1033"/>
                </a:lnTo>
                <a:lnTo>
                  <a:pt x="465" y="1033"/>
                </a:lnTo>
                <a:lnTo>
                  <a:pt x="465" y="706"/>
                </a:lnTo>
                <a:cubicBezTo>
                  <a:pt x="465" y="687"/>
                  <a:pt x="450" y="672"/>
                  <a:pt x="431" y="672"/>
                </a:cubicBezTo>
                <a:cubicBezTo>
                  <a:pt x="413" y="672"/>
                  <a:pt x="398" y="687"/>
                  <a:pt x="398" y="706"/>
                </a:cubicBezTo>
                <a:lnTo>
                  <a:pt x="398" y="1067"/>
                </a:lnTo>
                <a:lnTo>
                  <a:pt x="398" y="1393"/>
                </a:lnTo>
                <a:lnTo>
                  <a:pt x="290" y="1393"/>
                </a:lnTo>
                <a:lnTo>
                  <a:pt x="182" y="1393"/>
                </a:lnTo>
                <a:lnTo>
                  <a:pt x="182" y="1136"/>
                </a:lnTo>
                <a:lnTo>
                  <a:pt x="182" y="1067"/>
                </a:lnTo>
                <a:lnTo>
                  <a:pt x="182" y="706"/>
                </a:lnTo>
                <a:cubicBezTo>
                  <a:pt x="182" y="687"/>
                  <a:pt x="167" y="672"/>
                  <a:pt x="149" y="672"/>
                </a:cubicBezTo>
                <a:cubicBezTo>
                  <a:pt x="130" y="672"/>
                  <a:pt x="115" y="687"/>
                  <a:pt x="115" y="706"/>
                </a:cubicBezTo>
                <a:lnTo>
                  <a:pt x="115" y="1033"/>
                </a:lnTo>
                <a:lnTo>
                  <a:pt x="66" y="1033"/>
                </a:lnTo>
                <a:lnTo>
                  <a:pt x="66" y="559"/>
                </a:lnTo>
                <a:lnTo>
                  <a:pt x="210" y="462"/>
                </a:lnTo>
                <a:cubicBezTo>
                  <a:pt x="235" y="471"/>
                  <a:pt x="262" y="476"/>
                  <a:pt x="290" y="476"/>
                </a:cubicBezTo>
                <a:cubicBezTo>
                  <a:pt x="318" y="476"/>
                  <a:pt x="345" y="471"/>
                  <a:pt x="371" y="462"/>
                </a:cubicBezTo>
                <a:lnTo>
                  <a:pt x="514" y="559"/>
                </a:lnTo>
                <a:lnTo>
                  <a:pt x="514" y="1033"/>
                </a:lnTo>
                <a:close/>
                <a:moveTo>
                  <a:pt x="119" y="238"/>
                </a:moveTo>
                <a:lnTo>
                  <a:pt x="119" y="238"/>
                </a:lnTo>
                <a:cubicBezTo>
                  <a:pt x="119" y="144"/>
                  <a:pt x="196" y="67"/>
                  <a:pt x="290" y="67"/>
                </a:cubicBezTo>
                <a:cubicBezTo>
                  <a:pt x="385" y="67"/>
                  <a:pt x="461" y="144"/>
                  <a:pt x="461" y="238"/>
                </a:cubicBezTo>
                <a:cubicBezTo>
                  <a:pt x="461" y="333"/>
                  <a:pt x="385" y="410"/>
                  <a:pt x="290" y="410"/>
                </a:cubicBezTo>
                <a:cubicBezTo>
                  <a:pt x="196" y="410"/>
                  <a:pt x="119" y="333"/>
                  <a:pt x="119" y="238"/>
                </a:cubicBezTo>
                <a:close/>
                <a:moveTo>
                  <a:pt x="566" y="514"/>
                </a:moveTo>
                <a:lnTo>
                  <a:pt x="566" y="514"/>
                </a:lnTo>
                <a:lnTo>
                  <a:pt x="436" y="426"/>
                </a:lnTo>
                <a:cubicBezTo>
                  <a:pt x="492" y="382"/>
                  <a:pt x="528" y="314"/>
                  <a:pt x="528" y="238"/>
                </a:cubicBezTo>
                <a:cubicBezTo>
                  <a:pt x="528" y="107"/>
                  <a:pt x="421" y="0"/>
                  <a:pt x="290" y="0"/>
                </a:cubicBezTo>
                <a:cubicBezTo>
                  <a:pt x="159" y="0"/>
                  <a:pt x="52" y="107"/>
                  <a:pt x="52" y="238"/>
                </a:cubicBezTo>
                <a:cubicBezTo>
                  <a:pt x="52" y="314"/>
                  <a:pt x="88" y="382"/>
                  <a:pt x="144" y="426"/>
                </a:cubicBezTo>
                <a:lnTo>
                  <a:pt x="14" y="514"/>
                </a:lnTo>
                <a:cubicBezTo>
                  <a:pt x="5" y="520"/>
                  <a:pt x="0" y="530"/>
                  <a:pt x="0" y="541"/>
                </a:cubicBezTo>
                <a:lnTo>
                  <a:pt x="0" y="1067"/>
                </a:lnTo>
                <a:cubicBezTo>
                  <a:pt x="0" y="1085"/>
                  <a:pt x="15" y="1100"/>
                  <a:pt x="33" y="1100"/>
                </a:cubicBezTo>
                <a:lnTo>
                  <a:pt x="115" y="1100"/>
                </a:lnTo>
                <a:lnTo>
                  <a:pt x="115" y="1136"/>
                </a:lnTo>
                <a:lnTo>
                  <a:pt x="115" y="1426"/>
                </a:lnTo>
                <a:cubicBezTo>
                  <a:pt x="115" y="1444"/>
                  <a:pt x="130" y="1459"/>
                  <a:pt x="149" y="1459"/>
                </a:cubicBezTo>
                <a:lnTo>
                  <a:pt x="290" y="1459"/>
                </a:lnTo>
                <a:lnTo>
                  <a:pt x="431" y="1459"/>
                </a:lnTo>
                <a:cubicBezTo>
                  <a:pt x="450" y="1459"/>
                  <a:pt x="465" y="1444"/>
                  <a:pt x="465" y="1426"/>
                </a:cubicBezTo>
                <a:lnTo>
                  <a:pt x="465" y="1100"/>
                </a:lnTo>
                <a:lnTo>
                  <a:pt x="547" y="1100"/>
                </a:lnTo>
                <a:cubicBezTo>
                  <a:pt x="565" y="1100"/>
                  <a:pt x="580" y="1085"/>
                  <a:pt x="580" y="1067"/>
                </a:cubicBezTo>
                <a:lnTo>
                  <a:pt x="580" y="541"/>
                </a:lnTo>
                <a:cubicBezTo>
                  <a:pt x="580" y="530"/>
                  <a:pt x="575" y="520"/>
                  <a:pt x="566" y="514"/>
                </a:cubicBezTo>
                <a:close/>
              </a:path>
            </a:pathLst>
          </a:custGeom>
          <a:solidFill>
            <a:schemeClr val="bg1"/>
          </a:solidFill>
          <a:ln w="0">
            <a:noFill/>
            <a:round/>
            <a:headEnd/>
            <a:tailEnd/>
          </a:ln>
          <a:scene3d>
            <a:camera prst="orthographicFront"/>
            <a:lightRig rig="threePt" dir="t"/>
          </a:scene3d>
        </p:spPr>
        <p:txBody>
          <a:bodyPr/>
          <a:lstStyle/>
          <a:p>
            <a:endParaRPr lang="zh-CN" altLang="en-US"/>
          </a:p>
        </p:txBody>
      </p:sp>
      <p:grpSp>
        <p:nvGrpSpPr>
          <p:cNvPr id="6" name="组合 225"/>
          <p:cNvGrpSpPr/>
          <p:nvPr/>
        </p:nvGrpSpPr>
        <p:grpSpPr>
          <a:xfrm>
            <a:off x="1358923" y="4106905"/>
            <a:ext cx="1471413" cy="390896"/>
            <a:chOff x="1626291" y="3571488"/>
            <a:chExt cx="2167765" cy="642501"/>
          </a:xfrm>
          <a:scene3d>
            <a:camera prst="orthographicFront"/>
            <a:lightRig rig="threePt" dir="t"/>
          </a:scene3d>
        </p:grpSpPr>
        <p:grpSp>
          <p:nvGrpSpPr>
            <p:cNvPr id="7" name="组合 736"/>
            <p:cNvGrpSpPr/>
            <p:nvPr/>
          </p:nvGrpSpPr>
          <p:grpSpPr>
            <a:xfrm>
              <a:off x="1626291" y="3571488"/>
              <a:ext cx="695578" cy="260836"/>
              <a:chOff x="16573500" y="5078412"/>
              <a:chExt cx="879475" cy="404813"/>
            </a:xfrm>
            <a:solidFill>
              <a:schemeClr val="bg1"/>
            </a:solidFill>
          </p:grpSpPr>
          <p:sp>
            <p:nvSpPr>
              <p:cNvPr id="51" name="Freeform 128"/>
              <p:cNvSpPr>
                <a:spLocks noEditPoints="1"/>
              </p:cNvSpPr>
              <p:nvPr/>
            </p:nvSpPr>
            <p:spPr bwMode="auto">
              <a:xfrm>
                <a:off x="16986250" y="5078412"/>
                <a:ext cx="466725" cy="404813"/>
              </a:xfrm>
              <a:custGeom>
                <a:avLst/>
                <a:gdLst/>
                <a:ahLst/>
                <a:cxnLst>
                  <a:cxn ang="0">
                    <a:pos x="61" y="0"/>
                  </a:cxn>
                  <a:cxn ang="0">
                    <a:pos x="48" y="35"/>
                  </a:cxn>
                  <a:cxn ang="0">
                    <a:pos x="43" y="69"/>
                  </a:cxn>
                  <a:cxn ang="0">
                    <a:pos x="39" y="112"/>
                  </a:cxn>
                  <a:cxn ang="0">
                    <a:pos x="39" y="130"/>
                  </a:cxn>
                  <a:cxn ang="0">
                    <a:pos x="39" y="138"/>
                  </a:cxn>
                  <a:cxn ang="0">
                    <a:pos x="30" y="199"/>
                  </a:cxn>
                  <a:cxn ang="0">
                    <a:pos x="9" y="242"/>
                  </a:cxn>
                  <a:cxn ang="0">
                    <a:pos x="0" y="255"/>
                  </a:cxn>
                  <a:cxn ang="0">
                    <a:pos x="165" y="255"/>
                  </a:cxn>
                  <a:cxn ang="0">
                    <a:pos x="216" y="247"/>
                  </a:cxn>
                  <a:cxn ang="0">
                    <a:pos x="255" y="221"/>
                  </a:cxn>
                  <a:cxn ang="0">
                    <a:pos x="281" y="177"/>
                  </a:cxn>
                  <a:cxn ang="0">
                    <a:pos x="294" y="130"/>
                  </a:cxn>
                  <a:cxn ang="0">
                    <a:pos x="290" y="104"/>
                  </a:cxn>
                  <a:cxn ang="0">
                    <a:pos x="273" y="56"/>
                  </a:cxn>
                  <a:cxn ang="0">
                    <a:pos x="238" y="22"/>
                  </a:cxn>
                  <a:cxn ang="0">
                    <a:pos x="190" y="4"/>
                  </a:cxn>
                  <a:cxn ang="0">
                    <a:pos x="165" y="0"/>
                  </a:cxn>
                  <a:cxn ang="0">
                    <a:pos x="134" y="95"/>
                  </a:cxn>
                  <a:cxn ang="0">
                    <a:pos x="117" y="104"/>
                  </a:cxn>
                  <a:cxn ang="0">
                    <a:pos x="113" y="108"/>
                  </a:cxn>
                  <a:cxn ang="0">
                    <a:pos x="121" y="117"/>
                  </a:cxn>
                  <a:cxn ang="0">
                    <a:pos x="134" y="121"/>
                  </a:cxn>
                  <a:cxn ang="0">
                    <a:pos x="152" y="125"/>
                  </a:cxn>
                  <a:cxn ang="0">
                    <a:pos x="156" y="130"/>
                  </a:cxn>
                  <a:cxn ang="0">
                    <a:pos x="147" y="138"/>
                  </a:cxn>
                  <a:cxn ang="0">
                    <a:pos x="134" y="143"/>
                  </a:cxn>
                  <a:cxn ang="0">
                    <a:pos x="121" y="147"/>
                  </a:cxn>
                  <a:cxn ang="0">
                    <a:pos x="113" y="164"/>
                  </a:cxn>
                  <a:cxn ang="0">
                    <a:pos x="108" y="182"/>
                  </a:cxn>
                  <a:cxn ang="0">
                    <a:pos x="100" y="186"/>
                  </a:cxn>
                  <a:cxn ang="0">
                    <a:pos x="95" y="186"/>
                  </a:cxn>
                  <a:cxn ang="0">
                    <a:pos x="87" y="156"/>
                  </a:cxn>
                  <a:cxn ang="0">
                    <a:pos x="87" y="104"/>
                  </a:cxn>
                  <a:cxn ang="0">
                    <a:pos x="95" y="82"/>
                  </a:cxn>
                  <a:cxn ang="0">
                    <a:pos x="121" y="74"/>
                  </a:cxn>
                  <a:cxn ang="0">
                    <a:pos x="126" y="74"/>
                  </a:cxn>
                  <a:cxn ang="0">
                    <a:pos x="156" y="82"/>
                  </a:cxn>
                  <a:cxn ang="0">
                    <a:pos x="156" y="87"/>
                  </a:cxn>
                  <a:cxn ang="0">
                    <a:pos x="152" y="91"/>
                  </a:cxn>
                  <a:cxn ang="0">
                    <a:pos x="134" y="95"/>
                  </a:cxn>
                  <a:cxn ang="0">
                    <a:pos x="199" y="156"/>
                  </a:cxn>
                  <a:cxn ang="0">
                    <a:pos x="190" y="186"/>
                  </a:cxn>
                  <a:cxn ang="0">
                    <a:pos x="186" y="186"/>
                  </a:cxn>
                  <a:cxn ang="0">
                    <a:pos x="178" y="177"/>
                  </a:cxn>
                  <a:cxn ang="0">
                    <a:pos x="173" y="138"/>
                  </a:cxn>
                  <a:cxn ang="0">
                    <a:pos x="178" y="112"/>
                  </a:cxn>
                  <a:cxn ang="0">
                    <a:pos x="186" y="104"/>
                  </a:cxn>
                  <a:cxn ang="0">
                    <a:pos x="190" y="108"/>
                  </a:cxn>
                  <a:cxn ang="0">
                    <a:pos x="199" y="138"/>
                  </a:cxn>
                  <a:cxn ang="0">
                    <a:pos x="186" y="95"/>
                  </a:cxn>
                  <a:cxn ang="0">
                    <a:pos x="178" y="91"/>
                  </a:cxn>
                  <a:cxn ang="0">
                    <a:pos x="173" y="82"/>
                  </a:cxn>
                  <a:cxn ang="0">
                    <a:pos x="186" y="69"/>
                  </a:cxn>
                  <a:cxn ang="0">
                    <a:pos x="195" y="74"/>
                  </a:cxn>
                  <a:cxn ang="0">
                    <a:pos x="199" y="82"/>
                  </a:cxn>
                  <a:cxn ang="0">
                    <a:pos x="186" y="95"/>
                  </a:cxn>
                </a:cxnLst>
                <a:rect l="0" t="0" r="r" b="b"/>
                <a:pathLst>
                  <a:path w="294" h="255">
                    <a:moveTo>
                      <a:pt x="165" y="0"/>
                    </a:moveTo>
                    <a:lnTo>
                      <a:pt x="61" y="0"/>
                    </a:lnTo>
                    <a:lnTo>
                      <a:pt x="61" y="0"/>
                    </a:lnTo>
                    <a:lnTo>
                      <a:pt x="48" y="35"/>
                    </a:lnTo>
                    <a:lnTo>
                      <a:pt x="48" y="35"/>
                    </a:lnTo>
                    <a:lnTo>
                      <a:pt x="43" y="69"/>
                    </a:lnTo>
                    <a:lnTo>
                      <a:pt x="39" y="112"/>
                    </a:lnTo>
                    <a:lnTo>
                      <a:pt x="39" y="112"/>
                    </a:lnTo>
                    <a:lnTo>
                      <a:pt x="39" y="130"/>
                    </a:lnTo>
                    <a:lnTo>
                      <a:pt x="39" y="130"/>
                    </a:lnTo>
                    <a:lnTo>
                      <a:pt x="39" y="138"/>
                    </a:lnTo>
                    <a:lnTo>
                      <a:pt x="39" y="138"/>
                    </a:lnTo>
                    <a:lnTo>
                      <a:pt x="39" y="173"/>
                    </a:lnTo>
                    <a:lnTo>
                      <a:pt x="30" y="199"/>
                    </a:lnTo>
                    <a:lnTo>
                      <a:pt x="22" y="225"/>
                    </a:lnTo>
                    <a:lnTo>
                      <a:pt x="9" y="242"/>
                    </a:lnTo>
                    <a:lnTo>
                      <a:pt x="9" y="242"/>
                    </a:lnTo>
                    <a:lnTo>
                      <a:pt x="0" y="255"/>
                    </a:lnTo>
                    <a:lnTo>
                      <a:pt x="165" y="255"/>
                    </a:lnTo>
                    <a:lnTo>
                      <a:pt x="165" y="255"/>
                    </a:lnTo>
                    <a:lnTo>
                      <a:pt x="190" y="255"/>
                    </a:lnTo>
                    <a:lnTo>
                      <a:pt x="216" y="247"/>
                    </a:lnTo>
                    <a:lnTo>
                      <a:pt x="238" y="234"/>
                    </a:lnTo>
                    <a:lnTo>
                      <a:pt x="255" y="221"/>
                    </a:lnTo>
                    <a:lnTo>
                      <a:pt x="273" y="199"/>
                    </a:lnTo>
                    <a:lnTo>
                      <a:pt x="281" y="177"/>
                    </a:lnTo>
                    <a:lnTo>
                      <a:pt x="290" y="156"/>
                    </a:lnTo>
                    <a:lnTo>
                      <a:pt x="294" y="130"/>
                    </a:lnTo>
                    <a:lnTo>
                      <a:pt x="294" y="130"/>
                    </a:lnTo>
                    <a:lnTo>
                      <a:pt x="290" y="104"/>
                    </a:lnTo>
                    <a:lnTo>
                      <a:pt x="281" y="78"/>
                    </a:lnTo>
                    <a:lnTo>
                      <a:pt x="273" y="56"/>
                    </a:lnTo>
                    <a:lnTo>
                      <a:pt x="255" y="39"/>
                    </a:lnTo>
                    <a:lnTo>
                      <a:pt x="238" y="22"/>
                    </a:lnTo>
                    <a:lnTo>
                      <a:pt x="216" y="13"/>
                    </a:lnTo>
                    <a:lnTo>
                      <a:pt x="190" y="4"/>
                    </a:lnTo>
                    <a:lnTo>
                      <a:pt x="165" y="0"/>
                    </a:lnTo>
                    <a:lnTo>
                      <a:pt x="165" y="0"/>
                    </a:lnTo>
                    <a:close/>
                    <a:moveTo>
                      <a:pt x="134" y="95"/>
                    </a:moveTo>
                    <a:lnTo>
                      <a:pt x="134" y="95"/>
                    </a:lnTo>
                    <a:lnTo>
                      <a:pt x="121" y="99"/>
                    </a:lnTo>
                    <a:lnTo>
                      <a:pt x="117" y="104"/>
                    </a:lnTo>
                    <a:lnTo>
                      <a:pt x="113" y="108"/>
                    </a:lnTo>
                    <a:lnTo>
                      <a:pt x="113" y="108"/>
                    </a:lnTo>
                    <a:lnTo>
                      <a:pt x="117" y="112"/>
                    </a:lnTo>
                    <a:lnTo>
                      <a:pt x="121" y="117"/>
                    </a:lnTo>
                    <a:lnTo>
                      <a:pt x="134" y="121"/>
                    </a:lnTo>
                    <a:lnTo>
                      <a:pt x="134" y="121"/>
                    </a:lnTo>
                    <a:lnTo>
                      <a:pt x="147" y="125"/>
                    </a:lnTo>
                    <a:lnTo>
                      <a:pt x="152" y="125"/>
                    </a:lnTo>
                    <a:lnTo>
                      <a:pt x="156" y="130"/>
                    </a:lnTo>
                    <a:lnTo>
                      <a:pt x="156" y="130"/>
                    </a:lnTo>
                    <a:lnTo>
                      <a:pt x="152" y="134"/>
                    </a:lnTo>
                    <a:lnTo>
                      <a:pt x="147" y="138"/>
                    </a:lnTo>
                    <a:lnTo>
                      <a:pt x="134" y="143"/>
                    </a:lnTo>
                    <a:lnTo>
                      <a:pt x="134" y="143"/>
                    </a:lnTo>
                    <a:lnTo>
                      <a:pt x="126" y="143"/>
                    </a:lnTo>
                    <a:lnTo>
                      <a:pt x="121" y="147"/>
                    </a:lnTo>
                    <a:lnTo>
                      <a:pt x="117" y="156"/>
                    </a:lnTo>
                    <a:lnTo>
                      <a:pt x="113" y="164"/>
                    </a:lnTo>
                    <a:lnTo>
                      <a:pt x="113" y="164"/>
                    </a:lnTo>
                    <a:lnTo>
                      <a:pt x="108" y="182"/>
                    </a:lnTo>
                    <a:lnTo>
                      <a:pt x="104" y="186"/>
                    </a:lnTo>
                    <a:lnTo>
                      <a:pt x="100" y="186"/>
                    </a:lnTo>
                    <a:lnTo>
                      <a:pt x="100" y="186"/>
                    </a:lnTo>
                    <a:lnTo>
                      <a:pt x="95" y="186"/>
                    </a:lnTo>
                    <a:lnTo>
                      <a:pt x="91" y="177"/>
                    </a:lnTo>
                    <a:lnTo>
                      <a:pt x="87" y="156"/>
                    </a:lnTo>
                    <a:lnTo>
                      <a:pt x="87" y="104"/>
                    </a:lnTo>
                    <a:lnTo>
                      <a:pt x="87" y="104"/>
                    </a:lnTo>
                    <a:lnTo>
                      <a:pt x="91" y="95"/>
                    </a:lnTo>
                    <a:lnTo>
                      <a:pt x="95" y="82"/>
                    </a:lnTo>
                    <a:lnTo>
                      <a:pt x="108" y="78"/>
                    </a:lnTo>
                    <a:lnTo>
                      <a:pt x="121" y="74"/>
                    </a:lnTo>
                    <a:lnTo>
                      <a:pt x="126" y="74"/>
                    </a:lnTo>
                    <a:lnTo>
                      <a:pt x="126" y="74"/>
                    </a:lnTo>
                    <a:lnTo>
                      <a:pt x="147" y="78"/>
                    </a:lnTo>
                    <a:lnTo>
                      <a:pt x="156" y="82"/>
                    </a:lnTo>
                    <a:lnTo>
                      <a:pt x="156" y="87"/>
                    </a:lnTo>
                    <a:lnTo>
                      <a:pt x="156" y="87"/>
                    </a:lnTo>
                    <a:lnTo>
                      <a:pt x="156" y="91"/>
                    </a:lnTo>
                    <a:lnTo>
                      <a:pt x="152" y="91"/>
                    </a:lnTo>
                    <a:lnTo>
                      <a:pt x="134" y="95"/>
                    </a:lnTo>
                    <a:lnTo>
                      <a:pt x="134" y="95"/>
                    </a:lnTo>
                    <a:close/>
                    <a:moveTo>
                      <a:pt x="199" y="156"/>
                    </a:moveTo>
                    <a:lnTo>
                      <a:pt x="199" y="156"/>
                    </a:lnTo>
                    <a:lnTo>
                      <a:pt x="195" y="177"/>
                    </a:lnTo>
                    <a:lnTo>
                      <a:pt x="190" y="186"/>
                    </a:lnTo>
                    <a:lnTo>
                      <a:pt x="186" y="186"/>
                    </a:lnTo>
                    <a:lnTo>
                      <a:pt x="186" y="186"/>
                    </a:lnTo>
                    <a:lnTo>
                      <a:pt x="182" y="186"/>
                    </a:lnTo>
                    <a:lnTo>
                      <a:pt x="178" y="177"/>
                    </a:lnTo>
                    <a:lnTo>
                      <a:pt x="173" y="156"/>
                    </a:lnTo>
                    <a:lnTo>
                      <a:pt x="173" y="138"/>
                    </a:lnTo>
                    <a:lnTo>
                      <a:pt x="173" y="138"/>
                    </a:lnTo>
                    <a:lnTo>
                      <a:pt x="178" y="112"/>
                    </a:lnTo>
                    <a:lnTo>
                      <a:pt x="182" y="108"/>
                    </a:lnTo>
                    <a:lnTo>
                      <a:pt x="186" y="104"/>
                    </a:lnTo>
                    <a:lnTo>
                      <a:pt x="186" y="104"/>
                    </a:lnTo>
                    <a:lnTo>
                      <a:pt x="190" y="108"/>
                    </a:lnTo>
                    <a:lnTo>
                      <a:pt x="195" y="112"/>
                    </a:lnTo>
                    <a:lnTo>
                      <a:pt x="199" y="138"/>
                    </a:lnTo>
                    <a:lnTo>
                      <a:pt x="199" y="156"/>
                    </a:lnTo>
                    <a:close/>
                    <a:moveTo>
                      <a:pt x="186" y="95"/>
                    </a:moveTo>
                    <a:lnTo>
                      <a:pt x="186" y="95"/>
                    </a:lnTo>
                    <a:lnTo>
                      <a:pt x="178" y="91"/>
                    </a:lnTo>
                    <a:lnTo>
                      <a:pt x="173" y="82"/>
                    </a:lnTo>
                    <a:lnTo>
                      <a:pt x="173" y="82"/>
                    </a:lnTo>
                    <a:lnTo>
                      <a:pt x="178" y="74"/>
                    </a:lnTo>
                    <a:lnTo>
                      <a:pt x="186" y="69"/>
                    </a:lnTo>
                    <a:lnTo>
                      <a:pt x="186" y="69"/>
                    </a:lnTo>
                    <a:lnTo>
                      <a:pt x="195" y="74"/>
                    </a:lnTo>
                    <a:lnTo>
                      <a:pt x="199" y="82"/>
                    </a:lnTo>
                    <a:lnTo>
                      <a:pt x="199" y="82"/>
                    </a:lnTo>
                    <a:lnTo>
                      <a:pt x="195" y="91"/>
                    </a:lnTo>
                    <a:lnTo>
                      <a:pt x="186" y="95"/>
                    </a:lnTo>
                    <a:lnTo>
                      <a:pt x="186"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129"/>
              <p:cNvSpPr>
                <a:spLocks noEditPoints="1"/>
              </p:cNvSpPr>
              <p:nvPr/>
            </p:nvSpPr>
            <p:spPr bwMode="auto">
              <a:xfrm>
                <a:off x="16573500" y="5078412"/>
                <a:ext cx="474662" cy="404813"/>
              </a:xfrm>
              <a:custGeom>
                <a:avLst/>
                <a:gdLst/>
                <a:ahLst/>
                <a:cxnLst>
                  <a:cxn ang="0">
                    <a:pos x="282" y="112"/>
                  </a:cxn>
                  <a:cxn ang="0">
                    <a:pos x="290" y="30"/>
                  </a:cxn>
                  <a:cxn ang="0">
                    <a:pos x="130" y="0"/>
                  </a:cxn>
                  <a:cxn ang="0">
                    <a:pos x="78" y="13"/>
                  </a:cxn>
                  <a:cxn ang="0">
                    <a:pos x="22" y="56"/>
                  </a:cxn>
                  <a:cxn ang="0">
                    <a:pos x="0" y="130"/>
                  </a:cxn>
                  <a:cxn ang="0">
                    <a:pos x="13" y="177"/>
                  </a:cxn>
                  <a:cxn ang="0">
                    <a:pos x="57" y="234"/>
                  </a:cxn>
                  <a:cxn ang="0">
                    <a:pos x="130" y="255"/>
                  </a:cxn>
                  <a:cxn ang="0">
                    <a:pos x="234" y="255"/>
                  </a:cxn>
                  <a:cxn ang="0">
                    <a:pos x="264" y="216"/>
                  </a:cxn>
                  <a:cxn ang="0">
                    <a:pos x="282" y="138"/>
                  </a:cxn>
                  <a:cxn ang="0">
                    <a:pos x="282" y="134"/>
                  </a:cxn>
                  <a:cxn ang="0">
                    <a:pos x="191" y="156"/>
                  </a:cxn>
                  <a:cxn ang="0">
                    <a:pos x="169" y="186"/>
                  </a:cxn>
                  <a:cxn ang="0">
                    <a:pos x="156" y="182"/>
                  </a:cxn>
                  <a:cxn ang="0">
                    <a:pos x="139" y="117"/>
                  </a:cxn>
                  <a:cxn ang="0">
                    <a:pos x="139" y="104"/>
                  </a:cxn>
                  <a:cxn ang="0">
                    <a:pos x="130" y="138"/>
                  </a:cxn>
                  <a:cxn ang="0">
                    <a:pos x="117" y="177"/>
                  </a:cxn>
                  <a:cxn ang="0">
                    <a:pos x="109" y="186"/>
                  </a:cxn>
                  <a:cxn ang="0">
                    <a:pos x="87" y="156"/>
                  </a:cxn>
                  <a:cxn ang="0">
                    <a:pos x="74" y="82"/>
                  </a:cxn>
                  <a:cxn ang="0">
                    <a:pos x="78" y="74"/>
                  </a:cxn>
                  <a:cxn ang="0">
                    <a:pos x="96" y="99"/>
                  </a:cxn>
                  <a:cxn ang="0">
                    <a:pos x="109" y="147"/>
                  </a:cxn>
                  <a:cxn ang="0">
                    <a:pos x="113" y="134"/>
                  </a:cxn>
                  <a:cxn ang="0">
                    <a:pos x="122" y="104"/>
                  </a:cxn>
                  <a:cxn ang="0">
                    <a:pos x="135" y="78"/>
                  </a:cxn>
                  <a:cxn ang="0">
                    <a:pos x="143" y="78"/>
                  </a:cxn>
                  <a:cxn ang="0">
                    <a:pos x="156" y="99"/>
                  </a:cxn>
                  <a:cxn ang="0">
                    <a:pos x="169" y="160"/>
                  </a:cxn>
                  <a:cxn ang="0">
                    <a:pos x="173" y="134"/>
                  </a:cxn>
                  <a:cxn ang="0">
                    <a:pos x="178" y="104"/>
                  </a:cxn>
                  <a:cxn ang="0">
                    <a:pos x="199" y="74"/>
                  </a:cxn>
                  <a:cxn ang="0">
                    <a:pos x="204" y="82"/>
                  </a:cxn>
                  <a:cxn ang="0">
                    <a:pos x="243" y="156"/>
                  </a:cxn>
                  <a:cxn ang="0">
                    <a:pos x="238" y="186"/>
                  </a:cxn>
                  <a:cxn ang="0">
                    <a:pos x="225" y="186"/>
                  </a:cxn>
                  <a:cxn ang="0">
                    <a:pos x="217" y="138"/>
                  </a:cxn>
                  <a:cxn ang="0">
                    <a:pos x="225" y="108"/>
                  </a:cxn>
                  <a:cxn ang="0">
                    <a:pos x="238" y="108"/>
                  </a:cxn>
                  <a:cxn ang="0">
                    <a:pos x="243" y="156"/>
                  </a:cxn>
                  <a:cxn ang="0">
                    <a:pos x="221" y="91"/>
                  </a:cxn>
                  <a:cxn ang="0">
                    <a:pos x="221" y="74"/>
                  </a:cxn>
                  <a:cxn ang="0">
                    <a:pos x="243" y="74"/>
                  </a:cxn>
                  <a:cxn ang="0">
                    <a:pos x="243" y="91"/>
                  </a:cxn>
                </a:cxnLst>
                <a:rect l="0" t="0" r="r" b="b"/>
                <a:pathLst>
                  <a:path w="299" h="255">
                    <a:moveTo>
                      <a:pt x="282" y="134"/>
                    </a:moveTo>
                    <a:lnTo>
                      <a:pt x="282" y="134"/>
                    </a:lnTo>
                    <a:lnTo>
                      <a:pt x="282" y="112"/>
                    </a:lnTo>
                    <a:lnTo>
                      <a:pt x="282" y="112"/>
                    </a:lnTo>
                    <a:lnTo>
                      <a:pt x="282" y="65"/>
                    </a:lnTo>
                    <a:lnTo>
                      <a:pt x="290" y="30"/>
                    </a:lnTo>
                    <a:lnTo>
                      <a:pt x="290" y="30"/>
                    </a:lnTo>
                    <a:lnTo>
                      <a:pt x="299" y="0"/>
                    </a:lnTo>
                    <a:lnTo>
                      <a:pt x="130" y="0"/>
                    </a:lnTo>
                    <a:lnTo>
                      <a:pt x="130" y="0"/>
                    </a:lnTo>
                    <a:lnTo>
                      <a:pt x="104" y="4"/>
                    </a:lnTo>
                    <a:lnTo>
                      <a:pt x="78" y="13"/>
                    </a:lnTo>
                    <a:lnTo>
                      <a:pt x="57" y="22"/>
                    </a:lnTo>
                    <a:lnTo>
                      <a:pt x="39" y="39"/>
                    </a:lnTo>
                    <a:lnTo>
                      <a:pt x="22" y="56"/>
                    </a:lnTo>
                    <a:lnTo>
                      <a:pt x="13" y="78"/>
                    </a:lnTo>
                    <a:lnTo>
                      <a:pt x="5" y="104"/>
                    </a:lnTo>
                    <a:lnTo>
                      <a:pt x="0" y="130"/>
                    </a:lnTo>
                    <a:lnTo>
                      <a:pt x="0" y="130"/>
                    </a:lnTo>
                    <a:lnTo>
                      <a:pt x="5" y="156"/>
                    </a:lnTo>
                    <a:lnTo>
                      <a:pt x="13" y="177"/>
                    </a:lnTo>
                    <a:lnTo>
                      <a:pt x="22" y="199"/>
                    </a:lnTo>
                    <a:lnTo>
                      <a:pt x="39" y="221"/>
                    </a:lnTo>
                    <a:lnTo>
                      <a:pt x="57" y="234"/>
                    </a:lnTo>
                    <a:lnTo>
                      <a:pt x="78" y="247"/>
                    </a:lnTo>
                    <a:lnTo>
                      <a:pt x="104" y="255"/>
                    </a:lnTo>
                    <a:lnTo>
                      <a:pt x="130" y="255"/>
                    </a:lnTo>
                    <a:lnTo>
                      <a:pt x="230" y="255"/>
                    </a:lnTo>
                    <a:lnTo>
                      <a:pt x="234" y="255"/>
                    </a:lnTo>
                    <a:lnTo>
                      <a:pt x="234" y="255"/>
                    </a:lnTo>
                    <a:lnTo>
                      <a:pt x="251" y="234"/>
                    </a:lnTo>
                    <a:lnTo>
                      <a:pt x="251" y="234"/>
                    </a:lnTo>
                    <a:lnTo>
                      <a:pt x="264" y="216"/>
                    </a:lnTo>
                    <a:lnTo>
                      <a:pt x="273" y="195"/>
                    </a:lnTo>
                    <a:lnTo>
                      <a:pt x="277" y="169"/>
                    </a:lnTo>
                    <a:lnTo>
                      <a:pt x="282" y="138"/>
                    </a:lnTo>
                    <a:lnTo>
                      <a:pt x="282" y="138"/>
                    </a:lnTo>
                    <a:lnTo>
                      <a:pt x="282" y="134"/>
                    </a:lnTo>
                    <a:lnTo>
                      <a:pt x="282" y="134"/>
                    </a:lnTo>
                    <a:close/>
                    <a:moveTo>
                      <a:pt x="204" y="104"/>
                    </a:moveTo>
                    <a:lnTo>
                      <a:pt x="191" y="156"/>
                    </a:lnTo>
                    <a:lnTo>
                      <a:pt x="191" y="156"/>
                    </a:lnTo>
                    <a:lnTo>
                      <a:pt x="178" y="177"/>
                    </a:lnTo>
                    <a:lnTo>
                      <a:pt x="173" y="186"/>
                    </a:lnTo>
                    <a:lnTo>
                      <a:pt x="169" y="186"/>
                    </a:lnTo>
                    <a:lnTo>
                      <a:pt x="169" y="186"/>
                    </a:lnTo>
                    <a:lnTo>
                      <a:pt x="161" y="186"/>
                    </a:lnTo>
                    <a:lnTo>
                      <a:pt x="156" y="182"/>
                    </a:lnTo>
                    <a:lnTo>
                      <a:pt x="148" y="164"/>
                    </a:lnTo>
                    <a:lnTo>
                      <a:pt x="148" y="164"/>
                    </a:lnTo>
                    <a:lnTo>
                      <a:pt x="139" y="117"/>
                    </a:lnTo>
                    <a:lnTo>
                      <a:pt x="139" y="117"/>
                    </a:lnTo>
                    <a:lnTo>
                      <a:pt x="139" y="104"/>
                    </a:lnTo>
                    <a:lnTo>
                      <a:pt x="139" y="104"/>
                    </a:lnTo>
                    <a:lnTo>
                      <a:pt x="135" y="125"/>
                    </a:lnTo>
                    <a:lnTo>
                      <a:pt x="135" y="125"/>
                    </a:lnTo>
                    <a:lnTo>
                      <a:pt x="130" y="138"/>
                    </a:lnTo>
                    <a:lnTo>
                      <a:pt x="126" y="156"/>
                    </a:lnTo>
                    <a:lnTo>
                      <a:pt x="126" y="156"/>
                    </a:lnTo>
                    <a:lnTo>
                      <a:pt x="117" y="177"/>
                    </a:lnTo>
                    <a:lnTo>
                      <a:pt x="113" y="186"/>
                    </a:lnTo>
                    <a:lnTo>
                      <a:pt x="109" y="186"/>
                    </a:lnTo>
                    <a:lnTo>
                      <a:pt x="109" y="186"/>
                    </a:lnTo>
                    <a:lnTo>
                      <a:pt x="100" y="186"/>
                    </a:lnTo>
                    <a:lnTo>
                      <a:pt x="96" y="177"/>
                    </a:lnTo>
                    <a:lnTo>
                      <a:pt x="87" y="156"/>
                    </a:lnTo>
                    <a:lnTo>
                      <a:pt x="74" y="104"/>
                    </a:lnTo>
                    <a:lnTo>
                      <a:pt x="74" y="104"/>
                    </a:lnTo>
                    <a:lnTo>
                      <a:pt x="74" y="82"/>
                    </a:lnTo>
                    <a:lnTo>
                      <a:pt x="74" y="78"/>
                    </a:lnTo>
                    <a:lnTo>
                      <a:pt x="78" y="74"/>
                    </a:lnTo>
                    <a:lnTo>
                      <a:pt x="78" y="74"/>
                    </a:lnTo>
                    <a:lnTo>
                      <a:pt x="87" y="78"/>
                    </a:lnTo>
                    <a:lnTo>
                      <a:pt x="91" y="82"/>
                    </a:lnTo>
                    <a:lnTo>
                      <a:pt x="96" y="99"/>
                    </a:lnTo>
                    <a:lnTo>
                      <a:pt x="96" y="99"/>
                    </a:lnTo>
                    <a:lnTo>
                      <a:pt x="109" y="147"/>
                    </a:lnTo>
                    <a:lnTo>
                      <a:pt x="109" y="147"/>
                    </a:lnTo>
                    <a:lnTo>
                      <a:pt x="109" y="160"/>
                    </a:lnTo>
                    <a:lnTo>
                      <a:pt x="109" y="160"/>
                    </a:lnTo>
                    <a:lnTo>
                      <a:pt x="113" y="134"/>
                    </a:lnTo>
                    <a:lnTo>
                      <a:pt x="113" y="134"/>
                    </a:lnTo>
                    <a:lnTo>
                      <a:pt x="117" y="121"/>
                    </a:lnTo>
                    <a:lnTo>
                      <a:pt x="122" y="104"/>
                    </a:lnTo>
                    <a:lnTo>
                      <a:pt x="122" y="104"/>
                    </a:lnTo>
                    <a:lnTo>
                      <a:pt x="130" y="82"/>
                    </a:lnTo>
                    <a:lnTo>
                      <a:pt x="135" y="78"/>
                    </a:lnTo>
                    <a:lnTo>
                      <a:pt x="139" y="74"/>
                    </a:lnTo>
                    <a:lnTo>
                      <a:pt x="139" y="74"/>
                    </a:lnTo>
                    <a:lnTo>
                      <a:pt x="143" y="78"/>
                    </a:lnTo>
                    <a:lnTo>
                      <a:pt x="152" y="82"/>
                    </a:lnTo>
                    <a:lnTo>
                      <a:pt x="156" y="99"/>
                    </a:lnTo>
                    <a:lnTo>
                      <a:pt x="156" y="99"/>
                    </a:lnTo>
                    <a:lnTo>
                      <a:pt x="165" y="147"/>
                    </a:lnTo>
                    <a:lnTo>
                      <a:pt x="165" y="147"/>
                    </a:lnTo>
                    <a:lnTo>
                      <a:pt x="169" y="160"/>
                    </a:lnTo>
                    <a:lnTo>
                      <a:pt x="169" y="160"/>
                    </a:lnTo>
                    <a:lnTo>
                      <a:pt x="173" y="134"/>
                    </a:lnTo>
                    <a:lnTo>
                      <a:pt x="173" y="134"/>
                    </a:lnTo>
                    <a:lnTo>
                      <a:pt x="173" y="121"/>
                    </a:lnTo>
                    <a:lnTo>
                      <a:pt x="178" y="104"/>
                    </a:lnTo>
                    <a:lnTo>
                      <a:pt x="178" y="104"/>
                    </a:lnTo>
                    <a:lnTo>
                      <a:pt x="186" y="82"/>
                    </a:lnTo>
                    <a:lnTo>
                      <a:pt x="191" y="78"/>
                    </a:lnTo>
                    <a:lnTo>
                      <a:pt x="199" y="74"/>
                    </a:lnTo>
                    <a:lnTo>
                      <a:pt x="199" y="74"/>
                    </a:lnTo>
                    <a:lnTo>
                      <a:pt x="204" y="78"/>
                    </a:lnTo>
                    <a:lnTo>
                      <a:pt x="204" y="82"/>
                    </a:lnTo>
                    <a:lnTo>
                      <a:pt x="204" y="104"/>
                    </a:lnTo>
                    <a:lnTo>
                      <a:pt x="204" y="104"/>
                    </a:lnTo>
                    <a:close/>
                    <a:moveTo>
                      <a:pt x="243" y="156"/>
                    </a:moveTo>
                    <a:lnTo>
                      <a:pt x="243" y="156"/>
                    </a:lnTo>
                    <a:lnTo>
                      <a:pt x="238" y="177"/>
                    </a:lnTo>
                    <a:lnTo>
                      <a:pt x="238" y="186"/>
                    </a:lnTo>
                    <a:lnTo>
                      <a:pt x="230" y="186"/>
                    </a:lnTo>
                    <a:lnTo>
                      <a:pt x="230" y="186"/>
                    </a:lnTo>
                    <a:lnTo>
                      <a:pt x="225" y="186"/>
                    </a:lnTo>
                    <a:lnTo>
                      <a:pt x="221" y="177"/>
                    </a:lnTo>
                    <a:lnTo>
                      <a:pt x="217" y="156"/>
                    </a:lnTo>
                    <a:lnTo>
                      <a:pt x="217" y="138"/>
                    </a:lnTo>
                    <a:lnTo>
                      <a:pt x="217" y="138"/>
                    </a:lnTo>
                    <a:lnTo>
                      <a:pt x="221" y="112"/>
                    </a:lnTo>
                    <a:lnTo>
                      <a:pt x="225" y="108"/>
                    </a:lnTo>
                    <a:lnTo>
                      <a:pt x="230" y="104"/>
                    </a:lnTo>
                    <a:lnTo>
                      <a:pt x="230" y="104"/>
                    </a:lnTo>
                    <a:lnTo>
                      <a:pt x="238" y="108"/>
                    </a:lnTo>
                    <a:lnTo>
                      <a:pt x="238" y="112"/>
                    </a:lnTo>
                    <a:lnTo>
                      <a:pt x="243" y="138"/>
                    </a:lnTo>
                    <a:lnTo>
                      <a:pt x="243" y="156"/>
                    </a:lnTo>
                    <a:close/>
                    <a:moveTo>
                      <a:pt x="230" y="95"/>
                    </a:moveTo>
                    <a:lnTo>
                      <a:pt x="230" y="95"/>
                    </a:lnTo>
                    <a:lnTo>
                      <a:pt x="221" y="91"/>
                    </a:lnTo>
                    <a:lnTo>
                      <a:pt x="217" y="82"/>
                    </a:lnTo>
                    <a:lnTo>
                      <a:pt x="217" y="82"/>
                    </a:lnTo>
                    <a:lnTo>
                      <a:pt x="221" y="74"/>
                    </a:lnTo>
                    <a:lnTo>
                      <a:pt x="230" y="69"/>
                    </a:lnTo>
                    <a:lnTo>
                      <a:pt x="230" y="69"/>
                    </a:lnTo>
                    <a:lnTo>
                      <a:pt x="243" y="74"/>
                    </a:lnTo>
                    <a:lnTo>
                      <a:pt x="247" y="82"/>
                    </a:lnTo>
                    <a:lnTo>
                      <a:pt x="247" y="82"/>
                    </a:lnTo>
                    <a:lnTo>
                      <a:pt x="243" y="91"/>
                    </a:lnTo>
                    <a:lnTo>
                      <a:pt x="230" y="95"/>
                    </a:lnTo>
                    <a:lnTo>
                      <a:pt x="230"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8" name="组合 447"/>
            <p:cNvGrpSpPr/>
            <p:nvPr/>
          </p:nvGrpSpPr>
          <p:grpSpPr>
            <a:xfrm>
              <a:off x="1627326" y="3934523"/>
              <a:ext cx="676208" cy="225267"/>
              <a:chOff x="3930764" y="3906520"/>
              <a:chExt cx="952523" cy="561394"/>
            </a:xfrm>
            <a:solidFill>
              <a:schemeClr val="bg1"/>
            </a:solidFill>
          </p:grpSpPr>
          <p:grpSp>
            <p:nvGrpSpPr>
              <p:cNvPr id="9" name="组合 187"/>
              <p:cNvGrpSpPr/>
              <p:nvPr/>
            </p:nvGrpSpPr>
            <p:grpSpPr>
              <a:xfrm>
                <a:off x="3930764" y="3906520"/>
                <a:ext cx="952523" cy="287074"/>
                <a:chOff x="9419704" y="2777861"/>
                <a:chExt cx="1722438" cy="519113"/>
              </a:xfrm>
              <a:grpFill/>
            </p:grpSpPr>
            <p:grpSp>
              <p:nvGrpSpPr>
                <p:cNvPr id="10" name="组合 189"/>
                <p:cNvGrpSpPr/>
                <p:nvPr/>
              </p:nvGrpSpPr>
              <p:grpSpPr>
                <a:xfrm>
                  <a:off x="10669067" y="2893749"/>
                  <a:ext cx="196850" cy="36513"/>
                  <a:chOff x="10707167" y="1194489"/>
                  <a:chExt cx="196850" cy="36513"/>
                </a:xfrm>
                <a:grpFill/>
              </p:grpSpPr>
              <p:sp>
                <p:nvSpPr>
                  <p:cNvPr id="76"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7"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8"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9"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grpSp>
              <p:nvGrpSpPr>
                <p:cNvPr id="11" name="组合 188"/>
                <p:cNvGrpSpPr/>
                <p:nvPr/>
              </p:nvGrpSpPr>
              <p:grpSpPr>
                <a:xfrm>
                  <a:off x="10669067" y="3144574"/>
                  <a:ext cx="196850" cy="36513"/>
                  <a:chOff x="10707167" y="1445314"/>
                  <a:chExt cx="196850" cy="36513"/>
                </a:xfrm>
                <a:grpFill/>
              </p:grpSpPr>
              <p:sp>
                <p:nvSpPr>
                  <p:cNvPr id="72"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3"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4"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5"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sp>
              <p:nvSpPr>
                <p:cNvPr id="70"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71"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grpSp>
            <p:nvGrpSpPr>
              <p:cNvPr id="12" name="组合 200"/>
              <p:cNvGrpSpPr/>
              <p:nvPr/>
            </p:nvGrpSpPr>
            <p:grpSpPr>
              <a:xfrm>
                <a:off x="3930764" y="4180840"/>
                <a:ext cx="952523" cy="287074"/>
                <a:chOff x="9419704" y="2777861"/>
                <a:chExt cx="1722438" cy="519113"/>
              </a:xfrm>
              <a:grpFill/>
            </p:grpSpPr>
            <p:grpSp>
              <p:nvGrpSpPr>
                <p:cNvPr id="13" name="组合 189"/>
                <p:cNvGrpSpPr/>
                <p:nvPr/>
              </p:nvGrpSpPr>
              <p:grpSpPr>
                <a:xfrm>
                  <a:off x="10669067" y="2893749"/>
                  <a:ext cx="196850" cy="36513"/>
                  <a:chOff x="10707167" y="1194489"/>
                  <a:chExt cx="196850" cy="36513"/>
                </a:xfrm>
                <a:grpFill/>
              </p:grpSpPr>
              <p:sp>
                <p:nvSpPr>
                  <p:cNvPr id="64"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5"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6"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7"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grpSp>
              <p:nvGrpSpPr>
                <p:cNvPr id="14" name="组合 188"/>
                <p:cNvGrpSpPr/>
                <p:nvPr/>
              </p:nvGrpSpPr>
              <p:grpSpPr>
                <a:xfrm>
                  <a:off x="10669067" y="3144574"/>
                  <a:ext cx="196850" cy="36513"/>
                  <a:chOff x="10707167" y="1445314"/>
                  <a:chExt cx="196850" cy="36513"/>
                </a:xfrm>
                <a:grpFill/>
              </p:grpSpPr>
              <p:sp>
                <p:nvSpPr>
                  <p:cNvPr id="60"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1"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2"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63"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sp>
              <p:nvSpPr>
                <p:cNvPr id="58"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sp>
              <p:nvSpPr>
                <p:cNvPr id="59"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rial" pitchFamily="34" charset="0"/>
                    <a:cs typeface="Arial" pitchFamily="34" charset="0"/>
                  </a:endParaRPr>
                </a:p>
              </p:txBody>
            </p:sp>
          </p:grpSp>
        </p:grpSp>
        <p:grpSp>
          <p:nvGrpSpPr>
            <p:cNvPr id="15" name="组合 521"/>
            <p:cNvGrpSpPr/>
            <p:nvPr/>
          </p:nvGrpSpPr>
          <p:grpSpPr>
            <a:xfrm>
              <a:off x="3401100" y="3589068"/>
              <a:ext cx="392956" cy="624921"/>
              <a:chOff x="-842260" y="971550"/>
              <a:chExt cx="909638" cy="2039938"/>
            </a:xfrm>
            <a:solidFill>
              <a:schemeClr val="bg1"/>
            </a:solidFill>
          </p:grpSpPr>
          <p:sp>
            <p:nvSpPr>
              <p:cNvPr id="81"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151"/>
              <p:cNvSpPr>
                <a:spLocks noEditPoints="1"/>
              </p:cNvSpPr>
              <p:nvPr/>
            </p:nvSpPr>
            <p:spPr bwMode="auto">
              <a:xfrm>
                <a:off x="-842260"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6" name="组合 398"/>
            <p:cNvGrpSpPr/>
            <p:nvPr/>
          </p:nvGrpSpPr>
          <p:grpSpPr>
            <a:xfrm>
              <a:off x="2536428" y="3596625"/>
              <a:ext cx="512367" cy="603813"/>
              <a:chOff x="10287403" y="1826574"/>
              <a:chExt cx="2327275" cy="2817813"/>
            </a:xfrm>
            <a:solidFill>
              <a:schemeClr val="bg1"/>
            </a:solidFill>
          </p:grpSpPr>
          <p:sp>
            <p:nvSpPr>
              <p:cNvPr id="87"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2"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7"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3"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4"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5"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6"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7"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8"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9"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0"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1"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2"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3"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4"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5"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6"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7"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5"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9"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0"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6"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7"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8"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9"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0"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1"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3"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4"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5"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6"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7"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8"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9"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0"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1"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2"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3"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4"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1"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6"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8"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4"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5"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6"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7"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8"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9"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0"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1"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2"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3"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4"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5"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pic>
        <p:nvPicPr>
          <p:cNvPr id="227" name="Picture 18" descr="E:\1华赛设计夹\2010-8\朱冬晴\华赛新图标\华赛新图标 png\06 安全图标(一)\防垃圾邮件网关 3.png"/>
          <p:cNvPicPr>
            <a:picLocks noChangeAspect="1" noChangeArrowheads="1"/>
          </p:cNvPicPr>
          <p:nvPr/>
        </p:nvPicPr>
        <p:blipFill>
          <a:blip r:embed="rId9" cstate="print"/>
          <a:srcRect/>
          <a:stretch>
            <a:fillRect/>
          </a:stretch>
        </p:blipFill>
        <p:spPr bwMode="auto">
          <a:xfrm>
            <a:off x="2594147" y="4745292"/>
            <a:ext cx="361213" cy="358188"/>
          </a:xfrm>
          <a:prstGeom prst="rect">
            <a:avLst/>
          </a:prstGeom>
          <a:noFill/>
          <a:ln w="9525">
            <a:noFill/>
            <a:miter lim="800000"/>
            <a:headEnd/>
            <a:tailEnd/>
          </a:ln>
          <a:scene3d>
            <a:camera prst="orthographicFront"/>
            <a:lightRig rig="threePt" dir="t"/>
          </a:scene3d>
        </p:spPr>
      </p:pic>
      <p:pic>
        <p:nvPicPr>
          <p:cNvPr id="228" name="Picture 20" descr="E:\1华赛设计夹\2010-8\朱冬晴\华赛新图标\华赛新图标 png\06 安全图标(一)\探针 3.png"/>
          <p:cNvPicPr>
            <a:picLocks noChangeAspect="1" noChangeArrowheads="1"/>
          </p:cNvPicPr>
          <p:nvPr/>
        </p:nvPicPr>
        <p:blipFill>
          <a:blip r:embed="rId10" cstate="print"/>
          <a:srcRect/>
          <a:stretch>
            <a:fillRect/>
          </a:stretch>
        </p:blipFill>
        <p:spPr bwMode="auto">
          <a:xfrm>
            <a:off x="1234907" y="4745292"/>
            <a:ext cx="360331" cy="358188"/>
          </a:xfrm>
          <a:prstGeom prst="rect">
            <a:avLst/>
          </a:prstGeom>
          <a:noFill/>
          <a:ln w="9525">
            <a:noFill/>
            <a:miter lim="800000"/>
            <a:headEnd/>
            <a:tailEnd/>
          </a:ln>
          <a:scene3d>
            <a:camera prst="orthographicFront"/>
            <a:lightRig rig="threePt" dir="t"/>
          </a:scene3d>
        </p:spPr>
      </p:pic>
      <p:pic>
        <p:nvPicPr>
          <p:cNvPr id="229" name="Picture 21" descr="E:\1华赛设计夹\2010-8\朱冬晴\华赛新图标\华赛新图标 png\06 安全图标(一)\防火墙 3.png"/>
          <p:cNvPicPr>
            <a:picLocks noChangeAspect="1" noChangeArrowheads="1"/>
          </p:cNvPicPr>
          <p:nvPr/>
        </p:nvPicPr>
        <p:blipFill>
          <a:blip r:embed="rId11" cstate="print"/>
          <a:srcRect/>
          <a:stretch>
            <a:fillRect/>
          </a:stretch>
        </p:blipFill>
        <p:spPr bwMode="auto">
          <a:xfrm>
            <a:off x="1687399" y="4745292"/>
            <a:ext cx="361213" cy="358188"/>
          </a:xfrm>
          <a:prstGeom prst="rect">
            <a:avLst/>
          </a:prstGeom>
          <a:noFill/>
          <a:ln w="9525">
            <a:noFill/>
            <a:miter lim="800000"/>
            <a:headEnd/>
            <a:tailEnd/>
          </a:ln>
          <a:scene3d>
            <a:camera prst="orthographicFront"/>
            <a:lightRig rig="threePt" dir="t"/>
          </a:scene3d>
        </p:spPr>
      </p:pic>
      <p:pic>
        <p:nvPicPr>
          <p:cNvPr id="230" name="Picture 25" descr="E:\1华赛设计夹\2010-8\朱冬晴\华赛新图标\华赛新图标 png\06 安全图标(一)\IDS 3.png"/>
          <p:cNvPicPr>
            <a:picLocks noChangeAspect="1" noChangeArrowheads="1"/>
          </p:cNvPicPr>
          <p:nvPr/>
        </p:nvPicPr>
        <p:blipFill>
          <a:blip r:embed="rId12" cstate="print"/>
          <a:srcRect/>
          <a:stretch>
            <a:fillRect/>
          </a:stretch>
        </p:blipFill>
        <p:spPr bwMode="auto">
          <a:xfrm>
            <a:off x="2140773" y="4745292"/>
            <a:ext cx="361213" cy="358188"/>
          </a:xfrm>
          <a:prstGeom prst="rect">
            <a:avLst/>
          </a:prstGeom>
          <a:noFill/>
          <a:ln w="9525">
            <a:noFill/>
            <a:miter lim="800000"/>
            <a:headEnd/>
            <a:tailEnd/>
          </a:ln>
          <a:scene3d>
            <a:camera prst="orthographicFront"/>
            <a:lightRig rig="threePt" dir="t"/>
          </a:scene3d>
        </p:spPr>
      </p:pic>
      <p:grpSp>
        <p:nvGrpSpPr>
          <p:cNvPr id="17" name="组合 994"/>
          <p:cNvGrpSpPr>
            <a:grpSpLocks/>
          </p:cNvGrpSpPr>
          <p:nvPr/>
        </p:nvGrpSpPr>
        <p:grpSpPr bwMode="auto">
          <a:xfrm>
            <a:off x="1331424" y="5364435"/>
            <a:ext cx="311874" cy="366251"/>
            <a:chOff x="4033838" y="866776"/>
            <a:chExt cx="646113" cy="763588"/>
          </a:xfrm>
          <a:solidFill>
            <a:schemeClr val="bg1"/>
          </a:solidFill>
          <a:scene3d>
            <a:camera prst="orthographicFront"/>
            <a:lightRig rig="threePt" dir="t"/>
          </a:scene3d>
        </p:grpSpPr>
        <p:sp>
          <p:nvSpPr>
            <p:cNvPr id="232" name="Freeform 85"/>
            <p:cNvSpPr>
              <a:spLocks/>
            </p:cNvSpPr>
            <p:nvPr/>
          </p:nvSpPr>
          <p:spPr bwMode="auto">
            <a:xfrm>
              <a:off x="4033838" y="866776"/>
              <a:ext cx="646113" cy="744538"/>
            </a:xfrm>
            <a:custGeom>
              <a:avLst/>
              <a:gdLst>
                <a:gd name="T0" fmla="*/ 2147483646 w 1373"/>
                <a:gd name="T1" fmla="*/ 2147483646 h 1582"/>
                <a:gd name="T2" fmla="*/ 2147483646 w 1373"/>
                <a:gd name="T3" fmla="*/ 2147483646 h 1582"/>
                <a:gd name="T4" fmla="*/ 2147483646 w 1373"/>
                <a:gd name="T5" fmla="*/ 2147483646 h 1582"/>
                <a:gd name="T6" fmla="*/ 2147483646 w 1373"/>
                <a:gd name="T7" fmla="*/ 2147483646 h 1582"/>
                <a:gd name="T8" fmla="*/ 2147483646 w 1373"/>
                <a:gd name="T9" fmla="*/ 2147483646 h 1582"/>
                <a:gd name="T10" fmla="*/ 2147483646 w 1373"/>
                <a:gd name="T11" fmla="*/ 2147483646 h 1582"/>
                <a:gd name="T12" fmla="*/ 2147483646 w 1373"/>
                <a:gd name="T13" fmla="*/ 2147483646 h 1582"/>
                <a:gd name="T14" fmla="*/ 2147483646 w 1373"/>
                <a:gd name="T15" fmla="*/ 2147483646 h 1582"/>
                <a:gd name="T16" fmla="*/ 2147483646 w 1373"/>
                <a:gd name="T17" fmla="*/ 2147483646 h 1582"/>
                <a:gd name="T18" fmla="*/ 2147483646 w 1373"/>
                <a:gd name="T19" fmla="*/ 2147483646 h 1582"/>
                <a:gd name="T20" fmla="*/ 2147483646 w 1373"/>
                <a:gd name="T21" fmla="*/ 2147483646 h 1582"/>
                <a:gd name="T22" fmla="*/ 0 w 1373"/>
                <a:gd name="T23" fmla="*/ 2147483646 h 1582"/>
                <a:gd name="T24" fmla="*/ 0 w 1373"/>
                <a:gd name="T25" fmla="*/ 2147483646 h 1582"/>
                <a:gd name="T26" fmla="*/ 2147483646 w 1373"/>
                <a:gd name="T27" fmla="*/ 0 h 1582"/>
                <a:gd name="T28" fmla="*/ 2147483646 w 1373"/>
                <a:gd name="T29" fmla="*/ 0 h 1582"/>
                <a:gd name="T30" fmla="*/ 2147483646 w 1373"/>
                <a:gd name="T31" fmla="*/ 2147483646 h 1582"/>
                <a:gd name="T32" fmla="*/ 2147483646 w 1373"/>
                <a:gd name="T33" fmla="*/ 2147483646 h 1582"/>
                <a:gd name="T34" fmla="*/ 2147483646 w 1373"/>
                <a:gd name="T35" fmla="*/ 2147483646 h 15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73"/>
                <a:gd name="T55" fmla="*/ 0 h 1582"/>
                <a:gd name="T56" fmla="*/ 1373 w 1373"/>
                <a:gd name="T57" fmla="*/ 1582 h 15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73" h="1582">
                  <a:moveTo>
                    <a:pt x="1346" y="1582"/>
                  </a:moveTo>
                  <a:lnTo>
                    <a:pt x="1346" y="1582"/>
                  </a:lnTo>
                  <a:lnTo>
                    <a:pt x="1054" y="1582"/>
                  </a:lnTo>
                  <a:lnTo>
                    <a:pt x="1054" y="1529"/>
                  </a:lnTo>
                  <a:lnTo>
                    <a:pt x="1320" y="1529"/>
                  </a:lnTo>
                  <a:lnTo>
                    <a:pt x="1320" y="53"/>
                  </a:lnTo>
                  <a:lnTo>
                    <a:pt x="54" y="53"/>
                  </a:lnTo>
                  <a:lnTo>
                    <a:pt x="54" y="1529"/>
                  </a:lnTo>
                  <a:lnTo>
                    <a:pt x="931" y="1529"/>
                  </a:lnTo>
                  <a:lnTo>
                    <a:pt x="931" y="1582"/>
                  </a:lnTo>
                  <a:lnTo>
                    <a:pt x="27" y="1582"/>
                  </a:lnTo>
                  <a:cubicBezTo>
                    <a:pt x="12" y="1582"/>
                    <a:pt x="0" y="1570"/>
                    <a:pt x="0" y="1555"/>
                  </a:cubicBezTo>
                  <a:lnTo>
                    <a:pt x="0" y="26"/>
                  </a:lnTo>
                  <a:cubicBezTo>
                    <a:pt x="0" y="12"/>
                    <a:pt x="12" y="0"/>
                    <a:pt x="27" y="0"/>
                  </a:cubicBezTo>
                  <a:lnTo>
                    <a:pt x="1346" y="0"/>
                  </a:lnTo>
                  <a:cubicBezTo>
                    <a:pt x="1361" y="0"/>
                    <a:pt x="1373" y="12"/>
                    <a:pt x="1373" y="26"/>
                  </a:cubicBezTo>
                  <a:lnTo>
                    <a:pt x="1373" y="1555"/>
                  </a:lnTo>
                  <a:cubicBezTo>
                    <a:pt x="1373" y="1570"/>
                    <a:pt x="1361" y="1582"/>
                    <a:pt x="1346" y="1582"/>
                  </a:cubicBezTo>
                  <a:close/>
                </a:path>
              </a:pathLst>
            </a:custGeom>
            <a:grpFill/>
            <a:ln w="0">
              <a:noFill/>
              <a:round/>
              <a:headEnd/>
              <a:tailEnd/>
            </a:ln>
          </p:spPr>
          <p:txBody>
            <a:bodyPr/>
            <a:lstStyle/>
            <a:p>
              <a:endParaRPr lang="zh-CN" altLang="en-US"/>
            </a:p>
          </p:txBody>
        </p:sp>
        <p:sp>
          <p:nvSpPr>
            <p:cNvPr id="233" name="Freeform 86"/>
            <p:cNvSpPr>
              <a:spLocks/>
            </p:cNvSpPr>
            <p:nvPr/>
          </p:nvSpPr>
          <p:spPr bwMode="auto">
            <a:xfrm>
              <a:off x="4081463" y="1549401"/>
              <a:ext cx="552450" cy="4763"/>
            </a:xfrm>
            <a:custGeom>
              <a:avLst/>
              <a:gdLst>
                <a:gd name="T0" fmla="*/ 2147483646 w 1172"/>
                <a:gd name="T1" fmla="*/ 2147483646 h 7"/>
                <a:gd name="T2" fmla="*/ 2147483646 w 1172"/>
                <a:gd name="T3" fmla="*/ 2147483646 h 7"/>
                <a:gd name="T4" fmla="*/ 0 w 1172"/>
                <a:gd name="T5" fmla="*/ 2147483646 h 7"/>
                <a:gd name="T6" fmla="*/ 0 w 1172"/>
                <a:gd name="T7" fmla="*/ 0 h 7"/>
                <a:gd name="T8" fmla="*/ 2147483646 w 1172"/>
                <a:gd name="T9" fmla="*/ 0 h 7"/>
                <a:gd name="T10" fmla="*/ 2147483646 w 1172"/>
                <a:gd name="T11" fmla="*/ 2147483646 h 7"/>
                <a:gd name="T12" fmla="*/ 0 60000 65536"/>
                <a:gd name="T13" fmla="*/ 0 60000 65536"/>
                <a:gd name="T14" fmla="*/ 0 60000 65536"/>
                <a:gd name="T15" fmla="*/ 0 60000 65536"/>
                <a:gd name="T16" fmla="*/ 0 60000 65536"/>
                <a:gd name="T17" fmla="*/ 0 60000 65536"/>
                <a:gd name="T18" fmla="*/ 0 w 1172"/>
                <a:gd name="T19" fmla="*/ 0 h 7"/>
                <a:gd name="T20" fmla="*/ 1172 w 117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172" h="7">
                  <a:moveTo>
                    <a:pt x="1172" y="7"/>
                  </a:moveTo>
                  <a:lnTo>
                    <a:pt x="1172" y="7"/>
                  </a:lnTo>
                  <a:lnTo>
                    <a:pt x="0" y="7"/>
                  </a:lnTo>
                  <a:lnTo>
                    <a:pt x="0" y="0"/>
                  </a:lnTo>
                  <a:lnTo>
                    <a:pt x="1172" y="0"/>
                  </a:lnTo>
                  <a:lnTo>
                    <a:pt x="1172" y="7"/>
                  </a:lnTo>
                  <a:close/>
                </a:path>
              </a:pathLst>
            </a:custGeom>
            <a:grpFill/>
            <a:ln w="0">
              <a:noFill/>
              <a:round/>
              <a:headEnd/>
              <a:tailEnd/>
            </a:ln>
          </p:spPr>
          <p:txBody>
            <a:bodyPr/>
            <a:lstStyle/>
            <a:p>
              <a:endParaRPr lang="zh-CN" altLang="en-US"/>
            </a:p>
          </p:txBody>
        </p:sp>
        <p:sp>
          <p:nvSpPr>
            <p:cNvPr id="234" name="Freeform 87"/>
            <p:cNvSpPr>
              <a:spLocks/>
            </p:cNvSpPr>
            <p:nvPr/>
          </p:nvSpPr>
          <p:spPr bwMode="auto">
            <a:xfrm>
              <a:off x="4081463" y="904876"/>
              <a:ext cx="552450" cy="1588"/>
            </a:xfrm>
            <a:custGeom>
              <a:avLst/>
              <a:gdLst>
                <a:gd name="T0" fmla="*/ 2147483646 w 1172"/>
                <a:gd name="T1" fmla="*/ 2147483646 h 6"/>
                <a:gd name="T2" fmla="*/ 2147483646 w 1172"/>
                <a:gd name="T3" fmla="*/ 2147483646 h 6"/>
                <a:gd name="T4" fmla="*/ 0 w 1172"/>
                <a:gd name="T5" fmla="*/ 2147483646 h 6"/>
                <a:gd name="T6" fmla="*/ 0 w 1172"/>
                <a:gd name="T7" fmla="*/ 0 h 6"/>
                <a:gd name="T8" fmla="*/ 2147483646 w 1172"/>
                <a:gd name="T9" fmla="*/ 0 h 6"/>
                <a:gd name="T10" fmla="*/ 2147483646 w 1172"/>
                <a:gd name="T11" fmla="*/ 2147483646 h 6"/>
                <a:gd name="T12" fmla="*/ 0 60000 65536"/>
                <a:gd name="T13" fmla="*/ 0 60000 65536"/>
                <a:gd name="T14" fmla="*/ 0 60000 65536"/>
                <a:gd name="T15" fmla="*/ 0 60000 65536"/>
                <a:gd name="T16" fmla="*/ 0 60000 65536"/>
                <a:gd name="T17" fmla="*/ 0 60000 65536"/>
                <a:gd name="T18" fmla="*/ 0 w 1172"/>
                <a:gd name="T19" fmla="*/ 0 h 6"/>
                <a:gd name="T20" fmla="*/ 1172 w 117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72" h="6">
                  <a:moveTo>
                    <a:pt x="1172" y="6"/>
                  </a:moveTo>
                  <a:lnTo>
                    <a:pt x="1172" y="6"/>
                  </a:lnTo>
                  <a:lnTo>
                    <a:pt x="0" y="6"/>
                  </a:lnTo>
                  <a:lnTo>
                    <a:pt x="0" y="0"/>
                  </a:lnTo>
                  <a:lnTo>
                    <a:pt x="1172" y="0"/>
                  </a:lnTo>
                  <a:lnTo>
                    <a:pt x="1172" y="6"/>
                  </a:lnTo>
                  <a:close/>
                </a:path>
              </a:pathLst>
            </a:custGeom>
            <a:grpFill/>
            <a:ln w="0">
              <a:noFill/>
              <a:round/>
              <a:headEnd/>
              <a:tailEnd/>
            </a:ln>
          </p:spPr>
          <p:txBody>
            <a:bodyPr/>
            <a:lstStyle/>
            <a:p>
              <a:endParaRPr lang="zh-CN" altLang="en-US"/>
            </a:p>
          </p:txBody>
        </p:sp>
        <p:sp>
          <p:nvSpPr>
            <p:cNvPr id="235" name="Freeform 88"/>
            <p:cNvSpPr>
              <a:spLocks/>
            </p:cNvSpPr>
            <p:nvPr/>
          </p:nvSpPr>
          <p:spPr bwMode="auto">
            <a:xfrm>
              <a:off x="4078288" y="877888"/>
              <a:ext cx="3175" cy="720725"/>
            </a:xfrm>
            <a:custGeom>
              <a:avLst/>
              <a:gdLst>
                <a:gd name="T0" fmla="*/ 2147483646 w 7"/>
                <a:gd name="T1" fmla="*/ 2147483646 h 1529"/>
                <a:gd name="T2" fmla="*/ 2147483646 w 7"/>
                <a:gd name="T3" fmla="*/ 2147483646 h 1529"/>
                <a:gd name="T4" fmla="*/ 0 w 7"/>
                <a:gd name="T5" fmla="*/ 2147483646 h 1529"/>
                <a:gd name="T6" fmla="*/ 0 w 7"/>
                <a:gd name="T7" fmla="*/ 0 h 1529"/>
                <a:gd name="T8" fmla="*/ 2147483646 w 7"/>
                <a:gd name="T9" fmla="*/ 0 h 1529"/>
                <a:gd name="T10" fmla="*/ 2147483646 w 7"/>
                <a:gd name="T11" fmla="*/ 2147483646 h 1529"/>
                <a:gd name="T12" fmla="*/ 0 60000 65536"/>
                <a:gd name="T13" fmla="*/ 0 60000 65536"/>
                <a:gd name="T14" fmla="*/ 0 60000 65536"/>
                <a:gd name="T15" fmla="*/ 0 60000 65536"/>
                <a:gd name="T16" fmla="*/ 0 60000 65536"/>
                <a:gd name="T17" fmla="*/ 0 60000 65536"/>
                <a:gd name="T18" fmla="*/ 0 w 7"/>
                <a:gd name="T19" fmla="*/ 0 h 1529"/>
                <a:gd name="T20" fmla="*/ 7 w 7"/>
                <a:gd name="T21" fmla="*/ 1529 h 1529"/>
              </a:gdLst>
              <a:ahLst/>
              <a:cxnLst>
                <a:cxn ang="T12">
                  <a:pos x="T0" y="T1"/>
                </a:cxn>
                <a:cxn ang="T13">
                  <a:pos x="T2" y="T3"/>
                </a:cxn>
                <a:cxn ang="T14">
                  <a:pos x="T4" y="T5"/>
                </a:cxn>
                <a:cxn ang="T15">
                  <a:pos x="T6" y="T7"/>
                </a:cxn>
                <a:cxn ang="T16">
                  <a:pos x="T8" y="T9"/>
                </a:cxn>
                <a:cxn ang="T17">
                  <a:pos x="T10" y="T11"/>
                </a:cxn>
              </a:cxnLst>
              <a:rect l="T18" t="T19" r="T20" b="T21"/>
              <a:pathLst>
                <a:path w="7" h="1529">
                  <a:moveTo>
                    <a:pt x="7" y="1529"/>
                  </a:moveTo>
                  <a:lnTo>
                    <a:pt x="7" y="1529"/>
                  </a:lnTo>
                  <a:lnTo>
                    <a:pt x="0" y="1529"/>
                  </a:lnTo>
                  <a:lnTo>
                    <a:pt x="0" y="0"/>
                  </a:lnTo>
                  <a:lnTo>
                    <a:pt x="7" y="0"/>
                  </a:lnTo>
                  <a:lnTo>
                    <a:pt x="7" y="1529"/>
                  </a:lnTo>
                  <a:close/>
                </a:path>
              </a:pathLst>
            </a:custGeom>
            <a:grpFill/>
            <a:ln w="0">
              <a:noFill/>
              <a:round/>
              <a:headEnd/>
              <a:tailEnd/>
            </a:ln>
          </p:spPr>
          <p:txBody>
            <a:bodyPr/>
            <a:lstStyle/>
            <a:p>
              <a:endParaRPr lang="zh-CN" altLang="en-US"/>
            </a:p>
          </p:txBody>
        </p:sp>
        <p:sp>
          <p:nvSpPr>
            <p:cNvPr id="236" name="Freeform 89"/>
            <p:cNvSpPr>
              <a:spLocks/>
            </p:cNvSpPr>
            <p:nvPr/>
          </p:nvSpPr>
          <p:spPr bwMode="auto">
            <a:xfrm>
              <a:off x="4633913" y="877888"/>
              <a:ext cx="3175" cy="720725"/>
            </a:xfrm>
            <a:custGeom>
              <a:avLst/>
              <a:gdLst>
                <a:gd name="T0" fmla="*/ 2147483646 w 7"/>
                <a:gd name="T1" fmla="*/ 2147483646 h 1529"/>
                <a:gd name="T2" fmla="*/ 2147483646 w 7"/>
                <a:gd name="T3" fmla="*/ 2147483646 h 1529"/>
                <a:gd name="T4" fmla="*/ 0 w 7"/>
                <a:gd name="T5" fmla="*/ 2147483646 h 1529"/>
                <a:gd name="T6" fmla="*/ 0 w 7"/>
                <a:gd name="T7" fmla="*/ 0 h 1529"/>
                <a:gd name="T8" fmla="*/ 2147483646 w 7"/>
                <a:gd name="T9" fmla="*/ 0 h 1529"/>
                <a:gd name="T10" fmla="*/ 2147483646 w 7"/>
                <a:gd name="T11" fmla="*/ 2147483646 h 1529"/>
                <a:gd name="T12" fmla="*/ 0 60000 65536"/>
                <a:gd name="T13" fmla="*/ 0 60000 65536"/>
                <a:gd name="T14" fmla="*/ 0 60000 65536"/>
                <a:gd name="T15" fmla="*/ 0 60000 65536"/>
                <a:gd name="T16" fmla="*/ 0 60000 65536"/>
                <a:gd name="T17" fmla="*/ 0 60000 65536"/>
                <a:gd name="T18" fmla="*/ 0 w 7"/>
                <a:gd name="T19" fmla="*/ 0 h 1529"/>
                <a:gd name="T20" fmla="*/ 7 w 7"/>
                <a:gd name="T21" fmla="*/ 1529 h 1529"/>
              </a:gdLst>
              <a:ahLst/>
              <a:cxnLst>
                <a:cxn ang="T12">
                  <a:pos x="T0" y="T1"/>
                </a:cxn>
                <a:cxn ang="T13">
                  <a:pos x="T2" y="T3"/>
                </a:cxn>
                <a:cxn ang="T14">
                  <a:pos x="T4" y="T5"/>
                </a:cxn>
                <a:cxn ang="T15">
                  <a:pos x="T6" y="T7"/>
                </a:cxn>
                <a:cxn ang="T16">
                  <a:pos x="T8" y="T9"/>
                </a:cxn>
                <a:cxn ang="T17">
                  <a:pos x="T10" y="T11"/>
                </a:cxn>
              </a:cxnLst>
              <a:rect l="T18" t="T19" r="T20" b="T21"/>
              <a:pathLst>
                <a:path w="7" h="1529">
                  <a:moveTo>
                    <a:pt x="7" y="1529"/>
                  </a:moveTo>
                  <a:lnTo>
                    <a:pt x="7" y="1529"/>
                  </a:lnTo>
                  <a:lnTo>
                    <a:pt x="0" y="1529"/>
                  </a:lnTo>
                  <a:lnTo>
                    <a:pt x="0" y="0"/>
                  </a:lnTo>
                  <a:lnTo>
                    <a:pt x="7" y="0"/>
                  </a:lnTo>
                  <a:lnTo>
                    <a:pt x="7" y="1529"/>
                  </a:lnTo>
                  <a:close/>
                </a:path>
              </a:pathLst>
            </a:custGeom>
            <a:grpFill/>
            <a:ln w="0">
              <a:noFill/>
              <a:round/>
              <a:headEnd/>
              <a:tailEnd/>
            </a:ln>
          </p:spPr>
          <p:txBody>
            <a:bodyPr/>
            <a:lstStyle/>
            <a:p>
              <a:endParaRPr lang="zh-CN" altLang="en-US"/>
            </a:p>
          </p:txBody>
        </p:sp>
        <p:sp>
          <p:nvSpPr>
            <p:cNvPr id="237" name="Freeform 90"/>
            <p:cNvSpPr>
              <a:spLocks/>
            </p:cNvSpPr>
            <p:nvPr/>
          </p:nvSpPr>
          <p:spPr bwMode="auto">
            <a:xfrm>
              <a:off x="4413250" y="1565276"/>
              <a:ext cx="65088" cy="65088"/>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8"/>
                    <a:pt x="0" y="70"/>
                  </a:cubicBezTo>
                  <a:cubicBezTo>
                    <a:pt x="0" y="31"/>
                    <a:pt x="31" y="0"/>
                    <a:pt x="69" y="0"/>
                  </a:cubicBezTo>
                  <a:cubicBezTo>
                    <a:pt x="108" y="0"/>
                    <a:pt x="139" y="31"/>
                    <a:pt x="139" y="70"/>
                  </a:cubicBezTo>
                  <a:cubicBezTo>
                    <a:pt x="139" y="108"/>
                    <a:pt x="108" y="139"/>
                    <a:pt x="69" y="139"/>
                  </a:cubicBezTo>
                  <a:close/>
                </a:path>
              </a:pathLst>
            </a:custGeom>
            <a:grpFill/>
            <a:ln w="0">
              <a:noFill/>
              <a:round/>
              <a:headEnd/>
              <a:tailEnd/>
            </a:ln>
          </p:spPr>
          <p:txBody>
            <a:bodyPr/>
            <a:lstStyle/>
            <a:p>
              <a:endParaRPr lang="zh-CN" altLang="en-US"/>
            </a:p>
          </p:txBody>
        </p:sp>
        <p:sp>
          <p:nvSpPr>
            <p:cNvPr id="238" name="Freeform 91"/>
            <p:cNvSpPr>
              <a:spLocks/>
            </p:cNvSpPr>
            <p:nvPr/>
          </p:nvSpPr>
          <p:spPr bwMode="auto">
            <a:xfrm>
              <a:off x="4513263" y="1565276"/>
              <a:ext cx="65088" cy="65088"/>
            </a:xfrm>
            <a:custGeom>
              <a:avLst/>
              <a:gdLst>
                <a:gd name="T0" fmla="*/ 2147483646 w 139"/>
                <a:gd name="T1" fmla="*/ 2147483646 h 138"/>
                <a:gd name="T2" fmla="*/ 2147483646 w 139"/>
                <a:gd name="T3" fmla="*/ 2147483646 h 138"/>
                <a:gd name="T4" fmla="*/ 0 w 139"/>
                <a:gd name="T5" fmla="*/ 2147483646 h 138"/>
                <a:gd name="T6" fmla="*/ 2147483646 w 139"/>
                <a:gd name="T7" fmla="*/ 0 h 138"/>
                <a:gd name="T8" fmla="*/ 2147483646 w 139"/>
                <a:gd name="T9" fmla="*/ 2147483646 h 138"/>
                <a:gd name="T10" fmla="*/ 2147483646 w 139"/>
                <a:gd name="T11" fmla="*/ 2147483646 h 138"/>
                <a:gd name="T12" fmla="*/ 0 60000 65536"/>
                <a:gd name="T13" fmla="*/ 0 60000 65536"/>
                <a:gd name="T14" fmla="*/ 0 60000 65536"/>
                <a:gd name="T15" fmla="*/ 0 60000 65536"/>
                <a:gd name="T16" fmla="*/ 0 60000 65536"/>
                <a:gd name="T17" fmla="*/ 0 60000 65536"/>
                <a:gd name="T18" fmla="*/ 0 w 139"/>
                <a:gd name="T19" fmla="*/ 0 h 138"/>
                <a:gd name="T20" fmla="*/ 139 w 139"/>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9" h="138">
                  <a:moveTo>
                    <a:pt x="69" y="138"/>
                  </a:moveTo>
                  <a:lnTo>
                    <a:pt x="69" y="138"/>
                  </a:lnTo>
                  <a:cubicBezTo>
                    <a:pt x="31" y="138"/>
                    <a:pt x="0" y="107"/>
                    <a:pt x="0" y="69"/>
                  </a:cubicBezTo>
                  <a:cubicBezTo>
                    <a:pt x="0" y="31"/>
                    <a:pt x="31" y="0"/>
                    <a:pt x="69" y="0"/>
                  </a:cubicBezTo>
                  <a:cubicBezTo>
                    <a:pt x="107" y="0"/>
                    <a:pt x="139" y="31"/>
                    <a:pt x="139" y="69"/>
                  </a:cubicBezTo>
                  <a:cubicBezTo>
                    <a:pt x="139" y="107"/>
                    <a:pt x="107" y="138"/>
                    <a:pt x="69" y="138"/>
                  </a:cubicBezTo>
                  <a:close/>
                </a:path>
              </a:pathLst>
            </a:custGeom>
            <a:grpFill/>
            <a:ln w="0">
              <a:noFill/>
              <a:round/>
              <a:headEnd/>
              <a:tailEnd/>
            </a:ln>
          </p:spPr>
          <p:txBody>
            <a:bodyPr/>
            <a:lstStyle/>
            <a:p>
              <a:endParaRPr lang="zh-CN" altLang="en-US"/>
            </a:p>
          </p:txBody>
        </p:sp>
        <p:sp>
          <p:nvSpPr>
            <p:cNvPr id="239" name="Freeform 92"/>
            <p:cNvSpPr>
              <a:spLocks/>
            </p:cNvSpPr>
            <p:nvPr/>
          </p:nvSpPr>
          <p:spPr bwMode="auto">
            <a:xfrm>
              <a:off x="4305300" y="96361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0" name="Freeform 93"/>
            <p:cNvSpPr>
              <a:spLocks/>
            </p:cNvSpPr>
            <p:nvPr/>
          </p:nvSpPr>
          <p:spPr bwMode="auto">
            <a:xfrm>
              <a:off x="4305300" y="9255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1" name="Freeform 94"/>
            <p:cNvSpPr>
              <a:spLocks/>
            </p:cNvSpPr>
            <p:nvPr/>
          </p:nvSpPr>
          <p:spPr bwMode="auto">
            <a:xfrm>
              <a:off x="4305300" y="95726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42" name="Freeform 95"/>
            <p:cNvSpPr>
              <a:spLocks/>
            </p:cNvSpPr>
            <p:nvPr/>
          </p:nvSpPr>
          <p:spPr bwMode="auto">
            <a:xfrm>
              <a:off x="4305300" y="9715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3" name="Freeform 96"/>
            <p:cNvSpPr>
              <a:spLocks/>
            </p:cNvSpPr>
            <p:nvPr/>
          </p:nvSpPr>
          <p:spPr bwMode="auto">
            <a:xfrm>
              <a:off x="4305300" y="93186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4" name="Freeform 97"/>
            <p:cNvSpPr>
              <a:spLocks/>
            </p:cNvSpPr>
            <p:nvPr/>
          </p:nvSpPr>
          <p:spPr bwMode="auto">
            <a:xfrm>
              <a:off x="4305300" y="93980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45" name="Freeform 98"/>
            <p:cNvSpPr>
              <a:spLocks noEditPoints="1"/>
            </p:cNvSpPr>
            <p:nvPr/>
          </p:nvSpPr>
          <p:spPr bwMode="auto">
            <a:xfrm>
              <a:off x="4090988" y="917576"/>
              <a:ext cx="260350" cy="68263"/>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46" name="Freeform 99"/>
            <p:cNvSpPr>
              <a:spLocks/>
            </p:cNvSpPr>
            <p:nvPr/>
          </p:nvSpPr>
          <p:spPr bwMode="auto">
            <a:xfrm>
              <a:off x="4576763" y="96361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7" name="Freeform 100"/>
            <p:cNvSpPr>
              <a:spLocks/>
            </p:cNvSpPr>
            <p:nvPr/>
          </p:nvSpPr>
          <p:spPr bwMode="auto">
            <a:xfrm>
              <a:off x="4576763" y="9255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48" name="Freeform 101"/>
            <p:cNvSpPr>
              <a:spLocks/>
            </p:cNvSpPr>
            <p:nvPr/>
          </p:nvSpPr>
          <p:spPr bwMode="auto">
            <a:xfrm>
              <a:off x="4576763" y="95726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49" name="Freeform 102"/>
            <p:cNvSpPr>
              <a:spLocks/>
            </p:cNvSpPr>
            <p:nvPr/>
          </p:nvSpPr>
          <p:spPr bwMode="auto">
            <a:xfrm>
              <a:off x="4576763" y="9715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0" name="Freeform 103"/>
            <p:cNvSpPr>
              <a:spLocks/>
            </p:cNvSpPr>
            <p:nvPr/>
          </p:nvSpPr>
          <p:spPr bwMode="auto">
            <a:xfrm>
              <a:off x="4576763" y="93186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1" name="Freeform 104"/>
            <p:cNvSpPr>
              <a:spLocks/>
            </p:cNvSpPr>
            <p:nvPr/>
          </p:nvSpPr>
          <p:spPr bwMode="auto">
            <a:xfrm>
              <a:off x="4576763" y="93980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52" name="Freeform 105"/>
            <p:cNvSpPr>
              <a:spLocks noEditPoints="1"/>
            </p:cNvSpPr>
            <p:nvPr/>
          </p:nvSpPr>
          <p:spPr bwMode="auto">
            <a:xfrm>
              <a:off x="4364038" y="917576"/>
              <a:ext cx="260350" cy="68263"/>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53" name="Freeform 106"/>
            <p:cNvSpPr>
              <a:spLocks/>
            </p:cNvSpPr>
            <p:nvPr/>
          </p:nvSpPr>
          <p:spPr bwMode="auto">
            <a:xfrm>
              <a:off x="4305300" y="104298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4" name="Freeform 107"/>
            <p:cNvSpPr>
              <a:spLocks/>
            </p:cNvSpPr>
            <p:nvPr/>
          </p:nvSpPr>
          <p:spPr bwMode="auto">
            <a:xfrm>
              <a:off x="4305300" y="100330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55" name="Freeform 108"/>
            <p:cNvSpPr>
              <a:spLocks/>
            </p:cNvSpPr>
            <p:nvPr/>
          </p:nvSpPr>
          <p:spPr bwMode="auto">
            <a:xfrm>
              <a:off x="4305300" y="103505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6" name="Freeform 109"/>
            <p:cNvSpPr>
              <a:spLocks/>
            </p:cNvSpPr>
            <p:nvPr/>
          </p:nvSpPr>
          <p:spPr bwMode="auto">
            <a:xfrm>
              <a:off x="4305300" y="105092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7" name="Freeform 110"/>
            <p:cNvSpPr>
              <a:spLocks/>
            </p:cNvSpPr>
            <p:nvPr/>
          </p:nvSpPr>
          <p:spPr bwMode="auto">
            <a:xfrm>
              <a:off x="4305300" y="10112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8" name="Freeform 111"/>
            <p:cNvSpPr>
              <a:spLocks/>
            </p:cNvSpPr>
            <p:nvPr/>
          </p:nvSpPr>
          <p:spPr bwMode="auto">
            <a:xfrm>
              <a:off x="4305300" y="10191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59" name="Freeform 112"/>
            <p:cNvSpPr>
              <a:spLocks noEditPoints="1"/>
            </p:cNvSpPr>
            <p:nvPr/>
          </p:nvSpPr>
          <p:spPr bwMode="auto">
            <a:xfrm>
              <a:off x="4090988" y="996951"/>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7"/>
                  </a:moveTo>
                  <a:lnTo>
                    <a:pt x="534" y="67"/>
                  </a:lnTo>
                  <a:lnTo>
                    <a:pt x="297" y="67"/>
                  </a:lnTo>
                  <a:lnTo>
                    <a:pt x="297" y="60"/>
                  </a:lnTo>
                  <a:lnTo>
                    <a:pt x="444" y="60"/>
                  </a:lnTo>
                  <a:lnTo>
                    <a:pt x="444" y="8"/>
                  </a:lnTo>
                  <a:lnTo>
                    <a:pt x="534" y="8"/>
                  </a:lnTo>
                  <a:lnTo>
                    <a:pt x="534" y="67"/>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60" name="Freeform 113"/>
            <p:cNvSpPr>
              <a:spLocks/>
            </p:cNvSpPr>
            <p:nvPr/>
          </p:nvSpPr>
          <p:spPr bwMode="auto">
            <a:xfrm>
              <a:off x="4576763" y="104298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1" name="Freeform 114"/>
            <p:cNvSpPr>
              <a:spLocks/>
            </p:cNvSpPr>
            <p:nvPr/>
          </p:nvSpPr>
          <p:spPr bwMode="auto">
            <a:xfrm>
              <a:off x="4576763" y="100330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62" name="Freeform 115"/>
            <p:cNvSpPr>
              <a:spLocks/>
            </p:cNvSpPr>
            <p:nvPr/>
          </p:nvSpPr>
          <p:spPr bwMode="auto">
            <a:xfrm>
              <a:off x="4576763" y="103505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3" name="Freeform 116"/>
            <p:cNvSpPr>
              <a:spLocks/>
            </p:cNvSpPr>
            <p:nvPr/>
          </p:nvSpPr>
          <p:spPr bwMode="auto">
            <a:xfrm>
              <a:off x="4576763" y="105092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4" name="Freeform 117"/>
            <p:cNvSpPr>
              <a:spLocks/>
            </p:cNvSpPr>
            <p:nvPr/>
          </p:nvSpPr>
          <p:spPr bwMode="auto">
            <a:xfrm>
              <a:off x="4576763" y="10112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5" name="Freeform 118"/>
            <p:cNvSpPr>
              <a:spLocks/>
            </p:cNvSpPr>
            <p:nvPr/>
          </p:nvSpPr>
          <p:spPr bwMode="auto">
            <a:xfrm>
              <a:off x="4576763" y="10191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6" name="Freeform 119"/>
            <p:cNvSpPr>
              <a:spLocks noEditPoints="1"/>
            </p:cNvSpPr>
            <p:nvPr/>
          </p:nvSpPr>
          <p:spPr bwMode="auto">
            <a:xfrm>
              <a:off x="4364038" y="996951"/>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7"/>
                  </a:moveTo>
                  <a:lnTo>
                    <a:pt x="534" y="67"/>
                  </a:lnTo>
                  <a:lnTo>
                    <a:pt x="297" y="67"/>
                  </a:lnTo>
                  <a:lnTo>
                    <a:pt x="297" y="60"/>
                  </a:lnTo>
                  <a:lnTo>
                    <a:pt x="444" y="60"/>
                  </a:lnTo>
                  <a:lnTo>
                    <a:pt x="444" y="8"/>
                  </a:lnTo>
                  <a:lnTo>
                    <a:pt x="534" y="8"/>
                  </a:lnTo>
                  <a:lnTo>
                    <a:pt x="534" y="67"/>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67" name="Freeform 120"/>
            <p:cNvSpPr>
              <a:spLocks/>
            </p:cNvSpPr>
            <p:nvPr/>
          </p:nvSpPr>
          <p:spPr bwMode="auto">
            <a:xfrm>
              <a:off x="4305300" y="11223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8" name="Freeform 121"/>
            <p:cNvSpPr>
              <a:spLocks/>
            </p:cNvSpPr>
            <p:nvPr/>
          </p:nvSpPr>
          <p:spPr bwMode="auto">
            <a:xfrm>
              <a:off x="4305300" y="10826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69" name="Freeform 122"/>
            <p:cNvSpPr>
              <a:spLocks/>
            </p:cNvSpPr>
            <p:nvPr/>
          </p:nvSpPr>
          <p:spPr bwMode="auto">
            <a:xfrm>
              <a:off x="4305300" y="111442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70" name="Freeform 123"/>
            <p:cNvSpPr>
              <a:spLocks/>
            </p:cNvSpPr>
            <p:nvPr/>
          </p:nvSpPr>
          <p:spPr bwMode="auto">
            <a:xfrm>
              <a:off x="4305300" y="112871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1" name="Freeform 124"/>
            <p:cNvSpPr>
              <a:spLocks/>
            </p:cNvSpPr>
            <p:nvPr/>
          </p:nvSpPr>
          <p:spPr bwMode="auto">
            <a:xfrm>
              <a:off x="4305300" y="10906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2" name="Freeform 125"/>
            <p:cNvSpPr>
              <a:spLocks/>
            </p:cNvSpPr>
            <p:nvPr/>
          </p:nvSpPr>
          <p:spPr bwMode="auto">
            <a:xfrm>
              <a:off x="4305300" y="1098551"/>
              <a:ext cx="4763" cy="3175"/>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73" name="Freeform 126"/>
            <p:cNvSpPr>
              <a:spLocks noEditPoints="1"/>
            </p:cNvSpPr>
            <p:nvPr/>
          </p:nvSpPr>
          <p:spPr bwMode="auto">
            <a:xfrm>
              <a:off x="4090988" y="1076326"/>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8"/>
                  </a:lnTo>
                  <a:lnTo>
                    <a:pt x="444" y="128"/>
                  </a:lnTo>
                  <a:lnTo>
                    <a:pt x="444" y="76"/>
                  </a:lnTo>
                  <a:lnTo>
                    <a:pt x="534" y="76"/>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74" name="Freeform 127"/>
            <p:cNvSpPr>
              <a:spLocks/>
            </p:cNvSpPr>
            <p:nvPr/>
          </p:nvSpPr>
          <p:spPr bwMode="auto">
            <a:xfrm>
              <a:off x="4576763" y="11223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5" name="Freeform 128"/>
            <p:cNvSpPr>
              <a:spLocks/>
            </p:cNvSpPr>
            <p:nvPr/>
          </p:nvSpPr>
          <p:spPr bwMode="auto">
            <a:xfrm>
              <a:off x="4576763" y="10826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6" name="Freeform 129"/>
            <p:cNvSpPr>
              <a:spLocks/>
            </p:cNvSpPr>
            <p:nvPr/>
          </p:nvSpPr>
          <p:spPr bwMode="auto">
            <a:xfrm>
              <a:off x="4576763" y="111442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77" name="Freeform 130"/>
            <p:cNvSpPr>
              <a:spLocks/>
            </p:cNvSpPr>
            <p:nvPr/>
          </p:nvSpPr>
          <p:spPr bwMode="auto">
            <a:xfrm>
              <a:off x="4576763" y="1128713"/>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8" name="Freeform 131"/>
            <p:cNvSpPr>
              <a:spLocks/>
            </p:cNvSpPr>
            <p:nvPr/>
          </p:nvSpPr>
          <p:spPr bwMode="auto">
            <a:xfrm>
              <a:off x="4576763" y="10906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79" name="Freeform 132"/>
            <p:cNvSpPr>
              <a:spLocks/>
            </p:cNvSpPr>
            <p:nvPr/>
          </p:nvSpPr>
          <p:spPr bwMode="auto">
            <a:xfrm>
              <a:off x="4576763" y="1098551"/>
              <a:ext cx="4763" cy="3175"/>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80" name="Freeform 133"/>
            <p:cNvSpPr>
              <a:spLocks noEditPoints="1"/>
            </p:cNvSpPr>
            <p:nvPr/>
          </p:nvSpPr>
          <p:spPr bwMode="auto">
            <a:xfrm>
              <a:off x="4364038" y="1076326"/>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8"/>
                  </a:lnTo>
                  <a:lnTo>
                    <a:pt x="444" y="128"/>
                  </a:lnTo>
                  <a:lnTo>
                    <a:pt x="444" y="76"/>
                  </a:lnTo>
                  <a:lnTo>
                    <a:pt x="534" y="76"/>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81" name="Freeform 134"/>
            <p:cNvSpPr>
              <a:spLocks/>
            </p:cNvSpPr>
            <p:nvPr/>
          </p:nvSpPr>
          <p:spPr bwMode="auto">
            <a:xfrm>
              <a:off x="4305300" y="120015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82" name="Freeform 135"/>
            <p:cNvSpPr>
              <a:spLocks/>
            </p:cNvSpPr>
            <p:nvPr/>
          </p:nvSpPr>
          <p:spPr bwMode="auto">
            <a:xfrm>
              <a:off x="4305300" y="11620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83" name="Freeform 136"/>
            <p:cNvSpPr>
              <a:spLocks/>
            </p:cNvSpPr>
            <p:nvPr/>
          </p:nvSpPr>
          <p:spPr bwMode="auto">
            <a:xfrm>
              <a:off x="4305300" y="11938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84" name="Freeform 137"/>
            <p:cNvSpPr>
              <a:spLocks/>
            </p:cNvSpPr>
            <p:nvPr/>
          </p:nvSpPr>
          <p:spPr bwMode="auto">
            <a:xfrm>
              <a:off x="4305300" y="12080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85" name="Freeform 138"/>
            <p:cNvSpPr>
              <a:spLocks/>
            </p:cNvSpPr>
            <p:nvPr/>
          </p:nvSpPr>
          <p:spPr bwMode="auto">
            <a:xfrm>
              <a:off x="4305300" y="11699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86" name="Freeform 139"/>
            <p:cNvSpPr>
              <a:spLocks/>
            </p:cNvSpPr>
            <p:nvPr/>
          </p:nvSpPr>
          <p:spPr bwMode="auto">
            <a:xfrm>
              <a:off x="4305300" y="11763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87" name="Freeform 140"/>
            <p:cNvSpPr>
              <a:spLocks noEditPoints="1"/>
            </p:cNvSpPr>
            <p:nvPr/>
          </p:nvSpPr>
          <p:spPr bwMode="auto">
            <a:xfrm>
              <a:off x="4090988" y="1154113"/>
              <a:ext cx="260350" cy="68263"/>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88" name="Freeform 141"/>
            <p:cNvSpPr>
              <a:spLocks/>
            </p:cNvSpPr>
            <p:nvPr/>
          </p:nvSpPr>
          <p:spPr bwMode="auto">
            <a:xfrm>
              <a:off x="4576763" y="120015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89" name="Freeform 142"/>
            <p:cNvSpPr>
              <a:spLocks/>
            </p:cNvSpPr>
            <p:nvPr/>
          </p:nvSpPr>
          <p:spPr bwMode="auto">
            <a:xfrm>
              <a:off x="4576763" y="11620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0" name="Freeform 143"/>
            <p:cNvSpPr>
              <a:spLocks/>
            </p:cNvSpPr>
            <p:nvPr/>
          </p:nvSpPr>
          <p:spPr bwMode="auto">
            <a:xfrm>
              <a:off x="4576763" y="11938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1" name="Freeform 144"/>
            <p:cNvSpPr>
              <a:spLocks/>
            </p:cNvSpPr>
            <p:nvPr/>
          </p:nvSpPr>
          <p:spPr bwMode="auto">
            <a:xfrm>
              <a:off x="4576763" y="12080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92" name="Freeform 145"/>
            <p:cNvSpPr>
              <a:spLocks/>
            </p:cNvSpPr>
            <p:nvPr/>
          </p:nvSpPr>
          <p:spPr bwMode="auto">
            <a:xfrm>
              <a:off x="4576763" y="11699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93" name="Freeform 146"/>
            <p:cNvSpPr>
              <a:spLocks/>
            </p:cNvSpPr>
            <p:nvPr/>
          </p:nvSpPr>
          <p:spPr bwMode="auto">
            <a:xfrm>
              <a:off x="4576763" y="11763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4" name="Freeform 147"/>
            <p:cNvSpPr>
              <a:spLocks noEditPoints="1"/>
            </p:cNvSpPr>
            <p:nvPr/>
          </p:nvSpPr>
          <p:spPr bwMode="auto">
            <a:xfrm>
              <a:off x="4364038" y="1154113"/>
              <a:ext cx="260350" cy="68263"/>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295" name="Freeform 148"/>
            <p:cNvSpPr>
              <a:spLocks/>
            </p:cNvSpPr>
            <p:nvPr/>
          </p:nvSpPr>
          <p:spPr bwMode="auto">
            <a:xfrm>
              <a:off x="4305300" y="127952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296" name="Freeform 149"/>
            <p:cNvSpPr>
              <a:spLocks/>
            </p:cNvSpPr>
            <p:nvPr/>
          </p:nvSpPr>
          <p:spPr bwMode="auto">
            <a:xfrm>
              <a:off x="4305300" y="1239838"/>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7" name="Freeform 150"/>
            <p:cNvSpPr>
              <a:spLocks/>
            </p:cNvSpPr>
            <p:nvPr/>
          </p:nvSpPr>
          <p:spPr bwMode="auto">
            <a:xfrm>
              <a:off x="4305300" y="12731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8" name="Freeform 151"/>
            <p:cNvSpPr>
              <a:spLocks/>
            </p:cNvSpPr>
            <p:nvPr/>
          </p:nvSpPr>
          <p:spPr bwMode="auto">
            <a:xfrm>
              <a:off x="4305300" y="12874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299" name="Freeform 152"/>
            <p:cNvSpPr>
              <a:spLocks/>
            </p:cNvSpPr>
            <p:nvPr/>
          </p:nvSpPr>
          <p:spPr bwMode="auto">
            <a:xfrm>
              <a:off x="4305300" y="12477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00" name="Freeform 153"/>
            <p:cNvSpPr>
              <a:spLocks/>
            </p:cNvSpPr>
            <p:nvPr/>
          </p:nvSpPr>
          <p:spPr bwMode="auto">
            <a:xfrm>
              <a:off x="4305300" y="12557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01" name="Freeform 154"/>
            <p:cNvSpPr>
              <a:spLocks noEditPoints="1"/>
            </p:cNvSpPr>
            <p:nvPr/>
          </p:nvSpPr>
          <p:spPr bwMode="auto">
            <a:xfrm>
              <a:off x="4090988" y="1233488"/>
              <a:ext cx="260350" cy="68263"/>
            </a:xfrm>
            <a:custGeom>
              <a:avLst/>
              <a:gdLst>
                <a:gd name="T0" fmla="*/ 2147483646 w 553"/>
                <a:gd name="T1" fmla="*/ 2147483646 h 144"/>
                <a:gd name="T2" fmla="*/ 2147483646 w 553"/>
                <a:gd name="T3" fmla="*/ 2147483646 h 144"/>
                <a:gd name="T4" fmla="*/ 2147483646 w 553"/>
                <a:gd name="T5" fmla="*/ 2147483646 h 144"/>
                <a:gd name="T6" fmla="*/ 2147483646 w 553"/>
                <a:gd name="T7" fmla="*/ 2147483646 h 144"/>
                <a:gd name="T8" fmla="*/ 2147483646 w 553"/>
                <a:gd name="T9" fmla="*/ 2147483646 h 144"/>
                <a:gd name="T10" fmla="*/ 2147483646 w 553"/>
                <a:gd name="T11" fmla="*/ 2147483646 h 144"/>
                <a:gd name="T12" fmla="*/ 2147483646 w 553"/>
                <a:gd name="T13" fmla="*/ 2147483646 h 144"/>
                <a:gd name="T14" fmla="*/ 2147483646 w 553"/>
                <a:gd name="T15" fmla="*/ 2147483646 h 144"/>
                <a:gd name="T16" fmla="*/ 2147483646 w 553"/>
                <a:gd name="T17" fmla="*/ 2147483646 h 144"/>
                <a:gd name="T18" fmla="*/ 2147483646 w 553"/>
                <a:gd name="T19" fmla="*/ 2147483646 h 144"/>
                <a:gd name="T20" fmla="*/ 2147483646 w 553"/>
                <a:gd name="T21" fmla="*/ 2147483646 h 144"/>
                <a:gd name="T22" fmla="*/ 2147483646 w 553"/>
                <a:gd name="T23" fmla="*/ 2147483646 h 144"/>
                <a:gd name="T24" fmla="*/ 2147483646 w 553"/>
                <a:gd name="T25" fmla="*/ 2147483646 h 144"/>
                <a:gd name="T26" fmla="*/ 2147483646 w 553"/>
                <a:gd name="T27" fmla="*/ 2147483646 h 144"/>
                <a:gd name="T28" fmla="*/ 2147483646 w 553"/>
                <a:gd name="T29" fmla="*/ 2147483646 h 144"/>
                <a:gd name="T30" fmla="*/ 2147483646 w 553"/>
                <a:gd name="T31" fmla="*/ 2147483646 h 144"/>
                <a:gd name="T32" fmla="*/ 0 w 553"/>
                <a:gd name="T33" fmla="*/ 2147483646 h 144"/>
                <a:gd name="T34" fmla="*/ 0 w 553"/>
                <a:gd name="T35" fmla="*/ 2147483646 h 144"/>
                <a:gd name="T36" fmla="*/ 2147483646 w 553"/>
                <a:gd name="T37" fmla="*/ 2147483646 h 144"/>
                <a:gd name="T38" fmla="*/ 2147483646 w 553"/>
                <a:gd name="T39" fmla="*/ 0 h 144"/>
                <a:gd name="T40" fmla="*/ 0 w 553"/>
                <a:gd name="T41" fmla="*/ 0 h 144"/>
                <a:gd name="T42" fmla="*/ 0 w 553"/>
                <a:gd name="T43" fmla="*/ 2147483646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4"/>
                <a:gd name="T68" fmla="*/ 553 w 553"/>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4">
                  <a:moveTo>
                    <a:pt x="534" y="68"/>
                  </a:moveTo>
                  <a:lnTo>
                    <a:pt x="534" y="68"/>
                  </a:lnTo>
                  <a:lnTo>
                    <a:pt x="297" y="68"/>
                  </a:lnTo>
                  <a:lnTo>
                    <a:pt x="297" y="60"/>
                  </a:lnTo>
                  <a:lnTo>
                    <a:pt x="444" y="60"/>
                  </a:lnTo>
                  <a:lnTo>
                    <a:pt x="444" y="8"/>
                  </a:lnTo>
                  <a:lnTo>
                    <a:pt x="534" y="8"/>
                  </a:lnTo>
                  <a:lnTo>
                    <a:pt x="534" y="68"/>
                  </a:lnTo>
                  <a:close/>
                  <a:moveTo>
                    <a:pt x="534" y="136"/>
                  </a:moveTo>
                  <a:lnTo>
                    <a:pt x="534" y="136"/>
                  </a:lnTo>
                  <a:lnTo>
                    <a:pt x="297" y="136"/>
                  </a:lnTo>
                  <a:lnTo>
                    <a:pt x="297" y="128"/>
                  </a:lnTo>
                  <a:lnTo>
                    <a:pt x="444" y="128"/>
                  </a:lnTo>
                  <a:lnTo>
                    <a:pt x="444" y="76"/>
                  </a:lnTo>
                  <a:lnTo>
                    <a:pt x="534" y="76"/>
                  </a:lnTo>
                  <a:lnTo>
                    <a:pt x="534" y="136"/>
                  </a:lnTo>
                  <a:close/>
                  <a:moveTo>
                    <a:pt x="0" y="144"/>
                  </a:moveTo>
                  <a:lnTo>
                    <a:pt x="0" y="144"/>
                  </a:lnTo>
                  <a:lnTo>
                    <a:pt x="553" y="144"/>
                  </a:lnTo>
                  <a:lnTo>
                    <a:pt x="553" y="0"/>
                  </a:lnTo>
                  <a:lnTo>
                    <a:pt x="0" y="0"/>
                  </a:lnTo>
                  <a:lnTo>
                    <a:pt x="0" y="144"/>
                  </a:lnTo>
                  <a:close/>
                </a:path>
              </a:pathLst>
            </a:custGeom>
            <a:grpFill/>
            <a:ln w="0">
              <a:noFill/>
              <a:round/>
              <a:headEnd/>
              <a:tailEnd/>
            </a:ln>
          </p:spPr>
          <p:txBody>
            <a:bodyPr/>
            <a:lstStyle/>
            <a:p>
              <a:endParaRPr lang="zh-CN" altLang="en-US"/>
            </a:p>
          </p:txBody>
        </p:sp>
        <p:sp>
          <p:nvSpPr>
            <p:cNvPr id="302" name="Freeform 155"/>
            <p:cNvSpPr>
              <a:spLocks/>
            </p:cNvSpPr>
            <p:nvPr/>
          </p:nvSpPr>
          <p:spPr bwMode="auto">
            <a:xfrm>
              <a:off x="4576763" y="127952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03" name="Freeform 156"/>
            <p:cNvSpPr>
              <a:spLocks/>
            </p:cNvSpPr>
            <p:nvPr/>
          </p:nvSpPr>
          <p:spPr bwMode="auto">
            <a:xfrm>
              <a:off x="4576763" y="1239838"/>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04" name="Freeform 157"/>
            <p:cNvSpPr>
              <a:spLocks/>
            </p:cNvSpPr>
            <p:nvPr/>
          </p:nvSpPr>
          <p:spPr bwMode="auto">
            <a:xfrm>
              <a:off x="4576763" y="12731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05" name="Freeform 158"/>
            <p:cNvSpPr>
              <a:spLocks/>
            </p:cNvSpPr>
            <p:nvPr/>
          </p:nvSpPr>
          <p:spPr bwMode="auto">
            <a:xfrm>
              <a:off x="4576763" y="12874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06" name="Freeform 159"/>
            <p:cNvSpPr>
              <a:spLocks/>
            </p:cNvSpPr>
            <p:nvPr/>
          </p:nvSpPr>
          <p:spPr bwMode="auto">
            <a:xfrm>
              <a:off x="4576763" y="12477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07" name="Freeform 160"/>
            <p:cNvSpPr>
              <a:spLocks/>
            </p:cNvSpPr>
            <p:nvPr/>
          </p:nvSpPr>
          <p:spPr bwMode="auto">
            <a:xfrm>
              <a:off x="4576763" y="12557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08" name="Freeform 161"/>
            <p:cNvSpPr>
              <a:spLocks noEditPoints="1"/>
            </p:cNvSpPr>
            <p:nvPr/>
          </p:nvSpPr>
          <p:spPr bwMode="auto">
            <a:xfrm>
              <a:off x="4364038" y="1233488"/>
              <a:ext cx="260350" cy="68263"/>
            </a:xfrm>
            <a:custGeom>
              <a:avLst/>
              <a:gdLst>
                <a:gd name="T0" fmla="*/ 2147483646 w 553"/>
                <a:gd name="T1" fmla="*/ 2147483646 h 144"/>
                <a:gd name="T2" fmla="*/ 2147483646 w 553"/>
                <a:gd name="T3" fmla="*/ 2147483646 h 144"/>
                <a:gd name="T4" fmla="*/ 2147483646 w 553"/>
                <a:gd name="T5" fmla="*/ 2147483646 h 144"/>
                <a:gd name="T6" fmla="*/ 2147483646 w 553"/>
                <a:gd name="T7" fmla="*/ 2147483646 h 144"/>
                <a:gd name="T8" fmla="*/ 2147483646 w 553"/>
                <a:gd name="T9" fmla="*/ 2147483646 h 144"/>
                <a:gd name="T10" fmla="*/ 2147483646 w 553"/>
                <a:gd name="T11" fmla="*/ 2147483646 h 144"/>
                <a:gd name="T12" fmla="*/ 2147483646 w 553"/>
                <a:gd name="T13" fmla="*/ 2147483646 h 144"/>
                <a:gd name="T14" fmla="*/ 2147483646 w 553"/>
                <a:gd name="T15" fmla="*/ 2147483646 h 144"/>
                <a:gd name="T16" fmla="*/ 2147483646 w 553"/>
                <a:gd name="T17" fmla="*/ 2147483646 h 144"/>
                <a:gd name="T18" fmla="*/ 2147483646 w 553"/>
                <a:gd name="T19" fmla="*/ 2147483646 h 144"/>
                <a:gd name="T20" fmla="*/ 2147483646 w 553"/>
                <a:gd name="T21" fmla="*/ 2147483646 h 144"/>
                <a:gd name="T22" fmla="*/ 2147483646 w 553"/>
                <a:gd name="T23" fmla="*/ 2147483646 h 144"/>
                <a:gd name="T24" fmla="*/ 2147483646 w 553"/>
                <a:gd name="T25" fmla="*/ 2147483646 h 144"/>
                <a:gd name="T26" fmla="*/ 2147483646 w 553"/>
                <a:gd name="T27" fmla="*/ 2147483646 h 144"/>
                <a:gd name="T28" fmla="*/ 2147483646 w 553"/>
                <a:gd name="T29" fmla="*/ 2147483646 h 144"/>
                <a:gd name="T30" fmla="*/ 2147483646 w 553"/>
                <a:gd name="T31" fmla="*/ 2147483646 h 144"/>
                <a:gd name="T32" fmla="*/ 0 w 553"/>
                <a:gd name="T33" fmla="*/ 2147483646 h 144"/>
                <a:gd name="T34" fmla="*/ 0 w 553"/>
                <a:gd name="T35" fmla="*/ 2147483646 h 144"/>
                <a:gd name="T36" fmla="*/ 2147483646 w 553"/>
                <a:gd name="T37" fmla="*/ 2147483646 h 144"/>
                <a:gd name="T38" fmla="*/ 2147483646 w 553"/>
                <a:gd name="T39" fmla="*/ 0 h 144"/>
                <a:gd name="T40" fmla="*/ 0 w 553"/>
                <a:gd name="T41" fmla="*/ 0 h 144"/>
                <a:gd name="T42" fmla="*/ 0 w 553"/>
                <a:gd name="T43" fmla="*/ 2147483646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4"/>
                <a:gd name="T68" fmla="*/ 553 w 553"/>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4">
                  <a:moveTo>
                    <a:pt x="534" y="68"/>
                  </a:moveTo>
                  <a:lnTo>
                    <a:pt x="534" y="68"/>
                  </a:lnTo>
                  <a:lnTo>
                    <a:pt x="297" y="68"/>
                  </a:lnTo>
                  <a:lnTo>
                    <a:pt x="297" y="60"/>
                  </a:lnTo>
                  <a:lnTo>
                    <a:pt x="444" y="60"/>
                  </a:lnTo>
                  <a:lnTo>
                    <a:pt x="444" y="8"/>
                  </a:lnTo>
                  <a:lnTo>
                    <a:pt x="534" y="8"/>
                  </a:lnTo>
                  <a:lnTo>
                    <a:pt x="534" y="68"/>
                  </a:lnTo>
                  <a:close/>
                  <a:moveTo>
                    <a:pt x="534" y="136"/>
                  </a:moveTo>
                  <a:lnTo>
                    <a:pt x="534" y="136"/>
                  </a:lnTo>
                  <a:lnTo>
                    <a:pt x="297" y="136"/>
                  </a:lnTo>
                  <a:lnTo>
                    <a:pt x="297" y="128"/>
                  </a:lnTo>
                  <a:lnTo>
                    <a:pt x="444" y="128"/>
                  </a:lnTo>
                  <a:lnTo>
                    <a:pt x="444" y="76"/>
                  </a:lnTo>
                  <a:lnTo>
                    <a:pt x="534" y="76"/>
                  </a:lnTo>
                  <a:lnTo>
                    <a:pt x="534" y="136"/>
                  </a:lnTo>
                  <a:close/>
                  <a:moveTo>
                    <a:pt x="0" y="144"/>
                  </a:moveTo>
                  <a:lnTo>
                    <a:pt x="0" y="144"/>
                  </a:lnTo>
                  <a:lnTo>
                    <a:pt x="553" y="144"/>
                  </a:lnTo>
                  <a:lnTo>
                    <a:pt x="553" y="0"/>
                  </a:lnTo>
                  <a:lnTo>
                    <a:pt x="0" y="0"/>
                  </a:lnTo>
                  <a:lnTo>
                    <a:pt x="0" y="144"/>
                  </a:lnTo>
                  <a:close/>
                </a:path>
              </a:pathLst>
            </a:custGeom>
            <a:grpFill/>
            <a:ln w="0">
              <a:noFill/>
              <a:round/>
              <a:headEnd/>
              <a:tailEnd/>
            </a:ln>
          </p:spPr>
          <p:txBody>
            <a:bodyPr/>
            <a:lstStyle/>
            <a:p>
              <a:endParaRPr lang="zh-CN" altLang="en-US"/>
            </a:p>
          </p:txBody>
        </p:sp>
        <p:sp>
          <p:nvSpPr>
            <p:cNvPr id="309" name="Freeform 162"/>
            <p:cNvSpPr>
              <a:spLocks/>
            </p:cNvSpPr>
            <p:nvPr/>
          </p:nvSpPr>
          <p:spPr bwMode="auto">
            <a:xfrm>
              <a:off x="4305300" y="13589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0" name="Freeform 163"/>
            <p:cNvSpPr>
              <a:spLocks/>
            </p:cNvSpPr>
            <p:nvPr/>
          </p:nvSpPr>
          <p:spPr bwMode="auto">
            <a:xfrm>
              <a:off x="4305300" y="13192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1" name="Freeform 164"/>
            <p:cNvSpPr>
              <a:spLocks/>
            </p:cNvSpPr>
            <p:nvPr/>
          </p:nvSpPr>
          <p:spPr bwMode="auto">
            <a:xfrm>
              <a:off x="4305300" y="13509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2" name="Freeform 165"/>
            <p:cNvSpPr>
              <a:spLocks/>
            </p:cNvSpPr>
            <p:nvPr/>
          </p:nvSpPr>
          <p:spPr bwMode="auto">
            <a:xfrm>
              <a:off x="4305300" y="1366838"/>
              <a:ext cx="4763" cy="3175"/>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13" name="Freeform 166"/>
            <p:cNvSpPr>
              <a:spLocks/>
            </p:cNvSpPr>
            <p:nvPr/>
          </p:nvSpPr>
          <p:spPr bwMode="auto">
            <a:xfrm>
              <a:off x="4305300" y="132715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14" name="Freeform 167"/>
            <p:cNvSpPr>
              <a:spLocks/>
            </p:cNvSpPr>
            <p:nvPr/>
          </p:nvSpPr>
          <p:spPr bwMode="auto">
            <a:xfrm>
              <a:off x="4305300" y="133350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5" name="Freeform 168"/>
            <p:cNvSpPr>
              <a:spLocks noEditPoints="1"/>
            </p:cNvSpPr>
            <p:nvPr/>
          </p:nvSpPr>
          <p:spPr bwMode="auto">
            <a:xfrm>
              <a:off x="4090988" y="1312863"/>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316" name="Freeform 169"/>
            <p:cNvSpPr>
              <a:spLocks/>
            </p:cNvSpPr>
            <p:nvPr/>
          </p:nvSpPr>
          <p:spPr bwMode="auto">
            <a:xfrm>
              <a:off x="4576763" y="13589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7" name="Freeform 170"/>
            <p:cNvSpPr>
              <a:spLocks/>
            </p:cNvSpPr>
            <p:nvPr/>
          </p:nvSpPr>
          <p:spPr bwMode="auto">
            <a:xfrm>
              <a:off x="4576763" y="131921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8" name="Freeform 171"/>
            <p:cNvSpPr>
              <a:spLocks/>
            </p:cNvSpPr>
            <p:nvPr/>
          </p:nvSpPr>
          <p:spPr bwMode="auto">
            <a:xfrm>
              <a:off x="4576763" y="13509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19" name="Freeform 172"/>
            <p:cNvSpPr>
              <a:spLocks/>
            </p:cNvSpPr>
            <p:nvPr/>
          </p:nvSpPr>
          <p:spPr bwMode="auto">
            <a:xfrm>
              <a:off x="4576763" y="1366838"/>
              <a:ext cx="4763" cy="3175"/>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20" name="Freeform 173"/>
            <p:cNvSpPr>
              <a:spLocks/>
            </p:cNvSpPr>
            <p:nvPr/>
          </p:nvSpPr>
          <p:spPr bwMode="auto">
            <a:xfrm>
              <a:off x="4576763" y="1327151"/>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21" name="Freeform 174"/>
            <p:cNvSpPr>
              <a:spLocks/>
            </p:cNvSpPr>
            <p:nvPr/>
          </p:nvSpPr>
          <p:spPr bwMode="auto">
            <a:xfrm>
              <a:off x="4576763" y="1333501"/>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22" name="Freeform 175"/>
            <p:cNvSpPr>
              <a:spLocks noEditPoints="1"/>
            </p:cNvSpPr>
            <p:nvPr/>
          </p:nvSpPr>
          <p:spPr bwMode="auto">
            <a:xfrm>
              <a:off x="4364038" y="1312863"/>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323" name="Freeform 176"/>
            <p:cNvSpPr>
              <a:spLocks/>
            </p:cNvSpPr>
            <p:nvPr/>
          </p:nvSpPr>
          <p:spPr bwMode="auto">
            <a:xfrm>
              <a:off x="4305300" y="143827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24" name="Freeform 177"/>
            <p:cNvSpPr>
              <a:spLocks/>
            </p:cNvSpPr>
            <p:nvPr/>
          </p:nvSpPr>
          <p:spPr bwMode="auto">
            <a:xfrm>
              <a:off x="4305300" y="13985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25" name="Freeform 178"/>
            <p:cNvSpPr>
              <a:spLocks/>
            </p:cNvSpPr>
            <p:nvPr/>
          </p:nvSpPr>
          <p:spPr bwMode="auto">
            <a:xfrm>
              <a:off x="4305300" y="14303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26" name="Freeform 179"/>
            <p:cNvSpPr>
              <a:spLocks/>
            </p:cNvSpPr>
            <p:nvPr/>
          </p:nvSpPr>
          <p:spPr bwMode="auto">
            <a:xfrm>
              <a:off x="4305300" y="144462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27" name="Freeform 180"/>
            <p:cNvSpPr>
              <a:spLocks/>
            </p:cNvSpPr>
            <p:nvPr/>
          </p:nvSpPr>
          <p:spPr bwMode="auto">
            <a:xfrm>
              <a:off x="4305300" y="1404938"/>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28" name="Freeform 181"/>
            <p:cNvSpPr>
              <a:spLocks/>
            </p:cNvSpPr>
            <p:nvPr/>
          </p:nvSpPr>
          <p:spPr bwMode="auto">
            <a:xfrm>
              <a:off x="4305300" y="14128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29" name="Freeform 182"/>
            <p:cNvSpPr>
              <a:spLocks noEditPoints="1"/>
            </p:cNvSpPr>
            <p:nvPr/>
          </p:nvSpPr>
          <p:spPr bwMode="auto">
            <a:xfrm>
              <a:off x="4090988" y="1390651"/>
              <a:ext cx="260350" cy="68263"/>
            </a:xfrm>
            <a:custGeom>
              <a:avLst/>
              <a:gdLst>
                <a:gd name="T0" fmla="*/ 2147483646 w 553"/>
                <a:gd name="T1" fmla="*/ 2147483646 h 144"/>
                <a:gd name="T2" fmla="*/ 2147483646 w 553"/>
                <a:gd name="T3" fmla="*/ 2147483646 h 144"/>
                <a:gd name="T4" fmla="*/ 2147483646 w 553"/>
                <a:gd name="T5" fmla="*/ 2147483646 h 144"/>
                <a:gd name="T6" fmla="*/ 2147483646 w 553"/>
                <a:gd name="T7" fmla="*/ 2147483646 h 144"/>
                <a:gd name="T8" fmla="*/ 2147483646 w 553"/>
                <a:gd name="T9" fmla="*/ 2147483646 h 144"/>
                <a:gd name="T10" fmla="*/ 2147483646 w 553"/>
                <a:gd name="T11" fmla="*/ 2147483646 h 144"/>
                <a:gd name="T12" fmla="*/ 2147483646 w 553"/>
                <a:gd name="T13" fmla="*/ 2147483646 h 144"/>
                <a:gd name="T14" fmla="*/ 2147483646 w 553"/>
                <a:gd name="T15" fmla="*/ 2147483646 h 144"/>
                <a:gd name="T16" fmla="*/ 2147483646 w 553"/>
                <a:gd name="T17" fmla="*/ 2147483646 h 144"/>
                <a:gd name="T18" fmla="*/ 2147483646 w 553"/>
                <a:gd name="T19" fmla="*/ 2147483646 h 144"/>
                <a:gd name="T20" fmla="*/ 2147483646 w 553"/>
                <a:gd name="T21" fmla="*/ 2147483646 h 144"/>
                <a:gd name="T22" fmla="*/ 2147483646 w 553"/>
                <a:gd name="T23" fmla="*/ 2147483646 h 144"/>
                <a:gd name="T24" fmla="*/ 2147483646 w 553"/>
                <a:gd name="T25" fmla="*/ 2147483646 h 144"/>
                <a:gd name="T26" fmla="*/ 2147483646 w 553"/>
                <a:gd name="T27" fmla="*/ 2147483646 h 144"/>
                <a:gd name="T28" fmla="*/ 2147483646 w 553"/>
                <a:gd name="T29" fmla="*/ 2147483646 h 144"/>
                <a:gd name="T30" fmla="*/ 2147483646 w 553"/>
                <a:gd name="T31" fmla="*/ 2147483646 h 144"/>
                <a:gd name="T32" fmla="*/ 0 w 553"/>
                <a:gd name="T33" fmla="*/ 2147483646 h 144"/>
                <a:gd name="T34" fmla="*/ 0 w 553"/>
                <a:gd name="T35" fmla="*/ 2147483646 h 144"/>
                <a:gd name="T36" fmla="*/ 2147483646 w 553"/>
                <a:gd name="T37" fmla="*/ 2147483646 h 144"/>
                <a:gd name="T38" fmla="*/ 2147483646 w 553"/>
                <a:gd name="T39" fmla="*/ 0 h 144"/>
                <a:gd name="T40" fmla="*/ 0 w 553"/>
                <a:gd name="T41" fmla="*/ 0 h 144"/>
                <a:gd name="T42" fmla="*/ 0 w 553"/>
                <a:gd name="T43" fmla="*/ 2147483646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4"/>
                <a:gd name="T68" fmla="*/ 553 w 553"/>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4">
                  <a:moveTo>
                    <a:pt x="534" y="68"/>
                  </a:moveTo>
                  <a:lnTo>
                    <a:pt x="534" y="68"/>
                  </a:lnTo>
                  <a:lnTo>
                    <a:pt x="297" y="68"/>
                  </a:lnTo>
                  <a:lnTo>
                    <a:pt x="297" y="60"/>
                  </a:lnTo>
                  <a:lnTo>
                    <a:pt x="444" y="60"/>
                  </a:lnTo>
                  <a:lnTo>
                    <a:pt x="444" y="8"/>
                  </a:lnTo>
                  <a:lnTo>
                    <a:pt x="534" y="8"/>
                  </a:lnTo>
                  <a:lnTo>
                    <a:pt x="534" y="68"/>
                  </a:lnTo>
                  <a:close/>
                  <a:moveTo>
                    <a:pt x="534" y="136"/>
                  </a:moveTo>
                  <a:lnTo>
                    <a:pt x="534" y="136"/>
                  </a:lnTo>
                  <a:lnTo>
                    <a:pt x="297" y="136"/>
                  </a:lnTo>
                  <a:lnTo>
                    <a:pt x="297" y="128"/>
                  </a:lnTo>
                  <a:lnTo>
                    <a:pt x="444" y="128"/>
                  </a:lnTo>
                  <a:lnTo>
                    <a:pt x="444" y="76"/>
                  </a:lnTo>
                  <a:lnTo>
                    <a:pt x="534" y="76"/>
                  </a:lnTo>
                  <a:lnTo>
                    <a:pt x="534" y="136"/>
                  </a:lnTo>
                  <a:close/>
                  <a:moveTo>
                    <a:pt x="0" y="144"/>
                  </a:moveTo>
                  <a:lnTo>
                    <a:pt x="0" y="144"/>
                  </a:lnTo>
                  <a:lnTo>
                    <a:pt x="553" y="144"/>
                  </a:lnTo>
                  <a:lnTo>
                    <a:pt x="553" y="0"/>
                  </a:lnTo>
                  <a:lnTo>
                    <a:pt x="0" y="0"/>
                  </a:lnTo>
                  <a:lnTo>
                    <a:pt x="0" y="144"/>
                  </a:lnTo>
                  <a:close/>
                </a:path>
              </a:pathLst>
            </a:custGeom>
            <a:grpFill/>
            <a:ln w="0">
              <a:noFill/>
              <a:round/>
              <a:headEnd/>
              <a:tailEnd/>
            </a:ln>
          </p:spPr>
          <p:txBody>
            <a:bodyPr/>
            <a:lstStyle/>
            <a:p>
              <a:endParaRPr lang="zh-CN" altLang="en-US"/>
            </a:p>
          </p:txBody>
        </p:sp>
        <p:sp>
          <p:nvSpPr>
            <p:cNvPr id="330" name="Freeform 183"/>
            <p:cNvSpPr>
              <a:spLocks/>
            </p:cNvSpPr>
            <p:nvPr/>
          </p:nvSpPr>
          <p:spPr bwMode="auto">
            <a:xfrm>
              <a:off x="4576763" y="1438276"/>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31" name="Freeform 184"/>
            <p:cNvSpPr>
              <a:spLocks/>
            </p:cNvSpPr>
            <p:nvPr/>
          </p:nvSpPr>
          <p:spPr bwMode="auto">
            <a:xfrm>
              <a:off x="4576763" y="1398588"/>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32" name="Freeform 185"/>
            <p:cNvSpPr>
              <a:spLocks/>
            </p:cNvSpPr>
            <p:nvPr/>
          </p:nvSpPr>
          <p:spPr bwMode="auto">
            <a:xfrm>
              <a:off x="4576763" y="1430338"/>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3" name="Freeform 186"/>
            <p:cNvSpPr>
              <a:spLocks/>
            </p:cNvSpPr>
            <p:nvPr/>
          </p:nvSpPr>
          <p:spPr bwMode="auto">
            <a:xfrm>
              <a:off x="4576763" y="144462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4" name="Freeform 187"/>
            <p:cNvSpPr>
              <a:spLocks/>
            </p:cNvSpPr>
            <p:nvPr/>
          </p:nvSpPr>
          <p:spPr bwMode="auto">
            <a:xfrm>
              <a:off x="4576763" y="1404938"/>
              <a:ext cx="4763" cy="6350"/>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5" name="Freeform 188"/>
            <p:cNvSpPr>
              <a:spLocks/>
            </p:cNvSpPr>
            <p:nvPr/>
          </p:nvSpPr>
          <p:spPr bwMode="auto">
            <a:xfrm>
              <a:off x="4576763" y="1412876"/>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6" name="Freeform 189"/>
            <p:cNvSpPr>
              <a:spLocks noEditPoints="1"/>
            </p:cNvSpPr>
            <p:nvPr/>
          </p:nvSpPr>
          <p:spPr bwMode="auto">
            <a:xfrm>
              <a:off x="4364038" y="1390651"/>
              <a:ext cx="260350" cy="68263"/>
            </a:xfrm>
            <a:custGeom>
              <a:avLst/>
              <a:gdLst>
                <a:gd name="T0" fmla="*/ 2147483646 w 553"/>
                <a:gd name="T1" fmla="*/ 2147483646 h 144"/>
                <a:gd name="T2" fmla="*/ 2147483646 w 553"/>
                <a:gd name="T3" fmla="*/ 2147483646 h 144"/>
                <a:gd name="T4" fmla="*/ 2147483646 w 553"/>
                <a:gd name="T5" fmla="*/ 2147483646 h 144"/>
                <a:gd name="T6" fmla="*/ 2147483646 w 553"/>
                <a:gd name="T7" fmla="*/ 2147483646 h 144"/>
                <a:gd name="T8" fmla="*/ 2147483646 w 553"/>
                <a:gd name="T9" fmla="*/ 2147483646 h 144"/>
                <a:gd name="T10" fmla="*/ 2147483646 w 553"/>
                <a:gd name="T11" fmla="*/ 2147483646 h 144"/>
                <a:gd name="T12" fmla="*/ 2147483646 w 553"/>
                <a:gd name="T13" fmla="*/ 2147483646 h 144"/>
                <a:gd name="T14" fmla="*/ 2147483646 w 553"/>
                <a:gd name="T15" fmla="*/ 2147483646 h 144"/>
                <a:gd name="T16" fmla="*/ 2147483646 w 553"/>
                <a:gd name="T17" fmla="*/ 2147483646 h 144"/>
                <a:gd name="T18" fmla="*/ 2147483646 w 553"/>
                <a:gd name="T19" fmla="*/ 2147483646 h 144"/>
                <a:gd name="T20" fmla="*/ 2147483646 w 553"/>
                <a:gd name="T21" fmla="*/ 2147483646 h 144"/>
                <a:gd name="T22" fmla="*/ 2147483646 w 553"/>
                <a:gd name="T23" fmla="*/ 2147483646 h 144"/>
                <a:gd name="T24" fmla="*/ 2147483646 w 553"/>
                <a:gd name="T25" fmla="*/ 2147483646 h 144"/>
                <a:gd name="T26" fmla="*/ 2147483646 w 553"/>
                <a:gd name="T27" fmla="*/ 2147483646 h 144"/>
                <a:gd name="T28" fmla="*/ 2147483646 w 553"/>
                <a:gd name="T29" fmla="*/ 2147483646 h 144"/>
                <a:gd name="T30" fmla="*/ 2147483646 w 553"/>
                <a:gd name="T31" fmla="*/ 2147483646 h 144"/>
                <a:gd name="T32" fmla="*/ 0 w 553"/>
                <a:gd name="T33" fmla="*/ 2147483646 h 144"/>
                <a:gd name="T34" fmla="*/ 0 w 553"/>
                <a:gd name="T35" fmla="*/ 2147483646 h 144"/>
                <a:gd name="T36" fmla="*/ 2147483646 w 553"/>
                <a:gd name="T37" fmla="*/ 2147483646 h 144"/>
                <a:gd name="T38" fmla="*/ 2147483646 w 553"/>
                <a:gd name="T39" fmla="*/ 0 h 144"/>
                <a:gd name="T40" fmla="*/ 0 w 553"/>
                <a:gd name="T41" fmla="*/ 0 h 144"/>
                <a:gd name="T42" fmla="*/ 0 w 553"/>
                <a:gd name="T43" fmla="*/ 2147483646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4"/>
                <a:gd name="T68" fmla="*/ 553 w 553"/>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4">
                  <a:moveTo>
                    <a:pt x="534" y="68"/>
                  </a:moveTo>
                  <a:lnTo>
                    <a:pt x="534" y="68"/>
                  </a:lnTo>
                  <a:lnTo>
                    <a:pt x="297" y="68"/>
                  </a:lnTo>
                  <a:lnTo>
                    <a:pt x="297" y="60"/>
                  </a:lnTo>
                  <a:lnTo>
                    <a:pt x="444" y="60"/>
                  </a:lnTo>
                  <a:lnTo>
                    <a:pt x="444" y="8"/>
                  </a:lnTo>
                  <a:lnTo>
                    <a:pt x="534" y="8"/>
                  </a:lnTo>
                  <a:lnTo>
                    <a:pt x="534" y="68"/>
                  </a:lnTo>
                  <a:close/>
                  <a:moveTo>
                    <a:pt x="534" y="136"/>
                  </a:moveTo>
                  <a:lnTo>
                    <a:pt x="534" y="136"/>
                  </a:lnTo>
                  <a:lnTo>
                    <a:pt x="297" y="136"/>
                  </a:lnTo>
                  <a:lnTo>
                    <a:pt x="297" y="128"/>
                  </a:lnTo>
                  <a:lnTo>
                    <a:pt x="444" y="128"/>
                  </a:lnTo>
                  <a:lnTo>
                    <a:pt x="444" y="76"/>
                  </a:lnTo>
                  <a:lnTo>
                    <a:pt x="534" y="76"/>
                  </a:lnTo>
                  <a:lnTo>
                    <a:pt x="534" y="136"/>
                  </a:lnTo>
                  <a:close/>
                  <a:moveTo>
                    <a:pt x="0" y="144"/>
                  </a:moveTo>
                  <a:lnTo>
                    <a:pt x="0" y="144"/>
                  </a:lnTo>
                  <a:lnTo>
                    <a:pt x="553" y="144"/>
                  </a:lnTo>
                  <a:lnTo>
                    <a:pt x="553" y="0"/>
                  </a:lnTo>
                  <a:lnTo>
                    <a:pt x="0" y="0"/>
                  </a:lnTo>
                  <a:lnTo>
                    <a:pt x="0" y="144"/>
                  </a:lnTo>
                  <a:close/>
                </a:path>
              </a:pathLst>
            </a:custGeom>
            <a:grpFill/>
            <a:ln w="0">
              <a:noFill/>
              <a:round/>
              <a:headEnd/>
              <a:tailEnd/>
            </a:ln>
          </p:spPr>
          <p:txBody>
            <a:bodyPr/>
            <a:lstStyle/>
            <a:p>
              <a:endParaRPr lang="zh-CN" altLang="en-US"/>
            </a:p>
          </p:txBody>
        </p:sp>
        <p:sp>
          <p:nvSpPr>
            <p:cNvPr id="337" name="Freeform 190"/>
            <p:cNvSpPr>
              <a:spLocks/>
            </p:cNvSpPr>
            <p:nvPr/>
          </p:nvSpPr>
          <p:spPr bwMode="auto">
            <a:xfrm>
              <a:off x="4305300" y="15160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8" name="Freeform 191"/>
            <p:cNvSpPr>
              <a:spLocks/>
            </p:cNvSpPr>
            <p:nvPr/>
          </p:nvSpPr>
          <p:spPr bwMode="auto">
            <a:xfrm>
              <a:off x="4305300" y="14779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39" name="Freeform 192"/>
            <p:cNvSpPr>
              <a:spLocks/>
            </p:cNvSpPr>
            <p:nvPr/>
          </p:nvSpPr>
          <p:spPr bwMode="auto">
            <a:xfrm>
              <a:off x="4305300" y="15097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40" name="Freeform 193"/>
            <p:cNvSpPr>
              <a:spLocks/>
            </p:cNvSpPr>
            <p:nvPr/>
          </p:nvSpPr>
          <p:spPr bwMode="auto">
            <a:xfrm>
              <a:off x="4305300" y="15240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41" name="Freeform 194"/>
            <p:cNvSpPr>
              <a:spLocks/>
            </p:cNvSpPr>
            <p:nvPr/>
          </p:nvSpPr>
          <p:spPr bwMode="auto">
            <a:xfrm>
              <a:off x="4305300" y="14843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42" name="Freeform 195"/>
            <p:cNvSpPr>
              <a:spLocks/>
            </p:cNvSpPr>
            <p:nvPr/>
          </p:nvSpPr>
          <p:spPr bwMode="auto">
            <a:xfrm>
              <a:off x="4305300" y="14922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43" name="Freeform 196"/>
            <p:cNvSpPr>
              <a:spLocks noEditPoints="1"/>
            </p:cNvSpPr>
            <p:nvPr/>
          </p:nvSpPr>
          <p:spPr bwMode="auto">
            <a:xfrm>
              <a:off x="4090988" y="1470026"/>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sp>
          <p:nvSpPr>
            <p:cNvPr id="344" name="Freeform 197"/>
            <p:cNvSpPr>
              <a:spLocks/>
            </p:cNvSpPr>
            <p:nvPr/>
          </p:nvSpPr>
          <p:spPr bwMode="auto">
            <a:xfrm>
              <a:off x="4576763" y="15160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45" name="Freeform 198"/>
            <p:cNvSpPr>
              <a:spLocks/>
            </p:cNvSpPr>
            <p:nvPr/>
          </p:nvSpPr>
          <p:spPr bwMode="auto">
            <a:xfrm>
              <a:off x="4576763" y="1477963"/>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46" name="Freeform 199"/>
            <p:cNvSpPr>
              <a:spLocks/>
            </p:cNvSpPr>
            <p:nvPr/>
          </p:nvSpPr>
          <p:spPr bwMode="auto">
            <a:xfrm>
              <a:off x="4576763" y="15097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47" name="Freeform 200"/>
            <p:cNvSpPr>
              <a:spLocks/>
            </p:cNvSpPr>
            <p:nvPr/>
          </p:nvSpPr>
          <p:spPr bwMode="auto">
            <a:xfrm>
              <a:off x="4576763" y="152400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48" name="Freeform 201"/>
            <p:cNvSpPr>
              <a:spLocks/>
            </p:cNvSpPr>
            <p:nvPr/>
          </p:nvSpPr>
          <p:spPr bwMode="auto">
            <a:xfrm>
              <a:off x="4576763" y="1484313"/>
              <a:ext cx="4763" cy="4763"/>
            </a:xfrm>
            <a:custGeom>
              <a:avLst/>
              <a:gdLst>
                <a:gd name="T0" fmla="*/ 2147483646 w 11"/>
                <a:gd name="T1" fmla="*/ 0 h 10"/>
                <a:gd name="T2" fmla="*/ 2147483646 w 11"/>
                <a:gd name="T3" fmla="*/ 0 h 10"/>
                <a:gd name="T4" fmla="*/ 0 w 11"/>
                <a:gd name="T5" fmla="*/ 0 h 10"/>
                <a:gd name="T6" fmla="*/ 0 w 11"/>
                <a:gd name="T7" fmla="*/ 2147483646 h 10"/>
                <a:gd name="T8" fmla="*/ 2147483646 w 11"/>
                <a:gd name="T9" fmla="*/ 2147483646 h 10"/>
                <a:gd name="T10" fmla="*/ 2147483646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0"/>
                  </a:moveTo>
                  <a:lnTo>
                    <a:pt x="11" y="0"/>
                  </a:lnTo>
                  <a:lnTo>
                    <a:pt x="0" y="0"/>
                  </a:lnTo>
                  <a:lnTo>
                    <a:pt x="0" y="10"/>
                  </a:lnTo>
                  <a:lnTo>
                    <a:pt x="11" y="10"/>
                  </a:lnTo>
                  <a:lnTo>
                    <a:pt x="11" y="0"/>
                  </a:lnTo>
                  <a:close/>
                </a:path>
              </a:pathLst>
            </a:custGeom>
            <a:grpFill/>
            <a:ln w="0">
              <a:noFill/>
              <a:round/>
              <a:headEnd/>
              <a:tailEnd/>
            </a:ln>
          </p:spPr>
          <p:txBody>
            <a:bodyPr/>
            <a:lstStyle/>
            <a:p>
              <a:endParaRPr lang="zh-CN" altLang="en-US"/>
            </a:p>
          </p:txBody>
        </p:sp>
        <p:sp>
          <p:nvSpPr>
            <p:cNvPr id="349" name="Freeform 202"/>
            <p:cNvSpPr>
              <a:spLocks/>
            </p:cNvSpPr>
            <p:nvPr/>
          </p:nvSpPr>
          <p:spPr bwMode="auto">
            <a:xfrm>
              <a:off x="4576763" y="1492251"/>
              <a:ext cx="4763" cy="4763"/>
            </a:xfrm>
            <a:custGeom>
              <a:avLst/>
              <a:gdLst>
                <a:gd name="T0" fmla="*/ 2147483646 w 11"/>
                <a:gd name="T1" fmla="*/ 0 h 11"/>
                <a:gd name="T2" fmla="*/ 2147483646 w 11"/>
                <a:gd name="T3" fmla="*/ 0 h 11"/>
                <a:gd name="T4" fmla="*/ 0 w 11"/>
                <a:gd name="T5" fmla="*/ 0 h 11"/>
                <a:gd name="T6" fmla="*/ 0 w 11"/>
                <a:gd name="T7" fmla="*/ 2147483646 h 11"/>
                <a:gd name="T8" fmla="*/ 2147483646 w 11"/>
                <a:gd name="T9" fmla="*/ 2147483646 h 11"/>
                <a:gd name="T10" fmla="*/ 2147483646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0"/>
                  </a:lnTo>
                  <a:lnTo>
                    <a:pt x="0" y="0"/>
                  </a:lnTo>
                  <a:lnTo>
                    <a:pt x="0" y="11"/>
                  </a:lnTo>
                  <a:lnTo>
                    <a:pt x="11" y="11"/>
                  </a:lnTo>
                  <a:lnTo>
                    <a:pt x="11" y="0"/>
                  </a:lnTo>
                  <a:close/>
                </a:path>
              </a:pathLst>
            </a:custGeom>
            <a:grpFill/>
            <a:ln w="0">
              <a:noFill/>
              <a:round/>
              <a:headEnd/>
              <a:tailEnd/>
            </a:ln>
          </p:spPr>
          <p:txBody>
            <a:bodyPr/>
            <a:lstStyle/>
            <a:p>
              <a:endParaRPr lang="zh-CN" altLang="en-US"/>
            </a:p>
          </p:txBody>
        </p:sp>
        <p:sp>
          <p:nvSpPr>
            <p:cNvPr id="350" name="Freeform 203"/>
            <p:cNvSpPr>
              <a:spLocks noEditPoints="1"/>
            </p:cNvSpPr>
            <p:nvPr/>
          </p:nvSpPr>
          <p:spPr bwMode="auto">
            <a:xfrm>
              <a:off x="4364038" y="1470026"/>
              <a:ext cx="260350" cy="66675"/>
            </a:xfrm>
            <a:custGeom>
              <a:avLst/>
              <a:gdLst>
                <a:gd name="T0" fmla="*/ 2147483646 w 553"/>
                <a:gd name="T1" fmla="*/ 2147483646 h 143"/>
                <a:gd name="T2" fmla="*/ 2147483646 w 553"/>
                <a:gd name="T3" fmla="*/ 2147483646 h 143"/>
                <a:gd name="T4" fmla="*/ 2147483646 w 553"/>
                <a:gd name="T5" fmla="*/ 2147483646 h 143"/>
                <a:gd name="T6" fmla="*/ 2147483646 w 553"/>
                <a:gd name="T7" fmla="*/ 2147483646 h 143"/>
                <a:gd name="T8" fmla="*/ 2147483646 w 553"/>
                <a:gd name="T9" fmla="*/ 2147483646 h 143"/>
                <a:gd name="T10" fmla="*/ 2147483646 w 553"/>
                <a:gd name="T11" fmla="*/ 2147483646 h 143"/>
                <a:gd name="T12" fmla="*/ 2147483646 w 553"/>
                <a:gd name="T13" fmla="*/ 2147483646 h 143"/>
                <a:gd name="T14" fmla="*/ 2147483646 w 553"/>
                <a:gd name="T15" fmla="*/ 2147483646 h 143"/>
                <a:gd name="T16" fmla="*/ 2147483646 w 553"/>
                <a:gd name="T17" fmla="*/ 2147483646 h 143"/>
                <a:gd name="T18" fmla="*/ 2147483646 w 553"/>
                <a:gd name="T19" fmla="*/ 2147483646 h 143"/>
                <a:gd name="T20" fmla="*/ 2147483646 w 553"/>
                <a:gd name="T21" fmla="*/ 2147483646 h 143"/>
                <a:gd name="T22" fmla="*/ 2147483646 w 553"/>
                <a:gd name="T23" fmla="*/ 2147483646 h 143"/>
                <a:gd name="T24" fmla="*/ 2147483646 w 553"/>
                <a:gd name="T25" fmla="*/ 2147483646 h 143"/>
                <a:gd name="T26" fmla="*/ 2147483646 w 553"/>
                <a:gd name="T27" fmla="*/ 2147483646 h 143"/>
                <a:gd name="T28" fmla="*/ 2147483646 w 553"/>
                <a:gd name="T29" fmla="*/ 2147483646 h 143"/>
                <a:gd name="T30" fmla="*/ 2147483646 w 553"/>
                <a:gd name="T31" fmla="*/ 2147483646 h 143"/>
                <a:gd name="T32" fmla="*/ 0 w 553"/>
                <a:gd name="T33" fmla="*/ 2147483646 h 143"/>
                <a:gd name="T34" fmla="*/ 0 w 553"/>
                <a:gd name="T35" fmla="*/ 2147483646 h 143"/>
                <a:gd name="T36" fmla="*/ 2147483646 w 553"/>
                <a:gd name="T37" fmla="*/ 2147483646 h 143"/>
                <a:gd name="T38" fmla="*/ 2147483646 w 553"/>
                <a:gd name="T39" fmla="*/ 0 h 143"/>
                <a:gd name="T40" fmla="*/ 0 w 553"/>
                <a:gd name="T41" fmla="*/ 0 h 143"/>
                <a:gd name="T42" fmla="*/ 0 w 553"/>
                <a:gd name="T43" fmla="*/ 2147483646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3"/>
                <a:gd name="T67" fmla="*/ 0 h 143"/>
                <a:gd name="T68" fmla="*/ 553 w 553"/>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3" h="143">
                  <a:moveTo>
                    <a:pt x="534" y="68"/>
                  </a:moveTo>
                  <a:lnTo>
                    <a:pt x="534" y="68"/>
                  </a:lnTo>
                  <a:lnTo>
                    <a:pt x="297" y="68"/>
                  </a:lnTo>
                  <a:lnTo>
                    <a:pt x="297" y="60"/>
                  </a:lnTo>
                  <a:lnTo>
                    <a:pt x="444" y="60"/>
                  </a:lnTo>
                  <a:lnTo>
                    <a:pt x="444" y="8"/>
                  </a:lnTo>
                  <a:lnTo>
                    <a:pt x="534" y="8"/>
                  </a:lnTo>
                  <a:lnTo>
                    <a:pt x="534" y="68"/>
                  </a:lnTo>
                  <a:close/>
                  <a:moveTo>
                    <a:pt x="534" y="135"/>
                  </a:moveTo>
                  <a:lnTo>
                    <a:pt x="534" y="135"/>
                  </a:lnTo>
                  <a:lnTo>
                    <a:pt x="297" y="135"/>
                  </a:lnTo>
                  <a:lnTo>
                    <a:pt x="297" y="127"/>
                  </a:lnTo>
                  <a:lnTo>
                    <a:pt x="444" y="127"/>
                  </a:lnTo>
                  <a:lnTo>
                    <a:pt x="444" y="75"/>
                  </a:lnTo>
                  <a:lnTo>
                    <a:pt x="534" y="75"/>
                  </a:lnTo>
                  <a:lnTo>
                    <a:pt x="534" y="135"/>
                  </a:lnTo>
                  <a:close/>
                  <a:moveTo>
                    <a:pt x="0" y="143"/>
                  </a:moveTo>
                  <a:lnTo>
                    <a:pt x="0" y="143"/>
                  </a:lnTo>
                  <a:lnTo>
                    <a:pt x="553" y="143"/>
                  </a:lnTo>
                  <a:lnTo>
                    <a:pt x="553" y="0"/>
                  </a:lnTo>
                  <a:lnTo>
                    <a:pt x="0" y="0"/>
                  </a:lnTo>
                  <a:lnTo>
                    <a:pt x="0" y="143"/>
                  </a:lnTo>
                  <a:close/>
                </a:path>
              </a:pathLst>
            </a:custGeom>
            <a:grpFill/>
            <a:ln w="0">
              <a:noFill/>
              <a:round/>
              <a:headEnd/>
              <a:tailEnd/>
            </a:ln>
          </p:spPr>
          <p:txBody>
            <a:bodyPr/>
            <a:lstStyle/>
            <a:p>
              <a:endParaRPr lang="zh-CN" altLang="en-US"/>
            </a:p>
          </p:txBody>
        </p:sp>
      </p:grpSp>
      <p:grpSp>
        <p:nvGrpSpPr>
          <p:cNvPr id="18" name="组合 374"/>
          <p:cNvGrpSpPr>
            <a:grpSpLocks/>
          </p:cNvGrpSpPr>
          <p:nvPr/>
        </p:nvGrpSpPr>
        <p:grpSpPr bwMode="auto">
          <a:xfrm>
            <a:off x="1821495" y="5373940"/>
            <a:ext cx="500970" cy="370219"/>
            <a:chOff x="760413" y="2892426"/>
            <a:chExt cx="835025" cy="622300"/>
          </a:xfrm>
          <a:solidFill>
            <a:schemeClr val="bg1"/>
          </a:solidFill>
          <a:scene3d>
            <a:camera prst="orthographicFront"/>
            <a:lightRig rig="threePt" dir="t"/>
          </a:scene3d>
        </p:grpSpPr>
        <p:sp>
          <p:nvSpPr>
            <p:cNvPr id="352" name="Freeform 21"/>
            <p:cNvSpPr>
              <a:spLocks noEditPoints="1"/>
            </p:cNvSpPr>
            <p:nvPr/>
          </p:nvSpPr>
          <p:spPr bwMode="auto">
            <a:xfrm>
              <a:off x="1365250" y="2924176"/>
              <a:ext cx="230188" cy="558800"/>
            </a:xfrm>
            <a:custGeom>
              <a:avLst/>
              <a:gdLst>
                <a:gd name="T0" fmla="*/ 2147483646 w 489"/>
                <a:gd name="T1" fmla="*/ 2147483646 h 1185"/>
                <a:gd name="T2" fmla="*/ 2147483646 w 489"/>
                <a:gd name="T3" fmla="*/ 2147483646 h 1185"/>
                <a:gd name="T4" fmla="*/ 2147483646 w 489"/>
                <a:gd name="T5" fmla="*/ 2147483646 h 1185"/>
                <a:gd name="T6" fmla="*/ 2147483646 w 489"/>
                <a:gd name="T7" fmla="*/ 2147483646 h 1185"/>
                <a:gd name="T8" fmla="*/ 2147483646 w 489"/>
                <a:gd name="T9" fmla="*/ 2147483646 h 1185"/>
                <a:gd name="T10" fmla="*/ 2147483646 w 489"/>
                <a:gd name="T11" fmla="*/ 2147483646 h 1185"/>
                <a:gd name="T12" fmla="*/ 2147483646 w 489"/>
                <a:gd name="T13" fmla="*/ 2147483646 h 1185"/>
                <a:gd name="T14" fmla="*/ 2147483646 w 489"/>
                <a:gd name="T15" fmla="*/ 2147483646 h 1185"/>
                <a:gd name="T16" fmla="*/ 2147483646 w 489"/>
                <a:gd name="T17" fmla="*/ 2147483646 h 1185"/>
                <a:gd name="T18" fmla="*/ 0 w 489"/>
                <a:gd name="T19" fmla="*/ 2147483646 h 1185"/>
                <a:gd name="T20" fmla="*/ 0 w 489"/>
                <a:gd name="T21" fmla="*/ 2147483646 h 1185"/>
                <a:gd name="T22" fmla="*/ 2147483646 w 489"/>
                <a:gd name="T23" fmla="*/ 0 h 1185"/>
                <a:gd name="T24" fmla="*/ 2147483646 w 489"/>
                <a:gd name="T25" fmla="*/ 0 h 1185"/>
                <a:gd name="T26" fmla="*/ 2147483646 w 489"/>
                <a:gd name="T27" fmla="*/ 2147483646 h 1185"/>
                <a:gd name="T28" fmla="*/ 2147483646 w 489"/>
                <a:gd name="T29" fmla="*/ 2147483646 h 1185"/>
                <a:gd name="T30" fmla="*/ 2147483646 w 489"/>
                <a:gd name="T31" fmla="*/ 2147483646 h 118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9"/>
                <a:gd name="T49" fmla="*/ 0 h 1185"/>
                <a:gd name="T50" fmla="*/ 489 w 489"/>
                <a:gd name="T51" fmla="*/ 1185 h 118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9" h="1185">
                  <a:moveTo>
                    <a:pt x="67" y="1118"/>
                  </a:moveTo>
                  <a:lnTo>
                    <a:pt x="67" y="1118"/>
                  </a:lnTo>
                  <a:lnTo>
                    <a:pt x="422" y="1118"/>
                  </a:lnTo>
                  <a:lnTo>
                    <a:pt x="422" y="67"/>
                  </a:lnTo>
                  <a:lnTo>
                    <a:pt x="67" y="67"/>
                  </a:lnTo>
                  <a:lnTo>
                    <a:pt x="67" y="1118"/>
                  </a:lnTo>
                  <a:close/>
                  <a:moveTo>
                    <a:pt x="455" y="1185"/>
                  </a:moveTo>
                  <a:lnTo>
                    <a:pt x="455" y="1185"/>
                  </a:lnTo>
                  <a:lnTo>
                    <a:pt x="33" y="1185"/>
                  </a:lnTo>
                  <a:cubicBezTo>
                    <a:pt x="15" y="1185"/>
                    <a:pt x="0" y="1170"/>
                    <a:pt x="0" y="1152"/>
                  </a:cubicBezTo>
                  <a:lnTo>
                    <a:pt x="0" y="34"/>
                  </a:lnTo>
                  <a:cubicBezTo>
                    <a:pt x="0" y="15"/>
                    <a:pt x="15" y="0"/>
                    <a:pt x="33" y="0"/>
                  </a:cubicBezTo>
                  <a:lnTo>
                    <a:pt x="455" y="0"/>
                  </a:lnTo>
                  <a:cubicBezTo>
                    <a:pt x="474" y="0"/>
                    <a:pt x="489" y="15"/>
                    <a:pt x="489" y="34"/>
                  </a:cubicBezTo>
                  <a:lnTo>
                    <a:pt x="489" y="1152"/>
                  </a:lnTo>
                  <a:cubicBezTo>
                    <a:pt x="489" y="1170"/>
                    <a:pt x="474" y="1185"/>
                    <a:pt x="455" y="1185"/>
                  </a:cubicBezTo>
                  <a:close/>
                </a:path>
              </a:pathLst>
            </a:custGeom>
            <a:grpFill/>
            <a:ln w="0">
              <a:noFill/>
              <a:round/>
              <a:headEnd/>
              <a:tailEnd/>
            </a:ln>
          </p:spPr>
          <p:txBody>
            <a:bodyPr/>
            <a:lstStyle/>
            <a:p>
              <a:endParaRPr lang="zh-CN" altLang="en-US"/>
            </a:p>
          </p:txBody>
        </p:sp>
        <p:sp>
          <p:nvSpPr>
            <p:cNvPr id="353" name="Freeform 22"/>
            <p:cNvSpPr>
              <a:spLocks noEditPoints="1"/>
            </p:cNvSpPr>
            <p:nvPr/>
          </p:nvSpPr>
          <p:spPr bwMode="auto">
            <a:xfrm>
              <a:off x="1414463" y="2984501"/>
              <a:ext cx="131763" cy="71438"/>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2147483646 h 149"/>
                <a:gd name="T22" fmla="*/ 2147483646 w 283"/>
                <a:gd name="T23" fmla="*/ 2147483646 h 149"/>
                <a:gd name="T24" fmla="*/ 2147483646 w 283"/>
                <a:gd name="T25" fmla="*/ 2147483646 h 149"/>
                <a:gd name="T26" fmla="*/ 0 w 283"/>
                <a:gd name="T27" fmla="*/ 2147483646 h 149"/>
                <a:gd name="T28" fmla="*/ 0 w 283"/>
                <a:gd name="T29" fmla="*/ 2147483646 h 149"/>
                <a:gd name="T30" fmla="*/ 2147483646 w 283"/>
                <a:gd name="T31" fmla="*/ 0 h 149"/>
                <a:gd name="T32" fmla="*/ 2147483646 w 283"/>
                <a:gd name="T33" fmla="*/ 0 h 149"/>
                <a:gd name="T34" fmla="*/ 2147483646 w 283"/>
                <a:gd name="T35" fmla="*/ 2147483646 h 149"/>
                <a:gd name="T36" fmla="*/ 2147483646 w 283"/>
                <a:gd name="T37" fmla="*/ 2147483646 h 149"/>
                <a:gd name="T38" fmla="*/ 2147483646 w 283"/>
                <a:gd name="T39" fmla="*/ 2147483646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53" y="27"/>
                  </a:moveTo>
                  <a:lnTo>
                    <a:pt x="253" y="27"/>
                  </a:lnTo>
                  <a:lnTo>
                    <a:pt x="29" y="27"/>
                  </a:lnTo>
                  <a:cubicBezTo>
                    <a:pt x="29" y="27"/>
                    <a:pt x="26" y="30"/>
                    <a:pt x="26" y="35"/>
                  </a:cubicBezTo>
                  <a:lnTo>
                    <a:pt x="26" y="114"/>
                  </a:lnTo>
                  <a:cubicBezTo>
                    <a:pt x="26" y="119"/>
                    <a:pt x="29" y="122"/>
                    <a:pt x="30" y="123"/>
                  </a:cubicBezTo>
                  <a:lnTo>
                    <a:pt x="253" y="123"/>
                  </a:lnTo>
                  <a:cubicBezTo>
                    <a:pt x="254" y="122"/>
                    <a:pt x="256" y="119"/>
                    <a:pt x="256" y="114"/>
                  </a:cubicBezTo>
                  <a:lnTo>
                    <a:pt x="256" y="35"/>
                  </a:lnTo>
                  <a:cubicBezTo>
                    <a:pt x="256" y="30"/>
                    <a:pt x="254" y="27"/>
                    <a:pt x="253" y="27"/>
                  </a:cubicBezTo>
                  <a:close/>
                  <a:moveTo>
                    <a:pt x="253" y="149"/>
                  </a:moveTo>
                  <a:lnTo>
                    <a:pt x="253" y="149"/>
                  </a:lnTo>
                  <a:lnTo>
                    <a:pt x="29" y="149"/>
                  </a:lnTo>
                  <a:cubicBezTo>
                    <a:pt x="13" y="149"/>
                    <a:pt x="0" y="134"/>
                    <a:pt x="0" y="114"/>
                  </a:cubicBezTo>
                  <a:lnTo>
                    <a:pt x="0" y="35"/>
                  </a:lnTo>
                  <a:cubicBezTo>
                    <a:pt x="0" y="16"/>
                    <a:pt x="13" y="0"/>
                    <a:pt x="29" y="0"/>
                  </a:cubicBezTo>
                  <a:lnTo>
                    <a:pt x="253" y="0"/>
                  </a:lnTo>
                  <a:cubicBezTo>
                    <a:pt x="270" y="0"/>
                    <a:pt x="283" y="16"/>
                    <a:pt x="283" y="35"/>
                  </a:cubicBezTo>
                  <a:lnTo>
                    <a:pt x="283" y="114"/>
                  </a:lnTo>
                  <a:cubicBezTo>
                    <a:pt x="283" y="134"/>
                    <a:pt x="270" y="149"/>
                    <a:pt x="253" y="149"/>
                  </a:cubicBezTo>
                  <a:close/>
                </a:path>
              </a:pathLst>
            </a:custGeom>
            <a:grpFill/>
            <a:ln w="0">
              <a:noFill/>
              <a:round/>
              <a:headEnd/>
              <a:tailEnd/>
            </a:ln>
          </p:spPr>
          <p:txBody>
            <a:bodyPr/>
            <a:lstStyle/>
            <a:p>
              <a:endParaRPr lang="zh-CN" altLang="en-US"/>
            </a:p>
          </p:txBody>
        </p:sp>
        <p:sp>
          <p:nvSpPr>
            <p:cNvPr id="354" name="Freeform 23"/>
            <p:cNvSpPr>
              <a:spLocks noEditPoints="1"/>
            </p:cNvSpPr>
            <p:nvPr/>
          </p:nvSpPr>
          <p:spPr bwMode="auto">
            <a:xfrm>
              <a:off x="1414463" y="3106738"/>
              <a:ext cx="131763" cy="69850"/>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2147483646 h 149"/>
                <a:gd name="T22" fmla="*/ 2147483646 w 283"/>
                <a:gd name="T23" fmla="*/ 2147483646 h 149"/>
                <a:gd name="T24" fmla="*/ 2147483646 w 283"/>
                <a:gd name="T25" fmla="*/ 2147483646 h 149"/>
                <a:gd name="T26" fmla="*/ 0 w 283"/>
                <a:gd name="T27" fmla="*/ 2147483646 h 149"/>
                <a:gd name="T28" fmla="*/ 0 w 283"/>
                <a:gd name="T29" fmla="*/ 2147483646 h 149"/>
                <a:gd name="T30" fmla="*/ 2147483646 w 283"/>
                <a:gd name="T31" fmla="*/ 0 h 149"/>
                <a:gd name="T32" fmla="*/ 2147483646 w 283"/>
                <a:gd name="T33" fmla="*/ 0 h 149"/>
                <a:gd name="T34" fmla="*/ 2147483646 w 283"/>
                <a:gd name="T35" fmla="*/ 2147483646 h 149"/>
                <a:gd name="T36" fmla="*/ 2147483646 w 283"/>
                <a:gd name="T37" fmla="*/ 2147483646 h 149"/>
                <a:gd name="T38" fmla="*/ 2147483646 w 283"/>
                <a:gd name="T39" fmla="*/ 2147483646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53" y="27"/>
                  </a:moveTo>
                  <a:lnTo>
                    <a:pt x="253" y="27"/>
                  </a:lnTo>
                  <a:lnTo>
                    <a:pt x="29" y="27"/>
                  </a:lnTo>
                  <a:cubicBezTo>
                    <a:pt x="29" y="27"/>
                    <a:pt x="26" y="30"/>
                    <a:pt x="26" y="35"/>
                  </a:cubicBezTo>
                  <a:lnTo>
                    <a:pt x="26" y="114"/>
                  </a:lnTo>
                  <a:cubicBezTo>
                    <a:pt x="26" y="119"/>
                    <a:pt x="29" y="122"/>
                    <a:pt x="30" y="123"/>
                  </a:cubicBezTo>
                  <a:lnTo>
                    <a:pt x="253" y="123"/>
                  </a:lnTo>
                  <a:cubicBezTo>
                    <a:pt x="254" y="122"/>
                    <a:pt x="256" y="119"/>
                    <a:pt x="256" y="114"/>
                  </a:cubicBezTo>
                  <a:lnTo>
                    <a:pt x="256" y="35"/>
                  </a:lnTo>
                  <a:cubicBezTo>
                    <a:pt x="256" y="30"/>
                    <a:pt x="254" y="27"/>
                    <a:pt x="253" y="27"/>
                  </a:cubicBezTo>
                  <a:close/>
                  <a:moveTo>
                    <a:pt x="253" y="149"/>
                  </a:moveTo>
                  <a:lnTo>
                    <a:pt x="253" y="149"/>
                  </a:lnTo>
                  <a:lnTo>
                    <a:pt x="29" y="149"/>
                  </a:lnTo>
                  <a:cubicBezTo>
                    <a:pt x="13" y="149"/>
                    <a:pt x="0" y="134"/>
                    <a:pt x="0" y="114"/>
                  </a:cubicBezTo>
                  <a:lnTo>
                    <a:pt x="0" y="35"/>
                  </a:lnTo>
                  <a:cubicBezTo>
                    <a:pt x="0" y="16"/>
                    <a:pt x="13" y="0"/>
                    <a:pt x="29" y="0"/>
                  </a:cubicBezTo>
                  <a:lnTo>
                    <a:pt x="253" y="0"/>
                  </a:lnTo>
                  <a:cubicBezTo>
                    <a:pt x="270" y="0"/>
                    <a:pt x="283" y="16"/>
                    <a:pt x="283" y="35"/>
                  </a:cubicBezTo>
                  <a:lnTo>
                    <a:pt x="283" y="114"/>
                  </a:lnTo>
                  <a:cubicBezTo>
                    <a:pt x="283" y="134"/>
                    <a:pt x="270" y="149"/>
                    <a:pt x="253" y="149"/>
                  </a:cubicBezTo>
                  <a:close/>
                </a:path>
              </a:pathLst>
            </a:custGeom>
            <a:grpFill/>
            <a:ln w="0">
              <a:noFill/>
              <a:round/>
              <a:headEnd/>
              <a:tailEnd/>
            </a:ln>
          </p:spPr>
          <p:txBody>
            <a:bodyPr/>
            <a:lstStyle/>
            <a:p>
              <a:endParaRPr lang="zh-CN" altLang="en-US"/>
            </a:p>
          </p:txBody>
        </p:sp>
        <p:sp>
          <p:nvSpPr>
            <p:cNvPr id="355" name="Freeform 24"/>
            <p:cNvSpPr>
              <a:spLocks noEditPoints="1"/>
            </p:cNvSpPr>
            <p:nvPr/>
          </p:nvSpPr>
          <p:spPr bwMode="auto">
            <a:xfrm>
              <a:off x="1414463" y="3221038"/>
              <a:ext cx="131763" cy="69850"/>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2147483646 h 149"/>
                <a:gd name="T22" fmla="*/ 2147483646 w 283"/>
                <a:gd name="T23" fmla="*/ 2147483646 h 149"/>
                <a:gd name="T24" fmla="*/ 2147483646 w 283"/>
                <a:gd name="T25" fmla="*/ 2147483646 h 149"/>
                <a:gd name="T26" fmla="*/ 0 w 283"/>
                <a:gd name="T27" fmla="*/ 2147483646 h 149"/>
                <a:gd name="T28" fmla="*/ 0 w 283"/>
                <a:gd name="T29" fmla="*/ 2147483646 h 149"/>
                <a:gd name="T30" fmla="*/ 2147483646 w 283"/>
                <a:gd name="T31" fmla="*/ 0 h 149"/>
                <a:gd name="T32" fmla="*/ 2147483646 w 283"/>
                <a:gd name="T33" fmla="*/ 0 h 149"/>
                <a:gd name="T34" fmla="*/ 2147483646 w 283"/>
                <a:gd name="T35" fmla="*/ 2147483646 h 149"/>
                <a:gd name="T36" fmla="*/ 2147483646 w 283"/>
                <a:gd name="T37" fmla="*/ 2147483646 h 149"/>
                <a:gd name="T38" fmla="*/ 2147483646 w 283"/>
                <a:gd name="T39" fmla="*/ 2147483646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53" y="27"/>
                  </a:moveTo>
                  <a:lnTo>
                    <a:pt x="253" y="27"/>
                  </a:lnTo>
                  <a:lnTo>
                    <a:pt x="29" y="27"/>
                  </a:lnTo>
                  <a:cubicBezTo>
                    <a:pt x="29" y="27"/>
                    <a:pt x="26" y="30"/>
                    <a:pt x="26" y="35"/>
                  </a:cubicBezTo>
                  <a:lnTo>
                    <a:pt x="26" y="114"/>
                  </a:lnTo>
                  <a:cubicBezTo>
                    <a:pt x="26" y="119"/>
                    <a:pt x="29" y="122"/>
                    <a:pt x="30" y="123"/>
                  </a:cubicBezTo>
                  <a:lnTo>
                    <a:pt x="253" y="123"/>
                  </a:lnTo>
                  <a:cubicBezTo>
                    <a:pt x="254" y="122"/>
                    <a:pt x="256" y="119"/>
                    <a:pt x="256" y="114"/>
                  </a:cubicBezTo>
                  <a:lnTo>
                    <a:pt x="256" y="35"/>
                  </a:lnTo>
                  <a:cubicBezTo>
                    <a:pt x="256" y="30"/>
                    <a:pt x="254" y="27"/>
                    <a:pt x="253" y="27"/>
                  </a:cubicBezTo>
                  <a:close/>
                  <a:moveTo>
                    <a:pt x="253" y="149"/>
                  </a:moveTo>
                  <a:lnTo>
                    <a:pt x="253" y="149"/>
                  </a:lnTo>
                  <a:lnTo>
                    <a:pt x="29" y="149"/>
                  </a:lnTo>
                  <a:cubicBezTo>
                    <a:pt x="13" y="149"/>
                    <a:pt x="0" y="134"/>
                    <a:pt x="0" y="114"/>
                  </a:cubicBezTo>
                  <a:lnTo>
                    <a:pt x="0" y="35"/>
                  </a:lnTo>
                  <a:cubicBezTo>
                    <a:pt x="0" y="16"/>
                    <a:pt x="13" y="0"/>
                    <a:pt x="29" y="0"/>
                  </a:cubicBezTo>
                  <a:lnTo>
                    <a:pt x="253" y="0"/>
                  </a:lnTo>
                  <a:cubicBezTo>
                    <a:pt x="270" y="0"/>
                    <a:pt x="283" y="16"/>
                    <a:pt x="283" y="35"/>
                  </a:cubicBezTo>
                  <a:lnTo>
                    <a:pt x="283" y="114"/>
                  </a:lnTo>
                  <a:cubicBezTo>
                    <a:pt x="283" y="134"/>
                    <a:pt x="270" y="149"/>
                    <a:pt x="253" y="149"/>
                  </a:cubicBezTo>
                  <a:close/>
                </a:path>
              </a:pathLst>
            </a:custGeom>
            <a:grpFill/>
            <a:ln w="0">
              <a:noFill/>
              <a:round/>
              <a:headEnd/>
              <a:tailEnd/>
            </a:ln>
          </p:spPr>
          <p:txBody>
            <a:bodyPr/>
            <a:lstStyle/>
            <a:p>
              <a:endParaRPr lang="zh-CN" altLang="en-US"/>
            </a:p>
          </p:txBody>
        </p:sp>
        <p:sp>
          <p:nvSpPr>
            <p:cNvPr id="356" name="Freeform 25"/>
            <p:cNvSpPr>
              <a:spLocks/>
            </p:cNvSpPr>
            <p:nvPr/>
          </p:nvSpPr>
          <p:spPr bwMode="auto">
            <a:xfrm>
              <a:off x="1389063" y="3081338"/>
              <a:ext cx="200025" cy="6350"/>
            </a:xfrm>
            <a:custGeom>
              <a:avLst/>
              <a:gdLst>
                <a:gd name="T0" fmla="*/ 2147483646 w 422"/>
                <a:gd name="T1" fmla="*/ 2147483646 h 14"/>
                <a:gd name="T2" fmla="*/ 2147483646 w 422"/>
                <a:gd name="T3" fmla="*/ 2147483646 h 14"/>
                <a:gd name="T4" fmla="*/ 0 w 422"/>
                <a:gd name="T5" fmla="*/ 2147483646 h 14"/>
                <a:gd name="T6" fmla="*/ 0 w 422"/>
                <a:gd name="T7" fmla="*/ 0 h 14"/>
                <a:gd name="T8" fmla="*/ 2147483646 w 422"/>
                <a:gd name="T9" fmla="*/ 0 h 14"/>
                <a:gd name="T10" fmla="*/ 2147483646 w 422"/>
                <a:gd name="T11" fmla="*/ 2147483646 h 14"/>
                <a:gd name="T12" fmla="*/ 0 60000 65536"/>
                <a:gd name="T13" fmla="*/ 0 60000 65536"/>
                <a:gd name="T14" fmla="*/ 0 60000 65536"/>
                <a:gd name="T15" fmla="*/ 0 60000 65536"/>
                <a:gd name="T16" fmla="*/ 0 60000 65536"/>
                <a:gd name="T17" fmla="*/ 0 60000 65536"/>
                <a:gd name="T18" fmla="*/ 0 w 422"/>
                <a:gd name="T19" fmla="*/ 0 h 14"/>
                <a:gd name="T20" fmla="*/ 422 w 4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22" h="14">
                  <a:moveTo>
                    <a:pt x="422" y="14"/>
                  </a:moveTo>
                  <a:lnTo>
                    <a:pt x="422" y="14"/>
                  </a:lnTo>
                  <a:lnTo>
                    <a:pt x="0" y="14"/>
                  </a:lnTo>
                  <a:lnTo>
                    <a:pt x="0" y="0"/>
                  </a:lnTo>
                  <a:lnTo>
                    <a:pt x="422" y="0"/>
                  </a:lnTo>
                  <a:lnTo>
                    <a:pt x="422" y="14"/>
                  </a:lnTo>
                  <a:close/>
                </a:path>
              </a:pathLst>
            </a:custGeom>
            <a:grpFill/>
            <a:ln w="0">
              <a:noFill/>
              <a:round/>
              <a:headEnd/>
              <a:tailEnd/>
            </a:ln>
          </p:spPr>
          <p:txBody>
            <a:bodyPr/>
            <a:lstStyle/>
            <a:p>
              <a:endParaRPr lang="zh-CN" altLang="en-US"/>
            </a:p>
          </p:txBody>
        </p:sp>
        <p:sp>
          <p:nvSpPr>
            <p:cNvPr id="357" name="Freeform 26"/>
            <p:cNvSpPr>
              <a:spLocks/>
            </p:cNvSpPr>
            <p:nvPr/>
          </p:nvSpPr>
          <p:spPr bwMode="auto">
            <a:xfrm>
              <a:off x="1389063" y="3195638"/>
              <a:ext cx="200025" cy="6350"/>
            </a:xfrm>
            <a:custGeom>
              <a:avLst/>
              <a:gdLst>
                <a:gd name="T0" fmla="*/ 2147483646 w 422"/>
                <a:gd name="T1" fmla="*/ 2147483646 h 13"/>
                <a:gd name="T2" fmla="*/ 2147483646 w 422"/>
                <a:gd name="T3" fmla="*/ 2147483646 h 13"/>
                <a:gd name="T4" fmla="*/ 0 w 422"/>
                <a:gd name="T5" fmla="*/ 2147483646 h 13"/>
                <a:gd name="T6" fmla="*/ 0 w 422"/>
                <a:gd name="T7" fmla="*/ 0 h 13"/>
                <a:gd name="T8" fmla="*/ 2147483646 w 422"/>
                <a:gd name="T9" fmla="*/ 0 h 13"/>
                <a:gd name="T10" fmla="*/ 2147483646 w 422"/>
                <a:gd name="T11" fmla="*/ 2147483646 h 13"/>
                <a:gd name="T12" fmla="*/ 0 60000 65536"/>
                <a:gd name="T13" fmla="*/ 0 60000 65536"/>
                <a:gd name="T14" fmla="*/ 0 60000 65536"/>
                <a:gd name="T15" fmla="*/ 0 60000 65536"/>
                <a:gd name="T16" fmla="*/ 0 60000 65536"/>
                <a:gd name="T17" fmla="*/ 0 60000 65536"/>
                <a:gd name="T18" fmla="*/ 0 w 422"/>
                <a:gd name="T19" fmla="*/ 0 h 13"/>
                <a:gd name="T20" fmla="*/ 422 w 42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422" h="13">
                  <a:moveTo>
                    <a:pt x="422" y="13"/>
                  </a:moveTo>
                  <a:lnTo>
                    <a:pt x="422" y="13"/>
                  </a:lnTo>
                  <a:lnTo>
                    <a:pt x="0" y="13"/>
                  </a:lnTo>
                  <a:lnTo>
                    <a:pt x="0" y="0"/>
                  </a:lnTo>
                  <a:lnTo>
                    <a:pt x="422" y="0"/>
                  </a:lnTo>
                  <a:lnTo>
                    <a:pt x="422" y="13"/>
                  </a:lnTo>
                  <a:close/>
                </a:path>
              </a:pathLst>
            </a:custGeom>
            <a:grpFill/>
            <a:ln w="0">
              <a:noFill/>
              <a:round/>
              <a:headEnd/>
              <a:tailEnd/>
            </a:ln>
          </p:spPr>
          <p:txBody>
            <a:bodyPr/>
            <a:lstStyle/>
            <a:p>
              <a:endParaRPr lang="zh-CN" altLang="en-US"/>
            </a:p>
          </p:txBody>
        </p:sp>
        <p:sp>
          <p:nvSpPr>
            <p:cNvPr id="358" name="Freeform 27"/>
            <p:cNvSpPr>
              <a:spLocks/>
            </p:cNvSpPr>
            <p:nvPr/>
          </p:nvSpPr>
          <p:spPr bwMode="auto">
            <a:xfrm>
              <a:off x="1389063" y="3314701"/>
              <a:ext cx="200025" cy="6350"/>
            </a:xfrm>
            <a:custGeom>
              <a:avLst/>
              <a:gdLst>
                <a:gd name="T0" fmla="*/ 2147483646 w 422"/>
                <a:gd name="T1" fmla="*/ 2147483646 h 14"/>
                <a:gd name="T2" fmla="*/ 2147483646 w 422"/>
                <a:gd name="T3" fmla="*/ 2147483646 h 14"/>
                <a:gd name="T4" fmla="*/ 0 w 422"/>
                <a:gd name="T5" fmla="*/ 2147483646 h 14"/>
                <a:gd name="T6" fmla="*/ 0 w 422"/>
                <a:gd name="T7" fmla="*/ 0 h 14"/>
                <a:gd name="T8" fmla="*/ 2147483646 w 422"/>
                <a:gd name="T9" fmla="*/ 0 h 14"/>
                <a:gd name="T10" fmla="*/ 2147483646 w 422"/>
                <a:gd name="T11" fmla="*/ 2147483646 h 14"/>
                <a:gd name="T12" fmla="*/ 0 60000 65536"/>
                <a:gd name="T13" fmla="*/ 0 60000 65536"/>
                <a:gd name="T14" fmla="*/ 0 60000 65536"/>
                <a:gd name="T15" fmla="*/ 0 60000 65536"/>
                <a:gd name="T16" fmla="*/ 0 60000 65536"/>
                <a:gd name="T17" fmla="*/ 0 60000 65536"/>
                <a:gd name="T18" fmla="*/ 0 w 422"/>
                <a:gd name="T19" fmla="*/ 0 h 14"/>
                <a:gd name="T20" fmla="*/ 422 w 4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22" h="14">
                  <a:moveTo>
                    <a:pt x="422" y="14"/>
                  </a:moveTo>
                  <a:lnTo>
                    <a:pt x="422" y="14"/>
                  </a:lnTo>
                  <a:lnTo>
                    <a:pt x="0" y="14"/>
                  </a:lnTo>
                  <a:lnTo>
                    <a:pt x="0" y="0"/>
                  </a:lnTo>
                  <a:lnTo>
                    <a:pt x="422" y="0"/>
                  </a:lnTo>
                  <a:lnTo>
                    <a:pt x="422" y="14"/>
                  </a:lnTo>
                  <a:close/>
                </a:path>
              </a:pathLst>
            </a:custGeom>
            <a:grpFill/>
            <a:ln w="0">
              <a:noFill/>
              <a:round/>
              <a:headEnd/>
              <a:tailEnd/>
            </a:ln>
          </p:spPr>
          <p:txBody>
            <a:bodyPr/>
            <a:lstStyle/>
            <a:p>
              <a:endParaRPr lang="zh-CN" altLang="en-US"/>
            </a:p>
          </p:txBody>
        </p:sp>
        <p:sp>
          <p:nvSpPr>
            <p:cNvPr id="359" name="Freeform 28"/>
            <p:cNvSpPr>
              <a:spLocks/>
            </p:cNvSpPr>
            <p:nvPr/>
          </p:nvSpPr>
          <p:spPr bwMode="auto">
            <a:xfrm>
              <a:off x="760413" y="3279776"/>
              <a:ext cx="65088" cy="65088"/>
            </a:xfrm>
            <a:custGeom>
              <a:avLst/>
              <a:gdLst>
                <a:gd name="T0" fmla="*/ 0 w 139"/>
                <a:gd name="T1" fmla="*/ 2147483646 h 139"/>
                <a:gd name="T2" fmla="*/ 0 w 139"/>
                <a:gd name="T3" fmla="*/ 2147483646 h 139"/>
                <a:gd name="T4" fmla="*/ 2147483646 w 139"/>
                <a:gd name="T5" fmla="*/ 0 h 139"/>
                <a:gd name="T6" fmla="*/ 2147483646 w 139"/>
                <a:gd name="T7" fmla="*/ 2147483646 h 139"/>
                <a:gd name="T8" fmla="*/ 2147483646 w 139"/>
                <a:gd name="T9" fmla="*/ 2147483646 h 139"/>
                <a:gd name="T10" fmla="*/ 0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0" y="70"/>
                  </a:moveTo>
                  <a:lnTo>
                    <a:pt x="0" y="70"/>
                  </a:lnTo>
                  <a:cubicBezTo>
                    <a:pt x="0" y="31"/>
                    <a:pt x="31" y="0"/>
                    <a:pt x="69" y="0"/>
                  </a:cubicBezTo>
                  <a:cubicBezTo>
                    <a:pt x="108" y="0"/>
                    <a:pt x="139" y="31"/>
                    <a:pt x="139" y="70"/>
                  </a:cubicBezTo>
                  <a:cubicBezTo>
                    <a:pt x="139" y="108"/>
                    <a:pt x="108" y="139"/>
                    <a:pt x="69" y="139"/>
                  </a:cubicBezTo>
                  <a:cubicBezTo>
                    <a:pt x="31" y="139"/>
                    <a:pt x="0" y="108"/>
                    <a:pt x="0" y="70"/>
                  </a:cubicBezTo>
                  <a:close/>
                </a:path>
              </a:pathLst>
            </a:custGeom>
            <a:grpFill/>
            <a:ln w="0">
              <a:noFill/>
              <a:round/>
              <a:headEnd/>
              <a:tailEnd/>
            </a:ln>
          </p:spPr>
          <p:txBody>
            <a:bodyPr/>
            <a:lstStyle/>
            <a:p>
              <a:endParaRPr lang="zh-CN" altLang="en-US"/>
            </a:p>
          </p:txBody>
        </p:sp>
        <p:sp>
          <p:nvSpPr>
            <p:cNvPr id="360" name="Freeform 29"/>
            <p:cNvSpPr>
              <a:spLocks/>
            </p:cNvSpPr>
            <p:nvPr/>
          </p:nvSpPr>
          <p:spPr bwMode="auto">
            <a:xfrm>
              <a:off x="760413" y="3373438"/>
              <a:ext cx="65088" cy="65088"/>
            </a:xfrm>
            <a:custGeom>
              <a:avLst/>
              <a:gdLst>
                <a:gd name="T0" fmla="*/ 0 w 139"/>
                <a:gd name="T1" fmla="*/ 2147483646 h 139"/>
                <a:gd name="T2" fmla="*/ 0 w 139"/>
                <a:gd name="T3" fmla="*/ 2147483646 h 139"/>
                <a:gd name="T4" fmla="*/ 2147483646 w 139"/>
                <a:gd name="T5" fmla="*/ 0 h 139"/>
                <a:gd name="T6" fmla="*/ 2147483646 w 139"/>
                <a:gd name="T7" fmla="*/ 2147483646 h 139"/>
                <a:gd name="T8" fmla="*/ 2147483646 w 139"/>
                <a:gd name="T9" fmla="*/ 2147483646 h 139"/>
                <a:gd name="T10" fmla="*/ 0 w 139"/>
                <a:gd name="T11" fmla="*/ 2147483646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0" y="69"/>
                  </a:moveTo>
                  <a:lnTo>
                    <a:pt x="0" y="69"/>
                  </a:lnTo>
                  <a:cubicBezTo>
                    <a:pt x="0" y="30"/>
                    <a:pt x="31" y="0"/>
                    <a:pt x="69" y="0"/>
                  </a:cubicBezTo>
                  <a:cubicBezTo>
                    <a:pt x="107" y="0"/>
                    <a:pt x="139" y="30"/>
                    <a:pt x="139" y="69"/>
                  </a:cubicBezTo>
                  <a:cubicBezTo>
                    <a:pt x="139" y="107"/>
                    <a:pt x="107" y="139"/>
                    <a:pt x="69" y="139"/>
                  </a:cubicBezTo>
                  <a:cubicBezTo>
                    <a:pt x="31" y="139"/>
                    <a:pt x="0" y="107"/>
                    <a:pt x="0" y="69"/>
                  </a:cubicBezTo>
                  <a:close/>
                </a:path>
              </a:pathLst>
            </a:custGeom>
            <a:grpFill/>
            <a:ln w="0">
              <a:noFill/>
              <a:round/>
              <a:headEnd/>
              <a:tailEnd/>
            </a:ln>
          </p:spPr>
          <p:txBody>
            <a:bodyPr/>
            <a:lstStyle/>
            <a:p>
              <a:endParaRPr lang="zh-CN" altLang="en-US"/>
            </a:p>
          </p:txBody>
        </p:sp>
        <p:sp>
          <p:nvSpPr>
            <p:cNvPr id="361" name="Freeform 30"/>
            <p:cNvSpPr>
              <a:spLocks/>
            </p:cNvSpPr>
            <p:nvPr/>
          </p:nvSpPr>
          <p:spPr bwMode="auto">
            <a:xfrm>
              <a:off x="903288" y="2892426"/>
              <a:ext cx="415925" cy="622300"/>
            </a:xfrm>
            <a:custGeom>
              <a:avLst/>
              <a:gdLst>
                <a:gd name="T0" fmla="*/ 2147483646 w 885"/>
                <a:gd name="T1" fmla="*/ 2147483646 h 1322"/>
                <a:gd name="T2" fmla="*/ 2147483646 w 885"/>
                <a:gd name="T3" fmla="*/ 2147483646 h 1322"/>
                <a:gd name="T4" fmla="*/ 2147483646 w 885"/>
                <a:gd name="T5" fmla="*/ 2147483646 h 1322"/>
                <a:gd name="T6" fmla="*/ 0 w 885"/>
                <a:gd name="T7" fmla="*/ 2147483646 h 1322"/>
                <a:gd name="T8" fmla="*/ 0 w 885"/>
                <a:gd name="T9" fmla="*/ 2147483646 h 1322"/>
                <a:gd name="T10" fmla="*/ 2147483646 w 885"/>
                <a:gd name="T11" fmla="*/ 0 h 1322"/>
                <a:gd name="T12" fmla="*/ 2147483646 w 885"/>
                <a:gd name="T13" fmla="*/ 0 h 1322"/>
                <a:gd name="T14" fmla="*/ 2147483646 w 885"/>
                <a:gd name="T15" fmla="*/ 2147483646 h 1322"/>
                <a:gd name="T16" fmla="*/ 2147483646 w 885"/>
                <a:gd name="T17" fmla="*/ 2147483646 h 1322"/>
                <a:gd name="T18" fmla="*/ 2147483646 w 885"/>
                <a:gd name="T19" fmla="*/ 2147483646 h 1322"/>
                <a:gd name="T20" fmla="*/ 2147483646 w 885"/>
                <a:gd name="T21" fmla="*/ 2147483646 h 1322"/>
                <a:gd name="T22" fmla="*/ 2147483646 w 885"/>
                <a:gd name="T23" fmla="*/ 2147483646 h 1322"/>
                <a:gd name="T24" fmla="*/ 2147483646 w 885"/>
                <a:gd name="T25" fmla="*/ 2147483646 h 1322"/>
                <a:gd name="T26" fmla="*/ 2147483646 w 885"/>
                <a:gd name="T27" fmla="*/ 2147483646 h 1322"/>
                <a:gd name="T28" fmla="*/ 2147483646 w 885"/>
                <a:gd name="T29" fmla="*/ 2147483646 h 1322"/>
                <a:gd name="T30" fmla="*/ 2147483646 w 885"/>
                <a:gd name="T31" fmla="*/ 2147483646 h 1322"/>
                <a:gd name="T32" fmla="*/ 2147483646 w 885"/>
                <a:gd name="T33" fmla="*/ 2147483646 h 13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5"/>
                <a:gd name="T52" fmla="*/ 0 h 1322"/>
                <a:gd name="T53" fmla="*/ 885 w 885"/>
                <a:gd name="T54" fmla="*/ 1322 h 13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5" h="1322">
                  <a:moveTo>
                    <a:pt x="58" y="1322"/>
                  </a:moveTo>
                  <a:lnTo>
                    <a:pt x="58" y="1322"/>
                  </a:lnTo>
                  <a:lnTo>
                    <a:pt x="55" y="1322"/>
                  </a:lnTo>
                  <a:cubicBezTo>
                    <a:pt x="24" y="1322"/>
                    <a:pt x="0" y="1292"/>
                    <a:pt x="0" y="1253"/>
                  </a:cubicBezTo>
                  <a:lnTo>
                    <a:pt x="0" y="70"/>
                  </a:lnTo>
                  <a:cubicBezTo>
                    <a:pt x="0" y="30"/>
                    <a:pt x="24" y="0"/>
                    <a:pt x="55" y="0"/>
                  </a:cubicBezTo>
                  <a:lnTo>
                    <a:pt x="59" y="0"/>
                  </a:lnTo>
                  <a:lnTo>
                    <a:pt x="856" y="197"/>
                  </a:lnTo>
                  <a:cubicBezTo>
                    <a:pt x="874" y="201"/>
                    <a:pt x="885" y="219"/>
                    <a:pt x="880" y="237"/>
                  </a:cubicBezTo>
                  <a:cubicBezTo>
                    <a:pt x="876" y="255"/>
                    <a:pt x="858" y="266"/>
                    <a:pt x="840" y="261"/>
                  </a:cubicBezTo>
                  <a:lnTo>
                    <a:pt x="67" y="71"/>
                  </a:lnTo>
                  <a:lnTo>
                    <a:pt x="67" y="1253"/>
                  </a:lnTo>
                  <a:lnTo>
                    <a:pt x="842" y="1120"/>
                  </a:lnTo>
                  <a:cubicBezTo>
                    <a:pt x="861" y="1117"/>
                    <a:pt x="878" y="1129"/>
                    <a:pt x="881" y="1148"/>
                  </a:cubicBezTo>
                  <a:cubicBezTo>
                    <a:pt x="884" y="1166"/>
                    <a:pt x="872" y="1183"/>
                    <a:pt x="854" y="1186"/>
                  </a:cubicBezTo>
                  <a:lnTo>
                    <a:pt x="58" y="1322"/>
                  </a:lnTo>
                  <a:close/>
                </a:path>
              </a:pathLst>
            </a:custGeom>
            <a:grpFill/>
            <a:ln w="0">
              <a:noFill/>
              <a:round/>
              <a:headEnd/>
              <a:tailEnd/>
            </a:ln>
          </p:spPr>
          <p:txBody>
            <a:bodyPr/>
            <a:lstStyle/>
            <a:p>
              <a:endParaRPr lang="zh-CN" altLang="en-US"/>
            </a:p>
          </p:txBody>
        </p:sp>
        <p:sp>
          <p:nvSpPr>
            <p:cNvPr id="362" name="Freeform 31"/>
            <p:cNvSpPr>
              <a:spLocks/>
            </p:cNvSpPr>
            <p:nvPr/>
          </p:nvSpPr>
          <p:spPr bwMode="auto">
            <a:xfrm>
              <a:off x="1054100" y="2927351"/>
              <a:ext cx="17463" cy="554038"/>
            </a:xfrm>
            <a:custGeom>
              <a:avLst/>
              <a:gdLst>
                <a:gd name="T0" fmla="*/ 2147483646 w 40"/>
                <a:gd name="T1" fmla="*/ 2147483646 h 1178"/>
                <a:gd name="T2" fmla="*/ 2147483646 w 40"/>
                <a:gd name="T3" fmla="*/ 2147483646 h 1178"/>
                <a:gd name="T4" fmla="*/ 0 w 40"/>
                <a:gd name="T5" fmla="*/ 2147483646 h 1178"/>
                <a:gd name="T6" fmla="*/ 0 w 40"/>
                <a:gd name="T7" fmla="*/ 0 h 1178"/>
                <a:gd name="T8" fmla="*/ 2147483646 w 40"/>
                <a:gd name="T9" fmla="*/ 0 h 1178"/>
                <a:gd name="T10" fmla="*/ 2147483646 w 40"/>
                <a:gd name="T11" fmla="*/ 2147483646 h 1178"/>
                <a:gd name="T12" fmla="*/ 0 60000 65536"/>
                <a:gd name="T13" fmla="*/ 0 60000 65536"/>
                <a:gd name="T14" fmla="*/ 0 60000 65536"/>
                <a:gd name="T15" fmla="*/ 0 60000 65536"/>
                <a:gd name="T16" fmla="*/ 0 60000 65536"/>
                <a:gd name="T17" fmla="*/ 0 60000 65536"/>
                <a:gd name="T18" fmla="*/ 0 w 40"/>
                <a:gd name="T19" fmla="*/ 0 h 1178"/>
                <a:gd name="T20" fmla="*/ 40 w 40"/>
                <a:gd name="T21" fmla="*/ 1178 h 1178"/>
              </a:gdLst>
              <a:ahLst/>
              <a:cxnLst>
                <a:cxn ang="T12">
                  <a:pos x="T0" y="T1"/>
                </a:cxn>
                <a:cxn ang="T13">
                  <a:pos x="T2" y="T3"/>
                </a:cxn>
                <a:cxn ang="T14">
                  <a:pos x="T4" y="T5"/>
                </a:cxn>
                <a:cxn ang="T15">
                  <a:pos x="T6" y="T7"/>
                </a:cxn>
                <a:cxn ang="T16">
                  <a:pos x="T8" y="T9"/>
                </a:cxn>
                <a:cxn ang="T17">
                  <a:pos x="T10" y="T11"/>
                </a:cxn>
              </a:cxnLst>
              <a:rect l="T18" t="T19" r="T20" b="T21"/>
              <a:pathLst>
                <a:path w="40" h="1178">
                  <a:moveTo>
                    <a:pt x="40" y="1178"/>
                  </a:moveTo>
                  <a:lnTo>
                    <a:pt x="40" y="1178"/>
                  </a:lnTo>
                  <a:lnTo>
                    <a:pt x="0" y="1178"/>
                  </a:lnTo>
                  <a:lnTo>
                    <a:pt x="0" y="0"/>
                  </a:lnTo>
                  <a:lnTo>
                    <a:pt x="40" y="0"/>
                  </a:lnTo>
                  <a:lnTo>
                    <a:pt x="40" y="1178"/>
                  </a:lnTo>
                  <a:close/>
                </a:path>
              </a:pathLst>
            </a:custGeom>
            <a:grpFill/>
            <a:ln w="0">
              <a:noFill/>
              <a:round/>
              <a:headEnd/>
              <a:tailEnd/>
            </a:ln>
          </p:spPr>
          <p:txBody>
            <a:bodyPr/>
            <a:lstStyle/>
            <a:p>
              <a:endParaRPr lang="zh-CN" altLang="en-US"/>
            </a:p>
          </p:txBody>
        </p:sp>
        <p:sp>
          <p:nvSpPr>
            <p:cNvPr id="363" name="Freeform 32"/>
            <p:cNvSpPr>
              <a:spLocks/>
            </p:cNvSpPr>
            <p:nvPr/>
          </p:nvSpPr>
          <p:spPr bwMode="auto">
            <a:xfrm>
              <a:off x="1155700" y="2962276"/>
              <a:ext cx="17463" cy="498475"/>
            </a:xfrm>
            <a:custGeom>
              <a:avLst/>
              <a:gdLst>
                <a:gd name="T0" fmla="*/ 2147483646 w 40"/>
                <a:gd name="T1" fmla="*/ 2147483646 h 1058"/>
                <a:gd name="T2" fmla="*/ 2147483646 w 40"/>
                <a:gd name="T3" fmla="*/ 2147483646 h 1058"/>
                <a:gd name="T4" fmla="*/ 0 w 40"/>
                <a:gd name="T5" fmla="*/ 2147483646 h 1058"/>
                <a:gd name="T6" fmla="*/ 0 w 40"/>
                <a:gd name="T7" fmla="*/ 0 h 1058"/>
                <a:gd name="T8" fmla="*/ 2147483646 w 40"/>
                <a:gd name="T9" fmla="*/ 0 h 1058"/>
                <a:gd name="T10" fmla="*/ 2147483646 w 40"/>
                <a:gd name="T11" fmla="*/ 2147483646 h 1058"/>
                <a:gd name="T12" fmla="*/ 0 60000 65536"/>
                <a:gd name="T13" fmla="*/ 0 60000 65536"/>
                <a:gd name="T14" fmla="*/ 0 60000 65536"/>
                <a:gd name="T15" fmla="*/ 0 60000 65536"/>
                <a:gd name="T16" fmla="*/ 0 60000 65536"/>
                <a:gd name="T17" fmla="*/ 0 60000 65536"/>
                <a:gd name="T18" fmla="*/ 0 w 40"/>
                <a:gd name="T19" fmla="*/ 0 h 1058"/>
                <a:gd name="T20" fmla="*/ 40 w 40"/>
                <a:gd name="T21" fmla="*/ 1058 h 1058"/>
              </a:gdLst>
              <a:ahLst/>
              <a:cxnLst>
                <a:cxn ang="T12">
                  <a:pos x="T0" y="T1"/>
                </a:cxn>
                <a:cxn ang="T13">
                  <a:pos x="T2" y="T3"/>
                </a:cxn>
                <a:cxn ang="T14">
                  <a:pos x="T4" y="T5"/>
                </a:cxn>
                <a:cxn ang="T15">
                  <a:pos x="T6" y="T7"/>
                </a:cxn>
                <a:cxn ang="T16">
                  <a:pos x="T8" y="T9"/>
                </a:cxn>
                <a:cxn ang="T17">
                  <a:pos x="T10" y="T11"/>
                </a:cxn>
              </a:cxnLst>
              <a:rect l="T18" t="T19" r="T20" b="T21"/>
              <a:pathLst>
                <a:path w="40" h="1058">
                  <a:moveTo>
                    <a:pt x="40" y="1058"/>
                  </a:moveTo>
                  <a:lnTo>
                    <a:pt x="40" y="1058"/>
                  </a:lnTo>
                  <a:lnTo>
                    <a:pt x="0" y="1058"/>
                  </a:lnTo>
                  <a:lnTo>
                    <a:pt x="0" y="0"/>
                  </a:lnTo>
                  <a:lnTo>
                    <a:pt x="40" y="0"/>
                  </a:lnTo>
                  <a:lnTo>
                    <a:pt x="40" y="1058"/>
                  </a:lnTo>
                  <a:close/>
                </a:path>
              </a:pathLst>
            </a:custGeom>
            <a:grpFill/>
            <a:ln w="0">
              <a:noFill/>
              <a:round/>
              <a:headEnd/>
              <a:tailEnd/>
            </a:ln>
          </p:spPr>
          <p:txBody>
            <a:bodyPr/>
            <a:lstStyle/>
            <a:p>
              <a:endParaRPr lang="zh-CN" altLang="en-US"/>
            </a:p>
          </p:txBody>
        </p:sp>
        <p:sp>
          <p:nvSpPr>
            <p:cNvPr id="364" name="Freeform 33"/>
            <p:cNvSpPr>
              <a:spLocks/>
            </p:cNvSpPr>
            <p:nvPr/>
          </p:nvSpPr>
          <p:spPr bwMode="auto">
            <a:xfrm>
              <a:off x="1231900" y="2982913"/>
              <a:ext cx="19050" cy="465138"/>
            </a:xfrm>
            <a:custGeom>
              <a:avLst/>
              <a:gdLst>
                <a:gd name="T0" fmla="*/ 2147483646 w 40"/>
                <a:gd name="T1" fmla="*/ 2147483646 h 990"/>
                <a:gd name="T2" fmla="*/ 2147483646 w 40"/>
                <a:gd name="T3" fmla="*/ 2147483646 h 990"/>
                <a:gd name="T4" fmla="*/ 0 w 40"/>
                <a:gd name="T5" fmla="*/ 2147483646 h 990"/>
                <a:gd name="T6" fmla="*/ 0 w 40"/>
                <a:gd name="T7" fmla="*/ 0 h 990"/>
                <a:gd name="T8" fmla="*/ 2147483646 w 40"/>
                <a:gd name="T9" fmla="*/ 0 h 990"/>
                <a:gd name="T10" fmla="*/ 2147483646 w 40"/>
                <a:gd name="T11" fmla="*/ 2147483646 h 990"/>
                <a:gd name="T12" fmla="*/ 0 60000 65536"/>
                <a:gd name="T13" fmla="*/ 0 60000 65536"/>
                <a:gd name="T14" fmla="*/ 0 60000 65536"/>
                <a:gd name="T15" fmla="*/ 0 60000 65536"/>
                <a:gd name="T16" fmla="*/ 0 60000 65536"/>
                <a:gd name="T17" fmla="*/ 0 60000 65536"/>
                <a:gd name="T18" fmla="*/ 0 w 40"/>
                <a:gd name="T19" fmla="*/ 0 h 990"/>
                <a:gd name="T20" fmla="*/ 40 w 40"/>
                <a:gd name="T21" fmla="*/ 990 h 990"/>
              </a:gdLst>
              <a:ahLst/>
              <a:cxnLst>
                <a:cxn ang="T12">
                  <a:pos x="T0" y="T1"/>
                </a:cxn>
                <a:cxn ang="T13">
                  <a:pos x="T2" y="T3"/>
                </a:cxn>
                <a:cxn ang="T14">
                  <a:pos x="T4" y="T5"/>
                </a:cxn>
                <a:cxn ang="T15">
                  <a:pos x="T6" y="T7"/>
                </a:cxn>
                <a:cxn ang="T16">
                  <a:pos x="T8" y="T9"/>
                </a:cxn>
                <a:cxn ang="T17">
                  <a:pos x="T10" y="T11"/>
                </a:cxn>
              </a:cxnLst>
              <a:rect l="T18" t="T19" r="T20" b="T21"/>
              <a:pathLst>
                <a:path w="40" h="990">
                  <a:moveTo>
                    <a:pt x="40" y="990"/>
                  </a:moveTo>
                  <a:lnTo>
                    <a:pt x="40" y="990"/>
                  </a:lnTo>
                  <a:lnTo>
                    <a:pt x="0" y="990"/>
                  </a:lnTo>
                  <a:lnTo>
                    <a:pt x="0" y="0"/>
                  </a:lnTo>
                  <a:lnTo>
                    <a:pt x="40" y="0"/>
                  </a:lnTo>
                  <a:lnTo>
                    <a:pt x="40" y="990"/>
                  </a:lnTo>
                  <a:close/>
                </a:path>
              </a:pathLst>
            </a:custGeom>
            <a:grpFill/>
            <a:ln w="0">
              <a:noFill/>
              <a:round/>
              <a:headEnd/>
              <a:tailEnd/>
            </a:ln>
          </p:spPr>
          <p:txBody>
            <a:bodyPr/>
            <a:lstStyle/>
            <a:p>
              <a:endParaRPr lang="zh-CN" altLang="en-US"/>
            </a:p>
          </p:txBody>
        </p:sp>
        <p:sp>
          <p:nvSpPr>
            <p:cNvPr id="365" name="Freeform 34"/>
            <p:cNvSpPr>
              <a:spLocks/>
            </p:cNvSpPr>
            <p:nvPr/>
          </p:nvSpPr>
          <p:spPr bwMode="auto">
            <a:xfrm>
              <a:off x="776288" y="3390901"/>
              <a:ext cx="158750" cy="123825"/>
            </a:xfrm>
            <a:custGeom>
              <a:avLst/>
              <a:gdLst>
                <a:gd name="T0" fmla="*/ 2147483646 w 335"/>
                <a:gd name="T1" fmla="*/ 2147483646 h 264"/>
                <a:gd name="T2" fmla="*/ 2147483646 w 335"/>
                <a:gd name="T3" fmla="*/ 2147483646 h 264"/>
                <a:gd name="T4" fmla="*/ 2147483646 w 335"/>
                <a:gd name="T5" fmla="*/ 2147483646 h 264"/>
                <a:gd name="T6" fmla="*/ 0 w 335"/>
                <a:gd name="T7" fmla="*/ 2147483646 h 264"/>
                <a:gd name="T8" fmla="*/ 0 w 335"/>
                <a:gd name="T9" fmla="*/ 2147483646 h 264"/>
                <a:gd name="T10" fmla="*/ 2147483646 w 335"/>
                <a:gd name="T11" fmla="*/ 0 h 264"/>
                <a:gd name="T12" fmla="*/ 2147483646 w 335"/>
                <a:gd name="T13" fmla="*/ 2147483646 h 264"/>
                <a:gd name="T14" fmla="*/ 2147483646 w 335"/>
                <a:gd name="T15" fmla="*/ 2147483646 h 264"/>
                <a:gd name="T16" fmla="*/ 2147483646 w 335"/>
                <a:gd name="T17" fmla="*/ 2147483646 h 264"/>
                <a:gd name="T18" fmla="*/ 2147483646 w 335"/>
                <a:gd name="T19" fmla="*/ 2147483646 h 264"/>
                <a:gd name="T20" fmla="*/ 2147483646 w 335"/>
                <a:gd name="T21" fmla="*/ 2147483646 h 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5"/>
                <a:gd name="T34" fmla="*/ 0 h 264"/>
                <a:gd name="T35" fmla="*/ 335 w 335"/>
                <a:gd name="T36" fmla="*/ 264 h 2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5" h="264">
                  <a:moveTo>
                    <a:pt x="301" y="264"/>
                  </a:moveTo>
                  <a:lnTo>
                    <a:pt x="301" y="264"/>
                  </a:lnTo>
                  <a:lnTo>
                    <a:pt x="34" y="264"/>
                  </a:lnTo>
                  <a:cubicBezTo>
                    <a:pt x="15" y="264"/>
                    <a:pt x="0" y="249"/>
                    <a:pt x="0" y="231"/>
                  </a:cubicBezTo>
                  <a:lnTo>
                    <a:pt x="0" y="33"/>
                  </a:lnTo>
                  <a:cubicBezTo>
                    <a:pt x="0" y="15"/>
                    <a:pt x="15" y="0"/>
                    <a:pt x="34" y="0"/>
                  </a:cubicBezTo>
                  <a:cubicBezTo>
                    <a:pt x="52" y="0"/>
                    <a:pt x="67" y="15"/>
                    <a:pt x="67" y="33"/>
                  </a:cubicBezTo>
                  <a:lnTo>
                    <a:pt x="67" y="197"/>
                  </a:lnTo>
                  <a:lnTo>
                    <a:pt x="301" y="197"/>
                  </a:lnTo>
                  <a:cubicBezTo>
                    <a:pt x="320" y="197"/>
                    <a:pt x="335" y="212"/>
                    <a:pt x="335" y="231"/>
                  </a:cubicBezTo>
                  <a:cubicBezTo>
                    <a:pt x="335" y="249"/>
                    <a:pt x="320" y="264"/>
                    <a:pt x="301" y="264"/>
                  </a:cubicBezTo>
                  <a:close/>
                </a:path>
              </a:pathLst>
            </a:custGeom>
            <a:grpFill/>
            <a:ln w="0">
              <a:noFill/>
              <a:round/>
              <a:headEnd/>
              <a:tailEnd/>
            </a:ln>
          </p:spPr>
          <p:txBody>
            <a:bodyPr/>
            <a:lstStyle/>
            <a:p>
              <a:endParaRPr lang="zh-CN" altLang="en-US"/>
            </a:p>
          </p:txBody>
        </p:sp>
        <p:sp>
          <p:nvSpPr>
            <p:cNvPr id="366" name="Freeform 35"/>
            <p:cNvSpPr>
              <a:spLocks/>
            </p:cNvSpPr>
            <p:nvPr/>
          </p:nvSpPr>
          <p:spPr bwMode="auto">
            <a:xfrm>
              <a:off x="776288" y="2892426"/>
              <a:ext cx="168275" cy="434975"/>
            </a:xfrm>
            <a:custGeom>
              <a:avLst/>
              <a:gdLst>
                <a:gd name="T0" fmla="*/ 2147483646 w 356"/>
                <a:gd name="T1" fmla="*/ 2147483646 h 924"/>
                <a:gd name="T2" fmla="*/ 2147483646 w 356"/>
                <a:gd name="T3" fmla="*/ 2147483646 h 924"/>
                <a:gd name="T4" fmla="*/ 0 w 356"/>
                <a:gd name="T5" fmla="*/ 2147483646 h 924"/>
                <a:gd name="T6" fmla="*/ 0 w 356"/>
                <a:gd name="T7" fmla="*/ 2147483646 h 924"/>
                <a:gd name="T8" fmla="*/ 2147483646 w 356"/>
                <a:gd name="T9" fmla="*/ 0 h 924"/>
                <a:gd name="T10" fmla="*/ 2147483646 w 356"/>
                <a:gd name="T11" fmla="*/ 0 h 924"/>
                <a:gd name="T12" fmla="*/ 2147483646 w 356"/>
                <a:gd name="T13" fmla="*/ 2147483646 h 924"/>
                <a:gd name="T14" fmla="*/ 2147483646 w 356"/>
                <a:gd name="T15" fmla="*/ 2147483646 h 924"/>
                <a:gd name="T16" fmla="*/ 2147483646 w 356"/>
                <a:gd name="T17" fmla="*/ 2147483646 h 924"/>
                <a:gd name="T18" fmla="*/ 2147483646 w 356"/>
                <a:gd name="T19" fmla="*/ 2147483646 h 924"/>
                <a:gd name="T20" fmla="*/ 2147483646 w 356"/>
                <a:gd name="T21" fmla="*/ 2147483646 h 9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6"/>
                <a:gd name="T34" fmla="*/ 0 h 924"/>
                <a:gd name="T35" fmla="*/ 356 w 356"/>
                <a:gd name="T36" fmla="*/ 924 h 9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6" h="924">
                  <a:moveTo>
                    <a:pt x="34" y="924"/>
                  </a:moveTo>
                  <a:lnTo>
                    <a:pt x="34" y="924"/>
                  </a:lnTo>
                  <a:cubicBezTo>
                    <a:pt x="15" y="924"/>
                    <a:pt x="0" y="909"/>
                    <a:pt x="0" y="891"/>
                  </a:cubicBezTo>
                  <a:lnTo>
                    <a:pt x="0" y="34"/>
                  </a:lnTo>
                  <a:cubicBezTo>
                    <a:pt x="0" y="15"/>
                    <a:pt x="15" y="0"/>
                    <a:pt x="34" y="0"/>
                  </a:cubicBezTo>
                  <a:lnTo>
                    <a:pt x="323" y="0"/>
                  </a:lnTo>
                  <a:cubicBezTo>
                    <a:pt x="341" y="0"/>
                    <a:pt x="356" y="15"/>
                    <a:pt x="356" y="34"/>
                  </a:cubicBezTo>
                  <a:cubicBezTo>
                    <a:pt x="356" y="52"/>
                    <a:pt x="341" y="67"/>
                    <a:pt x="323" y="67"/>
                  </a:cubicBezTo>
                  <a:lnTo>
                    <a:pt x="67" y="67"/>
                  </a:lnTo>
                  <a:lnTo>
                    <a:pt x="67" y="891"/>
                  </a:lnTo>
                  <a:cubicBezTo>
                    <a:pt x="67" y="909"/>
                    <a:pt x="52" y="924"/>
                    <a:pt x="34" y="924"/>
                  </a:cubicBezTo>
                  <a:close/>
                </a:path>
              </a:pathLst>
            </a:custGeom>
            <a:grpFill/>
            <a:ln w="0">
              <a:noFill/>
              <a:round/>
              <a:headEnd/>
              <a:tailEnd/>
            </a:ln>
          </p:spPr>
          <p:txBody>
            <a:bodyPr/>
            <a:lstStyle/>
            <a:p>
              <a:endParaRPr lang="zh-CN" altLang="en-US"/>
            </a:p>
          </p:txBody>
        </p:sp>
        <p:sp>
          <p:nvSpPr>
            <p:cNvPr id="367" name="Freeform 36"/>
            <p:cNvSpPr>
              <a:spLocks/>
            </p:cNvSpPr>
            <p:nvPr/>
          </p:nvSpPr>
          <p:spPr bwMode="auto">
            <a:xfrm>
              <a:off x="1295400" y="2989263"/>
              <a:ext cx="23813" cy="460375"/>
            </a:xfrm>
            <a:custGeom>
              <a:avLst/>
              <a:gdLst>
                <a:gd name="T0" fmla="*/ 2147483646 w 53"/>
                <a:gd name="T1" fmla="*/ 2147483646 h 978"/>
                <a:gd name="T2" fmla="*/ 2147483646 w 53"/>
                <a:gd name="T3" fmla="*/ 2147483646 h 978"/>
                <a:gd name="T4" fmla="*/ 0 w 53"/>
                <a:gd name="T5" fmla="*/ 2147483646 h 978"/>
                <a:gd name="T6" fmla="*/ 0 w 53"/>
                <a:gd name="T7" fmla="*/ 2147483646 h 978"/>
                <a:gd name="T8" fmla="*/ 2147483646 w 53"/>
                <a:gd name="T9" fmla="*/ 0 h 978"/>
                <a:gd name="T10" fmla="*/ 2147483646 w 53"/>
                <a:gd name="T11" fmla="*/ 2147483646 h 978"/>
                <a:gd name="T12" fmla="*/ 2147483646 w 53"/>
                <a:gd name="T13" fmla="*/ 2147483646 h 978"/>
                <a:gd name="T14" fmla="*/ 2147483646 w 53"/>
                <a:gd name="T15" fmla="*/ 2147483646 h 978"/>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978"/>
                <a:gd name="T26" fmla="*/ 53 w 53"/>
                <a:gd name="T27" fmla="*/ 978 h 9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978">
                  <a:moveTo>
                    <a:pt x="26" y="978"/>
                  </a:moveTo>
                  <a:lnTo>
                    <a:pt x="26" y="978"/>
                  </a:lnTo>
                  <a:cubicBezTo>
                    <a:pt x="12" y="978"/>
                    <a:pt x="0" y="966"/>
                    <a:pt x="0" y="951"/>
                  </a:cubicBezTo>
                  <a:lnTo>
                    <a:pt x="0" y="27"/>
                  </a:lnTo>
                  <a:cubicBezTo>
                    <a:pt x="0" y="12"/>
                    <a:pt x="12" y="0"/>
                    <a:pt x="26" y="0"/>
                  </a:cubicBezTo>
                  <a:cubicBezTo>
                    <a:pt x="41" y="0"/>
                    <a:pt x="53" y="12"/>
                    <a:pt x="53" y="27"/>
                  </a:cubicBezTo>
                  <a:lnTo>
                    <a:pt x="53" y="951"/>
                  </a:lnTo>
                  <a:cubicBezTo>
                    <a:pt x="53" y="966"/>
                    <a:pt x="41" y="978"/>
                    <a:pt x="26" y="978"/>
                  </a:cubicBezTo>
                  <a:close/>
                </a:path>
              </a:pathLst>
            </a:custGeom>
            <a:grpFill/>
            <a:ln w="0">
              <a:noFill/>
              <a:round/>
              <a:headEnd/>
              <a:tailEnd/>
            </a:ln>
          </p:spPr>
          <p:txBody>
            <a:bodyPr/>
            <a:lstStyle/>
            <a:p>
              <a:endParaRPr lang="zh-CN" altLang="en-US"/>
            </a:p>
          </p:txBody>
        </p:sp>
        <p:sp>
          <p:nvSpPr>
            <p:cNvPr id="368" name="Freeform 37"/>
            <p:cNvSpPr>
              <a:spLocks noEditPoints="1"/>
            </p:cNvSpPr>
            <p:nvPr/>
          </p:nvSpPr>
          <p:spPr bwMode="auto">
            <a:xfrm>
              <a:off x="958850" y="2971801"/>
              <a:ext cx="74613" cy="84138"/>
            </a:xfrm>
            <a:custGeom>
              <a:avLst/>
              <a:gdLst>
                <a:gd name="T0" fmla="*/ 2147483646 w 158"/>
                <a:gd name="T1" fmla="*/ 2147483646 h 180"/>
                <a:gd name="T2" fmla="*/ 2147483646 w 158"/>
                <a:gd name="T3" fmla="*/ 2147483646 h 180"/>
                <a:gd name="T4" fmla="*/ 2147483646 w 158"/>
                <a:gd name="T5" fmla="*/ 2147483646 h 180"/>
                <a:gd name="T6" fmla="*/ 2147483646 w 158"/>
                <a:gd name="T7" fmla="*/ 2147483646 h 180"/>
                <a:gd name="T8" fmla="*/ 2147483646 w 158"/>
                <a:gd name="T9" fmla="*/ 2147483646 h 180"/>
                <a:gd name="T10" fmla="*/ 2147483646 w 158"/>
                <a:gd name="T11" fmla="*/ 2147483646 h 180"/>
                <a:gd name="T12" fmla="*/ 2147483646 w 158"/>
                <a:gd name="T13" fmla="*/ 2147483646 h 180"/>
                <a:gd name="T14" fmla="*/ 2147483646 w 158"/>
                <a:gd name="T15" fmla="*/ 2147483646 h 180"/>
                <a:gd name="T16" fmla="*/ 2147483646 w 158"/>
                <a:gd name="T17" fmla="*/ 2147483646 h 180"/>
                <a:gd name="T18" fmla="*/ 2147483646 w 158"/>
                <a:gd name="T19" fmla="*/ 2147483646 h 180"/>
                <a:gd name="T20" fmla="*/ 2147483646 w 158"/>
                <a:gd name="T21" fmla="*/ 2147483646 h 180"/>
                <a:gd name="T22" fmla="*/ 2147483646 w 158"/>
                <a:gd name="T23" fmla="*/ 2147483646 h 180"/>
                <a:gd name="T24" fmla="*/ 2147483646 w 158"/>
                <a:gd name="T25" fmla="*/ 2147483646 h 180"/>
                <a:gd name="T26" fmla="*/ 2147483646 w 158"/>
                <a:gd name="T27" fmla="*/ 2147483646 h 180"/>
                <a:gd name="T28" fmla="*/ 0 w 158"/>
                <a:gd name="T29" fmla="*/ 2147483646 h 180"/>
                <a:gd name="T30" fmla="*/ 0 w 158"/>
                <a:gd name="T31" fmla="*/ 2147483646 h 180"/>
                <a:gd name="T32" fmla="*/ 2147483646 w 158"/>
                <a:gd name="T33" fmla="*/ 0 h 180"/>
                <a:gd name="T34" fmla="*/ 2147483646 w 158"/>
                <a:gd name="T35" fmla="*/ 0 h 180"/>
                <a:gd name="T36" fmla="*/ 2147483646 w 158"/>
                <a:gd name="T37" fmla="*/ 2147483646 h 180"/>
                <a:gd name="T38" fmla="*/ 2147483646 w 158"/>
                <a:gd name="T39" fmla="*/ 2147483646 h 180"/>
                <a:gd name="T40" fmla="*/ 2147483646 w 158"/>
                <a:gd name="T41" fmla="*/ 2147483646 h 180"/>
                <a:gd name="T42" fmla="*/ 2147483646 w 158"/>
                <a:gd name="T43" fmla="*/ 2147483646 h 180"/>
                <a:gd name="T44" fmla="*/ 2147483646 w 158"/>
                <a:gd name="T45" fmla="*/ 2147483646 h 1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8"/>
                <a:gd name="T70" fmla="*/ 0 h 180"/>
                <a:gd name="T71" fmla="*/ 158 w 158"/>
                <a:gd name="T72" fmla="*/ 180 h 1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8" h="180">
                  <a:moveTo>
                    <a:pt x="29" y="141"/>
                  </a:moveTo>
                  <a:lnTo>
                    <a:pt x="29" y="141"/>
                  </a:lnTo>
                  <a:lnTo>
                    <a:pt x="129" y="153"/>
                  </a:lnTo>
                  <a:cubicBezTo>
                    <a:pt x="130" y="152"/>
                    <a:pt x="131" y="149"/>
                    <a:pt x="131" y="145"/>
                  </a:cubicBezTo>
                  <a:lnTo>
                    <a:pt x="131" y="62"/>
                  </a:lnTo>
                  <a:cubicBezTo>
                    <a:pt x="131" y="56"/>
                    <a:pt x="129" y="52"/>
                    <a:pt x="128" y="52"/>
                  </a:cubicBezTo>
                  <a:lnTo>
                    <a:pt x="28" y="27"/>
                  </a:lnTo>
                  <a:cubicBezTo>
                    <a:pt x="27" y="29"/>
                    <a:pt x="26" y="32"/>
                    <a:pt x="26" y="37"/>
                  </a:cubicBezTo>
                  <a:lnTo>
                    <a:pt x="26" y="130"/>
                  </a:lnTo>
                  <a:cubicBezTo>
                    <a:pt x="26" y="136"/>
                    <a:pt x="28" y="140"/>
                    <a:pt x="29" y="141"/>
                  </a:cubicBezTo>
                  <a:close/>
                  <a:moveTo>
                    <a:pt x="130" y="180"/>
                  </a:moveTo>
                  <a:lnTo>
                    <a:pt x="130" y="180"/>
                  </a:lnTo>
                  <a:lnTo>
                    <a:pt x="26" y="168"/>
                  </a:lnTo>
                  <a:cubicBezTo>
                    <a:pt x="18" y="168"/>
                    <a:pt x="10" y="163"/>
                    <a:pt x="5" y="154"/>
                  </a:cubicBezTo>
                  <a:cubicBezTo>
                    <a:pt x="1" y="147"/>
                    <a:pt x="0" y="139"/>
                    <a:pt x="0" y="130"/>
                  </a:cubicBezTo>
                  <a:lnTo>
                    <a:pt x="0" y="37"/>
                  </a:lnTo>
                  <a:cubicBezTo>
                    <a:pt x="0" y="15"/>
                    <a:pt x="11" y="0"/>
                    <a:pt x="26" y="0"/>
                  </a:cubicBezTo>
                  <a:lnTo>
                    <a:pt x="29" y="0"/>
                  </a:lnTo>
                  <a:lnTo>
                    <a:pt x="134" y="26"/>
                  </a:lnTo>
                  <a:cubicBezTo>
                    <a:pt x="147" y="28"/>
                    <a:pt x="158" y="43"/>
                    <a:pt x="158" y="62"/>
                  </a:cubicBezTo>
                  <a:lnTo>
                    <a:pt x="158" y="145"/>
                  </a:lnTo>
                  <a:cubicBezTo>
                    <a:pt x="158" y="164"/>
                    <a:pt x="147" y="179"/>
                    <a:pt x="132" y="180"/>
                  </a:cubicBezTo>
                  <a:lnTo>
                    <a:pt x="130" y="180"/>
                  </a:lnTo>
                  <a:close/>
                </a:path>
              </a:pathLst>
            </a:custGeom>
            <a:grpFill/>
            <a:ln w="0">
              <a:noFill/>
              <a:round/>
              <a:headEnd/>
              <a:tailEnd/>
            </a:ln>
          </p:spPr>
          <p:txBody>
            <a:bodyPr/>
            <a:lstStyle/>
            <a:p>
              <a:endParaRPr lang="zh-CN" altLang="en-US"/>
            </a:p>
          </p:txBody>
        </p:sp>
        <p:sp>
          <p:nvSpPr>
            <p:cNvPr id="369" name="Freeform 38"/>
            <p:cNvSpPr>
              <a:spLocks noEditPoints="1"/>
            </p:cNvSpPr>
            <p:nvPr/>
          </p:nvSpPr>
          <p:spPr bwMode="auto">
            <a:xfrm>
              <a:off x="1085850" y="3001963"/>
              <a:ext cx="61913" cy="73025"/>
            </a:xfrm>
            <a:custGeom>
              <a:avLst/>
              <a:gdLst>
                <a:gd name="T0" fmla="*/ 2147483646 w 131"/>
                <a:gd name="T1" fmla="*/ 2147483646 h 154"/>
                <a:gd name="T2" fmla="*/ 2147483646 w 131"/>
                <a:gd name="T3" fmla="*/ 2147483646 h 154"/>
                <a:gd name="T4" fmla="*/ 2147483646 w 131"/>
                <a:gd name="T5" fmla="*/ 2147483646 h 154"/>
                <a:gd name="T6" fmla="*/ 2147483646 w 131"/>
                <a:gd name="T7" fmla="*/ 2147483646 h 154"/>
                <a:gd name="T8" fmla="*/ 2147483646 w 131"/>
                <a:gd name="T9" fmla="*/ 2147483646 h 154"/>
                <a:gd name="T10" fmla="*/ 2147483646 w 131"/>
                <a:gd name="T11" fmla="*/ 2147483646 h 154"/>
                <a:gd name="T12" fmla="*/ 2147483646 w 131"/>
                <a:gd name="T13" fmla="*/ 2147483646 h 154"/>
                <a:gd name="T14" fmla="*/ 2147483646 w 131"/>
                <a:gd name="T15" fmla="*/ 2147483646 h 154"/>
                <a:gd name="T16" fmla="*/ 2147483646 w 131"/>
                <a:gd name="T17" fmla="*/ 2147483646 h 154"/>
                <a:gd name="T18" fmla="*/ 2147483646 w 131"/>
                <a:gd name="T19" fmla="*/ 2147483646 h 154"/>
                <a:gd name="T20" fmla="*/ 2147483646 w 131"/>
                <a:gd name="T21" fmla="*/ 2147483646 h 154"/>
                <a:gd name="T22" fmla="*/ 2147483646 w 131"/>
                <a:gd name="T23" fmla="*/ 2147483646 h 154"/>
                <a:gd name="T24" fmla="*/ 2147483646 w 131"/>
                <a:gd name="T25" fmla="*/ 2147483646 h 154"/>
                <a:gd name="T26" fmla="*/ 2147483646 w 131"/>
                <a:gd name="T27" fmla="*/ 2147483646 h 154"/>
                <a:gd name="T28" fmla="*/ 2147483646 w 131"/>
                <a:gd name="T29" fmla="*/ 2147483646 h 154"/>
                <a:gd name="T30" fmla="*/ 2147483646 w 131"/>
                <a:gd name="T31" fmla="*/ 2147483646 h 154"/>
                <a:gd name="T32" fmla="*/ 0 w 131"/>
                <a:gd name="T33" fmla="*/ 2147483646 h 154"/>
                <a:gd name="T34" fmla="*/ 0 w 131"/>
                <a:gd name="T35" fmla="*/ 2147483646 h 154"/>
                <a:gd name="T36" fmla="*/ 2147483646 w 131"/>
                <a:gd name="T37" fmla="*/ 0 h 154"/>
                <a:gd name="T38" fmla="*/ 2147483646 w 131"/>
                <a:gd name="T39" fmla="*/ 0 h 154"/>
                <a:gd name="T40" fmla="*/ 2147483646 w 131"/>
                <a:gd name="T41" fmla="*/ 2147483646 h 154"/>
                <a:gd name="T42" fmla="*/ 2147483646 w 131"/>
                <a:gd name="T43" fmla="*/ 2147483646 h 154"/>
                <a:gd name="T44" fmla="*/ 2147483646 w 131"/>
                <a:gd name="T45" fmla="*/ 2147483646 h 154"/>
                <a:gd name="T46" fmla="*/ 2147483646 w 131"/>
                <a:gd name="T47" fmla="*/ 2147483646 h 154"/>
                <a:gd name="T48" fmla="*/ 2147483646 w 131"/>
                <a:gd name="T49" fmla="*/ 2147483646 h 1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1"/>
                <a:gd name="T76" fmla="*/ 0 h 154"/>
                <a:gd name="T77" fmla="*/ 131 w 131"/>
                <a:gd name="T78" fmla="*/ 154 h 1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1" h="154">
                  <a:moveTo>
                    <a:pt x="29" y="116"/>
                  </a:moveTo>
                  <a:lnTo>
                    <a:pt x="29" y="116"/>
                  </a:lnTo>
                  <a:lnTo>
                    <a:pt x="103" y="127"/>
                  </a:lnTo>
                  <a:cubicBezTo>
                    <a:pt x="104" y="126"/>
                    <a:pt x="105" y="124"/>
                    <a:pt x="105" y="121"/>
                  </a:cubicBezTo>
                  <a:lnTo>
                    <a:pt x="105" y="57"/>
                  </a:lnTo>
                  <a:cubicBezTo>
                    <a:pt x="105" y="53"/>
                    <a:pt x="103" y="50"/>
                    <a:pt x="102" y="50"/>
                  </a:cubicBezTo>
                  <a:lnTo>
                    <a:pt x="100" y="49"/>
                  </a:lnTo>
                  <a:lnTo>
                    <a:pt x="28" y="27"/>
                  </a:lnTo>
                  <a:cubicBezTo>
                    <a:pt x="27" y="29"/>
                    <a:pt x="27" y="31"/>
                    <a:pt x="27" y="35"/>
                  </a:cubicBezTo>
                  <a:lnTo>
                    <a:pt x="27" y="107"/>
                  </a:lnTo>
                  <a:cubicBezTo>
                    <a:pt x="27" y="112"/>
                    <a:pt x="28" y="115"/>
                    <a:pt x="29" y="116"/>
                  </a:cubicBezTo>
                  <a:close/>
                  <a:moveTo>
                    <a:pt x="104" y="154"/>
                  </a:moveTo>
                  <a:lnTo>
                    <a:pt x="104" y="154"/>
                  </a:lnTo>
                  <a:lnTo>
                    <a:pt x="25" y="143"/>
                  </a:lnTo>
                  <a:cubicBezTo>
                    <a:pt x="17" y="142"/>
                    <a:pt x="10" y="137"/>
                    <a:pt x="6" y="130"/>
                  </a:cubicBezTo>
                  <a:cubicBezTo>
                    <a:pt x="2" y="124"/>
                    <a:pt x="0" y="115"/>
                    <a:pt x="0" y="107"/>
                  </a:cubicBezTo>
                  <a:lnTo>
                    <a:pt x="0" y="35"/>
                  </a:lnTo>
                  <a:cubicBezTo>
                    <a:pt x="0" y="14"/>
                    <a:pt x="11" y="0"/>
                    <a:pt x="26" y="0"/>
                  </a:cubicBezTo>
                  <a:lnTo>
                    <a:pt x="31" y="0"/>
                  </a:lnTo>
                  <a:lnTo>
                    <a:pt x="107" y="23"/>
                  </a:lnTo>
                  <a:cubicBezTo>
                    <a:pt x="121" y="26"/>
                    <a:pt x="131" y="40"/>
                    <a:pt x="131" y="57"/>
                  </a:cubicBezTo>
                  <a:lnTo>
                    <a:pt x="131" y="121"/>
                  </a:lnTo>
                  <a:cubicBezTo>
                    <a:pt x="131" y="139"/>
                    <a:pt x="120" y="153"/>
                    <a:pt x="105" y="154"/>
                  </a:cubicBezTo>
                  <a:lnTo>
                    <a:pt x="104" y="154"/>
                  </a:lnTo>
                  <a:close/>
                </a:path>
              </a:pathLst>
            </a:custGeom>
            <a:grpFill/>
            <a:ln w="0">
              <a:noFill/>
              <a:round/>
              <a:headEnd/>
              <a:tailEnd/>
            </a:ln>
          </p:spPr>
          <p:txBody>
            <a:bodyPr/>
            <a:lstStyle/>
            <a:p>
              <a:endParaRPr lang="zh-CN" altLang="en-US"/>
            </a:p>
          </p:txBody>
        </p:sp>
        <p:sp>
          <p:nvSpPr>
            <p:cNvPr id="370" name="Freeform 39"/>
            <p:cNvSpPr>
              <a:spLocks noEditPoints="1"/>
            </p:cNvSpPr>
            <p:nvPr/>
          </p:nvSpPr>
          <p:spPr bwMode="auto">
            <a:xfrm>
              <a:off x="958850" y="3105151"/>
              <a:ext cx="74613" cy="79375"/>
            </a:xfrm>
            <a:custGeom>
              <a:avLst/>
              <a:gdLst>
                <a:gd name="T0" fmla="*/ 2147483646 w 158"/>
                <a:gd name="T1" fmla="*/ 2147483646 h 169"/>
                <a:gd name="T2" fmla="*/ 2147483646 w 158"/>
                <a:gd name="T3" fmla="*/ 2147483646 h 169"/>
                <a:gd name="T4" fmla="*/ 2147483646 w 158"/>
                <a:gd name="T5" fmla="*/ 2147483646 h 169"/>
                <a:gd name="T6" fmla="*/ 2147483646 w 158"/>
                <a:gd name="T7" fmla="*/ 2147483646 h 169"/>
                <a:gd name="T8" fmla="*/ 2147483646 w 158"/>
                <a:gd name="T9" fmla="*/ 2147483646 h 169"/>
                <a:gd name="T10" fmla="*/ 2147483646 w 158"/>
                <a:gd name="T11" fmla="*/ 2147483646 h 169"/>
                <a:gd name="T12" fmla="*/ 2147483646 w 158"/>
                <a:gd name="T13" fmla="*/ 2147483646 h 169"/>
                <a:gd name="T14" fmla="*/ 2147483646 w 158"/>
                <a:gd name="T15" fmla="*/ 2147483646 h 169"/>
                <a:gd name="T16" fmla="*/ 2147483646 w 158"/>
                <a:gd name="T17" fmla="*/ 2147483646 h 169"/>
                <a:gd name="T18" fmla="*/ 2147483646 w 158"/>
                <a:gd name="T19" fmla="*/ 2147483646 h 169"/>
                <a:gd name="T20" fmla="*/ 2147483646 w 158"/>
                <a:gd name="T21" fmla="*/ 2147483646 h 169"/>
                <a:gd name="T22" fmla="*/ 2147483646 w 158"/>
                <a:gd name="T23" fmla="*/ 2147483646 h 169"/>
                <a:gd name="T24" fmla="*/ 0 w 158"/>
                <a:gd name="T25" fmla="*/ 2147483646 h 169"/>
                <a:gd name="T26" fmla="*/ 0 w 158"/>
                <a:gd name="T27" fmla="*/ 2147483646 h 169"/>
                <a:gd name="T28" fmla="*/ 2147483646 w 158"/>
                <a:gd name="T29" fmla="*/ 0 h 169"/>
                <a:gd name="T30" fmla="*/ 2147483646 w 158"/>
                <a:gd name="T31" fmla="*/ 0 h 169"/>
                <a:gd name="T32" fmla="*/ 2147483646 w 158"/>
                <a:gd name="T33" fmla="*/ 2147483646 h 169"/>
                <a:gd name="T34" fmla="*/ 2147483646 w 158"/>
                <a:gd name="T35" fmla="*/ 2147483646 h 169"/>
                <a:gd name="T36" fmla="*/ 2147483646 w 158"/>
                <a:gd name="T37" fmla="*/ 2147483646 h 169"/>
                <a:gd name="T38" fmla="*/ 2147483646 w 158"/>
                <a:gd name="T39" fmla="*/ 2147483646 h 169"/>
                <a:gd name="T40" fmla="*/ 2147483646 w 158"/>
                <a:gd name="T41" fmla="*/ 2147483646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8"/>
                <a:gd name="T64" fmla="*/ 0 h 169"/>
                <a:gd name="T65" fmla="*/ 158 w 158"/>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8" h="169">
                  <a:moveTo>
                    <a:pt x="28" y="27"/>
                  </a:moveTo>
                  <a:lnTo>
                    <a:pt x="28" y="27"/>
                  </a:lnTo>
                  <a:cubicBezTo>
                    <a:pt x="27" y="29"/>
                    <a:pt x="26" y="33"/>
                    <a:pt x="26" y="37"/>
                  </a:cubicBezTo>
                  <a:lnTo>
                    <a:pt x="26" y="130"/>
                  </a:lnTo>
                  <a:cubicBezTo>
                    <a:pt x="26" y="136"/>
                    <a:pt x="28" y="140"/>
                    <a:pt x="29" y="142"/>
                  </a:cubicBezTo>
                  <a:lnTo>
                    <a:pt x="129" y="141"/>
                  </a:lnTo>
                  <a:cubicBezTo>
                    <a:pt x="130" y="140"/>
                    <a:pt x="131" y="137"/>
                    <a:pt x="131" y="133"/>
                  </a:cubicBezTo>
                  <a:lnTo>
                    <a:pt x="131" y="46"/>
                  </a:lnTo>
                  <a:cubicBezTo>
                    <a:pt x="131" y="41"/>
                    <a:pt x="129" y="37"/>
                    <a:pt x="128" y="36"/>
                  </a:cubicBezTo>
                  <a:lnTo>
                    <a:pt x="28" y="27"/>
                  </a:lnTo>
                  <a:close/>
                  <a:moveTo>
                    <a:pt x="26" y="169"/>
                  </a:moveTo>
                  <a:lnTo>
                    <a:pt x="26" y="169"/>
                  </a:lnTo>
                  <a:cubicBezTo>
                    <a:pt x="11" y="169"/>
                    <a:pt x="0" y="152"/>
                    <a:pt x="0" y="130"/>
                  </a:cubicBezTo>
                  <a:lnTo>
                    <a:pt x="0" y="37"/>
                  </a:lnTo>
                  <a:cubicBezTo>
                    <a:pt x="0" y="16"/>
                    <a:pt x="11" y="0"/>
                    <a:pt x="26" y="0"/>
                  </a:cubicBezTo>
                  <a:lnTo>
                    <a:pt x="29" y="0"/>
                  </a:lnTo>
                  <a:lnTo>
                    <a:pt x="132" y="9"/>
                  </a:lnTo>
                  <a:cubicBezTo>
                    <a:pt x="147" y="12"/>
                    <a:pt x="158" y="27"/>
                    <a:pt x="158" y="46"/>
                  </a:cubicBezTo>
                  <a:lnTo>
                    <a:pt x="158" y="133"/>
                  </a:lnTo>
                  <a:cubicBezTo>
                    <a:pt x="158" y="152"/>
                    <a:pt x="147" y="167"/>
                    <a:pt x="132" y="168"/>
                  </a:cubicBezTo>
                  <a:lnTo>
                    <a:pt x="26" y="169"/>
                  </a:lnTo>
                  <a:close/>
                </a:path>
              </a:pathLst>
            </a:custGeom>
            <a:grpFill/>
            <a:ln w="0">
              <a:noFill/>
              <a:round/>
              <a:headEnd/>
              <a:tailEnd/>
            </a:ln>
          </p:spPr>
          <p:txBody>
            <a:bodyPr/>
            <a:lstStyle/>
            <a:p>
              <a:endParaRPr lang="zh-CN" altLang="en-US"/>
            </a:p>
          </p:txBody>
        </p:sp>
        <p:sp>
          <p:nvSpPr>
            <p:cNvPr id="371" name="Freeform 40"/>
            <p:cNvSpPr>
              <a:spLocks noEditPoints="1"/>
            </p:cNvSpPr>
            <p:nvPr/>
          </p:nvSpPr>
          <p:spPr bwMode="auto">
            <a:xfrm>
              <a:off x="1085850" y="3117851"/>
              <a:ext cx="61913" cy="69850"/>
            </a:xfrm>
            <a:custGeom>
              <a:avLst/>
              <a:gdLst>
                <a:gd name="T0" fmla="*/ 2147483646 w 131"/>
                <a:gd name="T1" fmla="*/ 2147483646 h 147"/>
                <a:gd name="T2" fmla="*/ 2147483646 w 131"/>
                <a:gd name="T3" fmla="*/ 2147483646 h 147"/>
                <a:gd name="T4" fmla="*/ 2147483646 w 131"/>
                <a:gd name="T5" fmla="*/ 2147483646 h 147"/>
                <a:gd name="T6" fmla="*/ 2147483646 w 131"/>
                <a:gd name="T7" fmla="*/ 2147483646 h 147"/>
                <a:gd name="T8" fmla="*/ 2147483646 w 131"/>
                <a:gd name="T9" fmla="*/ 2147483646 h 147"/>
                <a:gd name="T10" fmla="*/ 2147483646 w 131"/>
                <a:gd name="T11" fmla="*/ 2147483646 h 147"/>
                <a:gd name="T12" fmla="*/ 2147483646 w 131"/>
                <a:gd name="T13" fmla="*/ 2147483646 h 147"/>
                <a:gd name="T14" fmla="*/ 2147483646 w 131"/>
                <a:gd name="T15" fmla="*/ 2147483646 h 147"/>
                <a:gd name="T16" fmla="*/ 2147483646 w 131"/>
                <a:gd name="T17" fmla="*/ 2147483646 h 147"/>
                <a:gd name="T18" fmla="*/ 2147483646 w 131"/>
                <a:gd name="T19" fmla="*/ 2147483646 h 147"/>
                <a:gd name="T20" fmla="*/ 2147483646 w 131"/>
                <a:gd name="T21" fmla="*/ 2147483646 h 147"/>
                <a:gd name="T22" fmla="*/ 2147483646 w 131"/>
                <a:gd name="T23" fmla="*/ 2147483646 h 147"/>
                <a:gd name="T24" fmla="*/ 0 w 131"/>
                <a:gd name="T25" fmla="*/ 2147483646 h 147"/>
                <a:gd name="T26" fmla="*/ 0 w 131"/>
                <a:gd name="T27" fmla="*/ 2147483646 h 147"/>
                <a:gd name="T28" fmla="*/ 2147483646 w 131"/>
                <a:gd name="T29" fmla="*/ 0 h 147"/>
                <a:gd name="T30" fmla="*/ 2147483646 w 131"/>
                <a:gd name="T31" fmla="*/ 0 h 147"/>
                <a:gd name="T32" fmla="*/ 2147483646 w 131"/>
                <a:gd name="T33" fmla="*/ 2147483646 h 147"/>
                <a:gd name="T34" fmla="*/ 2147483646 w 131"/>
                <a:gd name="T35" fmla="*/ 2147483646 h 147"/>
                <a:gd name="T36" fmla="*/ 2147483646 w 131"/>
                <a:gd name="T37" fmla="*/ 2147483646 h 147"/>
                <a:gd name="T38" fmla="*/ 2147483646 w 131"/>
                <a:gd name="T39" fmla="*/ 2147483646 h 147"/>
                <a:gd name="T40" fmla="*/ 2147483646 w 131"/>
                <a:gd name="T41" fmla="*/ 2147483646 h 1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47"/>
                <a:gd name="T65" fmla="*/ 131 w 131"/>
                <a:gd name="T66" fmla="*/ 147 h 1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47">
                  <a:moveTo>
                    <a:pt x="28" y="27"/>
                  </a:moveTo>
                  <a:lnTo>
                    <a:pt x="28" y="27"/>
                  </a:lnTo>
                  <a:cubicBezTo>
                    <a:pt x="27" y="28"/>
                    <a:pt x="27" y="31"/>
                    <a:pt x="27" y="34"/>
                  </a:cubicBezTo>
                  <a:lnTo>
                    <a:pt x="27" y="112"/>
                  </a:lnTo>
                  <a:cubicBezTo>
                    <a:pt x="27" y="116"/>
                    <a:pt x="28" y="119"/>
                    <a:pt x="28" y="120"/>
                  </a:cubicBezTo>
                  <a:lnTo>
                    <a:pt x="104" y="119"/>
                  </a:lnTo>
                  <a:cubicBezTo>
                    <a:pt x="103" y="119"/>
                    <a:pt x="105" y="117"/>
                    <a:pt x="105" y="114"/>
                  </a:cubicBezTo>
                  <a:lnTo>
                    <a:pt x="105" y="46"/>
                  </a:lnTo>
                  <a:cubicBezTo>
                    <a:pt x="105" y="42"/>
                    <a:pt x="103" y="40"/>
                    <a:pt x="102" y="39"/>
                  </a:cubicBezTo>
                  <a:lnTo>
                    <a:pt x="28" y="27"/>
                  </a:lnTo>
                  <a:close/>
                  <a:moveTo>
                    <a:pt x="27" y="147"/>
                  </a:moveTo>
                  <a:lnTo>
                    <a:pt x="27" y="147"/>
                  </a:lnTo>
                  <a:cubicBezTo>
                    <a:pt x="11" y="147"/>
                    <a:pt x="0" y="132"/>
                    <a:pt x="0" y="112"/>
                  </a:cubicBezTo>
                  <a:lnTo>
                    <a:pt x="0" y="34"/>
                  </a:lnTo>
                  <a:cubicBezTo>
                    <a:pt x="0" y="15"/>
                    <a:pt x="11" y="0"/>
                    <a:pt x="26" y="0"/>
                  </a:cubicBezTo>
                  <a:lnTo>
                    <a:pt x="29" y="0"/>
                  </a:lnTo>
                  <a:lnTo>
                    <a:pt x="106" y="13"/>
                  </a:lnTo>
                  <a:cubicBezTo>
                    <a:pt x="120" y="15"/>
                    <a:pt x="131" y="29"/>
                    <a:pt x="131" y="46"/>
                  </a:cubicBezTo>
                  <a:lnTo>
                    <a:pt x="131" y="114"/>
                  </a:lnTo>
                  <a:cubicBezTo>
                    <a:pt x="131" y="131"/>
                    <a:pt x="120" y="145"/>
                    <a:pt x="105" y="146"/>
                  </a:cubicBezTo>
                  <a:lnTo>
                    <a:pt x="27" y="147"/>
                  </a:lnTo>
                  <a:close/>
                </a:path>
              </a:pathLst>
            </a:custGeom>
            <a:grpFill/>
            <a:ln w="0">
              <a:noFill/>
              <a:round/>
              <a:headEnd/>
              <a:tailEnd/>
            </a:ln>
          </p:spPr>
          <p:txBody>
            <a:bodyPr/>
            <a:lstStyle/>
            <a:p>
              <a:endParaRPr lang="zh-CN" altLang="en-US"/>
            </a:p>
          </p:txBody>
        </p:sp>
        <p:sp>
          <p:nvSpPr>
            <p:cNvPr id="372" name="Freeform 41"/>
            <p:cNvSpPr>
              <a:spLocks noEditPoints="1"/>
            </p:cNvSpPr>
            <p:nvPr/>
          </p:nvSpPr>
          <p:spPr bwMode="auto">
            <a:xfrm>
              <a:off x="958850" y="3241676"/>
              <a:ext cx="74613" cy="79375"/>
            </a:xfrm>
            <a:custGeom>
              <a:avLst/>
              <a:gdLst>
                <a:gd name="T0" fmla="*/ 2147483646 w 158"/>
                <a:gd name="T1" fmla="*/ 2147483646 h 169"/>
                <a:gd name="T2" fmla="*/ 2147483646 w 158"/>
                <a:gd name="T3" fmla="*/ 2147483646 h 169"/>
                <a:gd name="T4" fmla="*/ 2147483646 w 158"/>
                <a:gd name="T5" fmla="*/ 2147483646 h 169"/>
                <a:gd name="T6" fmla="*/ 2147483646 w 158"/>
                <a:gd name="T7" fmla="*/ 2147483646 h 169"/>
                <a:gd name="T8" fmla="*/ 2147483646 w 158"/>
                <a:gd name="T9" fmla="*/ 2147483646 h 169"/>
                <a:gd name="T10" fmla="*/ 2147483646 w 158"/>
                <a:gd name="T11" fmla="*/ 2147483646 h 169"/>
                <a:gd name="T12" fmla="*/ 2147483646 w 158"/>
                <a:gd name="T13" fmla="*/ 2147483646 h 169"/>
                <a:gd name="T14" fmla="*/ 2147483646 w 158"/>
                <a:gd name="T15" fmla="*/ 2147483646 h 169"/>
                <a:gd name="T16" fmla="*/ 2147483646 w 158"/>
                <a:gd name="T17" fmla="*/ 2147483646 h 169"/>
                <a:gd name="T18" fmla="*/ 2147483646 w 158"/>
                <a:gd name="T19" fmla="*/ 2147483646 h 169"/>
                <a:gd name="T20" fmla="*/ 2147483646 w 158"/>
                <a:gd name="T21" fmla="*/ 2147483646 h 169"/>
                <a:gd name="T22" fmla="*/ 2147483646 w 158"/>
                <a:gd name="T23" fmla="*/ 2147483646 h 169"/>
                <a:gd name="T24" fmla="*/ 0 w 158"/>
                <a:gd name="T25" fmla="*/ 2147483646 h 169"/>
                <a:gd name="T26" fmla="*/ 0 w 158"/>
                <a:gd name="T27" fmla="*/ 2147483646 h 169"/>
                <a:gd name="T28" fmla="*/ 2147483646 w 158"/>
                <a:gd name="T29" fmla="*/ 0 h 169"/>
                <a:gd name="T30" fmla="*/ 2147483646 w 158"/>
                <a:gd name="T31" fmla="*/ 0 h 169"/>
                <a:gd name="T32" fmla="*/ 2147483646 w 158"/>
                <a:gd name="T33" fmla="*/ 2147483646 h 169"/>
                <a:gd name="T34" fmla="*/ 2147483646 w 158"/>
                <a:gd name="T35" fmla="*/ 2147483646 h 169"/>
                <a:gd name="T36" fmla="*/ 2147483646 w 158"/>
                <a:gd name="T37" fmla="*/ 2147483646 h 169"/>
                <a:gd name="T38" fmla="*/ 2147483646 w 158"/>
                <a:gd name="T39" fmla="*/ 2147483646 h 169"/>
                <a:gd name="T40" fmla="*/ 2147483646 w 158"/>
                <a:gd name="T41" fmla="*/ 2147483646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8"/>
                <a:gd name="T64" fmla="*/ 0 h 169"/>
                <a:gd name="T65" fmla="*/ 158 w 158"/>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8" h="169">
                  <a:moveTo>
                    <a:pt x="28" y="27"/>
                  </a:moveTo>
                  <a:lnTo>
                    <a:pt x="28" y="27"/>
                  </a:lnTo>
                  <a:cubicBezTo>
                    <a:pt x="27" y="29"/>
                    <a:pt x="26" y="32"/>
                    <a:pt x="26" y="38"/>
                  </a:cubicBezTo>
                  <a:lnTo>
                    <a:pt x="26" y="130"/>
                  </a:lnTo>
                  <a:cubicBezTo>
                    <a:pt x="26" y="136"/>
                    <a:pt x="27" y="140"/>
                    <a:pt x="29" y="142"/>
                  </a:cubicBezTo>
                  <a:lnTo>
                    <a:pt x="129" y="134"/>
                  </a:lnTo>
                  <a:cubicBezTo>
                    <a:pt x="130" y="133"/>
                    <a:pt x="131" y="130"/>
                    <a:pt x="131" y="126"/>
                  </a:cubicBezTo>
                  <a:lnTo>
                    <a:pt x="131" y="39"/>
                  </a:lnTo>
                  <a:cubicBezTo>
                    <a:pt x="131" y="34"/>
                    <a:pt x="129" y="31"/>
                    <a:pt x="128" y="29"/>
                  </a:cubicBezTo>
                  <a:lnTo>
                    <a:pt x="28" y="27"/>
                  </a:lnTo>
                  <a:close/>
                  <a:moveTo>
                    <a:pt x="26" y="169"/>
                  </a:moveTo>
                  <a:lnTo>
                    <a:pt x="26" y="169"/>
                  </a:lnTo>
                  <a:cubicBezTo>
                    <a:pt x="11" y="169"/>
                    <a:pt x="0" y="153"/>
                    <a:pt x="0" y="130"/>
                  </a:cubicBezTo>
                  <a:lnTo>
                    <a:pt x="0" y="38"/>
                  </a:lnTo>
                  <a:cubicBezTo>
                    <a:pt x="0" y="16"/>
                    <a:pt x="11" y="0"/>
                    <a:pt x="26" y="0"/>
                  </a:cubicBezTo>
                  <a:lnTo>
                    <a:pt x="28" y="0"/>
                  </a:lnTo>
                  <a:lnTo>
                    <a:pt x="133" y="3"/>
                  </a:lnTo>
                  <a:cubicBezTo>
                    <a:pt x="147" y="5"/>
                    <a:pt x="158" y="20"/>
                    <a:pt x="158" y="39"/>
                  </a:cubicBezTo>
                  <a:lnTo>
                    <a:pt x="158" y="126"/>
                  </a:lnTo>
                  <a:cubicBezTo>
                    <a:pt x="158" y="145"/>
                    <a:pt x="147" y="160"/>
                    <a:pt x="132" y="161"/>
                  </a:cubicBezTo>
                  <a:lnTo>
                    <a:pt x="26" y="169"/>
                  </a:lnTo>
                  <a:close/>
                </a:path>
              </a:pathLst>
            </a:custGeom>
            <a:grpFill/>
            <a:ln w="0">
              <a:noFill/>
              <a:round/>
              <a:headEnd/>
              <a:tailEnd/>
            </a:ln>
          </p:spPr>
          <p:txBody>
            <a:bodyPr/>
            <a:lstStyle/>
            <a:p>
              <a:endParaRPr lang="zh-CN" altLang="en-US"/>
            </a:p>
          </p:txBody>
        </p:sp>
        <p:sp>
          <p:nvSpPr>
            <p:cNvPr id="373" name="Freeform 42"/>
            <p:cNvSpPr>
              <a:spLocks noEditPoints="1"/>
            </p:cNvSpPr>
            <p:nvPr/>
          </p:nvSpPr>
          <p:spPr bwMode="auto">
            <a:xfrm>
              <a:off x="1084263" y="3240088"/>
              <a:ext cx="63500" cy="68263"/>
            </a:xfrm>
            <a:custGeom>
              <a:avLst/>
              <a:gdLst>
                <a:gd name="T0" fmla="*/ 2147483646 w 135"/>
                <a:gd name="T1" fmla="*/ 2147483646 h 144"/>
                <a:gd name="T2" fmla="*/ 2147483646 w 135"/>
                <a:gd name="T3" fmla="*/ 2147483646 h 144"/>
                <a:gd name="T4" fmla="*/ 2147483646 w 135"/>
                <a:gd name="T5" fmla="*/ 2147483646 h 144"/>
                <a:gd name="T6" fmla="*/ 2147483646 w 135"/>
                <a:gd name="T7" fmla="*/ 2147483646 h 144"/>
                <a:gd name="T8" fmla="*/ 2147483646 w 135"/>
                <a:gd name="T9" fmla="*/ 2147483646 h 144"/>
                <a:gd name="T10" fmla="*/ 2147483646 w 135"/>
                <a:gd name="T11" fmla="*/ 2147483646 h 144"/>
                <a:gd name="T12" fmla="*/ 2147483646 w 135"/>
                <a:gd name="T13" fmla="*/ 2147483646 h 144"/>
                <a:gd name="T14" fmla="*/ 2147483646 w 135"/>
                <a:gd name="T15" fmla="*/ 2147483646 h 144"/>
                <a:gd name="T16" fmla="*/ 2147483646 w 135"/>
                <a:gd name="T17" fmla="*/ 2147483646 h 144"/>
                <a:gd name="T18" fmla="*/ 2147483646 w 135"/>
                <a:gd name="T19" fmla="*/ 2147483646 h 144"/>
                <a:gd name="T20" fmla="*/ 2147483646 w 135"/>
                <a:gd name="T21" fmla="*/ 2147483646 h 144"/>
                <a:gd name="T22" fmla="*/ 2147483646 w 135"/>
                <a:gd name="T23" fmla="*/ 2147483646 h 144"/>
                <a:gd name="T24" fmla="*/ 0 w 135"/>
                <a:gd name="T25" fmla="*/ 2147483646 h 144"/>
                <a:gd name="T26" fmla="*/ 0 w 135"/>
                <a:gd name="T27" fmla="*/ 2147483646 h 144"/>
                <a:gd name="T28" fmla="*/ 2147483646 w 135"/>
                <a:gd name="T29" fmla="*/ 0 h 144"/>
                <a:gd name="T30" fmla="*/ 2147483646 w 135"/>
                <a:gd name="T31" fmla="*/ 0 h 144"/>
                <a:gd name="T32" fmla="*/ 2147483646 w 135"/>
                <a:gd name="T33" fmla="*/ 2147483646 h 144"/>
                <a:gd name="T34" fmla="*/ 2147483646 w 135"/>
                <a:gd name="T35" fmla="*/ 2147483646 h 144"/>
                <a:gd name="T36" fmla="*/ 2147483646 w 135"/>
                <a:gd name="T37" fmla="*/ 2147483646 h 144"/>
                <a:gd name="T38" fmla="*/ 2147483646 w 135"/>
                <a:gd name="T39" fmla="*/ 2147483646 h 144"/>
                <a:gd name="T40" fmla="*/ 2147483646 w 135"/>
                <a:gd name="T41" fmla="*/ 2147483646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5"/>
                <a:gd name="T64" fmla="*/ 0 h 144"/>
                <a:gd name="T65" fmla="*/ 135 w 135"/>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5" h="144">
                  <a:moveTo>
                    <a:pt x="27" y="27"/>
                  </a:moveTo>
                  <a:lnTo>
                    <a:pt x="27" y="27"/>
                  </a:lnTo>
                  <a:cubicBezTo>
                    <a:pt x="27" y="28"/>
                    <a:pt x="26" y="30"/>
                    <a:pt x="26" y="33"/>
                  </a:cubicBezTo>
                  <a:lnTo>
                    <a:pt x="26" y="110"/>
                  </a:lnTo>
                  <a:cubicBezTo>
                    <a:pt x="26" y="113"/>
                    <a:pt x="27" y="115"/>
                    <a:pt x="27" y="117"/>
                  </a:cubicBezTo>
                  <a:lnTo>
                    <a:pt x="107" y="111"/>
                  </a:lnTo>
                  <a:cubicBezTo>
                    <a:pt x="108" y="110"/>
                    <a:pt x="108" y="108"/>
                    <a:pt x="108" y="106"/>
                  </a:cubicBezTo>
                  <a:lnTo>
                    <a:pt x="108" y="34"/>
                  </a:lnTo>
                  <a:cubicBezTo>
                    <a:pt x="108" y="32"/>
                    <a:pt x="108" y="30"/>
                    <a:pt x="107" y="29"/>
                  </a:cubicBezTo>
                  <a:lnTo>
                    <a:pt x="27" y="27"/>
                  </a:lnTo>
                  <a:close/>
                  <a:moveTo>
                    <a:pt x="24" y="144"/>
                  </a:moveTo>
                  <a:lnTo>
                    <a:pt x="24" y="144"/>
                  </a:lnTo>
                  <a:cubicBezTo>
                    <a:pt x="10" y="144"/>
                    <a:pt x="0" y="129"/>
                    <a:pt x="0" y="110"/>
                  </a:cubicBezTo>
                  <a:lnTo>
                    <a:pt x="0" y="33"/>
                  </a:lnTo>
                  <a:cubicBezTo>
                    <a:pt x="0" y="14"/>
                    <a:pt x="10" y="0"/>
                    <a:pt x="24" y="0"/>
                  </a:cubicBezTo>
                  <a:lnTo>
                    <a:pt x="25" y="0"/>
                  </a:lnTo>
                  <a:lnTo>
                    <a:pt x="112" y="2"/>
                  </a:lnTo>
                  <a:cubicBezTo>
                    <a:pt x="125" y="4"/>
                    <a:pt x="135" y="18"/>
                    <a:pt x="135" y="34"/>
                  </a:cubicBezTo>
                  <a:lnTo>
                    <a:pt x="135" y="106"/>
                  </a:lnTo>
                  <a:cubicBezTo>
                    <a:pt x="135" y="123"/>
                    <a:pt x="125" y="136"/>
                    <a:pt x="111" y="137"/>
                  </a:cubicBezTo>
                  <a:lnTo>
                    <a:pt x="24" y="144"/>
                  </a:lnTo>
                  <a:close/>
                </a:path>
              </a:pathLst>
            </a:custGeom>
            <a:grpFill/>
            <a:ln w="0">
              <a:noFill/>
              <a:round/>
              <a:headEnd/>
              <a:tailEnd/>
            </a:ln>
          </p:spPr>
          <p:txBody>
            <a:bodyPr/>
            <a:lstStyle/>
            <a:p>
              <a:endParaRPr lang="zh-CN" altLang="en-US"/>
            </a:p>
          </p:txBody>
        </p:sp>
        <p:sp>
          <p:nvSpPr>
            <p:cNvPr id="374" name="Freeform 43"/>
            <p:cNvSpPr>
              <a:spLocks/>
            </p:cNvSpPr>
            <p:nvPr/>
          </p:nvSpPr>
          <p:spPr bwMode="auto">
            <a:xfrm>
              <a:off x="917575" y="3063876"/>
              <a:ext cx="390525" cy="65088"/>
            </a:xfrm>
            <a:custGeom>
              <a:avLst/>
              <a:gdLst>
                <a:gd name="T0" fmla="*/ 2147483646 w 828"/>
                <a:gd name="T1" fmla="*/ 2147483646 h 140"/>
                <a:gd name="T2" fmla="*/ 2147483646 w 828"/>
                <a:gd name="T3" fmla="*/ 2147483646 h 140"/>
                <a:gd name="T4" fmla="*/ 0 w 828"/>
                <a:gd name="T5" fmla="*/ 2147483646 h 140"/>
                <a:gd name="T6" fmla="*/ 2147483646 w 828"/>
                <a:gd name="T7" fmla="*/ 0 h 140"/>
                <a:gd name="T8" fmla="*/ 2147483646 w 828"/>
                <a:gd name="T9" fmla="*/ 2147483646 h 140"/>
                <a:gd name="T10" fmla="*/ 2147483646 w 828"/>
                <a:gd name="T11" fmla="*/ 2147483646 h 140"/>
                <a:gd name="T12" fmla="*/ 0 60000 65536"/>
                <a:gd name="T13" fmla="*/ 0 60000 65536"/>
                <a:gd name="T14" fmla="*/ 0 60000 65536"/>
                <a:gd name="T15" fmla="*/ 0 60000 65536"/>
                <a:gd name="T16" fmla="*/ 0 60000 65536"/>
                <a:gd name="T17" fmla="*/ 0 60000 65536"/>
                <a:gd name="T18" fmla="*/ 0 w 828"/>
                <a:gd name="T19" fmla="*/ 0 h 140"/>
                <a:gd name="T20" fmla="*/ 828 w 828"/>
                <a:gd name="T21" fmla="*/ 140 h 140"/>
              </a:gdLst>
              <a:ahLst/>
              <a:cxnLst>
                <a:cxn ang="T12">
                  <a:pos x="T0" y="T1"/>
                </a:cxn>
                <a:cxn ang="T13">
                  <a:pos x="T2" y="T3"/>
                </a:cxn>
                <a:cxn ang="T14">
                  <a:pos x="T4" y="T5"/>
                </a:cxn>
                <a:cxn ang="T15">
                  <a:pos x="T6" y="T7"/>
                </a:cxn>
                <a:cxn ang="T16">
                  <a:pos x="T8" y="T9"/>
                </a:cxn>
                <a:cxn ang="T17">
                  <a:pos x="T10" y="T11"/>
                </a:cxn>
              </a:cxnLst>
              <a:rect l="T18" t="T19" r="T20" b="T21"/>
              <a:pathLst>
                <a:path w="828" h="140">
                  <a:moveTo>
                    <a:pt x="826" y="140"/>
                  </a:moveTo>
                  <a:lnTo>
                    <a:pt x="826" y="140"/>
                  </a:lnTo>
                  <a:lnTo>
                    <a:pt x="0" y="13"/>
                  </a:lnTo>
                  <a:lnTo>
                    <a:pt x="2" y="0"/>
                  </a:lnTo>
                  <a:lnTo>
                    <a:pt x="828" y="127"/>
                  </a:lnTo>
                  <a:lnTo>
                    <a:pt x="826" y="140"/>
                  </a:lnTo>
                  <a:close/>
                </a:path>
              </a:pathLst>
            </a:custGeom>
            <a:grpFill/>
            <a:ln w="0">
              <a:noFill/>
              <a:round/>
              <a:headEnd/>
              <a:tailEnd/>
            </a:ln>
          </p:spPr>
          <p:txBody>
            <a:bodyPr/>
            <a:lstStyle/>
            <a:p>
              <a:endParaRPr lang="zh-CN" altLang="en-US"/>
            </a:p>
          </p:txBody>
        </p:sp>
        <p:sp>
          <p:nvSpPr>
            <p:cNvPr id="375" name="Freeform 44"/>
            <p:cNvSpPr>
              <a:spLocks/>
            </p:cNvSpPr>
            <p:nvPr/>
          </p:nvSpPr>
          <p:spPr bwMode="auto">
            <a:xfrm>
              <a:off x="917575" y="3211513"/>
              <a:ext cx="388938" cy="7938"/>
            </a:xfrm>
            <a:custGeom>
              <a:avLst/>
              <a:gdLst>
                <a:gd name="T0" fmla="*/ 2147483646 w 826"/>
                <a:gd name="T1" fmla="*/ 2147483646 h 18"/>
                <a:gd name="T2" fmla="*/ 2147483646 w 826"/>
                <a:gd name="T3" fmla="*/ 2147483646 h 18"/>
                <a:gd name="T4" fmla="*/ 0 w 826"/>
                <a:gd name="T5" fmla="*/ 2147483646 h 18"/>
                <a:gd name="T6" fmla="*/ 0 w 826"/>
                <a:gd name="T7" fmla="*/ 0 h 18"/>
                <a:gd name="T8" fmla="*/ 2147483646 w 826"/>
                <a:gd name="T9" fmla="*/ 2147483646 h 18"/>
                <a:gd name="T10" fmla="*/ 2147483646 w 826"/>
                <a:gd name="T11" fmla="*/ 2147483646 h 18"/>
                <a:gd name="T12" fmla="*/ 0 60000 65536"/>
                <a:gd name="T13" fmla="*/ 0 60000 65536"/>
                <a:gd name="T14" fmla="*/ 0 60000 65536"/>
                <a:gd name="T15" fmla="*/ 0 60000 65536"/>
                <a:gd name="T16" fmla="*/ 0 60000 65536"/>
                <a:gd name="T17" fmla="*/ 0 60000 65536"/>
                <a:gd name="T18" fmla="*/ 0 w 826"/>
                <a:gd name="T19" fmla="*/ 0 h 18"/>
                <a:gd name="T20" fmla="*/ 826 w 82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826" h="18">
                  <a:moveTo>
                    <a:pt x="826" y="18"/>
                  </a:moveTo>
                  <a:lnTo>
                    <a:pt x="826" y="18"/>
                  </a:lnTo>
                  <a:lnTo>
                    <a:pt x="0" y="13"/>
                  </a:lnTo>
                  <a:lnTo>
                    <a:pt x="0" y="0"/>
                  </a:lnTo>
                  <a:lnTo>
                    <a:pt x="826" y="4"/>
                  </a:lnTo>
                  <a:lnTo>
                    <a:pt x="826" y="18"/>
                  </a:lnTo>
                  <a:close/>
                </a:path>
              </a:pathLst>
            </a:custGeom>
            <a:grpFill/>
            <a:ln w="0">
              <a:noFill/>
              <a:round/>
              <a:headEnd/>
              <a:tailEnd/>
            </a:ln>
          </p:spPr>
          <p:txBody>
            <a:bodyPr/>
            <a:lstStyle/>
            <a:p>
              <a:endParaRPr lang="zh-CN" altLang="en-US"/>
            </a:p>
          </p:txBody>
        </p:sp>
        <p:sp>
          <p:nvSpPr>
            <p:cNvPr id="376" name="Freeform 45"/>
            <p:cNvSpPr>
              <a:spLocks/>
            </p:cNvSpPr>
            <p:nvPr/>
          </p:nvSpPr>
          <p:spPr bwMode="auto">
            <a:xfrm>
              <a:off x="917575" y="3311526"/>
              <a:ext cx="390525" cy="41275"/>
            </a:xfrm>
            <a:custGeom>
              <a:avLst/>
              <a:gdLst>
                <a:gd name="T0" fmla="*/ 2147483646 w 827"/>
                <a:gd name="T1" fmla="*/ 2147483646 h 88"/>
                <a:gd name="T2" fmla="*/ 2147483646 w 827"/>
                <a:gd name="T3" fmla="*/ 2147483646 h 88"/>
                <a:gd name="T4" fmla="*/ 0 w 827"/>
                <a:gd name="T5" fmla="*/ 2147483646 h 88"/>
                <a:gd name="T6" fmla="*/ 2147483646 w 827"/>
                <a:gd name="T7" fmla="*/ 0 h 88"/>
                <a:gd name="T8" fmla="*/ 2147483646 w 827"/>
                <a:gd name="T9" fmla="*/ 2147483646 h 88"/>
                <a:gd name="T10" fmla="*/ 2147483646 w 827"/>
                <a:gd name="T11" fmla="*/ 2147483646 h 88"/>
                <a:gd name="T12" fmla="*/ 0 60000 65536"/>
                <a:gd name="T13" fmla="*/ 0 60000 65536"/>
                <a:gd name="T14" fmla="*/ 0 60000 65536"/>
                <a:gd name="T15" fmla="*/ 0 60000 65536"/>
                <a:gd name="T16" fmla="*/ 0 60000 65536"/>
                <a:gd name="T17" fmla="*/ 0 60000 65536"/>
                <a:gd name="T18" fmla="*/ 0 w 827"/>
                <a:gd name="T19" fmla="*/ 0 h 88"/>
                <a:gd name="T20" fmla="*/ 827 w 827"/>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827" h="88">
                  <a:moveTo>
                    <a:pt x="1" y="88"/>
                  </a:moveTo>
                  <a:lnTo>
                    <a:pt x="1" y="88"/>
                  </a:lnTo>
                  <a:lnTo>
                    <a:pt x="0" y="75"/>
                  </a:lnTo>
                  <a:lnTo>
                    <a:pt x="826" y="0"/>
                  </a:lnTo>
                  <a:lnTo>
                    <a:pt x="827" y="13"/>
                  </a:lnTo>
                  <a:lnTo>
                    <a:pt x="1" y="88"/>
                  </a:lnTo>
                  <a:close/>
                </a:path>
              </a:pathLst>
            </a:custGeom>
            <a:grpFill/>
            <a:ln w="0">
              <a:noFill/>
              <a:round/>
              <a:headEnd/>
              <a:tailEnd/>
            </a:ln>
          </p:spPr>
          <p:txBody>
            <a:bodyPr/>
            <a:lstStyle/>
            <a:p>
              <a:endParaRPr lang="zh-CN" altLang="en-US"/>
            </a:p>
          </p:txBody>
        </p:sp>
        <p:sp>
          <p:nvSpPr>
            <p:cNvPr id="377" name="Freeform 46"/>
            <p:cNvSpPr>
              <a:spLocks/>
            </p:cNvSpPr>
            <p:nvPr/>
          </p:nvSpPr>
          <p:spPr bwMode="auto">
            <a:xfrm>
              <a:off x="955675" y="3373438"/>
              <a:ext cx="80963" cy="26988"/>
            </a:xfrm>
            <a:custGeom>
              <a:avLst/>
              <a:gdLst>
                <a:gd name="T0" fmla="*/ 2147483646 w 173"/>
                <a:gd name="T1" fmla="*/ 2147483646 h 58"/>
                <a:gd name="T2" fmla="*/ 2147483646 w 173"/>
                <a:gd name="T3" fmla="*/ 2147483646 h 58"/>
                <a:gd name="T4" fmla="*/ 2147483646 w 173"/>
                <a:gd name="T5" fmla="*/ 2147483646 h 58"/>
                <a:gd name="T6" fmla="*/ 2147483646 w 173"/>
                <a:gd name="T7" fmla="*/ 2147483646 h 58"/>
                <a:gd name="T8" fmla="*/ 2147483646 w 173"/>
                <a:gd name="T9" fmla="*/ 2147483646 h 58"/>
                <a:gd name="T10" fmla="*/ 2147483646 w 173"/>
                <a:gd name="T11" fmla="*/ 0 h 58"/>
                <a:gd name="T12" fmla="*/ 2147483646 w 173"/>
                <a:gd name="T13" fmla="*/ 2147483646 h 58"/>
                <a:gd name="T14" fmla="*/ 0 w 173"/>
                <a:gd name="T15" fmla="*/ 2147483646 h 58"/>
                <a:gd name="T16" fmla="*/ 2147483646 w 173"/>
                <a:gd name="T17" fmla="*/ 2147483646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3"/>
                <a:gd name="T28" fmla="*/ 0 h 58"/>
                <a:gd name="T29" fmla="*/ 173 w 173"/>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3" h="58">
                  <a:moveTo>
                    <a:pt x="16" y="58"/>
                  </a:moveTo>
                  <a:lnTo>
                    <a:pt x="16" y="58"/>
                  </a:lnTo>
                  <a:lnTo>
                    <a:pt x="157" y="43"/>
                  </a:lnTo>
                  <a:cubicBezTo>
                    <a:pt x="166" y="43"/>
                    <a:pt x="173" y="33"/>
                    <a:pt x="173" y="21"/>
                  </a:cubicBezTo>
                  <a:cubicBezTo>
                    <a:pt x="173" y="10"/>
                    <a:pt x="166" y="0"/>
                    <a:pt x="157" y="0"/>
                  </a:cubicBezTo>
                  <a:lnTo>
                    <a:pt x="16" y="15"/>
                  </a:lnTo>
                  <a:cubicBezTo>
                    <a:pt x="8" y="15"/>
                    <a:pt x="0" y="25"/>
                    <a:pt x="0" y="36"/>
                  </a:cubicBezTo>
                  <a:cubicBezTo>
                    <a:pt x="0" y="48"/>
                    <a:pt x="8" y="58"/>
                    <a:pt x="16" y="58"/>
                  </a:cubicBezTo>
                  <a:close/>
                </a:path>
              </a:pathLst>
            </a:custGeom>
            <a:grpFill/>
            <a:ln w="0">
              <a:noFill/>
              <a:round/>
              <a:headEnd/>
              <a:tailEnd/>
            </a:ln>
          </p:spPr>
          <p:txBody>
            <a:bodyPr/>
            <a:lstStyle/>
            <a:p>
              <a:endParaRPr lang="zh-CN" altLang="en-US"/>
            </a:p>
          </p:txBody>
        </p:sp>
        <p:sp>
          <p:nvSpPr>
            <p:cNvPr id="378" name="Freeform 47"/>
            <p:cNvSpPr>
              <a:spLocks/>
            </p:cNvSpPr>
            <p:nvPr/>
          </p:nvSpPr>
          <p:spPr bwMode="auto">
            <a:xfrm>
              <a:off x="955675" y="3409951"/>
              <a:ext cx="80963" cy="30163"/>
            </a:xfrm>
            <a:custGeom>
              <a:avLst/>
              <a:gdLst>
                <a:gd name="T0" fmla="*/ 2147483646 w 173"/>
                <a:gd name="T1" fmla="*/ 0 h 63"/>
                <a:gd name="T2" fmla="*/ 2147483646 w 173"/>
                <a:gd name="T3" fmla="*/ 0 h 63"/>
                <a:gd name="T4" fmla="*/ 2147483646 w 173"/>
                <a:gd name="T5" fmla="*/ 0 h 63"/>
                <a:gd name="T6" fmla="*/ 2147483646 w 173"/>
                <a:gd name="T7" fmla="*/ 2147483646 h 63"/>
                <a:gd name="T8" fmla="*/ 0 w 173"/>
                <a:gd name="T9" fmla="*/ 2147483646 h 63"/>
                <a:gd name="T10" fmla="*/ 2147483646 w 173"/>
                <a:gd name="T11" fmla="*/ 2147483646 h 63"/>
                <a:gd name="T12" fmla="*/ 2147483646 w 173"/>
                <a:gd name="T13" fmla="*/ 2147483646 h 63"/>
                <a:gd name="T14" fmla="*/ 2147483646 w 173"/>
                <a:gd name="T15" fmla="*/ 2147483646 h 63"/>
                <a:gd name="T16" fmla="*/ 2147483646 w 173"/>
                <a:gd name="T17" fmla="*/ 2147483646 h 63"/>
                <a:gd name="T18" fmla="*/ 2147483646 w 173"/>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3"/>
                <a:gd name="T31" fmla="*/ 0 h 63"/>
                <a:gd name="T32" fmla="*/ 173 w 173"/>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3" h="63">
                  <a:moveTo>
                    <a:pt x="157" y="0"/>
                  </a:moveTo>
                  <a:lnTo>
                    <a:pt x="157" y="0"/>
                  </a:lnTo>
                  <a:lnTo>
                    <a:pt x="156" y="0"/>
                  </a:lnTo>
                  <a:lnTo>
                    <a:pt x="16" y="20"/>
                  </a:lnTo>
                  <a:cubicBezTo>
                    <a:pt x="8" y="20"/>
                    <a:pt x="0" y="30"/>
                    <a:pt x="0" y="42"/>
                  </a:cubicBezTo>
                  <a:cubicBezTo>
                    <a:pt x="0" y="54"/>
                    <a:pt x="8" y="63"/>
                    <a:pt x="16" y="63"/>
                  </a:cubicBezTo>
                  <a:lnTo>
                    <a:pt x="17" y="63"/>
                  </a:lnTo>
                  <a:lnTo>
                    <a:pt x="157" y="43"/>
                  </a:lnTo>
                  <a:cubicBezTo>
                    <a:pt x="166" y="43"/>
                    <a:pt x="173" y="33"/>
                    <a:pt x="173" y="21"/>
                  </a:cubicBezTo>
                  <a:cubicBezTo>
                    <a:pt x="173" y="9"/>
                    <a:pt x="166" y="0"/>
                    <a:pt x="157" y="0"/>
                  </a:cubicBezTo>
                  <a:close/>
                </a:path>
              </a:pathLst>
            </a:custGeom>
            <a:grpFill/>
            <a:ln w="0">
              <a:noFill/>
              <a:round/>
              <a:headEnd/>
              <a:tailEnd/>
            </a:ln>
          </p:spPr>
          <p:txBody>
            <a:bodyPr/>
            <a:lstStyle/>
            <a:p>
              <a:endParaRPr lang="zh-CN" altLang="en-US"/>
            </a:p>
          </p:txBody>
        </p:sp>
        <p:sp>
          <p:nvSpPr>
            <p:cNvPr id="379" name="Freeform 48"/>
            <p:cNvSpPr>
              <a:spLocks/>
            </p:cNvSpPr>
            <p:nvPr/>
          </p:nvSpPr>
          <p:spPr bwMode="auto">
            <a:xfrm>
              <a:off x="1084263" y="3362326"/>
              <a:ext cx="61913" cy="20638"/>
            </a:xfrm>
            <a:custGeom>
              <a:avLst/>
              <a:gdLst>
                <a:gd name="T0" fmla="*/ 2147483646 w 133"/>
                <a:gd name="T1" fmla="*/ 2147483646 h 45"/>
                <a:gd name="T2" fmla="*/ 2147483646 w 133"/>
                <a:gd name="T3" fmla="*/ 2147483646 h 45"/>
                <a:gd name="T4" fmla="*/ 2147483646 w 133"/>
                <a:gd name="T5" fmla="*/ 2147483646 h 45"/>
                <a:gd name="T6" fmla="*/ 2147483646 w 133"/>
                <a:gd name="T7" fmla="*/ 2147483646 h 45"/>
                <a:gd name="T8" fmla="*/ 2147483646 w 133"/>
                <a:gd name="T9" fmla="*/ 2147483646 h 45"/>
                <a:gd name="T10" fmla="*/ 2147483646 w 133"/>
                <a:gd name="T11" fmla="*/ 0 h 45"/>
                <a:gd name="T12" fmla="*/ 2147483646 w 133"/>
                <a:gd name="T13" fmla="*/ 2147483646 h 45"/>
                <a:gd name="T14" fmla="*/ 0 w 133"/>
                <a:gd name="T15" fmla="*/ 2147483646 h 45"/>
                <a:gd name="T16" fmla="*/ 2147483646 w 133"/>
                <a:gd name="T17" fmla="*/ 2147483646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45"/>
                <a:gd name="T29" fmla="*/ 133 w 133"/>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45">
                  <a:moveTo>
                    <a:pt x="12" y="45"/>
                  </a:moveTo>
                  <a:lnTo>
                    <a:pt x="12" y="45"/>
                  </a:lnTo>
                  <a:lnTo>
                    <a:pt x="120" y="33"/>
                  </a:lnTo>
                  <a:cubicBezTo>
                    <a:pt x="127" y="33"/>
                    <a:pt x="133" y="26"/>
                    <a:pt x="133" y="17"/>
                  </a:cubicBezTo>
                  <a:cubicBezTo>
                    <a:pt x="133" y="8"/>
                    <a:pt x="127" y="0"/>
                    <a:pt x="120" y="0"/>
                  </a:cubicBezTo>
                  <a:lnTo>
                    <a:pt x="12" y="12"/>
                  </a:lnTo>
                  <a:cubicBezTo>
                    <a:pt x="6" y="12"/>
                    <a:pt x="0" y="19"/>
                    <a:pt x="0" y="28"/>
                  </a:cubicBezTo>
                  <a:cubicBezTo>
                    <a:pt x="0" y="37"/>
                    <a:pt x="6" y="45"/>
                    <a:pt x="12" y="45"/>
                  </a:cubicBezTo>
                  <a:close/>
                </a:path>
              </a:pathLst>
            </a:custGeom>
            <a:grpFill/>
            <a:ln w="0">
              <a:noFill/>
              <a:round/>
              <a:headEnd/>
              <a:tailEnd/>
            </a:ln>
          </p:spPr>
          <p:txBody>
            <a:bodyPr/>
            <a:lstStyle/>
            <a:p>
              <a:endParaRPr lang="zh-CN" altLang="en-US"/>
            </a:p>
          </p:txBody>
        </p:sp>
        <p:sp>
          <p:nvSpPr>
            <p:cNvPr id="380" name="Freeform 49"/>
            <p:cNvSpPr>
              <a:spLocks/>
            </p:cNvSpPr>
            <p:nvPr/>
          </p:nvSpPr>
          <p:spPr bwMode="auto">
            <a:xfrm>
              <a:off x="1084263" y="3390901"/>
              <a:ext cx="61913" cy="22225"/>
            </a:xfrm>
            <a:custGeom>
              <a:avLst/>
              <a:gdLst>
                <a:gd name="T0" fmla="*/ 2147483646 w 133"/>
                <a:gd name="T1" fmla="*/ 0 h 49"/>
                <a:gd name="T2" fmla="*/ 2147483646 w 133"/>
                <a:gd name="T3" fmla="*/ 0 h 49"/>
                <a:gd name="T4" fmla="*/ 2147483646 w 133"/>
                <a:gd name="T5" fmla="*/ 0 h 49"/>
                <a:gd name="T6" fmla="*/ 2147483646 w 133"/>
                <a:gd name="T7" fmla="*/ 2147483646 h 49"/>
                <a:gd name="T8" fmla="*/ 0 w 133"/>
                <a:gd name="T9" fmla="*/ 2147483646 h 49"/>
                <a:gd name="T10" fmla="*/ 2147483646 w 133"/>
                <a:gd name="T11" fmla="*/ 2147483646 h 49"/>
                <a:gd name="T12" fmla="*/ 2147483646 w 133"/>
                <a:gd name="T13" fmla="*/ 2147483646 h 49"/>
                <a:gd name="T14" fmla="*/ 2147483646 w 133"/>
                <a:gd name="T15" fmla="*/ 2147483646 h 49"/>
                <a:gd name="T16" fmla="*/ 2147483646 w 133"/>
                <a:gd name="T17" fmla="*/ 2147483646 h 49"/>
                <a:gd name="T18" fmla="*/ 2147483646 w 133"/>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3"/>
                <a:gd name="T31" fmla="*/ 0 h 49"/>
                <a:gd name="T32" fmla="*/ 133 w 1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3" h="49">
                  <a:moveTo>
                    <a:pt x="120" y="0"/>
                  </a:moveTo>
                  <a:lnTo>
                    <a:pt x="120" y="0"/>
                  </a:lnTo>
                  <a:lnTo>
                    <a:pt x="12" y="15"/>
                  </a:lnTo>
                  <a:cubicBezTo>
                    <a:pt x="6" y="15"/>
                    <a:pt x="0" y="23"/>
                    <a:pt x="0" y="32"/>
                  </a:cubicBezTo>
                  <a:cubicBezTo>
                    <a:pt x="0" y="41"/>
                    <a:pt x="6" y="49"/>
                    <a:pt x="12" y="49"/>
                  </a:cubicBezTo>
                  <a:lnTo>
                    <a:pt x="13" y="49"/>
                  </a:lnTo>
                  <a:lnTo>
                    <a:pt x="120" y="33"/>
                  </a:lnTo>
                  <a:cubicBezTo>
                    <a:pt x="127" y="33"/>
                    <a:pt x="133" y="25"/>
                    <a:pt x="133" y="16"/>
                  </a:cubicBezTo>
                  <a:cubicBezTo>
                    <a:pt x="133" y="7"/>
                    <a:pt x="127" y="0"/>
                    <a:pt x="120" y="0"/>
                  </a:cubicBezTo>
                  <a:close/>
                </a:path>
              </a:pathLst>
            </a:custGeom>
            <a:grpFill/>
            <a:ln w="0">
              <a:noFill/>
              <a:round/>
              <a:headEnd/>
              <a:tailEnd/>
            </a:ln>
          </p:spPr>
          <p:txBody>
            <a:bodyPr/>
            <a:lstStyle/>
            <a:p>
              <a:endParaRPr lang="zh-CN" altLang="en-US"/>
            </a:p>
          </p:txBody>
        </p:sp>
        <p:sp>
          <p:nvSpPr>
            <p:cNvPr id="381" name="Freeform 50"/>
            <p:cNvSpPr>
              <a:spLocks noEditPoints="1"/>
            </p:cNvSpPr>
            <p:nvPr/>
          </p:nvSpPr>
          <p:spPr bwMode="auto">
            <a:xfrm>
              <a:off x="1182688" y="3025776"/>
              <a:ext cx="42863" cy="55563"/>
            </a:xfrm>
            <a:custGeom>
              <a:avLst/>
              <a:gdLst>
                <a:gd name="T0" fmla="*/ 2147483646 w 92"/>
                <a:gd name="T1" fmla="*/ 2147483646 h 121"/>
                <a:gd name="T2" fmla="*/ 2147483646 w 92"/>
                <a:gd name="T3" fmla="*/ 2147483646 h 121"/>
                <a:gd name="T4" fmla="*/ 2147483646 w 92"/>
                <a:gd name="T5" fmla="*/ 2147483646 h 121"/>
                <a:gd name="T6" fmla="*/ 2147483646 w 92"/>
                <a:gd name="T7" fmla="*/ 2147483646 h 121"/>
                <a:gd name="T8" fmla="*/ 2147483646 w 92"/>
                <a:gd name="T9" fmla="*/ 2147483646 h 121"/>
                <a:gd name="T10" fmla="*/ 2147483646 w 92"/>
                <a:gd name="T11" fmla="*/ 2147483646 h 121"/>
                <a:gd name="T12" fmla="*/ 2147483646 w 92"/>
                <a:gd name="T13" fmla="*/ 2147483646 h 121"/>
                <a:gd name="T14" fmla="*/ 2147483646 w 92"/>
                <a:gd name="T15" fmla="*/ 2147483646 h 121"/>
                <a:gd name="T16" fmla="*/ 2147483646 w 92"/>
                <a:gd name="T17" fmla="*/ 2147483646 h 121"/>
                <a:gd name="T18" fmla="*/ 2147483646 w 92"/>
                <a:gd name="T19" fmla="*/ 2147483646 h 121"/>
                <a:gd name="T20" fmla="*/ 2147483646 w 92"/>
                <a:gd name="T21" fmla="*/ 2147483646 h 121"/>
                <a:gd name="T22" fmla="*/ 2147483646 w 92"/>
                <a:gd name="T23" fmla="*/ 2147483646 h 121"/>
                <a:gd name="T24" fmla="*/ 2147483646 w 92"/>
                <a:gd name="T25" fmla="*/ 2147483646 h 121"/>
                <a:gd name="T26" fmla="*/ 2147483646 w 92"/>
                <a:gd name="T27" fmla="*/ 2147483646 h 121"/>
                <a:gd name="T28" fmla="*/ 0 w 92"/>
                <a:gd name="T29" fmla="*/ 2147483646 h 121"/>
                <a:gd name="T30" fmla="*/ 0 w 92"/>
                <a:gd name="T31" fmla="*/ 2147483646 h 121"/>
                <a:gd name="T32" fmla="*/ 2147483646 w 92"/>
                <a:gd name="T33" fmla="*/ 0 h 121"/>
                <a:gd name="T34" fmla="*/ 2147483646 w 92"/>
                <a:gd name="T35" fmla="*/ 2147483646 h 121"/>
                <a:gd name="T36" fmla="*/ 2147483646 w 92"/>
                <a:gd name="T37" fmla="*/ 2147483646 h 121"/>
                <a:gd name="T38" fmla="*/ 2147483646 w 92"/>
                <a:gd name="T39" fmla="*/ 2147483646 h 121"/>
                <a:gd name="T40" fmla="*/ 2147483646 w 92"/>
                <a:gd name="T41" fmla="*/ 2147483646 h 121"/>
                <a:gd name="T42" fmla="*/ 2147483646 w 92"/>
                <a:gd name="T43" fmla="*/ 2147483646 h 121"/>
                <a:gd name="T44" fmla="*/ 2147483646 w 92"/>
                <a:gd name="T45" fmla="*/ 2147483646 h 1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121"/>
                <a:gd name="T71" fmla="*/ 92 w 92"/>
                <a:gd name="T72" fmla="*/ 121 h 1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121">
                  <a:moveTo>
                    <a:pt x="22" y="97"/>
                  </a:moveTo>
                  <a:lnTo>
                    <a:pt x="22" y="97"/>
                  </a:lnTo>
                  <a:lnTo>
                    <a:pt x="69" y="101"/>
                  </a:lnTo>
                  <a:cubicBezTo>
                    <a:pt x="70" y="99"/>
                    <a:pt x="72" y="96"/>
                    <a:pt x="72" y="91"/>
                  </a:cubicBezTo>
                  <a:lnTo>
                    <a:pt x="72" y="48"/>
                  </a:lnTo>
                  <a:cubicBezTo>
                    <a:pt x="72" y="42"/>
                    <a:pt x="70" y="38"/>
                    <a:pt x="69" y="37"/>
                  </a:cubicBezTo>
                  <a:lnTo>
                    <a:pt x="22" y="21"/>
                  </a:lnTo>
                  <a:cubicBezTo>
                    <a:pt x="21" y="23"/>
                    <a:pt x="20" y="27"/>
                    <a:pt x="20" y="32"/>
                  </a:cubicBezTo>
                  <a:lnTo>
                    <a:pt x="20" y="84"/>
                  </a:lnTo>
                  <a:cubicBezTo>
                    <a:pt x="20" y="90"/>
                    <a:pt x="21" y="95"/>
                    <a:pt x="22" y="97"/>
                  </a:cubicBezTo>
                  <a:close/>
                  <a:moveTo>
                    <a:pt x="71" y="121"/>
                  </a:moveTo>
                  <a:lnTo>
                    <a:pt x="71" y="121"/>
                  </a:lnTo>
                  <a:lnTo>
                    <a:pt x="19" y="116"/>
                  </a:lnTo>
                  <a:cubicBezTo>
                    <a:pt x="15" y="116"/>
                    <a:pt x="8" y="114"/>
                    <a:pt x="4" y="104"/>
                  </a:cubicBezTo>
                  <a:cubicBezTo>
                    <a:pt x="1" y="98"/>
                    <a:pt x="0" y="91"/>
                    <a:pt x="0" y="84"/>
                  </a:cubicBezTo>
                  <a:lnTo>
                    <a:pt x="0" y="32"/>
                  </a:lnTo>
                  <a:cubicBezTo>
                    <a:pt x="0" y="13"/>
                    <a:pt x="8" y="0"/>
                    <a:pt x="19" y="0"/>
                  </a:cubicBezTo>
                  <a:lnTo>
                    <a:pt x="23" y="1"/>
                  </a:lnTo>
                  <a:lnTo>
                    <a:pt x="74" y="17"/>
                  </a:lnTo>
                  <a:cubicBezTo>
                    <a:pt x="85" y="20"/>
                    <a:pt x="92" y="35"/>
                    <a:pt x="92" y="48"/>
                  </a:cubicBezTo>
                  <a:lnTo>
                    <a:pt x="92" y="91"/>
                  </a:lnTo>
                  <a:cubicBezTo>
                    <a:pt x="92" y="107"/>
                    <a:pt x="83" y="120"/>
                    <a:pt x="72" y="121"/>
                  </a:cubicBezTo>
                  <a:lnTo>
                    <a:pt x="71" y="121"/>
                  </a:lnTo>
                  <a:close/>
                </a:path>
              </a:pathLst>
            </a:custGeom>
            <a:grpFill/>
            <a:ln w="0">
              <a:noFill/>
              <a:round/>
              <a:headEnd/>
              <a:tailEnd/>
            </a:ln>
          </p:spPr>
          <p:txBody>
            <a:bodyPr/>
            <a:lstStyle/>
            <a:p>
              <a:endParaRPr lang="zh-CN" altLang="en-US"/>
            </a:p>
          </p:txBody>
        </p:sp>
        <p:sp>
          <p:nvSpPr>
            <p:cNvPr id="382" name="Freeform 51"/>
            <p:cNvSpPr>
              <a:spLocks noEditPoints="1"/>
            </p:cNvSpPr>
            <p:nvPr/>
          </p:nvSpPr>
          <p:spPr bwMode="auto">
            <a:xfrm>
              <a:off x="1182688" y="3135313"/>
              <a:ext cx="42863" cy="58738"/>
            </a:xfrm>
            <a:custGeom>
              <a:avLst/>
              <a:gdLst>
                <a:gd name="T0" fmla="*/ 2147483646 w 92"/>
                <a:gd name="T1" fmla="*/ 2147483646 h 127"/>
                <a:gd name="T2" fmla="*/ 2147483646 w 92"/>
                <a:gd name="T3" fmla="*/ 2147483646 h 127"/>
                <a:gd name="T4" fmla="*/ 2147483646 w 92"/>
                <a:gd name="T5" fmla="*/ 2147483646 h 127"/>
                <a:gd name="T6" fmla="*/ 2147483646 w 92"/>
                <a:gd name="T7" fmla="*/ 2147483646 h 127"/>
                <a:gd name="T8" fmla="*/ 2147483646 w 92"/>
                <a:gd name="T9" fmla="*/ 2147483646 h 127"/>
                <a:gd name="T10" fmla="*/ 2147483646 w 92"/>
                <a:gd name="T11" fmla="*/ 2147483646 h 127"/>
                <a:gd name="T12" fmla="*/ 2147483646 w 92"/>
                <a:gd name="T13" fmla="*/ 2147483646 h 127"/>
                <a:gd name="T14" fmla="*/ 2147483646 w 92"/>
                <a:gd name="T15" fmla="*/ 2147483646 h 127"/>
                <a:gd name="T16" fmla="*/ 2147483646 w 92"/>
                <a:gd name="T17" fmla="*/ 2147483646 h 127"/>
                <a:gd name="T18" fmla="*/ 2147483646 w 92"/>
                <a:gd name="T19" fmla="*/ 2147483646 h 127"/>
                <a:gd name="T20" fmla="*/ 2147483646 w 92"/>
                <a:gd name="T21" fmla="*/ 2147483646 h 127"/>
                <a:gd name="T22" fmla="*/ 2147483646 w 92"/>
                <a:gd name="T23" fmla="*/ 2147483646 h 127"/>
                <a:gd name="T24" fmla="*/ 0 w 92"/>
                <a:gd name="T25" fmla="*/ 2147483646 h 127"/>
                <a:gd name="T26" fmla="*/ 0 w 92"/>
                <a:gd name="T27" fmla="*/ 2147483646 h 127"/>
                <a:gd name="T28" fmla="*/ 2147483646 w 92"/>
                <a:gd name="T29" fmla="*/ 0 h 127"/>
                <a:gd name="T30" fmla="*/ 2147483646 w 92"/>
                <a:gd name="T31" fmla="*/ 0 h 127"/>
                <a:gd name="T32" fmla="*/ 2147483646 w 92"/>
                <a:gd name="T33" fmla="*/ 2147483646 h 127"/>
                <a:gd name="T34" fmla="*/ 2147483646 w 92"/>
                <a:gd name="T35" fmla="*/ 2147483646 h 127"/>
                <a:gd name="T36" fmla="*/ 2147483646 w 92"/>
                <a:gd name="T37" fmla="*/ 2147483646 h 127"/>
                <a:gd name="T38" fmla="*/ 2147483646 w 92"/>
                <a:gd name="T39" fmla="*/ 2147483646 h 127"/>
                <a:gd name="T40" fmla="*/ 2147483646 w 92"/>
                <a:gd name="T41" fmla="*/ 2147483646 h 1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
                <a:gd name="T64" fmla="*/ 0 h 127"/>
                <a:gd name="T65" fmla="*/ 92 w 92"/>
                <a:gd name="T66" fmla="*/ 127 h 1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 h="127">
                  <a:moveTo>
                    <a:pt x="22" y="21"/>
                  </a:moveTo>
                  <a:lnTo>
                    <a:pt x="22" y="21"/>
                  </a:lnTo>
                  <a:cubicBezTo>
                    <a:pt x="21" y="23"/>
                    <a:pt x="20" y="26"/>
                    <a:pt x="20" y="30"/>
                  </a:cubicBezTo>
                  <a:lnTo>
                    <a:pt x="20" y="95"/>
                  </a:lnTo>
                  <a:cubicBezTo>
                    <a:pt x="20" y="101"/>
                    <a:pt x="21" y="105"/>
                    <a:pt x="22" y="106"/>
                  </a:cubicBezTo>
                  <a:lnTo>
                    <a:pt x="69" y="106"/>
                  </a:lnTo>
                  <a:cubicBezTo>
                    <a:pt x="70" y="105"/>
                    <a:pt x="72" y="102"/>
                    <a:pt x="72" y="97"/>
                  </a:cubicBezTo>
                  <a:lnTo>
                    <a:pt x="72" y="42"/>
                  </a:lnTo>
                  <a:cubicBezTo>
                    <a:pt x="72" y="37"/>
                    <a:pt x="69" y="33"/>
                    <a:pt x="69" y="32"/>
                  </a:cubicBezTo>
                  <a:lnTo>
                    <a:pt x="22" y="21"/>
                  </a:lnTo>
                  <a:close/>
                  <a:moveTo>
                    <a:pt x="20" y="127"/>
                  </a:moveTo>
                  <a:lnTo>
                    <a:pt x="20" y="127"/>
                  </a:lnTo>
                  <a:cubicBezTo>
                    <a:pt x="8" y="127"/>
                    <a:pt x="0" y="114"/>
                    <a:pt x="0" y="95"/>
                  </a:cubicBezTo>
                  <a:lnTo>
                    <a:pt x="0" y="30"/>
                  </a:lnTo>
                  <a:cubicBezTo>
                    <a:pt x="0" y="13"/>
                    <a:pt x="8" y="0"/>
                    <a:pt x="19" y="0"/>
                  </a:cubicBezTo>
                  <a:lnTo>
                    <a:pt x="22" y="0"/>
                  </a:lnTo>
                  <a:lnTo>
                    <a:pt x="74" y="13"/>
                  </a:lnTo>
                  <a:cubicBezTo>
                    <a:pt x="85" y="15"/>
                    <a:pt x="92" y="29"/>
                    <a:pt x="92" y="42"/>
                  </a:cubicBezTo>
                  <a:lnTo>
                    <a:pt x="92" y="97"/>
                  </a:lnTo>
                  <a:cubicBezTo>
                    <a:pt x="92" y="113"/>
                    <a:pt x="83" y="125"/>
                    <a:pt x="72" y="126"/>
                  </a:cubicBezTo>
                  <a:lnTo>
                    <a:pt x="20" y="127"/>
                  </a:lnTo>
                  <a:close/>
                </a:path>
              </a:pathLst>
            </a:custGeom>
            <a:grpFill/>
            <a:ln w="0">
              <a:noFill/>
              <a:round/>
              <a:headEnd/>
              <a:tailEnd/>
            </a:ln>
          </p:spPr>
          <p:txBody>
            <a:bodyPr/>
            <a:lstStyle/>
            <a:p>
              <a:endParaRPr lang="zh-CN" altLang="en-US"/>
            </a:p>
          </p:txBody>
        </p:sp>
        <p:sp>
          <p:nvSpPr>
            <p:cNvPr id="383" name="Freeform 52"/>
            <p:cNvSpPr>
              <a:spLocks noEditPoints="1"/>
            </p:cNvSpPr>
            <p:nvPr/>
          </p:nvSpPr>
          <p:spPr bwMode="auto">
            <a:xfrm>
              <a:off x="1181100" y="3244851"/>
              <a:ext cx="44450" cy="57150"/>
            </a:xfrm>
            <a:custGeom>
              <a:avLst/>
              <a:gdLst>
                <a:gd name="T0" fmla="*/ 2147483646 w 94"/>
                <a:gd name="T1" fmla="*/ 2147483646 h 123"/>
                <a:gd name="T2" fmla="*/ 2147483646 w 94"/>
                <a:gd name="T3" fmla="*/ 2147483646 h 123"/>
                <a:gd name="T4" fmla="*/ 2147483646 w 94"/>
                <a:gd name="T5" fmla="*/ 2147483646 h 123"/>
                <a:gd name="T6" fmla="*/ 2147483646 w 94"/>
                <a:gd name="T7" fmla="*/ 2147483646 h 123"/>
                <a:gd name="T8" fmla="*/ 2147483646 w 94"/>
                <a:gd name="T9" fmla="*/ 2147483646 h 123"/>
                <a:gd name="T10" fmla="*/ 2147483646 w 94"/>
                <a:gd name="T11" fmla="*/ 2147483646 h 123"/>
                <a:gd name="T12" fmla="*/ 2147483646 w 94"/>
                <a:gd name="T13" fmla="*/ 2147483646 h 123"/>
                <a:gd name="T14" fmla="*/ 2147483646 w 94"/>
                <a:gd name="T15" fmla="*/ 2147483646 h 123"/>
                <a:gd name="T16" fmla="*/ 2147483646 w 94"/>
                <a:gd name="T17" fmla="*/ 2147483646 h 123"/>
                <a:gd name="T18" fmla="*/ 2147483646 w 94"/>
                <a:gd name="T19" fmla="*/ 2147483646 h 123"/>
                <a:gd name="T20" fmla="*/ 2147483646 w 94"/>
                <a:gd name="T21" fmla="*/ 2147483646 h 123"/>
                <a:gd name="T22" fmla="*/ 2147483646 w 94"/>
                <a:gd name="T23" fmla="*/ 2147483646 h 123"/>
                <a:gd name="T24" fmla="*/ 0 w 94"/>
                <a:gd name="T25" fmla="*/ 2147483646 h 123"/>
                <a:gd name="T26" fmla="*/ 0 w 94"/>
                <a:gd name="T27" fmla="*/ 2147483646 h 123"/>
                <a:gd name="T28" fmla="*/ 2147483646 w 94"/>
                <a:gd name="T29" fmla="*/ 0 h 123"/>
                <a:gd name="T30" fmla="*/ 2147483646 w 94"/>
                <a:gd name="T31" fmla="*/ 0 h 123"/>
                <a:gd name="T32" fmla="*/ 2147483646 w 94"/>
                <a:gd name="T33" fmla="*/ 2147483646 h 123"/>
                <a:gd name="T34" fmla="*/ 2147483646 w 94"/>
                <a:gd name="T35" fmla="*/ 2147483646 h 123"/>
                <a:gd name="T36" fmla="*/ 2147483646 w 94"/>
                <a:gd name="T37" fmla="*/ 2147483646 h 123"/>
                <a:gd name="T38" fmla="*/ 2147483646 w 94"/>
                <a:gd name="T39" fmla="*/ 2147483646 h 123"/>
                <a:gd name="T40" fmla="*/ 2147483646 w 94"/>
                <a:gd name="T41" fmla="*/ 2147483646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4"/>
                <a:gd name="T64" fmla="*/ 0 h 123"/>
                <a:gd name="T65" fmla="*/ 94 w 94"/>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4" h="123">
                  <a:moveTo>
                    <a:pt x="21" y="20"/>
                  </a:moveTo>
                  <a:lnTo>
                    <a:pt x="21" y="20"/>
                  </a:lnTo>
                  <a:cubicBezTo>
                    <a:pt x="21" y="22"/>
                    <a:pt x="20" y="25"/>
                    <a:pt x="20" y="30"/>
                  </a:cubicBezTo>
                  <a:lnTo>
                    <a:pt x="20" y="92"/>
                  </a:lnTo>
                  <a:cubicBezTo>
                    <a:pt x="20" y="97"/>
                    <a:pt x="21" y="100"/>
                    <a:pt x="22" y="102"/>
                  </a:cubicBezTo>
                  <a:lnTo>
                    <a:pt x="73" y="97"/>
                  </a:lnTo>
                  <a:cubicBezTo>
                    <a:pt x="74" y="95"/>
                    <a:pt x="74" y="93"/>
                    <a:pt x="74" y="89"/>
                  </a:cubicBezTo>
                  <a:lnTo>
                    <a:pt x="74" y="31"/>
                  </a:lnTo>
                  <a:cubicBezTo>
                    <a:pt x="74" y="26"/>
                    <a:pt x="73" y="23"/>
                    <a:pt x="73" y="22"/>
                  </a:cubicBezTo>
                  <a:lnTo>
                    <a:pt x="21" y="20"/>
                  </a:lnTo>
                  <a:close/>
                  <a:moveTo>
                    <a:pt x="18" y="123"/>
                  </a:moveTo>
                  <a:lnTo>
                    <a:pt x="18" y="123"/>
                  </a:lnTo>
                  <a:cubicBezTo>
                    <a:pt x="7" y="123"/>
                    <a:pt x="0" y="111"/>
                    <a:pt x="0" y="92"/>
                  </a:cubicBezTo>
                  <a:lnTo>
                    <a:pt x="0" y="30"/>
                  </a:lnTo>
                  <a:cubicBezTo>
                    <a:pt x="0" y="11"/>
                    <a:pt x="7" y="0"/>
                    <a:pt x="18" y="0"/>
                  </a:cubicBezTo>
                  <a:lnTo>
                    <a:pt x="19" y="0"/>
                  </a:lnTo>
                  <a:lnTo>
                    <a:pt x="78" y="2"/>
                  </a:lnTo>
                  <a:cubicBezTo>
                    <a:pt x="89" y="4"/>
                    <a:pt x="94" y="18"/>
                    <a:pt x="94" y="31"/>
                  </a:cubicBezTo>
                  <a:lnTo>
                    <a:pt x="94" y="89"/>
                  </a:lnTo>
                  <a:cubicBezTo>
                    <a:pt x="94" y="104"/>
                    <a:pt x="87" y="116"/>
                    <a:pt x="77" y="117"/>
                  </a:cubicBezTo>
                  <a:lnTo>
                    <a:pt x="18" y="123"/>
                  </a:lnTo>
                  <a:close/>
                </a:path>
              </a:pathLst>
            </a:custGeom>
            <a:grpFill/>
            <a:ln w="0">
              <a:noFill/>
              <a:round/>
              <a:headEnd/>
              <a:tailEnd/>
            </a:ln>
          </p:spPr>
          <p:txBody>
            <a:bodyPr/>
            <a:lstStyle/>
            <a:p>
              <a:endParaRPr lang="zh-CN" altLang="en-US"/>
            </a:p>
          </p:txBody>
        </p:sp>
        <p:sp>
          <p:nvSpPr>
            <p:cNvPr id="384" name="Freeform 53"/>
            <p:cNvSpPr>
              <a:spLocks/>
            </p:cNvSpPr>
            <p:nvPr/>
          </p:nvSpPr>
          <p:spPr bwMode="auto">
            <a:xfrm>
              <a:off x="1182688" y="3351213"/>
              <a:ext cx="41275" cy="17463"/>
            </a:xfrm>
            <a:custGeom>
              <a:avLst/>
              <a:gdLst>
                <a:gd name="T0" fmla="*/ 2147483646 w 88"/>
                <a:gd name="T1" fmla="*/ 2147483646 h 38"/>
                <a:gd name="T2" fmla="*/ 2147483646 w 88"/>
                <a:gd name="T3" fmla="*/ 2147483646 h 38"/>
                <a:gd name="T4" fmla="*/ 2147483646 w 88"/>
                <a:gd name="T5" fmla="*/ 2147483646 h 38"/>
                <a:gd name="T6" fmla="*/ 2147483646 w 88"/>
                <a:gd name="T7" fmla="*/ 2147483646 h 38"/>
                <a:gd name="T8" fmla="*/ 2147483646 w 88"/>
                <a:gd name="T9" fmla="*/ 2147483646 h 38"/>
                <a:gd name="T10" fmla="*/ 2147483646 w 88"/>
                <a:gd name="T11" fmla="*/ 0 h 38"/>
                <a:gd name="T12" fmla="*/ 2147483646 w 88"/>
                <a:gd name="T13" fmla="*/ 2147483646 h 38"/>
                <a:gd name="T14" fmla="*/ 0 w 88"/>
                <a:gd name="T15" fmla="*/ 2147483646 h 38"/>
                <a:gd name="T16" fmla="*/ 2147483646 w 88"/>
                <a:gd name="T17" fmla="*/ 2147483646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38"/>
                <a:gd name="T29" fmla="*/ 88 w 88"/>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38">
                  <a:moveTo>
                    <a:pt x="8" y="38"/>
                  </a:moveTo>
                  <a:lnTo>
                    <a:pt x="8" y="38"/>
                  </a:lnTo>
                  <a:lnTo>
                    <a:pt x="80" y="30"/>
                  </a:lnTo>
                  <a:cubicBezTo>
                    <a:pt x="84" y="30"/>
                    <a:pt x="88" y="24"/>
                    <a:pt x="88" y="15"/>
                  </a:cubicBezTo>
                  <a:cubicBezTo>
                    <a:pt x="88" y="7"/>
                    <a:pt x="84" y="0"/>
                    <a:pt x="80" y="0"/>
                  </a:cubicBezTo>
                  <a:lnTo>
                    <a:pt x="8" y="8"/>
                  </a:lnTo>
                  <a:cubicBezTo>
                    <a:pt x="4" y="8"/>
                    <a:pt x="0" y="14"/>
                    <a:pt x="0" y="23"/>
                  </a:cubicBezTo>
                  <a:cubicBezTo>
                    <a:pt x="0" y="31"/>
                    <a:pt x="4" y="38"/>
                    <a:pt x="8" y="38"/>
                  </a:cubicBezTo>
                  <a:close/>
                </a:path>
              </a:pathLst>
            </a:custGeom>
            <a:grpFill/>
            <a:ln w="0">
              <a:noFill/>
              <a:round/>
              <a:headEnd/>
              <a:tailEnd/>
            </a:ln>
          </p:spPr>
          <p:txBody>
            <a:bodyPr/>
            <a:lstStyle/>
            <a:p>
              <a:endParaRPr lang="zh-CN" altLang="en-US"/>
            </a:p>
          </p:txBody>
        </p:sp>
        <p:sp>
          <p:nvSpPr>
            <p:cNvPr id="385" name="Freeform 54"/>
            <p:cNvSpPr>
              <a:spLocks/>
            </p:cNvSpPr>
            <p:nvPr/>
          </p:nvSpPr>
          <p:spPr bwMode="auto">
            <a:xfrm>
              <a:off x="1182688" y="3376613"/>
              <a:ext cx="41275" cy="19050"/>
            </a:xfrm>
            <a:custGeom>
              <a:avLst/>
              <a:gdLst>
                <a:gd name="T0" fmla="*/ 2147483646 w 88"/>
                <a:gd name="T1" fmla="*/ 0 h 42"/>
                <a:gd name="T2" fmla="*/ 2147483646 w 88"/>
                <a:gd name="T3" fmla="*/ 0 h 42"/>
                <a:gd name="T4" fmla="*/ 2147483646 w 88"/>
                <a:gd name="T5" fmla="*/ 0 h 42"/>
                <a:gd name="T6" fmla="*/ 2147483646 w 88"/>
                <a:gd name="T7" fmla="*/ 2147483646 h 42"/>
                <a:gd name="T8" fmla="*/ 0 w 88"/>
                <a:gd name="T9" fmla="*/ 2147483646 h 42"/>
                <a:gd name="T10" fmla="*/ 2147483646 w 88"/>
                <a:gd name="T11" fmla="*/ 2147483646 h 42"/>
                <a:gd name="T12" fmla="*/ 2147483646 w 88"/>
                <a:gd name="T13" fmla="*/ 2147483646 h 42"/>
                <a:gd name="T14" fmla="*/ 2147483646 w 88"/>
                <a:gd name="T15" fmla="*/ 2147483646 h 42"/>
                <a:gd name="T16" fmla="*/ 2147483646 w 88"/>
                <a:gd name="T17" fmla="*/ 2147483646 h 42"/>
                <a:gd name="T18" fmla="*/ 2147483646 w 88"/>
                <a:gd name="T19" fmla="*/ 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42"/>
                <a:gd name="T32" fmla="*/ 88 w 88"/>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42">
                  <a:moveTo>
                    <a:pt x="80" y="0"/>
                  </a:moveTo>
                  <a:lnTo>
                    <a:pt x="80" y="0"/>
                  </a:lnTo>
                  <a:lnTo>
                    <a:pt x="8" y="12"/>
                  </a:lnTo>
                  <a:cubicBezTo>
                    <a:pt x="4" y="12"/>
                    <a:pt x="0" y="18"/>
                    <a:pt x="0" y="27"/>
                  </a:cubicBezTo>
                  <a:cubicBezTo>
                    <a:pt x="0" y="35"/>
                    <a:pt x="4" y="42"/>
                    <a:pt x="8" y="42"/>
                  </a:cubicBezTo>
                  <a:lnTo>
                    <a:pt x="80" y="31"/>
                  </a:lnTo>
                  <a:cubicBezTo>
                    <a:pt x="84" y="31"/>
                    <a:pt x="88" y="24"/>
                    <a:pt x="88" y="15"/>
                  </a:cubicBezTo>
                  <a:cubicBezTo>
                    <a:pt x="88" y="7"/>
                    <a:pt x="84" y="0"/>
                    <a:pt x="80" y="0"/>
                  </a:cubicBezTo>
                  <a:close/>
                </a:path>
              </a:pathLst>
            </a:custGeom>
            <a:grpFill/>
            <a:ln w="0">
              <a:noFill/>
              <a:round/>
              <a:headEnd/>
              <a:tailEnd/>
            </a:ln>
          </p:spPr>
          <p:txBody>
            <a:bodyPr/>
            <a:lstStyle/>
            <a:p>
              <a:endParaRPr lang="zh-CN" altLang="en-US"/>
            </a:p>
          </p:txBody>
        </p:sp>
        <p:sp>
          <p:nvSpPr>
            <p:cNvPr id="386" name="Freeform 55"/>
            <p:cNvSpPr>
              <a:spLocks/>
            </p:cNvSpPr>
            <p:nvPr/>
          </p:nvSpPr>
          <p:spPr bwMode="auto">
            <a:xfrm>
              <a:off x="1257300" y="3351213"/>
              <a:ext cx="28575" cy="11113"/>
            </a:xfrm>
            <a:custGeom>
              <a:avLst/>
              <a:gdLst>
                <a:gd name="T0" fmla="*/ 2147483646 w 60"/>
                <a:gd name="T1" fmla="*/ 2147483646 h 26"/>
                <a:gd name="T2" fmla="*/ 2147483646 w 60"/>
                <a:gd name="T3" fmla="*/ 2147483646 h 26"/>
                <a:gd name="T4" fmla="*/ 2147483646 w 60"/>
                <a:gd name="T5" fmla="*/ 2147483646 h 26"/>
                <a:gd name="T6" fmla="*/ 2147483646 w 60"/>
                <a:gd name="T7" fmla="*/ 2147483646 h 26"/>
                <a:gd name="T8" fmla="*/ 2147483646 w 60"/>
                <a:gd name="T9" fmla="*/ 2147483646 h 26"/>
                <a:gd name="T10" fmla="*/ 2147483646 w 60"/>
                <a:gd name="T11" fmla="*/ 0 h 26"/>
                <a:gd name="T12" fmla="*/ 2147483646 w 60"/>
                <a:gd name="T13" fmla="*/ 2147483646 h 26"/>
                <a:gd name="T14" fmla="*/ 0 w 60"/>
                <a:gd name="T15" fmla="*/ 2147483646 h 26"/>
                <a:gd name="T16" fmla="*/ 2147483646 w 60"/>
                <a:gd name="T17" fmla="*/ 214748364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26"/>
                <a:gd name="T29" fmla="*/ 60 w 6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26">
                  <a:moveTo>
                    <a:pt x="5" y="26"/>
                  </a:moveTo>
                  <a:lnTo>
                    <a:pt x="5" y="26"/>
                  </a:lnTo>
                  <a:lnTo>
                    <a:pt x="54" y="21"/>
                  </a:lnTo>
                  <a:cubicBezTo>
                    <a:pt x="57" y="21"/>
                    <a:pt x="60" y="16"/>
                    <a:pt x="60" y="11"/>
                  </a:cubicBezTo>
                  <a:cubicBezTo>
                    <a:pt x="60" y="5"/>
                    <a:pt x="57" y="0"/>
                    <a:pt x="54" y="0"/>
                  </a:cubicBezTo>
                  <a:lnTo>
                    <a:pt x="5" y="5"/>
                  </a:lnTo>
                  <a:cubicBezTo>
                    <a:pt x="2" y="5"/>
                    <a:pt x="0" y="10"/>
                    <a:pt x="0" y="16"/>
                  </a:cubicBezTo>
                  <a:cubicBezTo>
                    <a:pt x="0" y="21"/>
                    <a:pt x="2" y="26"/>
                    <a:pt x="5" y="26"/>
                  </a:cubicBezTo>
                  <a:close/>
                </a:path>
              </a:pathLst>
            </a:custGeom>
            <a:grpFill/>
            <a:ln w="0">
              <a:noFill/>
              <a:round/>
              <a:headEnd/>
              <a:tailEnd/>
            </a:ln>
          </p:spPr>
          <p:txBody>
            <a:bodyPr/>
            <a:lstStyle/>
            <a:p>
              <a:endParaRPr lang="zh-CN" altLang="en-US"/>
            </a:p>
          </p:txBody>
        </p:sp>
        <p:sp>
          <p:nvSpPr>
            <p:cNvPr id="387" name="Freeform 56"/>
            <p:cNvSpPr>
              <a:spLocks/>
            </p:cNvSpPr>
            <p:nvPr/>
          </p:nvSpPr>
          <p:spPr bwMode="auto">
            <a:xfrm>
              <a:off x="1257300" y="3368676"/>
              <a:ext cx="28575" cy="12700"/>
            </a:xfrm>
            <a:custGeom>
              <a:avLst/>
              <a:gdLst>
                <a:gd name="T0" fmla="*/ 2147483646 w 60"/>
                <a:gd name="T1" fmla="*/ 0 h 28"/>
                <a:gd name="T2" fmla="*/ 2147483646 w 60"/>
                <a:gd name="T3" fmla="*/ 0 h 28"/>
                <a:gd name="T4" fmla="*/ 2147483646 w 60"/>
                <a:gd name="T5" fmla="*/ 0 h 28"/>
                <a:gd name="T6" fmla="*/ 2147483646 w 60"/>
                <a:gd name="T7" fmla="*/ 2147483646 h 28"/>
                <a:gd name="T8" fmla="*/ 0 w 60"/>
                <a:gd name="T9" fmla="*/ 2147483646 h 28"/>
                <a:gd name="T10" fmla="*/ 2147483646 w 60"/>
                <a:gd name="T11" fmla="*/ 2147483646 h 28"/>
                <a:gd name="T12" fmla="*/ 2147483646 w 60"/>
                <a:gd name="T13" fmla="*/ 2147483646 h 28"/>
                <a:gd name="T14" fmla="*/ 2147483646 w 60"/>
                <a:gd name="T15" fmla="*/ 2147483646 h 28"/>
                <a:gd name="T16" fmla="*/ 2147483646 w 60"/>
                <a:gd name="T17" fmla="*/ 2147483646 h 28"/>
                <a:gd name="T18" fmla="*/ 2147483646 w 60"/>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28"/>
                <a:gd name="T32" fmla="*/ 60 w 60"/>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28">
                  <a:moveTo>
                    <a:pt x="54" y="0"/>
                  </a:moveTo>
                  <a:lnTo>
                    <a:pt x="54" y="0"/>
                  </a:lnTo>
                  <a:lnTo>
                    <a:pt x="5" y="7"/>
                  </a:lnTo>
                  <a:cubicBezTo>
                    <a:pt x="2" y="7"/>
                    <a:pt x="0" y="12"/>
                    <a:pt x="0" y="18"/>
                  </a:cubicBezTo>
                  <a:cubicBezTo>
                    <a:pt x="0" y="23"/>
                    <a:pt x="2" y="28"/>
                    <a:pt x="5" y="28"/>
                  </a:cubicBezTo>
                  <a:lnTo>
                    <a:pt x="54" y="20"/>
                  </a:lnTo>
                  <a:cubicBezTo>
                    <a:pt x="57" y="20"/>
                    <a:pt x="60" y="16"/>
                    <a:pt x="60" y="10"/>
                  </a:cubicBezTo>
                  <a:cubicBezTo>
                    <a:pt x="60" y="4"/>
                    <a:pt x="57" y="0"/>
                    <a:pt x="54" y="0"/>
                  </a:cubicBezTo>
                  <a:close/>
                </a:path>
              </a:pathLst>
            </a:custGeom>
            <a:grpFill/>
            <a:ln w="0">
              <a:noFill/>
              <a:round/>
              <a:headEnd/>
              <a:tailEnd/>
            </a:ln>
          </p:spPr>
          <p:txBody>
            <a:bodyPr/>
            <a:lstStyle/>
            <a:p>
              <a:endParaRPr lang="zh-CN" altLang="en-US"/>
            </a:p>
          </p:txBody>
        </p:sp>
        <p:sp>
          <p:nvSpPr>
            <p:cNvPr id="388" name="Freeform 57"/>
            <p:cNvSpPr>
              <a:spLocks noEditPoints="1"/>
            </p:cNvSpPr>
            <p:nvPr/>
          </p:nvSpPr>
          <p:spPr bwMode="auto">
            <a:xfrm>
              <a:off x="1258888" y="3048001"/>
              <a:ext cx="28575" cy="39688"/>
            </a:xfrm>
            <a:custGeom>
              <a:avLst/>
              <a:gdLst>
                <a:gd name="T0" fmla="*/ 2147483646 w 63"/>
                <a:gd name="T1" fmla="*/ 2147483646 h 83"/>
                <a:gd name="T2" fmla="*/ 2147483646 w 63"/>
                <a:gd name="T3" fmla="*/ 2147483646 h 83"/>
                <a:gd name="T4" fmla="*/ 2147483646 w 63"/>
                <a:gd name="T5" fmla="*/ 2147483646 h 83"/>
                <a:gd name="T6" fmla="*/ 2147483646 w 63"/>
                <a:gd name="T7" fmla="*/ 2147483646 h 83"/>
                <a:gd name="T8" fmla="*/ 2147483646 w 63"/>
                <a:gd name="T9" fmla="*/ 2147483646 h 83"/>
                <a:gd name="T10" fmla="*/ 2147483646 w 63"/>
                <a:gd name="T11" fmla="*/ 2147483646 h 83"/>
                <a:gd name="T12" fmla="*/ 2147483646 w 63"/>
                <a:gd name="T13" fmla="*/ 2147483646 h 83"/>
                <a:gd name="T14" fmla="*/ 2147483646 w 63"/>
                <a:gd name="T15" fmla="*/ 2147483646 h 83"/>
                <a:gd name="T16" fmla="*/ 2147483646 w 63"/>
                <a:gd name="T17" fmla="*/ 2147483646 h 83"/>
                <a:gd name="T18" fmla="*/ 2147483646 w 63"/>
                <a:gd name="T19" fmla="*/ 2147483646 h 83"/>
                <a:gd name="T20" fmla="*/ 2147483646 w 63"/>
                <a:gd name="T21" fmla="*/ 2147483646 h 83"/>
                <a:gd name="T22" fmla="*/ 2147483646 w 63"/>
                <a:gd name="T23" fmla="*/ 2147483646 h 83"/>
                <a:gd name="T24" fmla="*/ 2147483646 w 63"/>
                <a:gd name="T25" fmla="*/ 2147483646 h 83"/>
                <a:gd name="T26" fmla="*/ 2147483646 w 63"/>
                <a:gd name="T27" fmla="*/ 2147483646 h 83"/>
                <a:gd name="T28" fmla="*/ 0 w 63"/>
                <a:gd name="T29" fmla="*/ 2147483646 h 83"/>
                <a:gd name="T30" fmla="*/ 0 w 63"/>
                <a:gd name="T31" fmla="*/ 2147483646 h 83"/>
                <a:gd name="T32" fmla="*/ 2147483646 w 63"/>
                <a:gd name="T33" fmla="*/ 0 h 83"/>
                <a:gd name="T34" fmla="*/ 2147483646 w 63"/>
                <a:gd name="T35" fmla="*/ 0 h 83"/>
                <a:gd name="T36" fmla="*/ 2147483646 w 63"/>
                <a:gd name="T37" fmla="*/ 2147483646 h 83"/>
                <a:gd name="T38" fmla="*/ 2147483646 w 63"/>
                <a:gd name="T39" fmla="*/ 2147483646 h 83"/>
                <a:gd name="T40" fmla="*/ 2147483646 w 63"/>
                <a:gd name="T41" fmla="*/ 2147483646 h 83"/>
                <a:gd name="T42" fmla="*/ 2147483646 w 63"/>
                <a:gd name="T43" fmla="*/ 2147483646 h 83"/>
                <a:gd name="T44" fmla="*/ 2147483646 w 63"/>
                <a:gd name="T45" fmla="*/ 2147483646 h 8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3"/>
                <a:gd name="T70" fmla="*/ 0 h 83"/>
                <a:gd name="T71" fmla="*/ 63 w 63"/>
                <a:gd name="T72" fmla="*/ 83 h 8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3" h="83">
                  <a:moveTo>
                    <a:pt x="15" y="67"/>
                  </a:moveTo>
                  <a:lnTo>
                    <a:pt x="15" y="67"/>
                  </a:lnTo>
                  <a:lnTo>
                    <a:pt x="48" y="70"/>
                  </a:lnTo>
                  <a:cubicBezTo>
                    <a:pt x="48" y="69"/>
                    <a:pt x="49" y="66"/>
                    <a:pt x="49" y="63"/>
                  </a:cubicBezTo>
                  <a:lnTo>
                    <a:pt x="49" y="33"/>
                  </a:lnTo>
                  <a:cubicBezTo>
                    <a:pt x="49" y="28"/>
                    <a:pt x="48" y="25"/>
                    <a:pt x="47" y="25"/>
                  </a:cubicBezTo>
                  <a:lnTo>
                    <a:pt x="14" y="14"/>
                  </a:lnTo>
                  <a:cubicBezTo>
                    <a:pt x="14" y="16"/>
                    <a:pt x="13" y="18"/>
                    <a:pt x="13" y="22"/>
                  </a:cubicBezTo>
                  <a:lnTo>
                    <a:pt x="13" y="58"/>
                  </a:lnTo>
                  <a:cubicBezTo>
                    <a:pt x="13" y="62"/>
                    <a:pt x="14" y="66"/>
                    <a:pt x="15" y="67"/>
                  </a:cubicBezTo>
                  <a:close/>
                  <a:moveTo>
                    <a:pt x="49" y="83"/>
                  </a:moveTo>
                  <a:lnTo>
                    <a:pt x="49" y="83"/>
                  </a:lnTo>
                  <a:lnTo>
                    <a:pt x="13" y="80"/>
                  </a:lnTo>
                  <a:cubicBezTo>
                    <a:pt x="11" y="80"/>
                    <a:pt x="6" y="79"/>
                    <a:pt x="2" y="71"/>
                  </a:cubicBezTo>
                  <a:cubicBezTo>
                    <a:pt x="1" y="68"/>
                    <a:pt x="0" y="63"/>
                    <a:pt x="0" y="58"/>
                  </a:cubicBezTo>
                  <a:lnTo>
                    <a:pt x="0" y="22"/>
                  </a:lnTo>
                  <a:cubicBezTo>
                    <a:pt x="0" y="9"/>
                    <a:pt x="5" y="0"/>
                    <a:pt x="13" y="0"/>
                  </a:cubicBezTo>
                  <a:lnTo>
                    <a:pt x="15" y="0"/>
                  </a:lnTo>
                  <a:lnTo>
                    <a:pt x="51" y="12"/>
                  </a:lnTo>
                  <a:cubicBezTo>
                    <a:pt x="58" y="13"/>
                    <a:pt x="63" y="24"/>
                    <a:pt x="63" y="33"/>
                  </a:cubicBezTo>
                  <a:lnTo>
                    <a:pt x="63" y="63"/>
                  </a:lnTo>
                  <a:cubicBezTo>
                    <a:pt x="63" y="74"/>
                    <a:pt x="57" y="82"/>
                    <a:pt x="50" y="83"/>
                  </a:cubicBezTo>
                  <a:lnTo>
                    <a:pt x="49" y="83"/>
                  </a:lnTo>
                  <a:close/>
                </a:path>
              </a:pathLst>
            </a:custGeom>
            <a:grpFill/>
            <a:ln w="0">
              <a:noFill/>
              <a:round/>
              <a:headEnd/>
              <a:tailEnd/>
            </a:ln>
          </p:spPr>
          <p:txBody>
            <a:bodyPr/>
            <a:lstStyle/>
            <a:p>
              <a:endParaRPr lang="zh-CN" altLang="en-US"/>
            </a:p>
          </p:txBody>
        </p:sp>
        <p:sp>
          <p:nvSpPr>
            <p:cNvPr id="389" name="Freeform 58"/>
            <p:cNvSpPr>
              <a:spLocks noEditPoints="1"/>
            </p:cNvSpPr>
            <p:nvPr/>
          </p:nvSpPr>
          <p:spPr bwMode="auto">
            <a:xfrm>
              <a:off x="1258888" y="3154363"/>
              <a:ext cx="28575" cy="38100"/>
            </a:xfrm>
            <a:custGeom>
              <a:avLst/>
              <a:gdLst>
                <a:gd name="T0" fmla="*/ 2147483646 w 59"/>
                <a:gd name="T1" fmla="*/ 2147483646 h 82"/>
                <a:gd name="T2" fmla="*/ 2147483646 w 59"/>
                <a:gd name="T3" fmla="*/ 2147483646 h 82"/>
                <a:gd name="T4" fmla="*/ 2147483646 w 59"/>
                <a:gd name="T5" fmla="*/ 2147483646 h 82"/>
                <a:gd name="T6" fmla="*/ 2147483646 w 59"/>
                <a:gd name="T7" fmla="*/ 2147483646 h 82"/>
                <a:gd name="T8" fmla="*/ 2147483646 w 59"/>
                <a:gd name="T9" fmla="*/ 2147483646 h 82"/>
                <a:gd name="T10" fmla="*/ 2147483646 w 59"/>
                <a:gd name="T11" fmla="*/ 2147483646 h 82"/>
                <a:gd name="T12" fmla="*/ 2147483646 w 59"/>
                <a:gd name="T13" fmla="*/ 2147483646 h 82"/>
                <a:gd name="T14" fmla="*/ 2147483646 w 59"/>
                <a:gd name="T15" fmla="*/ 2147483646 h 82"/>
                <a:gd name="T16" fmla="*/ 2147483646 w 59"/>
                <a:gd name="T17" fmla="*/ 2147483646 h 82"/>
                <a:gd name="T18" fmla="*/ 2147483646 w 59"/>
                <a:gd name="T19" fmla="*/ 2147483646 h 82"/>
                <a:gd name="T20" fmla="*/ 2147483646 w 59"/>
                <a:gd name="T21" fmla="*/ 2147483646 h 82"/>
                <a:gd name="T22" fmla="*/ 2147483646 w 59"/>
                <a:gd name="T23" fmla="*/ 2147483646 h 82"/>
                <a:gd name="T24" fmla="*/ 0 w 59"/>
                <a:gd name="T25" fmla="*/ 2147483646 h 82"/>
                <a:gd name="T26" fmla="*/ 0 w 59"/>
                <a:gd name="T27" fmla="*/ 2147483646 h 82"/>
                <a:gd name="T28" fmla="*/ 2147483646 w 59"/>
                <a:gd name="T29" fmla="*/ 0 h 82"/>
                <a:gd name="T30" fmla="*/ 2147483646 w 59"/>
                <a:gd name="T31" fmla="*/ 2147483646 h 82"/>
                <a:gd name="T32" fmla="*/ 2147483646 w 59"/>
                <a:gd name="T33" fmla="*/ 2147483646 h 82"/>
                <a:gd name="T34" fmla="*/ 2147483646 w 59"/>
                <a:gd name="T35" fmla="*/ 2147483646 h 82"/>
                <a:gd name="T36" fmla="*/ 2147483646 w 59"/>
                <a:gd name="T37" fmla="*/ 2147483646 h 82"/>
                <a:gd name="T38" fmla="*/ 2147483646 w 59"/>
                <a:gd name="T39" fmla="*/ 2147483646 h 82"/>
                <a:gd name="T40" fmla="*/ 2147483646 w 59"/>
                <a:gd name="T41" fmla="*/ 2147483646 h 8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
                <a:gd name="T64" fmla="*/ 0 h 82"/>
                <a:gd name="T65" fmla="*/ 59 w 59"/>
                <a:gd name="T66" fmla="*/ 82 h 8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 h="82">
                  <a:moveTo>
                    <a:pt x="14" y="14"/>
                  </a:moveTo>
                  <a:lnTo>
                    <a:pt x="14" y="14"/>
                  </a:lnTo>
                  <a:cubicBezTo>
                    <a:pt x="14" y="15"/>
                    <a:pt x="13" y="17"/>
                    <a:pt x="13" y="20"/>
                  </a:cubicBezTo>
                  <a:lnTo>
                    <a:pt x="13" y="62"/>
                  </a:lnTo>
                  <a:cubicBezTo>
                    <a:pt x="13" y="65"/>
                    <a:pt x="14" y="67"/>
                    <a:pt x="14" y="68"/>
                  </a:cubicBezTo>
                  <a:lnTo>
                    <a:pt x="44" y="68"/>
                  </a:lnTo>
                  <a:cubicBezTo>
                    <a:pt x="45" y="67"/>
                    <a:pt x="45" y="65"/>
                    <a:pt x="45" y="63"/>
                  </a:cubicBezTo>
                  <a:lnTo>
                    <a:pt x="45" y="28"/>
                  </a:lnTo>
                  <a:cubicBezTo>
                    <a:pt x="45" y="24"/>
                    <a:pt x="44" y="22"/>
                    <a:pt x="44" y="22"/>
                  </a:cubicBezTo>
                  <a:lnTo>
                    <a:pt x="14" y="14"/>
                  </a:lnTo>
                  <a:close/>
                  <a:moveTo>
                    <a:pt x="13" y="82"/>
                  </a:moveTo>
                  <a:lnTo>
                    <a:pt x="13" y="82"/>
                  </a:lnTo>
                  <a:cubicBezTo>
                    <a:pt x="5" y="82"/>
                    <a:pt x="0" y="73"/>
                    <a:pt x="0" y="62"/>
                  </a:cubicBezTo>
                  <a:lnTo>
                    <a:pt x="0" y="20"/>
                  </a:lnTo>
                  <a:cubicBezTo>
                    <a:pt x="0" y="9"/>
                    <a:pt x="5" y="0"/>
                    <a:pt x="13" y="0"/>
                  </a:cubicBezTo>
                  <a:lnTo>
                    <a:pt x="14" y="1"/>
                  </a:lnTo>
                  <a:lnTo>
                    <a:pt x="47" y="9"/>
                  </a:lnTo>
                  <a:cubicBezTo>
                    <a:pt x="54" y="10"/>
                    <a:pt x="59" y="18"/>
                    <a:pt x="59" y="28"/>
                  </a:cubicBezTo>
                  <a:lnTo>
                    <a:pt x="59" y="63"/>
                  </a:lnTo>
                  <a:cubicBezTo>
                    <a:pt x="59" y="73"/>
                    <a:pt x="53" y="81"/>
                    <a:pt x="46" y="81"/>
                  </a:cubicBezTo>
                  <a:lnTo>
                    <a:pt x="13" y="82"/>
                  </a:lnTo>
                  <a:close/>
                </a:path>
              </a:pathLst>
            </a:custGeom>
            <a:grpFill/>
            <a:ln w="0">
              <a:noFill/>
              <a:round/>
              <a:headEnd/>
              <a:tailEnd/>
            </a:ln>
          </p:spPr>
          <p:txBody>
            <a:bodyPr/>
            <a:lstStyle/>
            <a:p>
              <a:endParaRPr lang="zh-CN" altLang="en-US"/>
            </a:p>
          </p:txBody>
        </p:sp>
        <p:sp>
          <p:nvSpPr>
            <p:cNvPr id="390" name="Freeform 59"/>
            <p:cNvSpPr>
              <a:spLocks noEditPoints="1"/>
            </p:cNvSpPr>
            <p:nvPr/>
          </p:nvSpPr>
          <p:spPr bwMode="auto">
            <a:xfrm>
              <a:off x="1257300" y="3251201"/>
              <a:ext cx="28575" cy="38100"/>
            </a:xfrm>
            <a:custGeom>
              <a:avLst/>
              <a:gdLst>
                <a:gd name="T0" fmla="*/ 2147483646 w 61"/>
                <a:gd name="T1" fmla="*/ 2147483646 h 79"/>
                <a:gd name="T2" fmla="*/ 2147483646 w 61"/>
                <a:gd name="T3" fmla="*/ 2147483646 h 79"/>
                <a:gd name="T4" fmla="*/ 2147483646 w 61"/>
                <a:gd name="T5" fmla="*/ 2147483646 h 79"/>
                <a:gd name="T6" fmla="*/ 2147483646 w 61"/>
                <a:gd name="T7" fmla="*/ 2147483646 h 79"/>
                <a:gd name="T8" fmla="*/ 2147483646 w 61"/>
                <a:gd name="T9" fmla="*/ 2147483646 h 79"/>
                <a:gd name="T10" fmla="*/ 2147483646 w 61"/>
                <a:gd name="T11" fmla="*/ 2147483646 h 79"/>
                <a:gd name="T12" fmla="*/ 2147483646 w 61"/>
                <a:gd name="T13" fmla="*/ 2147483646 h 79"/>
                <a:gd name="T14" fmla="*/ 2147483646 w 61"/>
                <a:gd name="T15" fmla="*/ 2147483646 h 79"/>
                <a:gd name="T16" fmla="*/ 2147483646 w 61"/>
                <a:gd name="T17" fmla="*/ 2147483646 h 79"/>
                <a:gd name="T18" fmla="*/ 2147483646 w 61"/>
                <a:gd name="T19" fmla="*/ 2147483646 h 79"/>
                <a:gd name="T20" fmla="*/ 2147483646 w 61"/>
                <a:gd name="T21" fmla="*/ 2147483646 h 79"/>
                <a:gd name="T22" fmla="*/ 2147483646 w 61"/>
                <a:gd name="T23" fmla="*/ 2147483646 h 79"/>
                <a:gd name="T24" fmla="*/ 0 w 61"/>
                <a:gd name="T25" fmla="*/ 2147483646 h 79"/>
                <a:gd name="T26" fmla="*/ 0 w 61"/>
                <a:gd name="T27" fmla="*/ 2147483646 h 79"/>
                <a:gd name="T28" fmla="*/ 2147483646 w 61"/>
                <a:gd name="T29" fmla="*/ 0 h 79"/>
                <a:gd name="T30" fmla="*/ 2147483646 w 61"/>
                <a:gd name="T31" fmla="*/ 0 h 79"/>
                <a:gd name="T32" fmla="*/ 2147483646 w 61"/>
                <a:gd name="T33" fmla="*/ 2147483646 h 79"/>
                <a:gd name="T34" fmla="*/ 2147483646 w 61"/>
                <a:gd name="T35" fmla="*/ 2147483646 h 79"/>
                <a:gd name="T36" fmla="*/ 2147483646 w 61"/>
                <a:gd name="T37" fmla="*/ 2147483646 h 79"/>
                <a:gd name="T38" fmla="*/ 2147483646 w 61"/>
                <a:gd name="T39" fmla="*/ 2147483646 h 79"/>
                <a:gd name="T40" fmla="*/ 2147483646 w 61"/>
                <a:gd name="T41" fmla="*/ 2147483646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79"/>
                <a:gd name="T65" fmla="*/ 61 w 61"/>
                <a:gd name="T66" fmla="*/ 79 h 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79">
                  <a:moveTo>
                    <a:pt x="14" y="13"/>
                  </a:moveTo>
                  <a:lnTo>
                    <a:pt x="14" y="13"/>
                  </a:lnTo>
                  <a:cubicBezTo>
                    <a:pt x="14" y="14"/>
                    <a:pt x="14" y="16"/>
                    <a:pt x="14" y="19"/>
                  </a:cubicBezTo>
                  <a:lnTo>
                    <a:pt x="14" y="59"/>
                  </a:lnTo>
                  <a:cubicBezTo>
                    <a:pt x="14" y="62"/>
                    <a:pt x="14" y="65"/>
                    <a:pt x="14" y="66"/>
                  </a:cubicBezTo>
                  <a:lnTo>
                    <a:pt x="47" y="62"/>
                  </a:lnTo>
                  <a:cubicBezTo>
                    <a:pt x="48" y="61"/>
                    <a:pt x="48" y="60"/>
                    <a:pt x="48" y="57"/>
                  </a:cubicBezTo>
                  <a:lnTo>
                    <a:pt x="48" y="20"/>
                  </a:lnTo>
                  <a:cubicBezTo>
                    <a:pt x="48" y="17"/>
                    <a:pt x="48" y="15"/>
                    <a:pt x="47" y="14"/>
                  </a:cubicBezTo>
                  <a:lnTo>
                    <a:pt x="14" y="13"/>
                  </a:lnTo>
                  <a:close/>
                  <a:moveTo>
                    <a:pt x="12" y="79"/>
                  </a:moveTo>
                  <a:lnTo>
                    <a:pt x="12" y="79"/>
                  </a:lnTo>
                  <a:cubicBezTo>
                    <a:pt x="5" y="79"/>
                    <a:pt x="0" y="72"/>
                    <a:pt x="0" y="59"/>
                  </a:cubicBezTo>
                  <a:lnTo>
                    <a:pt x="0" y="19"/>
                  </a:lnTo>
                  <a:cubicBezTo>
                    <a:pt x="0" y="7"/>
                    <a:pt x="5" y="0"/>
                    <a:pt x="12" y="0"/>
                  </a:cubicBezTo>
                  <a:lnTo>
                    <a:pt x="14" y="0"/>
                  </a:lnTo>
                  <a:lnTo>
                    <a:pt x="50" y="1"/>
                  </a:lnTo>
                  <a:cubicBezTo>
                    <a:pt x="58" y="2"/>
                    <a:pt x="61" y="12"/>
                    <a:pt x="61" y="20"/>
                  </a:cubicBezTo>
                  <a:lnTo>
                    <a:pt x="61" y="57"/>
                  </a:lnTo>
                  <a:cubicBezTo>
                    <a:pt x="61" y="67"/>
                    <a:pt x="57" y="75"/>
                    <a:pt x="50" y="75"/>
                  </a:cubicBezTo>
                  <a:lnTo>
                    <a:pt x="12" y="79"/>
                  </a:lnTo>
                  <a:close/>
                </a:path>
              </a:pathLst>
            </a:custGeom>
            <a:grpFill/>
            <a:ln w="0">
              <a:noFill/>
              <a:round/>
              <a:headEnd/>
              <a:tailEnd/>
            </a:ln>
          </p:spPr>
          <p:txBody>
            <a:bodyPr/>
            <a:lstStyle/>
            <a:p>
              <a:endParaRPr lang="zh-CN" altLang="en-US"/>
            </a:p>
          </p:txBody>
        </p:sp>
        <p:sp>
          <p:nvSpPr>
            <p:cNvPr id="391" name="Freeform 60"/>
            <p:cNvSpPr>
              <a:spLocks/>
            </p:cNvSpPr>
            <p:nvPr/>
          </p:nvSpPr>
          <p:spPr bwMode="auto">
            <a:xfrm>
              <a:off x="1419225" y="3357563"/>
              <a:ext cx="122238" cy="22225"/>
            </a:xfrm>
            <a:custGeom>
              <a:avLst/>
              <a:gdLst>
                <a:gd name="T0" fmla="*/ 2147483646 w 257"/>
                <a:gd name="T1" fmla="*/ 2147483646 h 50"/>
                <a:gd name="T2" fmla="*/ 2147483646 w 257"/>
                <a:gd name="T3" fmla="*/ 2147483646 h 50"/>
                <a:gd name="T4" fmla="*/ 2147483646 w 257"/>
                <a:gd name="T5" fmla="*/ 2147483646 h 50"/>
                <a:gd name="T6" fmla="*/ 2147483646 w 257"/>
                <a:gd name="T7" fmla="*/ 2147483646 h 50"/>
                <a:gd name="T8" fmla="*/ 0 w 257"/>
                <a:gd name="T9" fmla="*/ 2147483646 h 50"/>
                <a:gd name="T10" fmla="*/ 2147483646 w 257"/>
                <a:gd name="T11" fmla="*/ 0 h 50"/>
                <a:gd name="T12" fmla="*/ 2147483646 w 257"/>
                <a:gd name="T13" fmla="*/ 0 h 50"/>
                <a:gd name="T14" fmla="*/ 2147483646 w 257"/>
                <a:gd name="T15" fmla="*/ 2147483646 h 50"/>
                <a:gd name="T16" fmla="*/ 0 60000 65536"/>
                <a:gd name="T17" fmla="*/ 0 60000 65536"/>
                <a:gd name="T18" fmla="*/ 0 60000 65536"/>
                <a:gd name="T19" fmla="*/ 0 60000 65536"/>
                <a:gd name="T20" fmla="*/ 0 60000 65536"/>
                <a:gd name="T21" fmla="*/ 0 60000 65536"/>
                <a:gd name="T22" fmla="*/ 0 60000 65536"/>
                <a:gd name="T23" fmla="*/ 0 60000 65536"/>
                <a:gd name="T24" fmla="*/ 0 w 257"/>
                <a:gd name="T25" fmla="*/ 0 h 50"/>
                <a:gd name="T26" fmla="*/ 257 w 257"/>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 h="50">
                  <a:moveTo>
                    <a:pt x="257" y="25"/>
                  </a:moveTo>
                  <a:lnTo>
                    <a:pt x="257" y="25"/>
                  </a:lnTo>
                  <a:cubicBezTo>
                    <a:pt x="257" y="39"/>
                    <a:pt x="248" y="50"/>
                    <a:pt x="238" y="50"/>
                  </a:cubicBezTo>
                  <a:lnTo>
                    <a:pt x="19" y="50"/>
                  </a:lnTo>
                  <a:cubicBezTo>
                    <a:pt x="8" y="50"/>
                    <a:pt x="0" y="39"/>
                    <a:pt x="0" y="25"/>
                  </a:cubicBezTo>
                  <a:cubicBezTo>
                    <a:pt x="0" y="11"/>
                    <a:pt x="8" y="0"/>
                    <a:pt x="19" y="0"/>
                  </a:cubicBezTo>
                  <a:lnTo>
                    <a:pt x="238" y="0"/>
                  </a:lnTo>
                  <a:cubicBezTo>
                    <a:pt x="248" y="0"/>
                    <a:pt x="257" y="11"/>
                    <a:pt x="257" y="25"/>
                  </a:cubicBezTo>
                  <a:close/>
                </a:path>
              </a:pathLst>
            </a:custGeom>
            <a:grpFill/>
            <a:ln w="0">
              <a:noFill/>
              <a:round/>
              <a:headEnd/>
              <a:tailEnd/>
            </a:ln>
          </p:spPr>
          <p:txBody>
            <a:bodyPr/>
            <a:lstStyle/>
            <a:p>
              <a:endParaRPr lang="zh-CN" altLang="en-US"/>
            </a:p>
          </p:txBody>
        </p:sp>
        <p:sp>
          <p:nvSpPr>
            <p:cNvPr id="392" name="Freeform 61"/>
            <p:cNvSpPr>
              <a:spLocks/>
            </p:cNvSpPr>
            <p:nvPr/>
          </p:nvSpPr>
          <p:spPr bwMode="auto">
            <a:xfrm>
              <a:off x="1419225" y="3403601"/>
              <a:ext cx="122238" cy="23813"/>
            </a:xfrm>
            <a:custGeom>
              <a:avLst/>
              <a:gdLst>
                <a:gd name="T0" fmla="*/ 2147483646 w 257"/>
                <a:gd name="T1" fmla="*/ 2147483646 h 50"/>
                <a:gd name="T2" fmla="*/ 2147483646 w 257"/>
                <a:gd name="T3" fmla="*/ 2147483646 h 50"/>
                <a:gd name="T4" fmla="*/ 2147483646 w 257"/>
                <a:gd name="T5" fmla="*/ 2147483646 h 50"/>
                <a:gd name="T6" fmla="*/ 2147483646 w 257"/>
                <a:gd name="T7" fmla="*/ 2147483646 h 50"/>
                <a:gd name="T8" fmla="*/ 0 w 257"/>
                <a:gd name="T9" fmla="*/ 2147483646 h 50"/>
                <a:gd name="T10" fmla="*/ 2147483646 w 257"/>
                <a:gd name="T11" fmla="*/ 0 h 50"/>
                <a:gd name="T12" fmla="*/ 2147483646 w 257"/>
                <a:gd name="T13" fmla="*/ 0 h 50"/>
                <a:gd name="T14" fmla="*/ 2147483646 w 257"/>
                <a:gd name="T15" fmla="*/ 2147483646 h 50"/>
                <a:gd name="T16" fmla="*/ 0 60000 65536"/>
                <a:gd name="T17" fmla="*/ 0 60000 65536"/>
                <a:gd name="T18" fmla="*/ 0 60000 65536"/>
                <a:gd name="T19" fmla="*/ 0 60000 65536"/>
                <a:gd name="T20" fmla="*/ 0 60000 65536"/>
                <a:gd name="T21" fmla="*/ 0 60000 65536"/>
                <a:gd name="T22" fmla="*/ 0 60000 65536"/>
                <a:gd name="T23" fmla="*/ 0 60000 65536"/>
                <a:gd name="T24" fmla="*/ 0 w 257"/>
                <a:gd name="T25" fmla="*/ 0 h 50"/>
                <a:gd name="T26" fmla="*/ 257 w 257"/>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 h="50">
                  <a:moveTo>
                    <a:pt x="257" y="25"/>
                  </a:moveTo>
                  <a:lnTo>
                    <a:pt x="257" y="25"/>
                  </a:lnTo>
                  <a:cubicBezTo>
                    <a:pt x="257" y="39"/>
                    <a:pt x="248" y="50"/>
                    <a:pt x="238" y="50"/>
                  </a:cubicBezTo>
                  <a:lnTo>
                    <a:pt x="19" y="50"/>
                  </a:lnTo>
                  <a:cubicBezTo>
                    <a:pt x="8" y="50"/>
                    <a:pt x="0" y="39"/>
                    <a:pt x="0" y="25"/>
                  </a:cubicBezTo>
                  <a:cubicBezTo>
                    <a:pt x="0" y="11"/>
                    <a:pt x="8" y="0"/>
                    <a:pt x="19" y="0"/>
                  </a:cubicBezTo>
                  <a:lnTo>
                    <a:pt x="238" y="0"/>
                  </a:lnTo>
                  <a:cubicBezTo>
                    <a:pt x="248" y="0"/>
                    <a:pt x="257" y="11"/>
                    <a:pt x="257" y="25"/>
                  </a:cubicBezTo>
                  <a:close/>
                </a:path>
              </a:pathLst>
            </a:custGeom>
            <a:grpFill/>
            <a:ln w="0">
              <a:noFill/>
              <a:round/>
              <a:headEnd/>
              <a:tailEnd/>
            </a:ln>
          </p:spPr>
          <p:txBody>
            <a:bodyPr/>
            <a:lstStyle/>
            <a:p>
              <a:endParaRPr lang="zh-CN" altLang="en-US"/>
            </a:p>
          </p:txBody>
        </p:sp>
      </p:grpSp>
      <p:grpSp>
        <p:nvGrpSpPr>
          <p:cNvPr id="19" name="组合 366"/>
          <p:cNvGrpSpPr>
            <a:grpSpLocks/>
          </p:cNvGrpSpPr>
          <p:nvPr/>
        </p:nvGrpSpPr>
        <p:grpSpPr bwMode="auto">
          <a:xfrm>
            <a:off x="2492284" y="5357243"/>
            <a:ext cx="313868" cy="394167"/>
            <a:chOff x="8951913" y="4081463"/>
            <a:chExt cx="482600" cy="611187"/>
          </a:xfrm>
          <a:solidFill>
            <a:schemeClr val="bg1"/>
          </a:solidFill>
          <a:scene3d>
            <a:camera prst="orthographicFront"/>
            <a:lightRig rig="threePt" dir="t"/>
          </a:scene3d>
        </p:grpSpPr>
        <p:sp>
          <p:nvSpPr>
            <p:cNvPr id="394" name="Freeform 339"/>
            <p:cNvSpPr>
              <a:spLocks noEditPoints="1"/>
            </p:cNvSpPr>
            <p:nvPr/>
          </p:nvSpPr>
          <p:spPr bwMode="auto">
            <a:xfrm>
              <a:off x="8951913" y="4081463"/>
              <a:ext cx="482600" cy="250825"/>
            </a:xfrm>
            <a:custGeom>
              <a:avLst/>
              <a:gdLst>
                <a:gd name="T0" fmla="*/ 2147483646 w 1023"/>
                <a:gd name="T1" fmla="*/ 2147483646 h 534"/>
                <a:gd name="T2" fmla="*/ 2147483646 w 1023"/>
                <a:gd name="T3" fmla="*/ 2147483646 h 534"/>
                <a:gd name="T4" fmla="*/ 2147483646 w 1023"/>
                <a:gd name="T5" fmla="*/ 2147483646 h 534"/>
                <a:gd name="T6" fmla="*/ 2147483646 w 1023"/>
                <a:gd name="T7" fmla="*/ 2147483646 h 534"/>
                <a:gd name="T8" fmla="*/ 2147483646 w 1023"/>
                <a:gd name="T9" fmla="*/ 2147483646 h 534"/>
                <a:gd name="T10" fmla="*/ 2147483646 w 1023"/>
                <a:gd name="T11" fmla="*/ 2147483646 h 534"/>
                <a:gd name="T12" fmla="*/ 2147483646 w 1023"/>
                <a:gd name="T13" fmla="*/ 2147483646 h 534"/>
                <a:gd name="T14" fmla="*/ 2147483646 w 1023"/>
                <a:gd name="T15" fmla="*/ 2147483646 h 534"/>
                <a:gd name="T16" fmla="*/ 0 w 1023"/>
                <a:gd name="T17" fmla="*/ 2147483646 h 534"/>
                <a:gd name="T18" fmla="*/ 2147483646 w 1023"/>
                <a:gd name="T19" fmla="*/ 0 h 534"/>
                <a:gd name="T20" fmla="*/ 2147483646 w 1023"/>
                <a:gd name="T21" fmla="*/ 2147483646 h 534"/>
                <a:gd name="T22" fmla="*/ 2147483646 w 1023"/>
                <a:gd name="T23" fmla="*/ 2147483646 h 5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3"/>
                <a:gd name="T37" fmla="*/ 0 h 534"/>
                <a:gd name="T38" fmla="*/ 1023 w 1023"/>
                <a:gd name="T39" fmla="*/ 534 h 5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3" h="534">
                  <a:moveTo>
                    <a:pt x="511" y="54"/>
                  </a:moveTo>
                  <a:lnTo>
                    <a:pt x="511" y="54"/>
                  </a:lnTo>
                  <a:cubicBezTo>
                    <a:pt x="263" y="54"/>
                    <a:pt x="53" y="151"/>
                    <a:pt x="53" y="267"/>
                  </a:cubicBezTo>
                  <a:cubicBezTo>
                    <a:pt x="53" y="383"/>
                    <a:pt x="263" y="480"/>
                    <a:pt x="511" y="480"/>
                  </a:cubicBezTo>
                  <a:cubicBezTo>
                    <a:pt x="759" y="480"/>
                    <a:pt x="969" y="383"/>
                    <a:pt x="969" y="267"/>
                  </a:cubicBezTo>
                  <a:cubicBezTo>
                    <a:pt x="969" y="151"/>
                    <a:pt x="759" y="54"/>
                    <a:pt x="511" y="54"/>
                  </a:cubicBezTo>
                  <a:close/>
                  <a:moveTo>
                    <a:pt x="511" y="534"/>
                  </a:moveTo>
                  <a:lnTo>
                    <a:pt x="511" y="534"/>
                  </a:lnTo>
                  <a:cubicBezTo>
                    <a:pt x="224" y="534"/>
                    <a:pt x="0" y="417"/>
                    <a:pt x="0" y="267"/>
                  </a:cubicBezTo>
                  <a:cubicBezTo>
                    <a:pt x="0" y="118"/>
                    <a:pt x="224" y="0"/>
                    <a:pt x="511" y="0"/>
                  </a:cubicBezTo>
                  <a:cubicBezTo>
                    <a:pt x="798" y="0"/>
                    <a:pt x="1023" y="118"/>
                    <a:pt x="1023" y="267"/>
                  </a:cubicBezTo>
                  <a:cubicBezTo>
                    <a:pt x="1023" y="417"/>
                    <a:pt x="798" y="534"/>
                    <a:pt x="511" y="534"/>
                  </a:cubicBezTo>
                  <a:close/>
                </a:path>
              </a:pathLst>
            </a:custGeom>
            <a:grpFill/>
            <a:ln w="0">
              <a:noFill/>
              <a:round/>
              <a:headEnd/>
              <a:tailEnd/>
            </a:ln>
          </p:spPr>
          <p:txBody>
            <a:bodyPr/>
            <a:lstStyle/>
            <a:p>
              <a:endParaRPr lang="zh-CN" altLang="en-US"/>
            </a:p>
          </p:txBody>
        </p:sp>
        <p:sp>
          <p:nvSpPr>
            <p:cNvPr id="395" name="Freeform 340"/>
            <p:cNvSpPr>
              <a:spLocks noEditPoints="1"/>
            </p:cNvSpPr>
            <p:nvPr/>
          </p:nvSpPr>
          <p:spPr bwMode="auto">
            <a:xfrm>
              <a:off x="8951913" y="4200525"/>
              <a:ext cx="482600" cy="361950"/>
            </a:xfrm>
            <a:custGeom>
              <a:avLst/>
              <a:gdLst>
                <a:gd name="T0" fmla="*/ 2147483646 w 1023"/>
                <a:gd name="T1" fmla="*/ 2147483646 h 769"/>
                <a:gd name="T2" fmla="*/ 2147483646 w 1023"/>
                <a:gd name="T3" fmla="*/ 2147483646 h 769"/>
                <a:gd name="T4" fmla="*/ 2147483646 w 1023"/>
                <a:gd name="T5" fmla="*/ 2147483646 h 769"/>
                <a:gd name="T6" fmla="*/ 2147483646 w 1023"/>
                <a:gd name="T7" fmla="*/ 2147483646 h 769"/>
                <a:gd name="T8" fmla="*/ 2147483646 w 1023"/>
                <a:gd name="T9" fmla="*/ 2147483646 h 769"/>
                <a:gd name="T10" fmla="*/ 2147483646 w 1023"/>
                <a:gd name="T11" fmla="*/ 2147483646 h 769"/>
                <a:gd name="T12" fmla="*/ 2147483646 w 1023"/>
                <a:gd name="T13" fmla="*/ 2147483646 h 769"/>
                <a:gd name="T14" fmla="*/ 2147483646 w 1023"/>
                <a:gd name="T15" fmla="*/ 2147483646 h 769"/>
                <a:gd name="T16" fmla="*/ 2147483646 w 1023"/>
                <a:gd name="T17" fmla="*/ 2147483646 h 769"/>
                <a:gd name="T18" fmla="*/ 2147483646 w 1023"/>
                <a:gd name="T19" fmla="*/ 2147483646 h 769"/>
                <a:gd name="T20" fmla="*/ 2147483646 w 1023"/>
                <a:gd name="T21" fmla="*/ 2147483646 h 769"/>
                <a:gd name="T22" fmla="*/ 2147483646 w 1023"/>
                <a:gd name="T23" fmla="*/ 2147483646 h 769"/>
                <a:gd name="T24" fmla="*/ 2147483646 w 1023"/>
                <a:gd name="T25" fmla="*/ 2147483646 h 769"/>
                <a:gd name="T26" fmla="*/ 0 w 1023"/>
                <a:gd name="T27" fmla="*/ 2147483646 h 769"/>
                <a:gd name="T28" fmla="*/ 0 w 1023"/>
                <a:gd name="T29" fmla="*/ 2147483646 h 769"/>
                <a:gd name="T30" fmla="*/ 2147483646 w 1023"/>
                <a:gd name="T31" fmla="*/ 0 h 769"/>
                <a:gd name="T32" fmla="*/ 2147483646 w 1023"/>
                <a:gd name="T33" fmla="*/ 2147483646 h 769"/>
                <a:gd name="T34" fmla="*/ 2147483646 w 1023"/>
                <a:gd name="T35" fmla="*/ 2147483646 h 769"/>
                <a:gd name="T36" fmla="*/ 2147483646 w 1023"/>
                <a:gd name="T37" fmla="*/ 2147483646 h 769"/>
                <a:gd name="T38" fmla="*/ 2147483646 w 1023"/>
                <a:gd name="T39" fmla="*/ 2147483646 h 769"/>
                <a:gd name="T40" fmla="*/ 2147483646 w 1023"/>
                <a:gd name="T41" fmla="*/ 2147483646 h 769"/>
                <a:gd name="T42" fmla="*/ 2147483646 w 1023"/>
                <a:gd name="T43" fmla="*/ 2147483646 h 769"/>
                <a:gd name="T44" fmla="*/ 2147483646 w 1023"/>
                <a:gd name="T45" fmla="*/ 2147483646 h 769"/>
                <a:gd name="T46" fmla="*/ 2147483646 w 1023"/>
                <a:gd name="T47" fmla="*/ 2147483646 h 7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23"/>
                <a:gd name="T73" fmla="*/ 0 h 769"/>
                <a:gd name="T74" fmla="*/ 1023 w 1023"/>
                <a:gd name="T75" fmla="*/ 769 h 7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23" h="769">
                  <a:moveTo>
                    <a:pt x="53" y="503"/>
                  </a:moveTo>
                  <a:lnTo>
                    <a:pt x="53" y="503"/>
                  </a:lnTo>
                  <a:cubicBezTo>
                    <a:pt x="53" y="618"/>
                    <a:pt x="263" y="716"/>
                    <a:pt x="511" y="716"/>
                  </a:cubicBezTo>
                  <a:cubicBezTo>
                    <a:pt x="759" y="716"/>
                    <a:pt x="969" y="618"/>
                    <a:pt x="969" y="503"/>
                  </a:cubicBezTo>
                  <a:lnTo>
                    <a:pt x="969" y="385"/>
                  </a:lnTo>
                  <a:cubicBezTo>
                    <a:pt x="886" y="473"/>
                    <a:pt x="714" y="531"/>
                    <a:pt x="511" y="531"/>
                  </a:cubicBezTo>
                  <a:cubicBezTo>
                    <a:pt x="308" y="531"/>
                    <a:pt x="136" y="473"/>
                    <a:pt x="53" y="385"/>
                  </a:cubicBezTo>
                  <a:lnTo>
                    <a:pt x="53" y="503"/>
                  </a:lnTo>
                  <a:close/>
                  <a:moveTo>
                    <a:pt x="511" y="769"/>
                  </a:moveTo>
                  <a:lnTo>
                    <a:pt x="511" y="769"/>
                  </a:lnTo>
                  <a:cubicBezTo>
                    <a:pt x="308" y="769"/>
                    <a:pt x="136" y="711"/>
                    <a:pt x="53" y="623"/>
                  </a:cubicBezTo>
                  <a:lnTo>
                    <a:pt x="53" y="743"/>
                  </a:lnTo>
                  <a:cubicBezTo>
                    <a:pt x="53" y="758"/>
                    <a:pt x="41" y="769"/>
                    <a:pt x="26" y="769"/>
                  </a:cubicBezTo>
                  <a:cubicBezTo>
                    <a:pt x="12" y="769"/>
                    <a:pt x="0" y="758"/>
                    <a:pt x="0" y="743"/>
                  </a:cubicBezTo>
                  <a:lnTo>
                    <a:pt x="0" y="27"/>
                  </a:lnTo>
                  <a:cubicBezTo>
                    <a:pt x="0" y="12"/>
                    <a:pt x="12" y="0"/>
                    <a:pt x="26" y="0"/>
                  </a:cubicBezTo>
                  <a:cubicBezTo>
                    <a:pt x="41" y="0"/>
                    <a:pt x="53" y="12"/>
                    <a:pt x="53" y="27"/>
                  </a:cubicBezTo>
                  <a:lnTo>
                    <a:pt x="53" y="265"/>
                  </a:lnTo>
                  <a:cubicBezTo>
                    <a:pt x="53" y="380"/>
                    <a:pt x="263" y="478"/>
                    <a:pt x="511" y="478"/>
                  </a:cubicBezTo>
                  <a:cubicBezTo>
                    <a:pt x="759" y="478"/>
                    <a:pt x="969" y="380"/>
                    <a:pt x="969" y="265"/>
                  </a:cubicBezTo>
                  <a:lnTo>
                    <a:pt x="969" y="27"/>
                  </a:lnTo>
                  <a:lnTo>
                    <a:pt x="1023" y="27"/>
                  </a:lnTo>
                  <a:lnTo>
                    <a:pt x="1023" y="503"/>
                  </a:lnTo>
                  <a:cubicBezTo>
                    <a:pt x="1023" y="652"/>
                    <a:pt x="798" y="769"/>
                    <a:pt x="511" y="769"/>
                  </a:cubicBezTo>
                  <a:close/>
                </a:path>
              </a:pathLst>
            </a:custGeom>
            <a:grpFill/>
            <a:ln w="0">
              <a:noFill/>
              <a:round/>
              <a:headEnd/>
              <a:tailEnd/>
            </a:ln>
          </p:spPr>
          <p:txBody>
            <a:bodyPr/>
            <a:lstStyle/>
            <a:p>
              <a:endParaRPr lang="zh-CN" altLang="en-US"/>
            </a:p>
          </p:txBody>
        </p:sp>
        <p:sp>
          <p:nvSpPr>
            <p:cNvPr id="396" name="Freeform 341"/>
            <p:cNvSpPr>
              <a:spLocks/>
            </p:cNvSpPr>
            <p:nvPr/>
          </p:nvSpPr>
          <p:spPr bwMode="auto">
            <a:xfrm>
              <a:off x="9361488" y="4467225"/>
              <a:ext cx="73025" cy="161925"/>
            </a:xfrm>
            <a:custGeom>
              <a:avLst/>
              <a:gdLst>
                <a:gd name="T0" fmla="*/ 2147483646 w 154"/>
                <a:gd name="T1" fmla="*/ 2147483646 h 347"/>
                <a:gd name="T2" fmla="*/ 2147483646 w 154"/>
                <a:gd name="T3" fmla="*/ 2147483646 h 347"/>
                <a:gd name="T4" fmla="*/ 2147483646 w 154"/>
                <a:gd name="T5" fmla="*/ 2147483646 h 347"/>
                <a:gd name="T6" fmla="*/ 2147483646 w 154"/>
                <a:gd name="T7" fmla="*/ 2147483646 h 347"/>
                <a:gd name="T8" fmla="*/ 2147483646 w 154"/>
                <a:gd name="T9" fmla="*/ 2147483646 h 347"/>
                <a:gd name="T10" fmla="*/ 2147483646 w 154"/>
                <a:gd name="T11" fmla="*/ 0 h 347"/>
                <a:gd name="T12" fmla="*/ 2147483646 w 154"/>
                <a:gd name="T13" fmla="*/ 0 h 347"/>
                <a:gd name="T14" fmla="*/ 2147483646 w 154"/>
                <a:gd name="T15" fmla="*/ 2147483646 h 347"/>
                <a:gd name="T16" fmla="*/ 2147483646 w 154"/>
                <a:gd name="T17" fmla="*/ 2147483646 h 347"/>
                <a:gd name="T18" fmla="*/ 2147483646 w 154"/>
                <a:gd name="T19" fmla="*/ 2147483646 h 3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347"/>
                <a:gd name="T32" fmla="*/ 154 w 154"/>
                <a:gd name="T33" fmla="*/ 347 h 3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347">
                  <a:moveTo>
                    <a:pt x="31" y="347"/>
                  </a:moveTo>
                  <a:lnTo>
                    <a:pt x="31" y="347"/>
                  </a:lnTo>
                  <a:cubicBezTo>
                    <a:pt x="22" y="347"/>
                    <a:pt x="14" y="343"/>
                    <a:pt x="9" y="335"/>
                  </a:cubicBezTo>
                  <a:cubicBezTo>
                    <a:pt x="0" y="323"/>
                    <a:pt x="4" y="306"/>
                    <a:pt x="16" y="298"/>
                  </a:cubicBezTo>
                  <a:cubicBezTo>
                    <a:pt x="54" y="273"/>
                    <a:pt x="100" y="231"/>
                    <a:pt x="100" y="177"/>
                  </a:cubicBezTo>
                  <a:lnTo>
                    <a:pt x="100" y="0"/>
                  </a:lnTo>
                  <a:lnTo>
                    <a:pt x="154" y="0"/>
                  </a:lnTo>
                  <a:lnTo>
                    <a:pt x="154" y="179"/>
                  </a:lnTo>
                  <a:cubicBezTo>
                    <a:pt x="153" y="240"/>
                    <a:pt x="115" y="296"/>
                    <a:pt x="45" y="343"/>
                  </a:cubicBezTo>
                  <a:cubicBezTo>
                    <a:pt x="41" y="346"/>
                    <a:pt x="36" y="347"/>
                    <a:pt x="31" y="347"/>
                  </a:cubicBezTo>
                  <a:close/>
                </a:path>
              </a:pathLst>
            </a:custGeom>
            <a:grpFill/>
            <a:ln w="0">
              <a:noFill/>
              <a:round/>
              <a:headEnd/>
              <a:tailEnd/>
            </a:ln>
          </p:spPr>
          <p:txBody>
            <a:bodyPr/>
            <a:lstStyle/>
            <a:p>
              <a:endParaRPr lang="zh-CN" altLang="en-US"/>
            </a:p>
          </p:txBody>
        </p:sp>
        <p:sp>
          <p:nvSpPr>
            <p:cNvPr id="397" name="Freeform 342"/>
            <p:cNvSpPr>
              <a:spLocks/>
            </p:cNvSpPr>
            <p:nvPr/>
          </p:nvSpPr>
          <p:spPr bwMode="auto">
            <a:xfrm>
              <a:off x="8951913" y="4381500"/>
              <a:ext cx="328613" cy="293688"/>
            </a:xfrm>
            <a:custGeom>
              <a:avLst/>
              <a:gdLst>
                <a:gd name="T0" fmla="*/ 2147483646 w 698"/>
                <a:gd name="T1" fmla="*/ 2147483646 h 623"/>
                <a:gd name="T2" fmla="*/ 2147483646 w 698"/>
                <a:gd name="T3" fmla="*/ 2147483646 h 623"/>
                <a:gd name="T4" fmla="*/ 0 w 698"/>
                <a:gd name="T5" fmla="*/ 2147483646 h 623"/>
                <a:gd name="T6" fmla="*/ 0 w 698"/>
                <a:gd name="T7" fmla="*/ 0 h 623"/>
                <a:gd name="T8" fmla="*/ 2147483646 w 698"/>
                <a:gd name="T9" fmla="*/ 0 h 623"/>
                <a:gd name="T10" fmla="*/ 2147483646 w 698"/>
                <a:gd name="T11" fmla="*/ 2147483646 h 623"/>
                <a:gd name="T12" fmla="*/ 2147483646 w 698"/>
                <a:gd name="T13" fmla="*/ 2147483646 h 623"/>
                <a:gd name="T14" fmla="*/ 2147483646 w 698"/>
                <a:gd name="T15" fmla="*/ 2147483646 h 623"/>
                <a:gd name="T16" fmla="*/ 2147483646 w 698"/>
                <a:gd name="T17" fmla="*/ 2147483646 h 623"/>
                <a:gd name="T18" fmla="*/ 2147483646 w 698"/>
                <a:gd name="T19" fmla="*/ 2147483646 h 623"/>
                <a:gd name="T20" fmla="*/ 2147483646 w 698"/>
                <a:gd name="T21" fmla="*/ 2147483646 h 6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8"/>
                <a:gd name="T34" fmla="*/ 0 h 623"/>
                <a:gd name="T35" fmla="*/ 698 w 698"/>
                <a:gd name="T36" fmla="*/ 623 h 6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8" h="623">
                  <a:moveTo>
                    <a:pt x="511" y="623"/>
                  </a:moveTo>
                  <a:lnTo>
                    <a:pt x="511" y="623"/>
                  </a:lnTo>
                  <a:cubicBezTo>
                    <a:pt x="224" y="623"/>
                    <a:pt x="0" y="505"/>
                    <a:pt x="0" y="356"/>
                  </a:cubicBezTo>
                  <a:lnTo>
                    <a:pt x="0" y="0"/>
                  </a:lnTo>
                  <a:lnTo>
                    <a:pt x="53" y="0"/>
                  </a:lnTo>
                  <a:lnTo>
                    <a:pt x="53" y="356"/>
                  </a:lnTo>
                  <a:cubicBezTo>
                    <a:pt x="53" y="472"/>
                    <a:pt x="263" y="569"/>
                    <a:pt x="511" y="569"/>
                  </a:cubicBezTo>
                  <a:cubicBezTo>
                    <a:pt x="564" y="569"/>
                    <a:pt x="615" y="565"/>
                    <a:pt x="665" y="557"/>
                  </a:cubicBezTo>
                  <a:cubicBezTo>
                    <a:pt x="679" y="554"/>
                    <a:pt x="693" y="564"/>
                    <a:pt x="695" y="578"/>
                  </a:cubicBezTo>
                  <a:cubicBezTo>
                    <a:pt x="698" y="593"/>
                    <a:pt x="688" y="607"/>
                    <a:pt x="674" y="609"/>
                  </a:cubicBezTo>
                  <a:cubicBezTo>
                    <a:pt x="621" y="618"/>
                    <a:pt x="567" y="623"/>
                    <a:pt x="511" y="623"/>
                  </a:cubicBezTo>
                  <a:close/>
                </a:path>
              </a:pathLst>
            </a:custGeom>
            <a:grpFill/>
            <a:ln w="0">
              <a:noFill/>
              <a:round/>
              <a:headEnd/>
              <a:tailEnd/>
            </a:ln>
          </p:spPr>
          <p:txBody>
            <a:bodyPr/>
            <a:lstStyle/>
            <a:p>
              <a:endParaRPr lang="zh-CN" altLang="en-US"/>
            </a:p>
          </p:txBody>
        </p:sp>
        <p:sp>
          <p:nvSpPr>
            <p:cNvPr id="398" name="Freeform 343"/>
            <p:cNvSpPr>
              <a:spLocks/>
            </p:cNvSpPr>
            <p:nvPr/>
          </p:nvSpPr>
          <p:spPr bwMode="auto">
            <a:xfrm>
              <a:off x="9409113" y="4368800"/>
              <a:ext cx="25400" cy="109538"/>
            </a:xfrm>
            <a:custGeom>
              <a:avLst/>
              <a:gdLst>
                <a:gd name="T0" fmla="*/ 2147483646 w 54"/>
                <a:gd name="T1" fmla="*/ 2147483646 h 231"/>
                <a:gd name="T2" fmla="*/ 2147483646 w 54"/>
                <a:gd name="T3" fmla="*/ 2147483646 h 231"/>
                <a:gd name="T4" fmla="*/ 0 w 54"/>
                <a:gd name="T5" fmla="*/ 2147483646 h 231"/>
                <a:gd name="T6" fmla="*/ 0 w 54"/>
                <a:gd name="T7" fmla="*/ 2147483646 h 231"/>
                <a:gd name="T8" fmla="*/ 2147483646 w 54"/>
                <a:gd name="T9" fmla="*/ 0 h 231"/>
                <a:gd name="T10" fmla="*/ 2147483646 w 54"/>
                <a:gd name="T11" fmla="*/ 2147483646 h 231"/>
                <a:gd name="T12" fmla="*/ 2147483646 w 54"/>
                <a:gd name="T13" fmla="*/ 2147483646 h 231"/>
                <a:gd name="T14" fmla="*/ 2147483646 w 54"/>
                <a:gd name="T15" fmla="*/ 2147483646 h 231"/>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231"/>
                <a:gd name="T26" fmla="*/ 54 w 54"/>
                <a:gd name="T27" fmla="*/ 231 h 2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231">
                  <a:moveTo>
                    <a:pt x="27" y="231"/>
                  </a:moveTo>
                  <a:lnTo>
                    <a:pt x="27" y="231"/>
                  </a:lnTo>
                  <a:cubicBezTo>
                    <a:pt x="12" y="231"/>
                    <a:pt x="0" y="219"/>
                    <a:pt x="0" y="204"/>
                  </a:cubicBezTo>
                  <a:lnTo>
                    <a:pt x="0" y="27"/>
                  </a:lnTo>
                  <a:cubicBezTo>
                    <a:pt x="0" y="12"/>
                    <a:pt x="12" y="0"/>
                    <a:pt x="27" y="0"/>
                  </a:cubicBezTo>
                  <a:cubicBezTo>
                    <a:pt x="42" y="0"/>
                    <a:pt x="54" y="12"/>
                    <a:pt x="54" y="27"/>
                  </a:cubicBezTo>
                  <a:lnTo>
                    <a:pt x="54" y="204"/>
                  </a:lnTo>
                  <a:cubicBezTo>
                    <a:pt x="54" y="219"/>
                    <a:pt x="42" y="231"/>
                    <a:pt x="27" y="231"/>
                  </a:cubicBezTo>
                  <a:close/>
                </a:path>
              </a:pathLst>
            </a:custGeom>
            <a:grpFill/>
            <a:ln w="0">
              <a:noFill/>
              <a:round/>
              <a:headEnd/>
              <a:tailEnd/>
            </a:ln>
          </p:spPr>
          <p:txBody>
            <a:bodyPr/>
            <a:lstStyle/>
            <a:p>
              <a:endParaRPr lang="zh-CN" altLang="en-US"/>
            </a:p>
          </p:txBody>
        </p:sp>
        <p:sp>
          <p:nvSpPr>
            <p:cNvPr id="399" name="Freeform 344"/>
            <p:cNvSpPr>
              <a:spLocks/>
            </p:cNvSpPr>
            <p:nvPr/>
          </p:nvSpPr>
          <p:spPr bwMode="auto">
            <a:xfrm>
              <a:off x="9020175" y="4332288"/>
              <a:ext cx="33338" cy="26988"/>
            </a:xfrm>
            <a:custGeom>
              <a:avLst/>
              <a:gdLst>
                <a:gd name="T0" fmla="*/ 2147483646 w 71"/>
                <a:gd name="T1" fmla="*/ 2147483646 h 57"/>
                <a:gd name="T2" fmla="*/ 2147483646 w 71"/>
                <a:gd name="T3" fmla="*/ 2147483646 h 57"/>
                <a:gd name="T4" fmla="*/ 2147483646 w 71"/>
                <a:gd name="T5" fmla="*/ 2147483646 h 57"/>
                <a:gd name="T6" fmla="*/ 0 w 71"/>
                <a:gd name="T7" fmla="*/ 2147483646 h 57"/>
                <a:gd name="T8" fmla="*/ 2147483646 w 71"/>
                <a:gd name="T9" fmla="*/ 0 h 57"/>
                <a:gd name="T10" fmla="*/ 2147483646 w 71"/>
                <a:gd name="T11" fmla="*/ 2147483646 h 57"/>
                <a:gd name="T12" fmla="*/ 0 60000 65536"/>
                <a:gd name="T13" fmla="*/ 0 60000 65536"/>
                <a:gd name="T14" fmla="*/ 0 60000 65536"/>
                <a:gd name="T15" fmla="*/ 0 60000 65536"/>
                <a:gd name="T16" fmla="*/ 0 60000 65536"/>
                <a:gd name="T17" fmla="*/ 0 60000 65536"/>
                <a:gd name="T18" fmla="*/ 0 w 71"/>
                <a:gd name="T19" fmla="*/ 0 h 57"/>
                <a:gd name="T20" fmla="*/ 71 w 7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71" h="57">
                  <a:moveTo>
                    <a:pt x="71" y="29"/>
                  </a:moveTo>
                  <a:lnTo>
                    <a:pt x="71" y="29"/>
                  </a:lnTo>
                  <a:cubicBezTo>
                    <a:pt x="71" y="45"/>
                    <a:pt x="55" y="57"/>
                    <a:pt x="35" y="57"/>
                  </a:cubicBezTo>
                  <a:cubicBezTo>
                    <a:pt x="16" y="57"/>
                    <a:pt x="0" y="45"/>
                    <a:pt x="0" y="29"/>
                  </a:cubicBezTo>
                  <a:cubicBezTo>
                    <a:pt x="0" y="12"/>
                    <a:pt x="16" y="0"/>
                    <a:pt x="35" y="0"/>
                  </a:cubicBezTo>
                  <a:cubicBezTo>
                    <a:pt x="55" y="0"/>
                    <a:pt x="71" y="12"/>
                    <a:pt x="71" y="29"/>
                  </a:cubicBezTo>
                  <a:close/>
                </a:path>
              </a:pathLst>
            </a:custGeom>
            <a:grpFill/>
            <a:ln w="0">
              <a:noFill/>
              <a:round/>
              <a:headEnd/>
              <a:tailEnd/>
            </a:ln>
          </p:spPr>
          <p:txBody>
            <a:bodyPr/>
            <a:lstStyle/>
            <a:p>
              <a:endParaRPr lang="zh-CN" altLang="en-US"/>
            </a:p>
          </p:txBody>
        </p:sp>
        <p:sp>
          <p:nvSpPr>
            <p:cNvPr id="400" name="Freeform 345"/>
            <p:cNvSpPr>
              <a:spLocks/>
            </p:cNvSpPr>
            <p:nvPr/>
          </p:nvSpPr>
          <p:spPr bwMode="auto">
            <a:xfrm>
              <a:off x="9020175" y="4448175"/>
              <a:ext cx="33338" cy="26988"/>
            </a:xfrm>
            <a:custGeom>
              <a:avLst/>
              <a:gdLst>
                <a:gd name="T0" fmla="*/ 2147483646 w 71"/>
                <a:gd name="T1" fmla="*/ 2147483646 h 58"/>
                <a:gd name="T2" fmla="*/ 2147483646 w 71"/>
                <a:gd name="T3" fmla="*/ 2147483646 h 58"/>
                <a:gd name="T4" fmla="*/ 2147483646 w 71"/>
                <a:gd name="T5" fmla="*/ 2147483646 h 58"/>
                <a:gd name="T6" fmla="*/ 0 w 71"/>
                <a:gd name="T7" fmla="*/ 2147483646 h 58"/>
                <a:gd name="T8" fmla="*/ 2147483646 w 71"/>
                <a:gd name="T9" fmla="*/ 0 h 58"/>
                <a:gd name="T10" fmla="*/ 2147483646 w 71"/>
                <a:gd name="T11" fmla="*/ 2147483646 h 58"/>
                <a:gd name="T12" fmla="*/ 0 60000 65536"/>
                <a:gd name="T13" fmla="*/ 0 60000 65536"/>
                <a:gd name="T14" fmla="*/ 0 60000 65536"/>
                <a:gd name="T15" fmla="*/ 0 60000 65536"/>
                <a:gd name="T16" fmla="*/ 0 60000 65536"/>
                <a:gd name="T17" fmla="*/ 0 60000 65536"/>
                <a:gd name="T18" fmla="*/ 0 w 71"/>
                <a:gd name="T19" fmla="*/ 0 h 58"/>
                <a:gd name="T20" fmla="*/ 71 w 71"/>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71" h="58">
                  <a:moveTo>
                    <a:pt x="71" y="29"/>
                  </a:moveTo>
                  <a:lnTo>
                    <a:pt x="71" y="29"/>
                  </a:lnTo>
                  <a:cubicBezTo>
                    <a:pt x="71" y="45"/>
                    <a:pt x="55" y="58"/>
                    <a:pt x="35" y="58"/>
                  </a:cubicBezTo>
                  <a:cubicBezTo>
                    <a:pt x="16" y="58"/>
                    <a:pt x="0" y="45"/>
                    <a:pt x="0" y="29"/>
                  </a:cubicBezTo>
                  <a:cubicBezTo>
                    <a:pt x="0" y="13"/>
                    <a:pt x="16" y="0"/>
                    <a:pt x="35" y="0"/>
                  </a:cubicBezTo>
                  <a:cubicBezTo>
                    <a:pt x="55" y="0"/>
                    <a:pt x="71" y="13"/>
                    <a:pt x="71" y="29"/>
                  </a:cubicBezTo>
                  <a:close/>
                </a:path>
              </a:pathLst>
            </a:custGeom>
            <a:grpFill/>
            <a:ln w="0">
              <a:noFill/>
              <a:round/>
              <a:headEnd/>
              <a:tailEnd/>
            </a:ln>
          </p:spPr>
          <p:txBody>
            <a:bodyPr/>
            <a:lstStyle/>
            <a:p>
              <a:endParaRPr lang="zh-CN" altLang="en-US"/>
            </a:p>
          </p:txBody>
        </p:sp>
        <p:sp>
          <p:nvSpPr>
            <p:cNvPr id="401" name="Freeform 346"/>
            <p:cNvSpPr>
              <a:spLocks/>
            </p:cNvSpPr>
            <p:nvPr/>
          </p:nvSpPr>
          <p:spPr bwMode="auto">
            <a:xfrm>
              <a:off x="9020175" y="4560888"/>
              <a:ext cx="33338" cy="26988"/>
            </a:xfrm>
            <a:custGeom>
              <a:avLst/>
              <a:gdLst>
                <a:gd name="T0" fmla="*/ 2147483646 w 71"/>
                <a:gd name="T1" fmla="*/ 2147483646 h 58"/>
                <a:gd name="T2" fmla="*/ 2147483646 w 71"/>
                <a:gd name="T3" fmla="*/ 2147483646 h 58"/>
                <a:gd name="T4" fmla="*/ 2147483646 w 71"/>
                <a:gd name="T5" fmla="*/ 2147483646 h 58"/>
                <a:gd name="T6" fmla="*/ 0 w 71"/>
                <a:gd name="T7" fmla="*/ 2147483646 h 58"/>
                <a:gd name="T8" fmla="*/ 2147483646 w 71"/>
                <a:gd name="T9" fmla="*/ 0 h 58"/>
                <a:gd name="T10" fmla="*/ 2147483646 w 71"/>
                <a:gd name="T11" fmla="*/ 2147483646 h 58"/>
                <a:gd name="T12" fmla="*/ 0 60000 65536"/>
                <a:gd name="T13" fmla="*/ 0 60000 65536"/>
                <a:gd name="T14" fmla="*/ 0 60000 65536"/>
                <a:gd name="T15" fmla="*/ 0 60000 65536"/>
                <a:gd name="T16" fmla="*/ 0 60000 65536"/>
                <a:gd name="T17" fmla="*/ 0 60000 65536"/>
                <a:gd name="T18" fmla="*/ 0 w 71"/>
                <a:gd name="T19" fmla="*/ 0 h 58"/>
                <a:gd name="T20" fmla="*/ 71 w 71"/>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71" h="58">
                  <a:moveTo>
                    <a:pt x="71" y="29"/>
                  </a:moveTo>
                  <a:lnTo>
                    <a:pt x="71" y="29"/>
                  </a:lnTo>
                  <a:cubicBezTo>
                    <a:pt x="71" y="45"/>
                    <a:pt x="55" y="58"/>
                    <a:pt x="35" y="58"/>
                  </a:cubicBezTo>
                  <a:cubicBezTo>
                    <a:pt x="16" y="58"/>
                    <a:pt x="0" y="45"/>
                    <a:pt x="0" y="29"/>
                  </a:cubicBezTo>
                  <a:cubicBezTo>
                    <a:pt x="0" y="13"/>
                    <a:pt x="16" y="0"/>
                    <a:pt x="35" y="0"/>
                  </a:cubicBezTo>
                  <a:cubicBezTo>
                    <a:pt x="55" y="0"/>
                    <a:pt x="71" y="13"/>
                    <a:pt x="71" y="29"/>
                  </a:cubicBezTo>
                  <a:close/>
                </a:path>
              </a:pathLst>
            </a:custGeom>
            <a:grpFill/>
            <a:ln w="0">
              <a:noFill/>
              <a:round/>
              <a:headEnd/>
              <a:tailEnd/>
            </a:ln>
          </p:spPr>
          <p:txBody>
            <a:bodyPr/>
            <a:lstStyle/>
            <a:p>
              <a:endParaRPr lang="zh-CN" altLang="en-US"/>
            </a:p>
          </p:txBody>
        </p:sp>
        <p:sp>
          <p:nvSpPr>
            <p:cNvPr id="402" name="Freeform 347"/>
            <p:cNvSpPr>
              <a:spLocks/>
            </p:cNvSpPr>
            <p:nvPr/>
          </p:nvSpPr>
          <p:spPr bwMode="auto">
            <a:xfrm>
              <a:off x="9224963" y="4619625"/>
              <a:ext cx="73025" cy="73025"/>
            </a:xfrm>
            <a:custGeom>
              <a:avLst/>
              <a:gdLst>
                <a:gd name="T0" fmla="*/ 2147483646 w 155"/>
                <a:gd name="T1" fmla="*/ 2147483646 h 155"/>
                <a:gd name="T2" fmla="*/ 2147483646 w 155"/>
                <a:gd name="T3" fmla="*/ 2147483646 h 155"/>
                <a:gd name="T4" fmla="*/ 2147483646 w 155"/>
                <a:gd name="T5" fmla="*/ 2147483646 h 155"/>
                <a:gd name="T6" fmla="*/ 2147483646 w 155"/>
                <a:gd name="T7" fmla="*/ 2147483646 h 155"/>
                <a:gd name="T8" fmla="*/ 2147483646 w 155"/>
                <a:gd name="T9" fmla="*/ 2147483646 h 155"/>
                <a:gd name="T10" fmla="*/ 2147483646 w 155"/>
                <a:gd name="T11" fmla="*/ 2147483646 h 155"/>
                <a:gd name="T12" fmla="*/ 0 60000 65536"/>
                <a:gd name="T13" fmla="*/ 0 60000 65536"/>
                <a:gd name="T14" fmla="*/ 0 60000 65536"/>
                <a:gd name="T15" fmla="*/ 0 60000 65536"/>
                <a:gd name="T16" fmla="*/ 0 60000 65536"/>
                <a:gd name="T17" fmla="*/ 0 60000 65536"/>
                <a:gd name="T18" fmla="*/ 0 w 155"/>
                <a:gd name="T19" fmla="*/ 0 h 155"/>
                <a:gd name="T20" fmla="*/ 155 w 155"/>
                <a:gd name="T21" fmla="*/ 155 h 155"/>
              </a:gdLst>
              <a:ahLst/>
              <a:cxnLst>
                <a:cxn ang="T12">
                  <a:pos x="T0" y="T1"/>
                </a:cxn>
                <a:cxn ang="T13">
                  <a:pos x="T2" y="T3"/>
                </a:cxn>
                <a:cxn ang="T14">
                  <a:pos x="T4" y="T5"/>
                </a:cxn>
                <a:cxn ang="T15">
                  <a:pos x="T6" y="T7"/>
                </a:cxn>
                <a:cxn ang="T16">
                  <a:pos x="T8" y="T9"/>
                </a:cxn>
                <a:cxn ang="T17">
                  <a:pos x="T10" y="T11"/>
                </a:cxn>
              </a:cxnLst>
              <a:rect l="T18" t="T19" r="T20" b="T21"/>
              <a:pathLst>
                <a:path w="155" h="155">
                  <a:moveTo>
                    <a:pt x="98" y="144"/>
                  </a:moveTo>
                  <a:lnTo>
                    <a:pt x="98" y="144"/>
                  </a:lnTo>
                  <a:cubicBezTo>
                    <a:pt x="61" y="155"/>
                    <a:pt x="23" y="134"/>
                    <a:pt x="11" y="98"/>
                  </a:cubicBezTo>
                  <a:cubicBezTo>
                    <a:pt x="0" y="61"/>
                    <a:pt x="20" y="22"/>
                    <a:pt x="57" y="11"/>
                  </a:cubicBezTo>
                  <a:cubicBezTo>
                    <a:pt x="94" y="0"/>
                    <a:pt x="133" y="20"/>
                    <a:pt x="144" y="57"/>
                  </a:cubicBezTo>
                  <a:cubicBezTo>
                    <a:pt x="155" y="93"/>
                    <a:pt x="135" y="132"/>
                    <a:pt x="98" y="144"/>
                  </a:cubicBezTo>
                  <a:close/>
                </a:path>
              </a:pathLst>
            </a:custGeom>
            <a:grpFill/>
            <a:ln w="0">
              <a:noFill/>
              <a:round/>
              <a:headEnd/>
              <a:tailEnd/>
            </a:ln>
          </p:spPr>
          <p:txBody>
            <a:bodyPr/>
            <a:lstStyle/>
            <a:p>
              <a:endParaRPr lang="zh-CN" altLang="en-US"/>
            </a:p>
          </p:txBody>
        </p:sp>
        <p:sp>
          <p:nvSpPr>
            <p:cNvPr id="403" name="Freeform 348"/>
            <p:cNvSpPr>
              <a:spLocks/>
            </p:cNvSpPr>
            <p:nvPr/>
          </p:nvSpPr>
          <p:spPr bwMode="auto">
            <a:xfrm>
              <a:off x="9320213" y="4589463"/>
              <a:ext cx="73025" cy="73025"/>
            </a:xfrm>
            <a:custGeom>
              <a:avLst/>
              <a:gdLst>
                <a:gd name="T0" fmla="*/ 2147483646 w 155"/>
                <a:gd name="T1" fmla="*/ 2147483646 h 156"/>
                <a:gd name="T2" fmla="*/ 2147483646 w 155"/>
                <a:gd name="T3" fmla="*/ 2147483646 h 156"/>
                <a:gd name="T4" fmla="*/ 2147483646 w 155"/>
                <a:gd name="T5" fmla="*/ 2147483646 h 156"/>
                <a:gd name="T6" fmla="*/ 2147483646 w 155"/>
                <a:gd name="T7" fmla="*/ 2147483646 h 156"/>
                <a:gd name="T8" fmla="*/ 2147483646 w 155"/>
                <a:gd name="T9" fmla="*/ 2147483646 h 156"/>
                <a:gd name="T10" fmla="*/ 2147483646 w 155"/>
                <a:gd name="T11" fmla="*/ 2147483646 h 156"/>
                <a:gd name="T12" fmla="*/ 0 60000 65536"/>
                <a:gd name="T13" fmla="*/ 0 60000 65536"/>
                <a:gd name="T14" fmla="*/ 0 60000 65536"/>
                <a:gd name="T15" fmla="*/ 0 60000 65536"/>
                <a:gd name="T16" fmla="*/ 0 60000 65536"/>
                <a:gd name="T17" fmla="*/ 0 60000 65536"/>
                <a:gd name="T18" fmla="*/ 0 w 155"/>
                <a:gd name="T19" fmla="*/ 0 h 156"/>
                <a:gd name="T20" fmla="*/ 155 w 155"/>
                <a:gd name="T21" fmla="*/ 156 h 156"/>
              </a:gdLst>
              <a:ahLst/>
              <a:cxnLst>
                <a:cxn ang="T12">
                  <a:pos x="T0" y="T1"/>
                </a:cxn>
                <a:cxn ang="T13">
                  <a:pos x="T2" y="T3"/>
                </a:cxn>
                <a:cxn ang="T14">
                  <a:pos x="T4" y="T5"/>
                </a:cxn>
                <a:cxn ang="T15">
                  <a:pos x="T6" y="T7"/>
                </a:cxn>
                <a:cxn ang="T16">
                  <a:pos x="T8" y="T9"/>
                </a:cxn>
                <a:cxn ang="T17">
                  <a:pos x="T10" y="T11"/>
                </a:cxn>
              </a:cxnLst>
              <a:rect l="T18" t="T19" r="T20" b="T21"/>
              <a:pathLst>
                <a:path w="155" h="156">
                  <a:moveTo>
                    <a:pt x="98" y="144"/>
                  </a:moveTo>
                  <a:lnTo>
                    <a:pt x="98" y="144"/>
                  </a:lnTo>
                  <a:cubicBezTo>
                    <a:pt x="61" y="156"/>
                    <a:pt x="23" y="135"/>
                    <a:pt x="11" y="99"/>
                  </a:cubicBezTo>
                  <a:cubicBezTo>
                    <a:pt x="0" y="62"/>
                    <a:pt x="20" y="23"/>
                    <a:pt x="57" y="12"/>
                  </a:cubicBezTo>
                  <a:cubicBezTo>
                    <a:pt x="94" y="0"/>
                    <a:pt x="133" y="21"/>
                    <a:pt x="144" y="58"/>
                  </a:cubicBezTo>
                  <a:cubicBezTo>
                    <a:pt x="155" y="94"/>
                    <a:pt x="135" y="133"/>
                    <a:pt x="98" y="144"/>
                  </a:cubicBezTo>
                  <a:close/>
                </a:path>
              </a:pathLst>
            </a:custGeom>
            <a:grpFill/>
            <a:ln w="0">
              <a:noFill/>
              <a:round/>
              <a:headEnd/>
              <a:tailEnd/>
            </a:ln>
          </p:spPr>
          <p:txBody>
            <a:bodyPr/>
            <a:lstStyle/>
            <a:p>
              <a:endParaRPr lang="zh-CN" altLang="en-US"/>
            </a:p>
          </p:txBody>
        </p:sp>
      </p:grpSp>
      <p:grpSp>
        <p:nvGrpSpPr>
          <p:cNvPr id="20" name="组合 283"/>
          <p:cNvGrpSpPr/>
          <p:nvPr/>
        </p:nvGrpSpPr>
        <p:grpSpPr>
          <a:xfrm>
            <a:off x="9380961" y="5321518"/>
            <a:ext cx="163248" cy="288617"/>
            <a:chOff x="7886700" y="2265363"/>
            <a:chExt cx="385763" cy="817563"/>
          </a:xfrm>
          <a:solidFill>
            <a:schemeClr val="bg1"/>
          </a:solidFill>
          <a:scene3d>
            <a:camera prst="orthographicFront"/>
            <a:lightRig rig="threePt" dir="t"/>
          </a:scene3d>
        </p:grpSpPr>
        <p:sp>
          <p:nvSpPr>
            <p:cNvPr id="405" name="Freeform 256"/>
            <p:cNvSpPr>
              <a:spLocks/>
            </p:cNvSpPr>
            <p:nvPr/>
          </p:nvSpPr>
          <p:spPr bwMode="auto">
            <a:xfrm>
              <a:off x="8005763" y="3024188"/>
              <a:ext cx="58738" cy="58738"/>
            </a:xfrm>
            <a:custGeom>
              <a:avLst/>
              <a:gdLst/>
              <a:ahLst/>
              <a:cxnLst>
                <a:cxn ang="0">
                  <a:pos x="69" y="139"/>
                </a:cxn>
                <a:cxn ang="0">
                  <a:pos x="69" y="139"/>
                </a:cxn>
                <a:cxn ang="0">
                  <a:pos x="0" y="69"/>
                </a:cxn>
                <a:cxn ang="0">
                  <a:pos x="69" y="0"/>
                </a:cxn>
                <a:cxn ang="0">
                  <a:pos x="139" y="69"/>
                </a:cxn>
                <a:cxn ang="0">
                  <a:pos x="69" y="139"/>
                </a:cxn>
              </a:cxnLst>
              <a:rect l="0" t="0" r="r" b="b"/>
              <a:pathLst>
                <a:path w="139" h="139">
                  <a:moveTo>
                    <a:pt x="69" y="139"/>
                  </a:moveTo>
                  <a:lnTo>
                    <a:pt x="69" y="139"/>
                  </a:lnTo>
                  <a:cubicBezTo>
                    <a:pt x="31" y="139"/>
                    <a:pt x="0" y="108"/>
                    <a:pt x="0" y="69"/>
                  </a:cubicBezTo>
                  <a:cubicBezTo>
                    <a:pt x="0" y="31"/>
                    <a:pt x="31" y="0"/>
                    <a:pt x="69" y="0"/>
                  </a:cubicBezTo>
                  <a:cubicBezTo>
                    <a:pt x="107" y="0"/>
                    <a:pt x="139" y="31"/>
                    <a:pt x="139" y="69"/>
                  </a:cubicBezTo>
                  <a:cubicBezTo>
                    <a:pt x="139" y="108"/>
                    <a:pt x="107" y="139"/>
                    <a:pt x="69"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406" name="Freeform 257"/>
            <p:cNvSpPr>
              <a:spLocks/>
            </p:cNvSpPr>
            <p:nvPr/>
          </p:nvSpPr>
          <p:spPr bwMode="auto">
            <a:xfrm>
              <a:off x="8094663" y="3024188"/>
              <a:ext cx="58738" cy="58738"/>
            </a:xfrm>
            <a:custGeom>
              <a:avLst/>
              <a:gdLst/>
              <a:ahLst/>
              <a:cxnLst>
                <a:cxn ang="0">
                  <a:pos x="69" y="139"/>
                </a:cxn>
                <a:cxn ang="0">
                  <a:pos x="69" y="139"/>
                </a:cxn>
                <a:cxn ang="0">
                  <a:pos x="0" y="69"/>
                </a:cxn>
                <a:cxn ang="0">
                  <a:pos x="69" y="0"/>
                </a:cxn>
                <a:cxn ang="0">
                  <a:pos x="139" y="69"/>
                </a:cxn>
                <a:cxn ang="0">
                  <a:pos x="69" y="139"/>
                </a:cxn>
              </a:cxnLst>
              <a:rect l="0" t="0" r="r" b="b"/>
              <a:pathLst>
                <a:path w="139" h="139">
                  <a:moveTo>
                    <a:pt x="69" y="139"/>
                  </a:moveTo>
                  <a:lnTo>
                    <a:pt x="69" y="139"/>
                  </a:lnTo>
                  <a:cubicBezTo>
                    <a:pt x="31" y="139"/>
                    <a:pt x="0" y="108"/>
                    <a:pt x="0" y="69"/>
                  </a:cubicBezTo>
                  <a:cubicBezTo>
                    <a:pt x="0" y="31"/>
                    <a:pt x="31" y="0"/>
                    <a:pt x="69" y="0"/>
                  </a:cubicBezTo>
                  <a:cubicBezTo>
                    <a:pt x="107" y="0"/>
                    <a:pt x="139" y="31"/>
                    <a:pt x="139" y="69"/>
                  </a:cubicBezTo>
                  <a:cubicBezTo>
                    <a:pt x="139" y="108"/>
                    <a:pt x="107" y="139"/>
                    <a:pt x="69" y="139"/>
                  </a:cubicBezTo>
                  <a:close/>
                </a:path>
              </a:pathLst>
            </a:custGeom>
            <a:grpFill/>
            <a:ln w="0">
              <a:noFill/>
              <a:prstDash val="solid"/>
              <a:round/>
              <a:headEnd/>
              <a:tailEnd/>
            </a:ln>
          </p:spPr>
          <p:txBody>
            <a:bodyPr/>
            <a:lstStyle/>
            <a:p>
              <a:pPr defTabSz="456512" eaLnBrk="1" hangingPunct="1">
                <a:defRPr/>
              </a:pPr>
              <a:endParaRPr lang="zh-CN" altLang="en-US"/>
            </a:p>
          </p:txBody>
        </p:sp>
        <p:sp>
          <p:nvSpPr>
            <p:cNvPr id="407" name="Freeform 258"/>
            <p:cNvSpPr>
              <a:spLocks/>
            </p:cNvSpPr>
            <p:nvPr/>
          </p:nvSpPr>
          <p:spPr bwMode="auto">
            <a:xfrm>
              <a:off x="7983538" y="2324100"/>
              <a:ext cx="192088" cy="53975"/>
            </a:xfrm>
            <a:custGeom>
              <a:avLst/>
              <a:gdLst/>
              <a:ahLst/>
              <a:cxnLst>
                <a:cxn ang="0">
                  <a:pos x="38" y="124"/>
                </a:cxn>
                <a:cxn ang="0">
                  <a:pos x="38" y="124"/>
                </a:cxn>
                <a:cxn ang="0">
                  <a:pos x="10" y="110"/>
                </a:cxn>
                <a:cxn ang="0">
                  <a:pos x="19" y="63"/>
                </a:cxn>
                <a:cxn ang="0">
                  <a:pos x="229" y="0"/>
                </a:cxn>
                <a:cxn ang="0">
                  <a:pos x="438" y="63"/>
                </a:cxn>
                <a:cxn ang="0">
                  <a:pos x="447" y="110"/>
                </a:cxn>
                <a:cxn ang="0">
                  <a:pos x="401" y="118"/>
                </a:cxn>
                <a:cxn ang="0">
                  <a:pos x="229" y="67"/>
                </a:cxn>
                <a:cxn ang="0">
                  <a:pos x="57" y="118"/>
                </a:cxn>
                <a:cxn ang="0">
                  <a:pos x="38" y="124"/>
                </a:cxn>
              </a:cxnLst>
              <a:rect l="0" t="0" r="r" b="b"/>
              <a:pathLst>
                <a:path w="457" h="129">
                  <a:moveTo>
                    <a:pt x="38" y="124"/>
                  </a:moveTo>
                  <a:lnTo>
                    <a:pt x="38" y="124"/>
                  </a:lnTo>
                  <a:cubicBezTo>
                    <a:pt x="27" y="124"/>
                    <a:pt x="17" y="119"/>
                    <a:pt x="10" y="110"/>
                  </a:cubicBezTo>
                  <a:cubicBezTo>
                    <a:pt x="0" y="95"/>
                    <a:pt x="4" y="74"/>
                    <a:pt x="19" y="63"/>
                  </a:cubicBezTo>
                  <a:cubicBezTo>
                    <a:pt x="79" y="22"/>
                    <a:pt x="152" y="0"/>
                    <a:pt x="229" y="0"/>
                  </a:cubicBezTo>
                  <a:cubicBezTo>
                    <a:pt x="306" y="0"/>
                    <a:pt x="378" y="22"/>
                    <a:pt x="438" y="63"/>
                  </a:cubicBezTo>
                  <a:cubicBezTo>
                    <a:pt x="453" y="74"/>
                    <a:pt x="457" y="94"/>
                    <a:pt x="447" y="110"/>
                  </a:cubicBezTo>
                  <a:cubicBezTo>
                    <a:pt x="436" y="125"/>
                    <a:pt x="416" y="129"/>
                    <a:pt x="401" y="118"/>
                  </a:cubicBezTo>
                  <a:cubicBezTo>
                    <a:pt x="352" y="85"/>
                    <a:pt x="291" y="67"/>
                    <a:pt x="229" y="67"/>
                  </a:cubicBezTo>
                  <a:cubicBezTo>
                    <a:pt x="166" y="67"/>
                    <a:pt x="105" y="85"/>
                    <a:pt x="57" y="118"/>
                  </a:cubicBezTo>
                  <a:cubicBezTo>
                    <a:pt x="51" y="122"/>
                    <a:pt x="44" y="124"/>
                    <a:pt x="38" y="124"/>
                  </a:cubicBezTo>
                  <a:close/>
                </a:path>
              </a:pathLst>
            </a:custGeom>
            <a:grpFill/>
            <a:ln w="0">
              <a:noFill/>
              <a:prstDash val="solid"/>
              <a:round/>
              <a:headEnd/>
              <a:tailEnd/>
            </a:ln>
          </p:spPr>
          <p:txBody>
            <a:bodyPr/>
            <a:lstStyle/>
            <a:p>
              <a:pPr defTabSz="456512" eaLnBrk="1" hangingPunct="1">
                <a:defRPr/>
              </a:pPr>
              <a:endParaRPr lang="zh-CN" altLang="en-US"/>
            </a:p>
          </p:txBody>
        </p:sp>
        <p:sp>
          <p:nvSpPr>
            <p:cNvPr id="408" name="Freeform 259"/>
            <p:cNvSpPr>
              <a:spLocks/>
            </p:cNvSpPr>
            <p:nvPr/>
          </p:nvSpPr>
          <p:spPr bwMode="auto">
            <a:xfrm>
              <a:off x="7937500" y="2265363"/>
              <a:ext cx="284163" cy="73025"/>
            </a:xfrm>
            <a:custGeom>
              <a:avLst/>
              <a:gdLst/>
              <a:ahLst/>
              <a:cxnLst>
                <a:cxn ang="0">
                  <a:pos x="38" y="168"/>
                </a:cxn>
                <a:cxn ang="0">
                  <a:pos x="38" y="168"/>
                </a:cxn>
                <a:cxn ang="0">
                  <a:pos x="12" y="156"/>
                </a:cxn>
                <a:cxn ang="0">
                  <a:pos x="17" y="109"/>
                </a:cxn>
                <a:cxn ang="0">
                  <a:pos x="341" y="0"/>
                </a:cxn>
                <a:cxn ang="0">
                  <a:pos x="662" y="107"/>
                </a:cxn>
                <a:cxn ang="0">
                  <a:pos x="668" y="154"/>
                </a:cxn>
                <a:cxn ang="0">
                  <a:pos x="621" y="159"/>
                </a:cxn>
                <a:cxn ang="0">
                  <a:pos x="341" y="66"/>
                </a:cxn>
                <a:cxn ang="0">
                  <a:pos x="59" y="161"/>
                </a:cxn>
                <a:cxn ang="0">
                  <a:pos x="38" y="168"/>
                </a:cxn>
              </a:cxnLst>
              <a:rect l="0" t="0" r="r" b="b"/>
              <a:pathLst>
                <a:path w="679" h="171">
                  <a:moveTo>
                    <a:pt x="38" y="168"/>
                  </a:moveTo>
                  <a:lnTo>
                    <a:pt x="38" y="168"/>
                  </a:lnTo>
                  <a:cubicBezTo>
                    <a:pt x="28" y="168"/>
                    <a:pt x="18" y="164"/>
                    <a:pt x="12" y="156"/>
                  </a:cubicBezTo>
                  <a:cubicBezTo>
                    <a:pt x="0" y="141"/>
                    <a:pt x="3" y="120"/>
                    <a:pt x="17" y="109"/>
                  </a:cubicBezTo>
                  <a:cubicBezTo>
                    <a:pt x="106" y="38"/>
                    <a:pt x="221" y="0"/>
                    <a:pt x="341" y="0"/>
                  </a:cubicBezTo>
                  <a:cubicBezTo>
                    <a:pt x="460" y="0"/>
                    <a:pt x="574" y="38"/>
                    <a:pt x="662" y="107"/>
                  </a:cubicBezTo>
                  <a:cubicBezTo>
                    <a:pt x="676" y="118"/>
                    <a:pt x="679" y="139"/>
                    <a:pt x="668" y="154"/>
                  </a:cubicBezTo>
                  <a:cubicBezTo>
                    <a:pt x="656" y="168"/>
                    <a:pt x="635" y="171"/>
                    <a:pt x="621" y="159"/>
                  </a:cubicBezTo>
                  <a:cubicBezTo>
                    <a:pt x="544" y="99"/>
                    <a:pt x="445" y="66"/>
                    <a:pt x="341" y="66"/>
                  </a:cubicBezTo>
                  <a:cubicBezTo>
                    <a:pt x="236" y="66"/>
                    <a:pt x="135" y="100"/>
                    <a:pt x="59" y="161"/>
                  </a:cubicBezTo>
                  <a:cubicBezTo>
                    <a:pt x="52" y="166"/>
                    <a:pt x="45" y="168"/>
                    <a:pt x="38" y="168"/>
                  </a:cubicBezTo>
                  <a:close/>
                </a:path>
              </a:pathLst>
            </a:custGeom>
            <a:grpFill/>
            <a:ln w="0">
              <a:noFill/>
              <a:prstDash val="solid"/>
              <a:round/>
              <a:headEnd/>
              <a:tailEnd/>
            </a:ln>
          </p:spPr>
          <p:txBody>
            <a:bodyPr/>
            <a:lstStyle/>
            <a:p>
              <a:pPr defTabSz="456512" eaLnBrk="1" hangingPunct="1">
                <a:defRPr/>
              </a:pPr>
              <a:endParaRPr lang="zh-CN" altLang="en-US"/>
            </a:p>
          </p:txBody>
        </p:sp>
        <p:sp>
          <p:nvSpPr>
            <p:cNvPr id="409" name="Freeform 260"/>
            <p:cNvSpPr>
              <a:spLocks noEditPoints="1"/>
            </p:cNvSpPr>
            <p:nvPr/>
          </p:nvSpPr>
          <p:spPr bwMode="auto">
            <a:xfrm>
              <a:off x="7886700" y="2406650"/>
              <a:ext cx="385763" cy="223838"/>
            </a:xfrm>
            <a:custGeom>
              <a:avLst/>
              <a:gdLst/>
              <a:ahLst/>
              <a:cxnLst>
                <a:cxn ang="0">
                  <a:pos x="459" y="67"/>
                </a:cxn>
                <a:cxn ang="0">
                  <a:pos x="459" y="67"/>
                </a:cxn>
                <a:cxn ang="0">
                  <a:pos x="67" y="267"/>
                </a:cxn>
                <a:cxn ang="0">
                  <a:pos x="459" y="467"/>
                </a:cxn>
                <a:cxn ang="0">
                  <a:pos x="851" y="267"/>
                </a:cxn>
                <a:cxn ang="0">
                  <a:pos x="459" y="67"/>
                </a:cxn>
                <a:cxn ang="0">
                  <a:pos x="459" y="534"/>
                </a:cxn>
                <a:cxn ang="0">
                  <a:pos x="459" y="534"/>
                </a:cxn>
                <a:cxn ang="0">
                  <a:pos x="0" y="267"/>
                </a:cxn>
                <a:cxn ang="0">
                  <a:pos x="459" y="0"/>
                </a:cxn>
                <a:cxn ang="0">
                  <a:pos x="917" y="267"/>
                </a:cxn>
                <a:cxn ang="0">
                  <a:pos x="459" y="534"/>
                </a:cxn>
              </a:cxnLst>
              <a:rect l="0" t="0" r="r" b="b"/>
              <a:pathLst>
                <a:path w="917" h="534">
                  <a:moveTo>
                    <a:pt x="459" y="67"/>
                  </a:moveTo>
                  <a:lnTo>
                    <a:pt x="459" y="67"/>
                  </a:lnTo>
                  <a:cubicBezTo>
                    <a:pt x="246" y="67"/>
                    <a:pt x="67" y="158"/>
                    <a:pt x="67" y="267"/>
                  </a:cubicBezTo>
                  <a:cubicBezTo>
                    <a:pt x="67" y="376"/>
                    <a:pt x="246" y="467"/>
                    <a:pt x="459" y="467"/>
                  </a:cubicBezTo>
                  <a:cubicBezTo>
                    <a:pt x="671" y="467"/>
                    <a:pt x="851" y="376"/>
                    <a:pt x="851" y="267"/>
                  </a:cubicBezTo>
                  <a:cubicBezTo>
                    <a:pt x="851" y="158"/>
                    <a:pt x="671" y="67"/>
                    <a:pt x="459" y="67"/>
                  </a:cubicBezTo>
                  <a:close/>
                  <a:moveTo>
                    <a:pt x="459" y="534"/>
                  </a:moveTo>
                  <a:lnTo>
                    <a:pt x="459" y="534"/>
                  </a:lnTo>
                  <a:cubicBezTo>
                    <a:pt x="201" y="534"/>
                    <a:pt x="0" y="417"/>
                    <a:pt x="0" y="267"/>
                  </a:cubicBezTo>
                  <a:cubicBezTo>
                    <a:pt x="0" y="117"/>
                    <a:pt x="201" y="0"/>
                    <a:pt x="459" y="0"/>
                  </a:cubicBezTo>
                  <a:cubicBezTo>
                    <a:pt x="716" y="0"/>
                    <a:pt x="917" y="117"/>
                    <a:pt x="917" y="267"/>
                  </a:cubicBezTo>
                  <a:cubicBezTo>
                    <a:pt x="917" y="417"/>
                    <a:pt x="716" y="534"/>
                    <a:pt x="459" y="534"/>
                  </a:cubicBezTo>
                  <a:close/>
                </a:path>
              </a:pathLst>
            </a:custGeom>
            <a:grpFill/>
            <a:ln w="0">
              <a:noFill/>
              <a:prstDash val="solid"/>
              <a:round/>
              <a:headEnd/>
              <a:tailEnd/>
            </a:ln>
          </p:spPr>
          <p:txBody>
            <a:bodyPr/>
            <a:lstStyle/>
            <a:p>
              <a:pPr defTabSz="456512" eaLnBrk="1" hangingPunct="1">
                <a:defRPr/>
              </a:pPr>
              <a:endParaRPr lang="zh-CN" altLang="en-US"/>
            </a:p>
          </p:txBody>
        </p:sp>
        <p:sp>
          <p:nvSpPr>
            <p:cNvPr id="410" name="Freeform 261"/>
            <p:cNvSpPr>
              <a:spLocks/>
            </p:cNvSpPr>
            <p:nvPr/>
          </p:nvSpPr>
          <p:spPr bwMode="auto">
            <a:xfrm>
              <a:off x="8128000" y="2513013"/>
              <a:ext cx="144463" cy="552450"/>
            </a:xfrm>
            <a:custGeom>
              <a:avLst/>
              <a:gdLst/>
              <a:ahLst/>
              <a:cxnLst>
                <a:cxn ang="0">
                  <a:pos x="37" y="1315"/>
                </a:cxn>
                <a:cxn ang="0">
                  <a:pos x="37" y="1315"/>
                </a:cxn>
                <a:cxn ang="0">
                  <a:pos x="4" y="1289"/>
                </a:cxn>
                <a:cxn ang="0">
                  <a:pos x="30" y="1249"/>
                </a:cxn>
                <a:cxn ang="0">
                  <a:pos x="278" y="1063"/>
                </a:cxn>
                <a:cxn ang="0">
                  <a:pos x="278" y="34"/>
                </a:cxn>
                <a:cxn ang="0">
                  <a:pos x="311" y="0"/>
                </a:cxn>
                <a:cxn ang="0">
                  <a:pos x="344" y="34"/>
                </a:cxn>
                <a:cxn ang="0">
                  <a:pos x="344" y="1063"/>
                </a:cxn>
                <a:cxn ang="0">
                  <a:pos x="44" y="1314"/>
                </a:cxn>
                <a:cxn ang="0">
                  <a:pos x="37" y="1315"/>
                </a:cxn>
              </a:cxnLst>
              <a:rect l="0" t="0" r="r" b="b"/>
              <a:pathLst>
                <a:path w="344" h="1315">
                  <a:moveTo>
                    <a:pt x="37" y="1315"/>
                  </a:moveTo>
                  <a:lnTo>
                    <a:pt x="37" y="1315"/>
                  </a:lnTo>
                  <a:cubicBezTo>
                    <a:pt x="21" y="1315"/>
                    <a:pt x="8" y="1304"/>
                    <a:pt x="4" y="1289"/>
                  </a:cubicBezTo>
                  <a:cubicBezTo>
                    <a:pt x="0" y="1271"/>
                    <a:pt x="12" y="1253"/>
                    <a:pt x="30" y="1249"/>
                  </a:cubicBezTo>
                  <a:cubicBezTo>
                    <a:pt x="178" y="1218"/>
                    <a:pt x="278" y="1143"/>
                    <a:pt x="278" y="1063"/>
                  </a:cubicBezTo>
                  <a:lnTo>
                    <a:pt x="278" y="34"/>
                  </a:lnTo>
                  <a:cubicBezTo>
                    <a:pt x="278" y="15"/>
                    <a:pt x="292" y="0"/>
                    <a:pt x="311" y="0"/>
                  </a:cubicBezTo>
                  <a:cubicBezTo>
                    <a:pt x="329" y="0"/>
                    <a:pt x="344" y="15"/>
                    <a:pt x="344" y="34"/>
                  </a:cubicBezTo>
                  <a:lnTo>
                    <a:pt x="344" y="1063"/>
                  </a:lnTo>
                  <a:cubicBezTo>
                    <a:pt x="344" y="1178"/>
                    <a:pt x="226" y="1276"/>
                    <a:pt x="44" y="1314"/>
                  </a:cubicBezTo>
                  <a:cubicBezTo>
                    <a:pt x="41" y="1315"/>
                    <a:pt x="39" y="1315"/>
                    <a:pt x="37" y="1315"/>
                  </a:cubicBezTo>
                  <a:close/>
                </a:path>
              </a:pathLst>
            </a:custGeom>
            <a:grpFill/>
            <a:ln w="0">
              <a:noFill/>
              <a:prstDash val="solid"/>
              <a:round/>
              <a:headEnd/>
              <a:tailEnd/>
            </a:ln>
          </p:spPr>
          <p:txBody>
            <a:bodyPr/>
            <a:lstStyle/>
            <a:p>
              <a:pPr defTabSz="456512" eaLnBrk="1" hangingPunct="1">
                <a:defRPr/>
              </a:pPr>
              <a:endParaRPr lang="zh-CN" altLang="en-US"/>
            </a:p>
          </p:txBody>
        </p:sp>
        <p:sp>
          <p:nvSpPr>
            <p:cNvPr id="411" name="Freeform 262"/>
            <p:cNvSpPr>
              <a:spLocks/>
            </p:cNvSpPr>
            <p:nvPr/>
          </p:nvSpPr>
          <p:spPr bwMode="auto">
            <a:xfrm>
              <a:off x="7886700" y="2513013"/>
              <a:ext cx="157163" cy="554038"/>
            </a:xfrm>
            <a:custGeom>
              <a:avLst/>
              <a:gdLst/>
              <a:ahLst/>
              <a:cxnLst>
                <a:cxn ang="0">
                  <a:pos x="338" y="1321"/>
                </a:cxn>
                <a:cxn ang="0">
                  <a:pos x="338" y="1321"/>
                </a:cxn>
                <a:cxn ang="0">
                  <a:pos x="333" y="1320"/>
                </a:cxn>
                <a:cxn ang="0">
                  <a:pos x="0" y="1063"/>
                </a:cxn>
                <a:cxn ang="0">
                  <a:pos x="0" y="34"/>
                </a:cxn>
                <a:cxn ang="0">
                  <a:pos x="33" y="0"/>
                </a:cxn>
                <a:cxn ang="0">
                  <a:pos x="67" y="34"/>
                </a:cxn>
                <a:cxn ang="0">
                  <a:pos x="67" y="1063"/>
                </a:cxn>
                <a:cxn ang="0">
                  <a:pos x="344" y="1255"/>
                </a:cxn>
                <a:cxn ang="0">
                  <a:pos x="371" y="1293"/>
                </a:cxn>
                <a:cxn ang="0">
                  <a:pos x="338" y="1321"/>
                </a:cxn>
              </a:cxnLst>
              <a:rect l="0" t="0" r="r" b="b"/>
              <a:pathLst>
                <a:path w="374" h="1321">
                  <a:moveTo>
                    <a:pt x="338" y="1321"/>
                  </a:moveTo>
                  <a:lnTo>
                    <a:pt x="338" y="1321"/>
                  </a:lnTo>
                  <a:cubicBezTo>
                    <a:pt x="336" y="1321"/>
                    <a:pt x="335" y="1321"/>
                    <a:pt x="333" y="1320"/>
                  </a:cubicBezTo>
                  <a:cubicBezTo>
                    <a:pt x="134" y="1288"/>
                    <a:pt x="0" y="1185"/>
                    <a:pt x="0" y="1063"/>
                  </a:cubicBezTo>
                  <a:lnTo>
                    <a:pt x="0" y="34"/>
                  </a:lnTo>
                  <a:cubicBezTo>
                    <a:pt x="0" y="15"/>
                    <a:pt x="15" y="0"/>
                    <a:pt x="33" y="0"/>
                  </a:cubicBezTo>
                  <a:cubicBezTo>
                    <a:pt x="52" y="0"/>
                    <a:pt x="67" y="15"/>
                    <a:pt x="67" y="34"/>
                  </a:cubicBezTo>
                  <a:lnTo>
                    <a:pt x="67" y="1063"/>
                  </a:lnTo>
                  <a:cubicBezTo>
                    <a:pt x="67" y="1148"/>
                    <a:pt x="183" y="1229"/>
                    <a:pt x="344" y="1255"/>
                  </a:cubicBezTo>
                  <a:cubicBezTo>
                    <a:pt x="362" y="1257"/>
                    <a:pt x="374" y="1275"/>
                    <a:pt x="371" y="1293"/>
                  </a:cubicBezTo>
                  <a:cubicBezTo>
                    <a:pt x="368" y="1309"/>
                    <a:pt x="354" y="1321"/>
                    <a:pt x="338" y="1321"/>
                  </a:cubicBezTo>
                  <a:close/>
                </a:path>
              </a:pathLst>
            </a:custGeom>
            <a:grpFill/>
            <a:ln w="0">
              <a:noFill/>
              <a:prstDash val="solid"/>
              <a:round/>
              <a:headEnd/>
              <a:tailEnd/>
            </a:ln>
          </p:spPr>
          <p:txBody>
            <a:bodyPr/>
            <a:lstStyle/>
            <a:p>
              <a:pPr defTabSz="456512" eaLnBrk="1" hangingPunct="1">
                <a:defRPr/>
              </a:pPr>
              <a:endParaRPr lang="zh-CN" altLang="en-US"/>
            </a:p>
          </p:txBody>
        </p:sp>
        <p:sp>
          <p:nvSpPr>
            <p:cNvPr id="412" name="Freeform 263"/>
            <p:cNvSpPr>
              <a:spLocks noEditPoints="1"/>
            </p:cNvSpPr>
            <p:nvPr/>
          </p:nvSpPr>
          <p:spPr bwMode="auto">
            <a:xfrm>
              <a:off x="7953375" y="2630488"/>
              <a:ext cx="254000" cy="149225"/>
            </a:xfrm>
            <a:custGeom>
              <a:avLst/>
              <a:gdLst/>
              <a:ahLst/>
              <a:cxnLst>
                <a:cxn ang="0">
                  <a:pos x="53" y="252"/>
                </a:cxn>
                <a:cxn ang="0">
                  <a:pos x="53" y="252"/>
                </a:cxn>
                <a:cxn ang="0">
                  <a:pos x="303" y="303"/>
                </a:cxn>
                <a:cxn ang="0">
                  <a:pos x="552" y="252"/>
                </a:cxn>
                <a:cxn ang="0">
                  <a:pos x="552" y="70"/>
                </a:cxn>
                <a:cxn ang="0">
                  <a:pos x="303" y="116"/>
                </a:cxn>
                <a:cxn ang="0">
                  <a:pos x="53" y="70"/>
                </a:cxn>
                <a:cxn ang="0">
                  <a:pos x="53" y="252"/>
                </a:cxn>
                <a:cxn ang="0">
                  <a:pos x="303" y="357"/>
                </a:cxn>
                <a:cxn ang="0">
                  <a:pos x="303" y="357"/>
                </a:cxn>
                <a:cxn ang="0">
                  <a:pos x="14" y="292"/>
                </a:cxn>
                <a:cxn ang="0">
                  <a:pos x="0" y="269"/>
                </a:cxn>
                <a:cxn ang="0">
                  <a:pos x="0" y="28"/>
                </a:cxn>
                <a:cxn ang="0">
                  <a:pos x="12" y="5"/>
                </a:cxn>
                <a:cxn ang="0">
                  <a:pos x="39" y="4"/>
                </a:cxn>
                <a:cxn ang="0">
                  <a:pos x="303" y="62"/>
                </a:cxn>
                <a:cxn ang="0">
                  <a:pos x="567" y="4"/>
                </a:cxn>
                <a:cxn ang="0">
                  <a:pos x="593" y="5"/>
                </a:cxn>
                <a:cxn ang="0">
                  <a:pos x="606" y="28"/>
                </a:cxn>
                <a:cxn ang="0">
                  <a:pos x="606" y="269"/>
                </a:cxn>
                <a:cxn ang="0">
                  <a:pos x="592" y="292"/>
                </a:cxn>
                <a:cxn ang="0">
                  <a:pos x="303" y="357"/>
                </a:cxn>
              </a:cxnLst>
              <a:rect l="0" t="0" r="r" b="b"/>
              <a:pathLst>
                <a:path w="606" h="357">
                  <a:moveTo>
                    <a:pt x="53" y="252"/>
                  </a:moveTo>
                  <a:lnTo>
                    <a:pt x="53" y="252"/>
                  </a:lnTo>
                  <a:cubicBezTo>
                    <a:pt x="122" y="285"/>
                    <a:pt x="210" y="303"/>
                    <a:pt x="303" y="303"/>
                  </a:cubicBezTo>
                  <a:cubicBezTo>
                    <a:pt x="395" y="303"/>
                    <a:pt x="483" y="285"/>
                    <a:pt x="552" y="252"/>
                  </a:cubicBezTo>
                  <a:lnTo>
                    <a:pt x="552" y="70"/>
                  </a:lnTo>
                  <a:cubicBezTo>
                    <a:pt x="480" y="100"/>
                    <a:pt x="393" y="116"/>
                    <a:pt x="303" y="116"/>
                  </a:cubicBezTo>
                  <a:cubicBezTo>
                    <a:pt x="212" y="116"/>
                    <a:pt x="125" y="100"/>
                    <a:pt x="53" y="70"/>
                  </a:cubicBezTo>
                  <a:lnTo>
                    <a:pt x="53" y="252"/>
                  </a:lnTo>
                  <a:close/>
                  <a:moveTo>
                    <a:pt x="303" y="357"/>
                  </a:moveTo>
                  <a:lnTo>
                    <a:pt x="303" y="357"/>
                  </a:lnTo>
                  <a:cubicBezTo>
                    <a:pt x="195" y="357"/>
                    <a:pt x="92" y="334"/>
                    <a:pt x="14" y="292"/>
                  </a:cubicBezTo>
                  <a:cubicBezTo>
                    <a:pt x="5" y="288"/>
                    <a:pt x="0" y="279"/>
                    <a:pt x="0" y="269"/>
                  </a:cubicBezTo>
                  <a:lnTo>
                    <a:pt x="0" y="28"/>
                  </a:lnTo>
                  <a:cubicBezTo>
                    <a:pt x="0" y="18"/>
                    <a:pt x="4" y="10"/>
                    <a:pt x="12" y="5"/>
                  </a:cubicBezTo>
                  <a:cubicBezTo>
                    <a:pt x="20" y="0"/>
                    <a:pt x="30" y="0"/>
                    <a:pt x="39" y="4"/>
                  </a:cubicBezTo>
                  <a:cubicBezTo>
                    <a:pt x="110" y="42"/>
                    <a:pt x="203" y="62"/>
                    <a:pt x="303" y="62"/>
                  </a:cubicBezTo>
                  <a:cubicBezTo>
                    <a:pt x="402" y="62"/>
                    <a:pt x="496" y="42"/>
                    <a:pt x="567" y="4"/>
                  </a:cubicBezTo>
                  <a:cubicBezTo>
                    <a:pt x="575" y="0"/>
                    <a:pt x="585" y="0"/>
                    <a:pt x="593" y="5"/>
                  </a:cubicBezTo>
                  <a:cubicBezTo>
                    <a:pt x="601" y="10"/>
                    <a:pt x="606" y="18"/>
                    <a:pt x="606" y="28"/>
                  </a:cubicBezTo>
                  <a:lnTo>
                    <a:pt x="606" y="269"/>
                  </a:lnTo>
                  <a:cubicBezTo>
                    <a:pt x="606" y="279"/>
                    <a:pt x="600" y="288"/>
                    <a:pt x="592" y="292"/>
                  </a:cubicBezTo>
                  <a:cubicBezTo>
                    <a:pt x="513" y="334"/>
                    <a:pt x="410" y="357"/>
                    <a:pt x="303" y="357"/>
                  </a:cubicBezTo>
                  <a:close/>
                </a:path>
              </a:pathLst>
            </a:custGeom>
            <a:grpFill/>
            <a:ln w="0">
              <a:noFill/>
              <a:prstDash val="solid"/>
              <a:round/>
              <a:headEnd/>
              <a:tailEnd/>
            </a:ln>
          </p:spPr>
          <p:txBody>
            <a:bodyPr/>
            <a:lstStyle/>
            <a:p>
              <a:pPr defTabSz="456512" eaLnBrk="1" hangingPunct="1">
                <a:defRPr/>
              </a:pPr>
              <a:endParaRPr lang="zh-CN" altLang="en-US"/>
            </a:p>
          </p:txBody>
        </p:sp>
        <p:sp>
          <p:nvSpPr>
            <p:cNvPr id="413" name="Freeform 264"/>
            <p:cNvSpPr>
              <a:spLocks/>
            </p:cNvSpPr>
            <p:nvPr/>
          </p:nvSpPr>
          <p:spPr bwMode="auto">
            <a:xfrm>
              <a:off x="8089900" y="2916238"/>
              <a:ext cx="85725" cy="77788"/>
            </a:xfrm>
            <a:custGeom>
              <a:avLst/>
              <a:gdLst/>
              <a:ahLst/>
              <a:cxnLst>
                <a:cxn ang="0">
                  <a:pos x="53" y="39"/>
                </a:cxn>
                <a:cxn ang="0">
                  <a:pos x="53" y="39"/>
                </a:cxn>
                <a:cxn ang="0">
                  <a:pos x="53" y="0"/>
                </a:cxn>
                <a:cxn ang="0">
                  <a:pos x="0" y="92"/>
                </a:cxn>
                <a:cxn ang="0">
                  <a:pos x="53" y="184"/>
                </a:cxn>
                <a:cxn ang="0">
                  <a:pos x="53" y="145"/>
                </a:cxn>
                <a:cxn ang="0">
                  <a:pos x="106" y="145"/>
                </a:cxn>
                <a:cxn ang="0">
                  <a:pos x="138" y="126"/>
                </a:cxn>
                <a:cxn ang="0">
                  <a:pos x="204" y="12"/>
                </a:cxn>
                <a:cxn ang="0">
                  <a:pos x="157" y="39"/>
                </a:cxn>
                <a:cxn ang="0">
                  <a:pos x="53" y="39"/>
                </a:cxn>
              </a:cxnLst>
              <a:rect l="0" t="0" r="r" b="b"/>
              <a:pathLst>
                <a:path w="204" h="184">
                  <a:moveTo>
                    <a:pt x="53" y="39"/>
                  </a:moveTo>
                  <a:lnTo>
                    <a:pt x="53" y="39"/>
                  </a:lnTo>
                  <a:lnTo>
                    <a:pt x="53" y="0"/>
                  </a:lnTo>
                  <a:lnTo>
                    <a:pt x="0" y="92"/>
                  </a:lnTo>
                  <a:lnTo>
                    <a:pt x="53" y="184"/>
                  </a:lnTo>
                  <a:lnTo>
                    <a:pt x="53" y="145"/>
                  </a:lnTo>
                  <a:lnTo>
                    <a:pt x="106" y="145"/>
                  </a:lnTo>
                  <a:cubicBezTo>
                    <a:pt x="119" y="145"/>
                    <a:pt x="131" y="138"/>
                    <a:pt x="138" y="126"/>
                  </a:cubicBezTo>
                  <a:lnTo>
                    <a:pt x="204" y="12"/>
                  </a:lnTo>
                  <a:cubicBezTo>
                    <a:pt x="194" y="29"/>
                    <a:pt x="176" y="39"/>
                    <a:pt x="157" y="39"/>
                  </a:cubicBezTo>
                  <a:lnTo>
                    <a:pt x="53" y="39"/>
                  </a:lnTo>
                  <a:close/>
                </a:path>
              </a:pathLst>
            </a:custGeom>
            <a:grpFill/>
            <a:ln w="0">
              <a:noFill/>
              <a:prstDash val="solid"/>
              <a:round/>
              <a:headEnd/>
              <a:tailEnd/>
            </a:ln>
          </p:spPr>
          <p:txBody>
            <a:bodyPr/>
            <a:lstStyle/>
            <a:p>
              <a:pPr defTabSz="456512" eaLnBrk="1" hangingPunct="1">
                <a:defRPr/>
              </a:pPr>
              <a:endParaRPr lang="zh-CN" altLang="en-US"/>
            </a:p>
          </p:txBody>
        </p:sp>
        <p:sp>
          <p:nvSpPr>
            <p:cNvPr id="414" name="Freeform 265"/>
            <p:cNvSpPr>
              <a:spLocks/>
            </p:cNvSpPr>
            <p:nvPr/>
          </p:nvSpPr>
          <p:spPr bwMode="auto">
            <a:xfrm>
              <a:off x="8078788" y="2813050"/>
              <a:ext cx="68263" cy="52388"/>
            </a:xfrm>
            <a:custGeom>
              <a:avLst/>
              <a:gdLst/>
              <a:ahLst/>
              <a:cxnLst>
                <a:cxn ang="0">
                  <a:pos x="107" y="21"/>
                </a:cxn>
                <a:cxn ang="0">
                  <a:pos x="107" y="21"/>
                </a:cxn>
                <a:cxn ang="0">
                  <a:pos x="70" y="0"/>
                </a:cxn>
                <a:cxn ang="0">
                  <a:pos x="34" y="21"/>
                </a:cxn>
                <a:cxn ang="0">
                  <a:pos x="10" y="63"/>
                </a:cxn>
                <a:cxn ang="0">
                  <a:pos x="34" y="106"/>
                </a:cxn>
                <a:cxn ang="0">
                  <a:pos x="0" y="126"/>
                </a:cxn>
                <a:cxn ang="0">
                  <a:pos x="106" y="126"/>
                </a:cxn>
                <a:cxn ang="0">
                  <a:pos x="160" y="33"/>
                </a:cxn>
                <a:cxn ang="0">
                  <a:pos x="125" y="53"/>
                </a:cxn>
                <a:cxn ang="0">
                  <a:pos x="107" y="21"/>
                </a:cxn>
              </a:cxnLst>
              <a:rect l="0" t="0" r="r" b="b"/>
              <a:pathLst>
                <a:path w="160" h="126">
                  <a:moveTo>
                    <a:pt x="107" y="21"/>
                  </a:moveTo>
                  <a:lnTo>
                    <a:pt x="107" y="21"/>
                  </a:lnTo>
                  <a:cubicBezTo>
                    <a:pt x="99" y="8"/>
                    <a:pt x="85" y="0"/>
                    <a:pt x="70" y="0"/>
                  </a:cubicBezTo>
                  <a:cubicBezTo>
                    <a:pt x="55" y="0"/>
                    <a:pt x="41" y="8"/>
                    <a:pt x="34" y="21"/>
                  </a:cubicBezTo>
                  <a:cubicBezTo>
                    <a:pt x="34" y="21"/>
                    <a:pt x="22" y="42"/>
                    <a:pt x="10" y="63"/>
                  </a:cubicBezTo>
                  <a:lnTo>
                    <a:pt x="34" y="106"/>
                  </a:lnTo>
                  <a:lnTo>
                    <a:pt x="0" y="126"/>
                  </a:lnTo>
                  <a:lnTo>
                    <a:pt x="106" y="126"/>
                  </a:lnTo>
                  <a:lnTo>
                    <a:pt x="160" y="33"/>
                  </a:lnTo>
                  <a:lnTo>
                    <a:pt x="125" y="53"/>
                  </a:lnTo>
                  <a:cubicBezTo>
                    <a:pt x="125" y="53"/>
                    <a:pt x="112" y="30"/>
                    <a:pt x="107" y="21"/>
                  </a:cubicBezTo>
                  <a:close/>
                </a:path>
              </a:pathLst>
            </a:custGeom>
            <a:grpFill/>
            <a:ln w="0">
              <a:noFill/>
              <a:prstDash val="solid"/>
              <a:round/>
              <a:headEnd/>
              <a:tailEnd/>
            </a:ln>
          </p:spPr>
          <p:txBody>
            <a:bodyPr/>
            <a:lstStyle/>
            <a:p>
              <a:pPr defTabSz="456512" eaLnBrk="1" hangingPunct="1">
                <a:defRPr/>
              </a:pPr>
              <a:endParaRPr lang="zh-CN" altLang="en-US"/>
            </a:p>
          </p:txBody>
        </p:sp>
        <p:sp>
          <p:nvSpPr>
            <p:cNvPr id="415" name="Freeform 266"/>
            <p:cNvSpPr>
              <a:spLocks/>
            </p:cNvSpPr>
            <p:nvPr/>
          </p:nvSpPr>
          <p:spPr bwMode="auto">
            <a:xfrm>
              <a:off x="8113713" y="2867025"/>
              <a:ext cx="60325" cy="60325"/>
            </a:xfrm>
            <a:custGeom>
              <a:avLst/>
              <a:gdLst/>
              <a:ahLst/>
              <a:cxnLst>
                <a:cxn ang="0">
                  <a:pos x="139" y="124"/>
                </a:cxn>
                <a:cxn ang="0">
                  <a:pos x="139" y="124"/>
                </a:cxn>
                <a:cxn ang="0">
                  <a:pos x="139" y="82"/>
                </a:cxn>
                <a:cxn ang="0">
                  <a:pos x="91" y="0"/>
                </a:cxn>
                <a:cxn ang="0">
                  <a:pos x="0" y="53"/>
                </a:cxn>
                <a:cxn ang="0">
                  <a:pos x="53" y="145"/>
                </a:cxn>
                <a:cxn ang="0">
                  <a:pos x="102" y="145"/>
                </a:cxn>
                <a:cxn ang="0">
                  <a:pos x="139" y="124"/>
                </a:cxn>
              </a:cxnLst>
              <a:rect l="0" t="0" r="r" b="b"/>
              <a:pathLst>
                <a:path w="146" h="145">
                  <a:moveTo>
                    <a:pt x="139" y="124"/>
                  </a:moveTo>
                  <a:lnTo>
                    <a:pt x="139" y="124"/>
                  </a:lnTo>
                  <a:cubicBezTo>
                    <a:pt x="146" y="111"/>
                    <a:pt x="146" y="95"/>
                    <a:pt x="139" y="82"/>
                  </a:cubicBezTo>
                  <a:cubicBezTo>
                    <a:pt x="139" y="82"/>
                    <a:pt x="112" y="36"/>
                    <a:pt x="91" y="0"/>
                  </a:cubicBezTo>
                  <a:lnTo>
                    <a:pt x="0" y="53"/>
                  </a:lnTo>
                  <a:lnTo>
                    <a:pt x="53" y="145"/>
                  </a:lnTo>
                  <a:lnTo>
                    <a:pt x="102" y="145"/>
                  </a:lnTo>
                  <a:cubicBezTo>
                    <a:pt x="117" y="145"/>
                    <a:pt x="131" y="137"/>
                    <a:pt x="139" y="124"/>
                  </a:cubicBezTo>
                  <a:close/>
                </a:path>
              </a:pathLst>
            </a:custGeom>
            <a:grpFill/>
            <a:ln w="0">
              <a:noFill/>
              <a:prstDash val="solid"/>
              <a:round/>
              <a:headEnd/>
              <a:tailEnd/>
            </a:ln>
          </p:spPr>
          <p:txBody>
            <a:bodyPr/>
            <a:lstStyle/>
            <a:p>
              <a:pPr defTabSz="456512" eaLnBrk="1" hangingPunct="1">
                <a:defRPr/>
              </a:pPr>
              <a:endParaRPr lang="zh-CN" altLang="en-US"/>
            </a:p>
          </p:txBody>
        </p:sp>
        <p:sp>
          <p:nvSpPr>
            <p:cNvPr id="416" name="Freeform 267"/>
            <p:cNvSpPr>
              <a:spLocks/>
            </p:cNvSpPr>
            <p:nvPr/>
          </p:nvSpPr>
          <p:spPr bwMode="auto">
            <a:xfrm>
              <a:off x="7985125" y="2879725"/>
              <a:ext cx="66675" cy="90488"/>
            </a:xfrm>
            <a:custGeom>
              <a:avLst/>
              <a:gdLst/>
              <a:ahLst/>
              <a:cxnLst>
                <a:cxn ang="0">
                  <a:pos x="125" y="73"/>
                </a:cxn>
                <a:cxn ang="0">
                  <a:pos x="125" y="73"/>
                </a:cxn>
                <a:cxn ang="0">
                  <a:pos x="159" y="93"/>
                </a:cxn>
                <a:cxn ang="0">
                  <a:pos x="106" y="0"/>
                </a:cxn>
                <a:cxn ang="0">
                  <a:pos x="0" y="0"/>
                </a:cxn>
                <a:cxn ang="0">
                  <a:pos x="34" y="20"/>
                </a:cxn>
                <a:cxn ang="0">
                  <a:pos x="7" y="66"/>
                </a:cxn>
                <a:cxn ang="0">
                  <a:pos x="7" y="103"/>
                </a:cxn>
                <a:cxn ang="0">
                  <a:pos x="73" y="217"/>
                </a:cxn>
                <a:cxn ang="0">
                  <a:pos x="73" y="163"/>
                </a:cxn>
                <a:cxn ang="0">
                  <a:pos x="125" y="73"/>
                </a:cxn>
              </a:cxnLst>
              <a:rect l="0" t="0" r="r" b="b"/>
              <a:pathLst>
                <a:path w="159" h="217">
                  <a:moveTo>
                    <a:pt x="125" y="73"/>
                  </a:moveTo>
                  <a:lnTo>
                    <a:pt x="125" y="73"/>
                  </a:lnTo>
                  <a:lnTo>
                    <a:pt x="159" y="93"/>
                  </a:lnTo>
                  <a:lnTo>
                    <a:pt x="106" y="0"/>
                  </a:lnTo>
                  <a:lnTo>
                    <a:pt x="0" y="0"/>
                  </a:lnTo>
                  <a:lnTo>
                    <a:pt x="34" y="20"/>
                  </a:lnTo>
                  <a:lnTo>
                    <a:pt x="7" y="66"/>
                  </a:lnTo>
                  <a:cubicBezTo>
                    <a:pt x="1" y="77"/>
                    <a:pt x="0" y="91"/>
                    <a:pt x="7" y="103"/>
                  </a:cubicBezTo>
                  <a:lnTo>
                    <a:pt x="73" y="217"/>
                  </a:lnTo>
                  <a:cubicBezTo>
                    <a:pt x="63" y="200"/>
                    <a:pt x="63" y="180"/>
                    <a:pt x="73" y="163"/>
                  </a:cubicBezTo>
                  <a:lnTo>
                    <a:pt x="125" y="73"/>
                  </a:lnTo>
                  <a:close/>
                </a:path>
              </a:pathLst>
            </a:custGeom>
            <a:grpFill/>
            <a:ln w="0">
              <a:noFill/>
              <a:prstDash val="solid"/>
              <a:round/>
              <a:headEnd/>
              <a:tailEnd/>
            </a:ln>
          </p:spPr>
          <p:txBody>
            <a:bodyPr/>
            <a:lstStyle/>
            <a:p>
              <a:pPr defTabSz="456512" eaLnBrk="1" hangingPunct="1">
                <a:defRPr/>
              </a:pPr>
              <a:endParaRPr lang="zh-CN" altLang="en-US"/>
            </a:p>
          </p:txBody>
        </p:sp>
        <p:sp>
          <p:nvSpPr>
            <p:cNvPr id="417" name="Freeform 268"/>
            <p:cNvSpPr>
              <a:spLocks/>
            </p:cNvSpPr>
            <p:nvPr/>
          </p:nvSpPr>
          <p:spPr bwMode="auto">
            <a:xfrm>
              <a:off x="8016875" y="2933700"/>
              <a:ext cx="57150" cy="44450"/>
            </a:xfrm>
            <a:custGeom>
              <a:avLst/>
              <a:gdLst/>
              <a:ahLst/>
              <a:cxnLst>
                <a:cxn ang="0">
                  <a:pos x="8" y="85"/>
                </a:cxn>
                <a:cxn ang="0">
                  <a:pos x="8" y="85"/>
                </a:cxn>
                <a:cxn ang="0">
                  <a:pos x="44" y="106"/>
                </a:cxn>
                <a:cxn ang="0">
                  <a:pos x="139" y="106"/>
                </a:cxn>
                <a:cxn ang="0">
                  <a:pos x="139" y="0"/>
                </a:cxn>
                <a:cxn ang="0">
                  <a:pos x="32" y="0"/>
                </a:cxn>
                <a:cxn ang="0">
                  <a:pos x="8" y="43"/>
                </a:cxn>
                <a:cxn ang="0">
                  <a:pos x="8" y="85"/>
                </a:cxn>
              </a:cxnLst>
              <a:rect l="0" t="0" r="r" b="b"/>
              <a:pathLst>
                <a:path w="139" h="106">
                  <a:moveTo>
                    <a:pt x="8" y="85"/>
                  </a:moveTo>
                  <a:lnTo>
                    <a:pt x="8" y="85"/>
                  </a:lnTo>
                  <a:cubicBezTo>
                    <a:pt x="15" y="98"/>
                    <a:pt x="29" y="106"/>
                    <a:pt x="44" y="106"/>
                  </a:cubicBezTo>
                  <a:lnTo>
                    <a:pt x="139" y="106"/>
                  </a:lnTo>
                  <a:lnTo>
                    <a:pt x="139" y="0"/>
                  </a:lnTo>
                  <a:lnTo>
                    <a:pt x="32" y="0"/>
                  </a:lnTo>
                  <a:cubicBezTo>
                    <a:pt x="20" y="22"/>
                    <a:pt x="8" y="43"/>
                    <a:pt x="8" y="43"/>
                  </a:cubicBezTo>
                  <a:cubicBezTo>
                    <a:pt x="0" y="56"/>
                    <a:pt x="0" y="72"/>
                    <a:pt x="8" y="85"/>
                  </a:cubicBezTo>
                  <a:close/>
                </a:path>
              </a:pathLst>
            </a:custGeom>
            <a:grpFill/>
            <a:ln w="0">
              <a:noFill/>
              <a:prstDash val="solid"/>
              <a:round/>
              <a:headEnd/>
              <a:tailEnd/>
            </a:ln>
          </p:spPr>
          <p:txBody>
            <a:bodyPr/>
            <a:lstStyle/>
            <a:p>
              <a:pPr defTabSz="456512" eaLnBrk="1" hangingPunct="1">
                <a:defRPr/>
              </a:pPr>
              <a:endParaRPr lang="zh-CN" altLang="en-US"/>
            </a:p>
          </p:txBody>
        </p:sp>
        <p:sp>
          <p:nvSpPr>
            <p:cNvPr id="418" name="Freeform 269"/>
            <p:cNvSpPr>
              <a:spLocks/>
            </p:cNvSpPr>
            <p:nvPr/>
          </p:nvSpPr>
          <p:spPr bwMode="auto">
            <a:xfrm>
              <a:off x="8016875" y="2808288"/>
              <a:ext cx="92075" cy="69850"/>
            </a:xfrm>
            <a:custGeom>
              <a:avLst/>
              <a:gdLst/>
              <a:ahLst/>
              <a:cxnLst>
                <a:cxn ang="0">
                  <a:pos x="0" y="114"/>
                </a:cxn>
                <a:cxn ang="0">
                  <a:pos x="0" y="114"/>
                </a:cxn>
                <a:cxn ang="0">
                  <a:pos x="91" y="167"/>
                </a:cxn>
                <a:cxn ang="0">
                  <a:pos x="173" y="26"/>
                </a:cxn>
                <a:cxn ang="0">
                  <a:pos x="219" y="0"/>
                </a:cxn>
                <a:cxn ang="0">
                  <a:pos x="87" y="0"/>
                </a:cxn>
                <a:cxn ang="0">
                  <a:pos x="55" y="18"/>
                </a:cxn>
                <a:cxn ang="0">
                  <a:pos x="0" y="114"/>
                </a:cxn>
              </a:cxnLst>
              <a:rect l="0" t="0" r="r" b="b"/>
              <a:pathLst>
                <a:path w="219" h="167">
                  <a:moveTo>
                    <a:pt x="0" y="114"/>
                  </a:moveTo>
                  <a:lnTo>
                    <a:pt x="0" y="114"/>
                  </a:lnTo>
                  <a:lnTo>
                    <a:pt x="91" y="167"/>
                  </a:lnTo>
                  <a:cubicBezTo>
                    <a:pt x="91" y="167"/>
                    <a:pt x="160" y="48"/>
                    <a:pt x="173" y="26"/>
                  </a:cubicBezTo>
                  <a:cubicBezTo>
                    <a:pt x="182" y="10"/>
                    <a:pt x="199" y="0"/>
                    <a:pt x="219" y="0"/>
                  </a:cubicBezTo>
                  <a:lnTo>
                    <a:pt x="87" y="0"/>
                  </a:lnTo>
                  <a:cubicBezTo>
                    <a:pt x="73" y="0"/>
                    <a:pt x="62" y="8"/>
                    <a:pt x="55" y="18"/>
                  </a:cubicBezTo>
                  <a:cubicBezTo>
                    <a:pt x="44" y="37"/>
                    <a:pt x="0" y="114"/>
                    <a:pt x="0" y="114"/>
                  </a:cubicBezTo>
                  <a:close/>
                </a:path>
              </a:pathLst>
            </a:custGeom>
            <a:grpFill/>
            <a:ln w="0">
              <a:noFill/>
              <a:prstDash val="solid"/>
              <a:round/>
              <a:headEnd/>
              <a:tailEnd/>
            </a:ln>
          </p:spPr>
          <p:txBody>
            <a:bodyPr/>
            <a:lstStyle/>
            <a:p>
              <a:pPr defTabSz="456512" eaLnBrk="1" hangingPunct="1">
                <a:defRPr/>
              </a:pPr>
              <a:endParaRPr lang="zh-CN" altLang="en-US"/>
            </a:p>
          </p:txBody>
        </p:sp>
      </p:grpSp>
      <p:pic>
        <p:nvPicPr>
          <p:cNvPr id="419" name="图片 418"/>
          <p:cNvPicPr>
            <a:picLocks noChangeAspect="1"/>
          </p:cNvPicPr>
          <p:nvPr/>
        </p:nvPicPr>
        <p:blipFill>
          <a:blip r:embed="rId13" cstate="print"/>
          <a:stretch>
            <a:fillRect/>
          </a:stretch>
        </p:blipFill>
        <p:spPr>
          <a:xfrm>
            <a:off x="6149453" y="4030738"/>
            <a:ext cx="2746679" cy="1792221"/>
          </a:xfrm>
          <a:prstGeom prst="roundRect">
            <a:avLst>
              <a:gd name="adj" fmla="val 4073"/>
            </a:avLst>
          </a:prstGeom>
          <a:gradFill>
            <a:gsLst>
              <a:gs pos="0">
                <a:srgbClr val="0070C0">
                  <a:alpha val="2000"/>
                </a:srgbClr>
              </a:gs>
              <a:gs pos="100000">
                <a:srgbClr val="034076"/>
              </a:gs>
            </a:gsLst>
            <a:lin ang="11400000" scaled="0"/>
          </a:gradFill>
          <a:ln w="9525">
            <a:noFill/>
            <a:round/>
            <a:headEnd/>
            <a:tailEnd/>
          </a:ln>
          <a:effectLst>
            <a:outerShdw blurRad="44450" dist="27940" dir="5400000" algn="ctr">
              <a:srgbClr val="000000">
                <a:alpha val="32000"/>
              </a:srgbClr>
            </a:outerShdw>
          </a:effectLst>
          <a:scene3d>
            <a:camera prst="orthographicFront"/>
            <a:lightRig rig="threePt" dir="t"/>
          </a:scene3d>
          <a:sp3d>
            <a:bevelT w="190500" h="38100"/>
          </a:sp3d>
        </p:spPr>
      </p:pic>
      <p:sp>
        <p:nvSpPr>
          <p:cNvPr id="429" name="TextBox 428"/>
          <p:cNvSpPr txBox="1"/>
          <p:nvPr/>
        </p:nvSpPr>
        <p:spPr>
          <a:xfrm rot="1967708">
            <a:off x="8203276" y="4011988"/>
            <a:ext cx="860399" cy="369332"/>
          </a:xfrm>
          <a:prstGeom prst="rect">
            <a:avLst/>
          </a:prstGeom>
          <a:noFill/>
        </p:spPr>
        <p:txBody>
          <a:bodyPr wrap="square" rtlCol="0">
            <a:spAutoFit/>
          </a:bodyPr>
          <a:lstStyle/>
          <a:p>
            <a:pPr algn="ctr"/>
            <a:r>
              <a:rPr lang="en-US" altLang="zh-CN" sz="1800" b="1" dirty="0" smtClean="0">
                <a:solidFill>
                  <a:srgbClr val="FFC000"/>
                </a:solidFill>
                <a:effectLst>
                  <a:outerShdw blurRad="38100" dist="38100" dir="2700000" algn="tl">
                    <a:srgbClr val="000000">
                      <a:alpha val="43137"/>
                    </a:srgbClr>
                  </a:outerShdw>
                </a:effectLst>
              </a:rPr>
              <a:t>-EEM-</a:t>
            </a:r>
            <a:endParaRPr lang="zh-CN" altLang="en-US" sz="1800" b="1" dirty="0">
              <a:solidFill>
                <a:srgbClr val="FFC000"/>
              </a:solidFill>
              <a:effectLst>
                <a:outerShdw blurRad="38100" dist="38100" dir="2700000" algn="tl">
                  <a:srgbClr val="000000">
                    <a:alpha val="43137"/>
                  </a:srgbClr>
                </a:outerShdw>
              </a:effectLst>
            </a:endParaRPr>
          </a:p>
        </p:txBody>
      </p:sp>
      <p:sp>
        <p:nvSpPr>
          <p:cNvPr id="433" name="TextBox 432"/>
          <p:cNvSpPr txBox="1"/>
          <p:nvPr/>
        </p:nvSpPr>
        <p:spPr>
          <a:xfrm>
            <a:off x="3072371" y="5854648"/>
            <a:ext cx="2831654" cy="523220"/>
          </a:xfrm>
          <a:prstGeom prst="rect">
            <a:avLst/>
          </a:prstGeom>
          <a:noFill/>
        </p:spPr>
        <p:txBody>
          <a:bodyPr wrap="square" rtlCol="0">
            <a:spAutoFit/>
          </a:bodyPr>
          <a:lstStyle/>
          <a:p>
            <a:pPr algn="ctr"/>
            <a:r>
              <a:rPr lang="zh-CN" altLang="en-US" sz="1400" b="1" i="1" dirty="0" smtClean="0">
                <a:solidFill>
                  <a:srgbClr val="FFC000"/>
                </a:solidFill>
              </a:rPr>
              <a:t>Integrated network, security, and storage management</a:t>
            </a:r>
            <a:endParaRPr lang="zh-CN" altLang="en-US" sz="1400" b="1" i="1" dirty="0">
              <a:solidFill>
                <a:srgbClr val="FFC000"/>
              </a:solidFill>
            </a:endParaRPr>
          </a:p>
        </p:txBody>
      </p:sp>
      <p:sp>
        <p:nvSpPr>
          <p:cNvPr id="434" name="TextBox 433"/>
          <p:cNvSpPr txBox="1"/>
          <p:nvPr/>
        </p:nvSpPr>
        <p:spPr>
          <a:xfrm>
            <a:off x="6264064" y="5859835"/>
            <a:ext cx="2439857" cy="307777"/>
          </a:xfrm>
          <a:prstGeom prst="rect">
            <a:avLst/>
          </a:prstGeom>
          <a:noFill/>
        </p:spPr>
        <p:txBody>
          <a:bodyPr wrap="square" rtlCol="0">
            <a:spAutoFit/>
          </a:bodyPr>
          <a:lstStyle/>
          <a:p>
            <a:pPr algn="ctr"/>
            <a:r>
              <a:rPr lang="zh-CN" altLang="en-US" sz="1400" b="1" i="1" dirty="0" smtClean="0">
                <a:solidFill>
                  <a:srgbClr val="FFC000"/>
                </a:solidFill>
              </a:rPr>
              <a:t>Integrated management of smart IoT services</a:t>
            </a:r>
            <a:endParaRPr lang="zh-CN" altLang="en-US" sz="1400" b="1" i="1" dirty="0">
              <a:solidFill>
                <a:srgbClr val="FFC000"/>
              </a:solidFill>
            </a:endParaRPr>
          </a:p>
        </p:txBody>
      </p:sp>
      <p:cxnSp>
        <p:nvCxnSpPr>
          <p:cNvPr id="437" name="直接连接符 436"/>
          <p:cNvCxnSpPr/>
          <p:nvPr/>
        </p:nvCxnSpPr>
        <p:spPr>
          <a:xfrm>
            <a:off x="3551907" y="2436354"/>
            <a:ext cx="1584000" cy="0"/>
          </a:xfrm>
          <a:prstGeom prst="line">
            <a:avLst/>
          </a:prstGeom>
          <a:ln>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8" name="椭圆 437"/>
          <p:cNvSpPr/>
          <p:nvPr/>
        </p:nvSpPr>
        <p:spPr>
          <a:xfrm>
            <a:off x="5161483" y="2400350"/>
            <a:ext cx="72008" cy="72008"/>
          </a:xfrm>
          <a:prstGeom prst="ellipse">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9" name="椭圆 438"/>
          <p:cNvSpPr/>
          <p:nvPr/>
        </p:nvSpPr>
        <p:spPr>
          <a:xfrm>
            <a:off x="3471391" y="2400350"/>
            <a:ext cx="72008" cy="72008"/>
          </a:xfrm>
          <a:prstGeom prst="ellipse">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40" name="直接连接符 439"/>
          <p:cNvCxnSpPr/>
          <p:nvPr/>
        </p:nvCxnSpPr>
        <p:spPr>
          <a:xfrm>
            <a:off x="7186215" y="2440546"/>
            <a:ext cx="1620000" cy="0"/>
          </a:xfrm>
          <a:prstGeom prst="line">
            <a:avLst/>
          </a:prstGeom>
          <a:ln>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41" name="椭圆 440"/>
          <p:cNvSpPr/>
          <p:nvPr/>
        </p:nvSpPr>
        <p:spPr>
          <a:xfrm>
            <a:off x="8795791" y="2404542"/>
            <a:ext cx="72008" cy="72008"/>
          </a:xfrm>
          <a:prstGeom prst="ellipse">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2" name="椭圆 441"/>
          <p:cNvSpPr/>
          <p:nvPr/>
        </p:nvSpPr>
        <p:spPr>
          <a:xfrm>
            <a:off x="7118399" y="2404542"/>
            <a:ext cx="72008" cy="72008"/>
          </a:xfrm>
          <a:prstGeom prst="ellipse">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0" name="矩形 419"/>
          <p:cNvSpPr/>
          <p:nvPr/>
        </p:nvSpPr>
        <p:spPr>
          <a:xfrm>
            <a:off x="359408" y="304270"/>
            <a:ext cx="11089232" cy="954107"/>
          </a:xfrm>
          <a:prstGeom prst="rect">
            <a:avLst/>
          </a:prstGeom>
        </p:spPr>
        <p:txBody>
          <a:bodyPr wrap="square">
            <a:spAutoFit/>
          </a:bodyPr>
          <a:lstStyle>
            <a:defPPr>
              <a:defRPr lang="zh-CN"/>
            </a:defPPr>
            <a:lvl1pPr marL="0" algn="l" defTabSz="1219272" rtl="0" eaLnBrk="1" latinLnBrk="0" hangingPunct="1">
              <a:defRPr sz="2400" kern="1200">
                <a:solidFill>
                  <a:schemeClr val="tx1"/>
                </a:solidFill>
                <a:latin typeface="+mn-lt"/>
                <a:ea typeface="+mn-ea"/>
                <a:cs typeface="+mn-cs"/>
              </a:defRPr>
            </a:lvl1pPr>
            <a:lvl2pPr marL="609636" algn="l" defTabSz="1219272" rtl="0" eaLnBrk="1" latinLnBrk="0" hangingPunct="1">
              <a:defRPr sz="2400" kern="1200">
                <a:solidFill>
                  <a:schemeClr val="tx1"/>
                </a:solidFill>
                <a:latin typeface="+mn-lt"/>
                <a:ea typeface="+mn-ea"/>
                <a:cs typeface="+mn-cs"/>
              </a:defRPr>
            </a:lvl2pPr>
            <a:lvl3pPr marL="1219272" algn="l" defTabSz="1219272" rtl="0" eaLnBrk="1" latinLnBrk="0" hangingPunct="1">
              <a:defRPr sz="2400" kern="1200">
                <a:solidFill>
                  <a:schemeClr val="tx1"/>
                </a:solidFill>
                <a:latin typeface="+mn-lt"/>
                <a:ea typeface="+mn-ea"/>
                <a:cs typeface="+mn-cs"/>
              </a:defRPr>
            </a:lvl3pPr>
            <a:lvl4pPr marL="1828908" algn="l" defTabSz="1219272" rtl="0" eaLnBrk="1" latinLnBrk="0" hangingPunct="1">
              <a:defRPr sz="2400" kern="1200">
                <a:solidFill>
                  <a:schemeClr val="tx1"/>
                </a:solidFill>
                <a:latin typeface="+mn-lt"/>
                <a:ea typeface="+mn-ea"/>
                <a:cs typeface="+mn-cs"/>
              </a:defRPr>
            </a:lvl4pPr>
            <a:lvl5pPr marL="2438545" algn="l" defTabSz="1219272" rtl="0" eaLnBrk="1" latinLnBrk="0" hangingPunct="1">
              <a:defRPr sz="2400" kern="1200">
                <a:solidFill>
                  <a:schemeClr val="tx1"/>
                </a:solidFill>
                <a:latin typeface="+mn-lt"/>
                <a:ea typeface="+mn-ea"/>
                <a:cs typeface="+mn-cs"/>
              </a:defRPr>
            </a:lvl5pPr>
            <a:lvl6pPr marL="3048180" algn="l" defTabSz="1219272" rtl="0" eaLnBrk="1" latinLnBrk="0" hangingPunct="1">
              <a:defRPr sz="2400" kern="1200">
                <a:solidFill>
                  <a:schemeClr val="tx1"/>
                </a:solidFill>
                <a:latin typeface="+mn-lt"/>
                <a:ea typeface="+mn-ea"/>
                <a:cs typeface="+mn-cs"/>
              </a:defRPr>
            </a:lvl6pPr>
            <a:lvl7pPr marL="3657816" algn="l" defTabSz="1219272" rtl="0" eaLnBrk="1" latinLnBrk="0" hangingPunct="1">
              <a:defRPr sz="2400" kern="1200">
                <a:solidFill>
                  <a:schemeClr val="tx1"/>
                </a:solidFill>
                <a:latin typeface="+mn-lt"/>
                <a:ea typeface="+mn-ea"/>
                <a:cs typeface="+mn-cs"/>
              </a:defRPr>
            </a:lvl7pPr>
            <a:lvl8pPr marL="4267452" algn="l" defTabSz="1219272" rtl="0" eaLnBrk="1" latinLnBrk="0" hangingPunct="1">
              <a:defRPr sz="2400" kern="1200">
                <a:solidFill>
                  <a:schemeClr val="tx1"/>
                </a:solidFill>
                <a:latin typeface="+mn-lt"/>
                <a:ea typeface="+mn-ea"/>
                <a:cs typeface="+mn-cs"/>
              </a:defRPr>
            </a:lvl8pPr>
            <a:lvl9pPr marL="4877087" algn="l" defTabSz="1219272" rtl="0" eaLnBrk="1" latinLnBrk="0" hangingPunct="1">
              <a:defRPr sz="2400" kern="1200">
                <a:solidFill>
                  <a:schemeClr val="tx1"/>
                </a:solidFill>
                <a:latin typeface="+mn-lt"/>
                <a:ea typeface="+mn-ea"/>
                <a:cs typeface="+mn-cs"/>
              </a:defRPr>
            </a:lvl9pPr>
          </a:lstStyle>
          <a:p>
            <a:r>
              <a:rPr lang="zh-CN" altLang="en-US" sz="2800" b="1" dirty="0" smtClean="0">
                <a:solidFill>
                  <a:schemeClr val="bg1"/>
                </a:solidFill>
                <a:effectLst>
                  <a:outerShdw blurRad="38100" dist="38100" dir="2700000" algn="tl">
                    <a:srgbClr val="000000">
                      <a:alpha val="43137"/>
                    </a:srgbClr>
                  </a:outerShdw>
                </a:effectLst>
              </a:rPr>
              <a:t>Automatic Deployment </a:t>
            </a:r>
            <a:r>
              <a:rPr lang="en-US" altLang="zh-CN" sz="2800" b="1" dirty="0" smtClean="0">
                <a:solidFill>
                  <a:schemeClr val="bg1"/>
                </a:solidFill>
                <a:effectLst>
                  <a:outerShdw blurRad="38100" dist="38100" dir="2700000" algn="tl">
                    <a:srgbClr val="000000">
                      <a:alpha val="43137"/>
                    </a:srgbClr>
                  </a:outerShdw>
                </a:effectLst>
              </a:rPr>
              <a:t>o</a:t>
            </a:r>
            <a:r>
              <a:rPr lang="zh-CN" altLang="en-US" sz="2800" b="1" dirty="0" smtClean="0">
                <a:solidFill>
                  <a:schemeClr val="bg1"/>
                </a:solidFill>
                <a:effectLst>
                  <a:outerShdw blurRad="38100" dist="38100" dir="2700000" algn="tl">
                    <a:srgbClr val="000000">
                      <a:alpha val="43137"/>
                    </a:srgbClr>
                  </a:outerShdw>
                </a:effectLst>
              </a:rPr>
              <a:t>f Devices on Entire Network </a:t>
            </a:r>
            <a:r>
              <a:rPr lang="en-US" altLang="zh-CN" sz="2800" b="1" dirty="0" smtClean="0">
                <a:solidFill>
                  <a:srgbClr val="00B050"/>
                </a:solidFill>
                <a:effectLst>
                  <a:outerShdw blurRad="38100" dist="38100" dir="2700000" algn="tl">
                    <a:srgbClr val="000000">
                      <a:alpha val="43137"/>
                    </a:srgbClr>
                  </a:outerShdw>
                </a:effectLst>
              </a:rPr>
              <a:t>for </a:t>
            </a:r>
            <a:r>
              <a:rPr lang="zh-CN" altLang="en-US" sz="2800" b="1" dirty="0" smtClean="0">
                <a:solidFill>
                  <a:schemeClr val="bg1"/>
                </a:solidFill>
                <a:effectLst>
                  <a:outerShdw blurRad="38100" dist="38100" dir="2700000" algn="tl">
                    <a:srgbClr val="000000">
                      <a:alpha val="43137"/>
                    </a:srgbClr>
                  </a:outerShdw>
                </a:effectLst>
              </a:rPr>
              <a:t>Unified and Visualized Remote Management, </a:t>
            </a:r>
            <a:r>
              <a:rPr lang="zh-CN" altLang="en-US" sz="2800" b="1" dirty="0" smtClean="0">
                <a:solidFill>
                  <a:srgbClr val="FFC000"/>
                </a:solidFill>
                <a:effectLst>
                  <a:outerShdw blurRad="38100" dist="38100" dir="2700000" algn="tl">
                    <a:srgbClr val="000000">
                      <a:alpha val="43137"/>
                    </a:srgbClr>
                  </a:outerShdw>
                </a:effectLst>
              </a:rPr>
              <a:t>Reducing O&amp;M Costs</a:t>
            </a:r>
            <a:endParaRPr lang="en-US" altLang="en-US" sz="28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spTree>
    <p:extLst>
      <p:ext uri="{BB962C8B-B14F-4D97-AF65-F5344CB8AC3E}">
        <p14:creationId xmlns:p14="http://schemas.microsoft.com/office/powerpoint/2010/main" val="1442621329"/>
      </p:ext>
    </p:extLst>
  </p:cSld>
  <p:clrMapOvr>
    <a:masterClrMapping/>
  </p:clrMapOvr>
  <p:transition>
    <p:fade thruBlk="1"/>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圆角矩形 98"/>
          <p:cNvSpPr/>
          <p:nvPr/>
        </p:nvSpPr>
        <p:spPr bwMode="auto">
          <a:xfrm flipV="1">
            <a:off x="7897787" y="1818321"/>
            <a:ext cx="3677201" cy="2782655"/>
          </a:xfrm>
          <a:prstGeom prst="roundRect">
            <a:avLst>
              <a:gd name="adj" fmla="val 3119"/>
            </a:avLst>
          </a:prstGeom>
          <a:gradFill flip="none" rotWithShape="1">
            <a:gsLst>
              <a:gs pos="0">
                <a:srgbClr val="0070C0">
                  <a:alpha val="0"/>
                </a:srgbClr>
              </a:gs>
              <a:gs pos="100000">
                <a:srgbClr val="0070C0">
                  <a:alpha val="40000"/>
                </a:srgbClr>
              </a:gs>
            </a:gsLst>
            <a:lin ang="16200000" scaled="1"/>
            <a:tileRect/>
          </a:gradFill>
          <a:ln w="3175">
            <a:gradFill flip="none" rotWithShape="1">
              <a:gsLst>
                <a:gs pos="0">
                  <a:srgbClr val="00B0F0">
                    <a:alpha val="0"/>
                  </a:srgbClr>
                </a:gs>
                <a:gs pos="50000">
                  <a:srgbClr val="00B0F0"/>
                </a:gs>
              </a:gsLst>
              <a:lin ang="5400000" scaled="0"/>
              <a:tileRect/>
            </a:gradFill>
            <a:miter lim="800000"/>
            <a:headEnd/>
            <a:tailEnd/>
          </a:ln>
          <a:effectLst/>
        </p:spPr>
        <p:txBody>
          <a:bodyPr lIns="0" tIns="0" rIns="0" bIns="0" anchor="ctr"/>
          <a:lstStyle/>
          <a:p>
            <a:pPr algn="ctr" defTabSz="725439">
              <a:lnSpc>
                <a:spcPct val="150000"/>
              </a:lnSpc>
              <a:buClr>
                <a:srgbClr val="CC9900"/>
              </a:buClr>
              <a:buFont typeface="Wingdings" pitchFamily="2" charset="2"/>
              <a:buChar char="n"/>
            </a:pPr>
            <a:endParaRPr lang="zh-CN" altLang="en-US" sz="1000" kern="0"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137" name="圆角矩形 98"/>
          <p:cNvSpPr/>
          <p:nvPr/>
        </p:nvSpPr>
        <p:spPr bwMode="auto">
          <a:xfrm flipV="1">
            <a:off x="5900847" y="1818321"/>
            <a:ext cx="1933411" cy="2782655"/>
          </a:xfrm>
          <a:prstGeom prst="roundRect">
            <a:avLst>
              <a:gd name="adj" fmla="val 3119"/>
            </a:avLst>
          </a:prstGeom>
          <a:gradFill flip="none" rotWithShape="1">
            <a:gsLst>
              <a:gs pos="0">
                <a:srgbClr val="0070C0">
                  <a:alpha val="0"/>
                </a:srgbClr>
              </a:gs>
              <a:gs pos="100000">
                <a:srgbClr val="0070C0">
                  <a:alpha val="40000"/>
                </a:srgbClr>
              </a:gs>
            </a:gsLst>
            <a:lin ang="16200000" scaled="1"/>
            <a:tileRect/>
          </a:gradFill>
          <a:ln w="3175">
            <a:gradFill flip="none" rotWithShape="1">
              <a:gsLst>
                <a:gs pos="0">
                  <a:srgbClr val="00B0F0">
                    <a:alpha val="0"/>
                  </a:srgbClr>
                </a:gs>
                <a:gs pos="50000">
                  <a:srgbClr val="00B0F0"/>
                </a:gs>
              </a:gsLst>
              <a:lin ang="5400000" scaled="0"/>
              <a:tileRect/>
            </a:gradFill>
            <a:miter lim="800000"/>
            <a:headEnd/>
            <a:tailEnd/>
          </a:ln>
          <a:effectLst/>
        </p:spPr>
        <p:txBody>
          <a:bodyPr lIns="0" tIns="0" rIns="0" bIns="0" anchor="ctr"/>
          <a:lstStyle/>
          <a:p>
            <a:pPr algn="ctr" defTabSz="725439">
              <a:lnSpc>
                <a:spcPct val="150000"/>
              </a:lnSpc>
              <a:buClr>
                <a:srgbClr val="CC9900"/>
              </a:buClr>
              <a:buFont typeface="Wingdings" pitchFamily="2" charset="2"/>
              <a:buChar char="n"/>
            </a:pPr>
            <a:endParaRPr lang="zh-CN" altLang="en-US" sz="1000" kern="0"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138" name="圆角矩形 98"/>
          <p:cNvSpPr/>
          <p:nvPr/>
        </p:nvSpPr>
        <p:spPr bwMode="auto">
          <a:xfrm flipV="1">
            <a:off x="3434133" y="1818321"/>
            <a:ext cx="2401692" cy="2782655"/>
          </a:xfrm>
          <a:prstGeom prst="roundRect">
            <a:avLst>
              <a:gd name="adj" fmla="val 3119"/>
            </a:avLst>
          </a:prstGeom>
          <a:gradFill flip="none" rotWithShape="1">
            <a:gsLst>
              <a:gs pos="0">
                <a:srgbClr val="0070C0">
                  <a:alpha val="0"/>
                </a:srgbClr>
              </a:gs>
              <a:gs pos="100000">
                <a:srgbClr val="0070C0">
                  <a:alpha val="40000"/>
                </a:srgbClr>
              </a:gs>
            </a:gsLst>
            <a:lin ang="16200000" scaled="1"/>
            <a:tileRect/>
          </a:gradFill>
          <a:ln w="3175">
            <a:gradFill flip="none" rotWithShape="1">
              <a:gsLst>
                <a:gs pos="0">
                  <a:srgbClr val="00B0F0">
                    <a:alpha val="0"/>
                  </a:srgbClr>
                </a:gs>
                <a:gs pos="50000">
                  <a:srgbClr val="00B0F0"/>
                </a:gs>
              </a:gsLst>
              <a:lin ang="5400000" scaled="0"/>
              <a:tileRect/>
            </a:gradFill>
            <a:miter lim="800000"/>
            <a:headEnd/>
            <a:tailEnd/>
          </a:ln>
          <a:effectLst/>
        </p:spPr>
        <p:txBody>
          <a:bodyPr lIns="0" tIns="0" rIns="0" bIns="0" anchor="ctr"/>
          <a:lstStyle/>
          <a:p>
            <a:pPr algn="ctr" defTabSz="725439">
              <a:lnSpc>
                <a:spcPct val="150000"/>
              </a:lnSpc>
              <a:buClr>
                <a:srgbClr val="CC9900"/>
              </a:buClr>
              <a:buFont typeface="Wingdings" pitchFamily="2" charset="2"/>
              <a:buChar char="n"/>
            </a:pPr>
            <a:endParaRPr lang="zh-CN" altLang="en-US" sz="1000" kern="0"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139" name="圆角矩形 98"/>
          <p:cNvSpPr/>
          <p:nvPr/>
        </p:nvSpPr>
        <p:spPr bwMode="auto">
          <a:xfrm flipV="1">
            <a:off x="646611" y="1818321"/>
            <a:ext cx="2735462" cy="2782655"/>
          </a:xfrm>
          <a:prstGeom prst="roundRect">
            <a:avLst>
              <a:gd name="adj" fmla="val 3119"/>
            </a:avLst>
          </a:prstGeom>
          <a:gradFill flip="none" rotWithShape="1">
            <a:gsLst>
              <a:gs pos="0">
                <a:srgbClr val="0070C0">
                  <a:alpha val="0"/>
                </a:srgbClr>
              </a:gs>
              <a:gs pos="100000">
                <a:srgbClr val="0070C0">
                  <a:alpha val="40000"/>
                </a:srgbClr>
              </a:gs>
            </a:gsLst>
            <a:lin ang="16200000" scaled="1"/>
            <a:tileRect/>
          </a:gradFill>
          <a:ln w="3175">
            <a:gradFill flip="none" rotWithShape="1">
              <a:gsLst>
                <a:gs pos="0">
                  <a:srgbClr val="00B0F0">
                    <a:alpha val="0"/>
                  </a:srgbClr>
                </a:gs>
                <a:gs pos="50000">
                  <a:srgbClr val="00B0F0"/>
                </a:gs>
              </a:gsLst>
              <a:lin ang="5400000" scaled="0"/>
              <a:tileRect/>
            </a:gradFill>
            <a:miter lim="800000"/>
            <a:headEnd/>
            <a:tailEnd/>
          </a:ln>
          <a:effectLst/>
        </p:spPr>
        <p:txBody>
          <a:bodyPr lIns="0" tIns="0" rIns="0" bIns="0" anchor="ctr"/>
          <a:lstStyle/>
          <a:p>
            <a:pPr algn="ctr" defTabSz="725439">
              <a:lnSpc>
                <a:spcPct val="150000"/>
              </a:lnSpc>
              <a:buClr>
                <a:srgbClr val="CC9900"/>
              </a:buClr>
              <a:buFont typeface="Wingdings" pitchFamily="2" charset="2"/>
              <a:buChar char="n"/>
            </a:pPr>
            <a:endParaRPr lang="zh-CN" altLang="en-US" sz="1000" kern="0"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140" name="圆角矩形 98"/>
          <p:cNvSpPr/>
          <p:nvPr/>
        </p:nvSpPr>
        <p:spPr bwMode="auto">
          <a:xfrm>
            <a:off x="636367" y="4725938"/>
            <a:ext cx="10938621" cy="1427535"/>
          </a:xfrm>
          <a:prstGeom prst="roundRect">
            <a:avLst>
              <a:gd name="adj" fmla="val 3119"/>
            </a:avLst>
          </a:prstGeom>
          <a:gradFill flip="none" rotWithShape="1">
            <a:gsLst>
              <a:gs pos="100000">
                <a:srgbClr val="2E75B6">
                  <a:alpha val="10000"/>
                </a:srgbClr>
              </a:gs>
              <a:gs pos="0">
                <a:srgbClr val="00B0F0">
                  <a:alpha val="35000"/>
                </a:srgbClr>
              </a:gs>
            </a:gsLst>
            <a:lin ang="10800000" scaled="1"/>
            <a:tileRect/>
          </a:gradFill>
          <a:ln>
            <a:solidFill>
              <a:srgbClr val="2E75B6">
                <a:alpha val="34902"/>
              </a:srgbClr>
            </a:solidFill>
          </a:ln>
          <a:effectLst/>
        </p:spPr>
        <p:txBody>
          <a:bodyPr vert="horz" wrap="square" lIns="23639" tIns="11820" rIns="23639" bIns="11820" numCol="1" rtlCol="0" anchor="t" anchorCtr="0" compatLnSpc="1">
            <a:prstTxWarp prst="textNoShape">
              <a:avLst/>
            </a:prstTxWarp>
          </a:bodyPr>
          <a:lstStyle/>
          <a:p>
            <a:pPr algn="ctr" defTabSz="236372">
              <a:lnSpc>
                <a:spcPct val="110000"/>
              </a:lnSpc>
            </a:pPr>
            <a:endParaRPr lang="zh-CN" altLang="en-US" sz="1999" dirty="0">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6200000" scaled="1"/>
                <a:tileRect/>
              </a:gradFill>
              <a:effectLst>
                <a:glow rad="228600">
                  <a:srgbClr val="4F81BD">
                    <a:satMod val="175000"/>
                    <a:alpha val="40000"/>
                  </a:srgbClr>
                </a:glow>
                <a:outerShdw blurRad="50800" dist="50800" dir="5400000" algn="ctr" rotWithShape="0">
                  <a:srgbClr val="0070C0">
                    <a:alpha val="0"/>
                  </a:srgbClr>
                </a:outerShdw>
              </a:effectLst>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2" name="组合 162"/>
          <p:cNvGrpSpPr/>
          <p:nvPr/>
        </p:nvGrpSpPr>
        <p:grpSpPr>
          <a:xfrm>
            <a:off x="1427034" y="1926167"/>
            <a:ext cx="1301769" cy="2391767"/>
            <a:chOff x="1324091" y="2463063"/>
            <a:chExt cx="1649490" cy="2087773"/>
          </a:xfrm>
        </p:grpSpPr>
        <p:sp>
          <p:nvSpPr>
            <p:cNvPr id="142" name="Freeform 5"/>
            <p:cNvSpPr>
              <a:spLocks noEditPoints="1"/>
            </p:cNvSpPr>
            <p:nvPr/>
          </p:nvSpPr>
          <p:spPr bwMode="auto">
            <a:xfrm>
              <a:off x="1983096" y="2799290"/>
              <a:ext cx="401398" cy="268717"/>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chemeClr val="bg1"/>
            </a:solid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pic>
          <p:nvPicPr>
            <p:cNvPr id="143" name="图片 142"/>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439830" y="2711439"/>
              <a:ext cx="408374" cy="286431"/>
            </a:xfrm>
            <a:prstGeom prst="rect">
              <a:avLst/>
            </a:prstGeom>
            <a:solidFill>
              <a:schemeClr val="bg1"/>
            </a:solidFill>
          </p:spPr>
        </p:pic>
        <p:grpSp>
          <p:nvGrpSpPr>
            <p:cNvPr id="3" name="组合 215"/>
            <p:cNvGrpSpPr/>
            <p:nvPr/>
          </p:nvGrpSpPr>
          <p:grpSpPr>
            <a:xfrm>
              <a:off x="1401623" y="3669548"/>
              <a:ext cx="431429" cy="258756"/>
              <a:chOff x="-1685925" y="691548"/>
              <a:chExt cx="1685925" cy="1585912"/>
            </a:xfrm>
            <a:solidFill>
              <a:schemeClr val="bg1"/>
            </a:solidFill>
          </p:grpSpPr>
          <p:sp>
            <p:nvSpPr>
              <p:cNvPr id="184" name="Freeform 11"/>
              <p:cNvSpPr>
                <a:spLocks/>
              </p:cNvSpPr>
              <p:nvPr/>
            </p:nvSpPr>
            <p:spPr bwMode="auto">
              <a:xfrm>
                <a:off x="-314325" y="1356710"/>
                <a:ext cx="144463" cy="192087"/>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85" name="Freeform 12"/>
              <p:cNvSpPr>
                <a:spLocks/>
              </p:cNvSpPr>
              <p:nvPr/>
            </p:nvSpPr>
            <p:spPr bwMode="auto">
              <a:xfrm>
                <a:off x="-1624013" y="1356710"/>
                <a:ext cx="146050" cy="192087"/>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grpSp>
            <p:nvGrpSpPr>
              <p:cNvPr id="4" name="组合 120"/>
              <p:cNvGrpSpPr/>
              <p:nvPr/>
            </p:nvGrpSpPr>
            <p:grpSpPr>
              <a:xfrm>
                <a:off x="-1685925" y="691548"/>
                <a:ext cx="1685925" cy="1585912"/>
                <a:chOff x="-1685925" y="691548"/>
                <a:chExt cx="1685925" cy="1585912"/>
              </a:xfrm>
              <a:grpFill/>
            </p:grpSpPr>
            <p:sp>
              <p:nvSpPr>
                <p:cNvPr id="187" name="Freeform 13"/>
                <p:cNvSpPr>
                  <a:spLocks noEditPoints="1"/>
                </p:cNvSpPr>
                <p:nvPr/>
              </p:nvSpPr>
              <p:spPr bwMode="auto">
                <a:xfrm>
                  <a:off x="-1685925" y="1102710"/>
                  <a:ext cx="1577975" cy="1001712"/>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88" name="Freeform 14"/>
                <p:cNvSpPr>
                  <a:spLocks noEditPoints="1"/>
                </p:cNvSpPr>
                <p:nvPr/>
              </p:nvSpPr>
              <p:spPr bwMode="auto">
                <a:xfrm>
                  <a:off x="-1541463" y="2075848"/>
                  <a:ext cx="1319213" cy="201612"/>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89" name="Freeform 15"/>
                <p:cNvSpPr>
                  <a:spLocks/>
                </p:cNvSpPr>
                <p:nvPr/>
              </p:nvSpPr>
              <p:spPr bwMode="auto">
                <a:xfrm>
                  <a:off x="-469900" y="867760"/>
                  <a:ext cx="309563" cy="323850"/>
                </a:xfrm>
                <a:custGeom>
                  <a:avLst/>
                  <a:gdLst/>
                  <a:ahLst/>
                  <a:cxnLst>
                    <a:cxn ang="0">
                      <a:pos x="2537" y="3259"/>
                    </a:cxn>
                    <a:cxn ang="0">
                      <a:pos x="2539" y="3232"/>
                    </a:cxn>
                    <a:cxn ang="0">
                      <a:pos x="2540" y="3204"/>
                    </a:cxn>
                    <a:cxn ang="0">
                      <a:pos x="2532" y="2944"/>
                    </a:cxn>
                    <a:cxn ang="0">
                      <a:pos x="2500" y="2690"/>
                    </a:cxn>
                    <a:cxn ang="0">
                      <a:pos x="2444" y="2445"/>
                    </a:cxn>
                    <a:cxn ang="0">
                      <a:pos x="2363" y="2208"/>
                    </a:cxn>
                    <a:cxn ang="0">
                      <a:pos x="2261" y="1982"/>
                    </a:cxn>
                    <a:cxn ang="0">
                      <a:pos x="2139" y="1768"/>
                    </a:cxn>
                    <a:cxn ang="0">
                      <a:pos x="1997" y="1568"/>
                    </a:cxn>
                    <a:cxn ang="0">
                      <a:pos x="1837" y="1382"/>
                    </a:cxn>
                    <a:cxn ang="0">
                      <a:pos x="1659" y="1212"/>
                    </a:cxn>
                    <a:cxn ang="0">
                      <a:pos x="1467" y="1060"/>
                    </a:cxn>
                    <a:cxn ang="0">
                      <a:pos x="1260" y="928"/>
                    </a:cxn>
                    <a:cxn ang="0">
                      <a:pos x="1039" y="814"/>
                    </a:cxn>
                    <a:cxn ang="0">
                      <a:pos x="807" y="721"/>
                    </a:cxn>
                    <a:cxn ang="0">
                      <a:pos x="565" y="652"/>
                    </a:cxn>
                    <a:cxn ang="0">
                      <a:pos x="313" y="607"/>
                    </a:cxn>
                    <a:cxn ang="0">
                      <a:pos x="53" y="588"/>
                    </a:cxn>
                    <a:cxn ang="0">
                      <a:pos x="27" y="587"/>
                    </a:cxn>
                    <a:cxn ang="0">
                      <a:pos x="0" y="587"/>
                    </a:cxn>
                    <a:cxn ang="0">
                      <a:pos x="28" y="0"/>
                    </a:cxn>
                    <a:cxn ang="0">
                      <a:pos x="55" y="0"/>
                    </a:cxn>
                    <a:cxn ang="0">
                      <a:pos x="229" y="9"/>
                    </a:cxn>
                    <a:cxn ang="0">
                      <a:pos x="544" y="49"/>
                    </a:cxn>
                    <a:cxn ang="0">
                      <a:pos x="848" y="120"/>
                    </a:cxn>
                    <a:cxn ang="0">
                      <a:pos x="1140" y="219"/>
                    </a:cxn>
                    <a:cxn ang="0">
                      <a:pos x="1418" y="345"/>
                    </a:cxn>
                    <a:cxn ang="0">
                      <a:pos x="1682" y="497"/>
                    </a:cxn>
                    <a:cxn ang="0">
                      <a:pos x="1927" y="674"/>
                    </a:cxn>
                    <a:cxn ang="0">
                      <a:pos x="2155" y="871"/>
                    </a:cxn>
                    <a:cxn ang="0">
                      <a:pos x="2362" y="1090"/>
                    </a:cxn>
                    <a:cxn ang="0">
                      <a:pos x="2549" y="1328"/>
                    </a:cxn>
                    <a:cxn ang="0">
                      <a:pos x="2712" y="1582"/>
                    </a:cxn>
                    <a:cxn ang="0">
                      <a:pos x="2850" y="1853"/>
                    </a:cxn>
                    <a:cxn ang="0">
                      <a:pos x="2962" y="2138"/>
                    </a:cxn>
                    <a:cxn ang="0">
                      <a:pos x="3046" y="2434"/>
                    </a:cxn>
                    <a:cxn ang="0">
                      <a:pos x="3101" y="2742"/>
                    </a:cxn>
                    <a:cxn ang="0">
                      <a:pos x="3126" y="3059"/>
                    </a:cxn>
                    <a:cxn ang="0">
                      <a:pos x="3126" y="3233"/>
                    </a:cxn>
                    <a:cxn ang="0">
                      <a:pos x="3125" y="3260"/>
                    </a:cxn>
                  </a:cxnLst>
                  <a:rect l="0" t="0" r="r" b="b"/>
                  <a:pathLst>
                    <a:path w="3126" h="3273">
                      <a:moveTo>
                        <a:pt x="3124" y="3273"/>
                      </a:moveTo>
                      <a:lnTo>
                        <a:pt x="2537" y="3259"/>
                      </a:lnTo>
                      <a:lnTo>
                        <a:pt x="2537" y="3245"/>
                      </a:lnTo>
                      <a:lnTo>
                        <a:pt x="2539" y="3232"/>
                      </a:lnTo>
                      <a:lnTo>
                        <a:pt x="2539" y="3218"/>
                      </a:lnTo>
                      <a:lnTo>
                        <a:pt x="2540" y="3204"/>
                      </a:lnTo>
                      <a:lnTo>
                        <a:pt x="2540" y="3074"/>
                      </a:lnTo>
                      <a:lnTo>
                        <a:pt x="2532" y="2944"/>
                      </a:lnTo>
                      <a:lnTo>
                        <a:pt x="2519" y="2817"/>
                      </a:lnTo>
                      <a:lnTo>
                        <a:pt x="2500" y="2690"/>
                      </a:lnTo>
                      <a:lnTo>
                        <a:pt x="2475" y="2566"/>
                      </a:lnTo>
                      <a:lnTo>
                        <a:pt x="2444" y="2445"/>
                      </a:lnTo>
                      <a:lnTo>
                        <a:pt x="2407" y="2325"/>
                      </a:lnTo>
                      <a:lnTo>
                        <a:pt x="2363" y="2208"/>
                      </a:lnTo>
                      <a:lnTo>
                        <a:pt x="2316" y="2093"/>
                      </a:lnTo>
                      <a:lnTo>
                        <a:pt x="2261" y="1982"/>
                      </a:lnTo>
                      <a:lnTo>
                        <a:pt x="2203" y="1873"/>
                      </a:lnTo>
                      <a:lnTo>
                        <a:pt x="2139" y="1768"/>
                      </a:lnTo>
                      <a:lnTo>
                        <a:pt x="2070" y="1666"/>
                      </a:lnTo>
                      <a:lnTo>
                        <a:pt x="1997" y="1568"/>
                      </a:lnTo>
                      <a:lnTo>
                        <a:pt x="1918" y="1474"/>
                      </a:lnTo>
                      <a:lnTo>
                        <a:pt x="1837" y="1382"/>
                      </a:lnTo>
                      <a:lnTo>
                        <a:pt x="1751" y="1295"/>
                      </a:lnTo>
                      <a:lnTo>
                        <a:pt x="1659" y="1212"/>
                      </a:lnTo>
                      <a:lnTo>
                        <a:pt x="1565" y="1135"/>
                      </a:lnTo>
                      <a:lnTo>
                        <a:pt x="1467" y="1060"/>
                      </a:lnTo>
                      <a:lnTo>
                        <a:pt x="1365" y="991"/>
                      </a:lnTo>
                      <a:lnTo>
                        <a:pt x="1260" y="928"/>
                      </a:lnTo>
                      <a:lnTo>
                        <a:pt x="1152" y="868"/>
                      </a:lnTo>
                      <a:lnTo>
                        <a:pt x="1039" y="814"/>
                      </a:lnTo>
                      <a:lnTo>
                        <a:pt x="924" y="765"/>
                      </a:lnTo>
                      <a:lnTo>
                        <a:pt x="807" y="721"/>
                      </a:lnTo>
                      <a:lnTo>
                        <a:pt x="687" y="684"/>
                      </a:lnTo>
                      <a:lnTo>
                        <a:pt x="565" y="652"/>
                      </a:lnTo>
                      <a:lnTo>
                        <a:pt x="440" y="627"/>
                      </a:lnTo>
                      <a:lnTo>
                        <a:pt x="313" y="607"/>
                      </a:lnTo>
                      <a:lnTo>
                        <a:pt x="184" y="594"/>
                      </a:lnTo>
                      <a:lnTo>
                        <a:pt x="53" y="588"/>
                      </a:lnTo>
                      <a:lnTo>
                        <a:pt x="40" y="587"/>
                      </a:lnTo>
                      <a:lnTo>
                        <a:pt x="27" y="587"/>
                      </a:lnTo>
                      <a:lnTo>
                        <a:pt x="13" y="587"/>
                      </a:lnTo>
                      <a:lnTo>
                        <a:pt x="0" y="587"/>
                      </a:lnTo>
                      <a:lnTo>
                        <a:pt x="15" y="0"/>
                      </a:lnTo>
                      <a:lnTo>
                        <a:pt x="28" y="0"/>
                      </a:lnTo>
                      <a:lnTo>
                        <a:pt x="42" y="0"/>
                      </a:lnTo>
                      <a:lnTo>
                        <a:pt x="55" y="0"/>
                      </a:lnTo>
                      <a:lnTo>
                        <a:pt x="68" y="0"/>
                      </a:lnTo>
                      <a:lnTo>
                        <a:pt x="229" y="9"/>
                      </a:lnTo>
                      <a:lnTo>
                        <a:pt x="388" y="25"/>
                      </a:lnTo>
                      <a:lnTo>
                        <a:pt x="544" y="49"/>
                      </a:lnTo>
                      <a:lnTo>
                        <a:pt x="697" y="81"/>
                      </a:lnTo>
                      <a:lnTo>
                        <a:pt x="848" y="120"/>
                      </a:lnTo>
                      <a:lnTo>
                        <a:pt x="995" y="166"/>
                      </a:lnTo>
                      <a:lnTo>
                        <a:pt x="1140" y="219"/>
                      </a:lnTo>
                      <a:lnTo>
                        <a:pt x="1281" y="280"/>
                      </a:lnTo>
                      <a:lnTo>
                        <a:pt x="1418" y="345"/>
                      </a:lnTo>
                      <a:lnTo>
                        <a:pt x="1552" y="419"/>
                      </a:lnTo>
                      <a:lnTo>
                        <a:pt x="1682" y="497"/>
                      </a:lnTo>
                      <a:lnTo>
                        <a:pt x="1807" y="582"/>
                      </a:lnTo>
                      <a:lnTo>
                        <a:pt x="1927" y="674"/>
                      </a:lnTo>
                      <a:lnTo>
                        <a:pt x="2044" y="770"/>
                      </a:lnTo>
                      <a:lnTo>
                        <a:pt x="2155" y="871"/>
                      </a:lnTo>
                      <a:lnTo>
                        <a:pt x="2261" y="979"/>
                      </a:lnTo>
                      <a:lnTo>
                        <a:pt x="2362" y="1090"/>
                      </a:lnTo>
                      <a:lnTo>
                        <a:pt x="2459" y="1207"/>
                      </a:lnTo>
                      <a:lnTo>
                        <a:pt x="2549" y="1328"/>
                      </a:lnTo>
                      <a:lnTo>
                        <a:pt x="2633" y="1453"/>
                      </a:lnTo>
                      <a:lnTo>
                        <a:pt x="2712" y="1582"/>
                      </a:lnTo>
                      <a:lnTo>
                        <a:pt x="2784" y="1716"/>
                      </a:lnTo>
                      <a:lnTo>
                        <a:pt x="2850" y="1853"/>
                      </a:lnTo>
                      <a:lnTo>
                        <a:pt x="2909" y="1993"/>
                      </a:lnTo>
                      <a:lnTo>
                        <a:pt x="2962" y="2138"/>
                      </a:lnTo>
                      <a:lnTo>
                        <a:pt x="3008" y="2284"/>
                      </a:lnTo>
                      <a:lnTo>
                        <a:pt x="3046" y="2434"/>
                      </a:lnTo>
                      <a:lnTo>
                        <a:pt x="3078" y="2587"/>
                      </a:lnTo>
                      <a:lnTo>
                        <a:pt x="3101" y="2742"/>
                      </a:lnTo>
                      <a:lnTo>
                        <a:pt x="3117" y="2899"/>
                      </a:lnTo>
                      <a:lnTo>
                        <a:pt x="3126" y="3059"/>
                      </a:lnTo>
                      <a:lnTo>
                        <a:pt x="3126" y="3219"/>
                      </a:lnTo>
                      <a:lnTo>
                        <a:pt x="3126" y="3233"/>
                      </a:lnTo>
                      <a:lnTo>
                        <a:pt x="3125" y="3247"/>
                      </a:lnTo>
                      <a:lnTo>
                        <a:pt x="3125" y="3260"/>
                      </a:lnTo>
                      <a:lnTo>
                        <a:pt x="3124" y="3273"/>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90" name="Freeform 16"/>
                <p:cNvSpPr>
                  <a:spLocks/>
                </p:cNvSpPr>
                <p:nvPr/>
              </p:nvSpPr>
              <p:spPr bwMode="auto">
                <a:xfrm>
                  <a:off x="-482600" y="691548"/>
                  <a:ext cx="482600" cy="506412"/>
                </a:xfrm>
                <a:custGeom>
                  <a:avLst/>
                  <a:gdLst/>
                  <a:ahLst/>
                  <a:cxnLst>
                    <a:cxn ang="0">
                      <a:pos x="4864" y="5055"/>
                    </a:cxn>
                    <a:cxn ang="0">
                      <a:pos x="4863" y="5087"/>
                    </a:cxn>
                    <a:cxn ang="0">
                      <a:pos x="4227" y="5086"/>
                    </a:cxn>
                    <a:cxn ang="0">
                      <a:pos x="4228" y="5055"/>
                    </a:cxn>
                    <a:cxn ang="0">
                      <a:pos x="4229" y="5023"/>
                    </a:cxn>
                    <a:cxn ang="0">
                      <a:pos x="4218" y="4586"/>
                    </a:cxn>
                    <a:cxn ang="0">
                      <a:pos x="4164" y="4160"/>
                    </a:cxn>
                    <a:cxn ang="0">
                      <a:pos x="4069" y="3749"/>
                    </a:cxn>
                    <a:cxn ang="0">
                      <a:pos x="3935" y="3352"/>
                    </a:cxn>
                    <a:cxn ang="0">
                      <a:pos x="3764" y="2974"/>
                    </a:cxn>
                    <a:cxn ang="0">
                      <a:pos x="3559" y="2616"/>
                    </a:cxn>
                    <a:cxn ang="0">
                      <a:pos x="3320" y="2280"/>
                    </a:cxn>
                    <a:cxn ang="0">
                      <a:pos x="3051" y="1969"/>
                    </a:cxn>
                    <a:cxn ang="0">
                      <a:pos x="2755" y="1685"/>
                    </a:cxn>
                    <a:cxn ang="0">
                      <a:pos x="2432" y="1430"/>
                    </a:cxn>
                    <a:cxn ang="0">
                      <a:pos x="2085" y="1206"/>
                    </a:cxn>
                    <a:cxn ang="0">
                      <a:pos x="1716" y="1016"/>
                    </a:cxn>
                    <a:cxn ang="0">
                      <a:pos x="1326" y="862"/>
                    </a:cxn>
                    <a:cxn ang="0">
                      <a:pos x="921" y="746"/>
                    </a:cxn>
                    <a:cxn ang="0">
                      <a:pos x="498" y="670"/>
                    </a:cxn>
                    <a:cxn ang="0">
                      <a:pos x="63" y="636"/>
                    </a:cxn>
                    <a:cxn ang="0">
                      <a:pos x="32" y="636"/>
                    </a:cxn>
                    <a:cxn ang="0">
                      <a:pos x="0" y="636"/>
                    </a:cxn>
                    <a:cxn ang="0">
                      <a:pos x="32" y="0"/>
                    </a:cxn>
                    <a:cxn ang="0">
                      <a:pos x="64" y="0"/>
                    </a:cxn>
                    <a:cxn ang="0">
                      <a:pos x="330" y="14"/>
                    </a:cxn>
                    <a:cxn ang="0">
                      <a:pos x="824" y="76"/>
                    </a:cxn>
                    <a:cxn ang="0">
                      <a:pos x="1300" y="187"/>
                    </a:cxn>
                    <a:cxn ang="0">
                      <a:pos x="1757" y="343"/>
                    </a:cxn>
                    <a:cxn ang="0">
                      <a:pos x="2192" y="541"/>
                    </a:cxn>
                    <a:cxn ang="0">
                      <a:pos x="2604" y="779"/>
                    </a:cxn>
                    <a:cxn ang="0">
                      <a:pos x="2990" y="1054"/>
                    </a:cxn>
                    <a:cxn ang="0">
                      <a:pos x="3345" y="1364"/>
                    </a:cxn>
                    <a:cxn ang="0">
                      <a:pos x="3670" y="1706"/>
                    </a:cxn>
                    <a:cxn ang="0">
                      <a:pos x="3962" y="2078"/>
                    </a:cxn>
                    <a:cxn ang="0">
                      <a:pos x="4217" y="2476"/>
                    </a:cxn>
                    <a:cxn ang="0">
                      <a:pos x="4434" y="2900"/>
                    </a:cxn>
                    <a:cxn ang="0">
                      <a:pos x="4609" y="3346"/>
                    </a:cxn>
                    <a:cxn ang="0">
                      <a:pos x="4741" y="3810"/>
                    </a:cxn>
                    <a:cxn ang="0">
                      <a:pos x="4827" y="4291"/>
                    </a:cxn>
                    <a:cxn ang="0">
                      <a:pos x="4865" y="4787"/>
                    </a:cxn>
                  </a:cxnLst>
                  <a:rect l="0" t="0" r="r" b="b"/>
                  <a:pathLst>
                    <a:path w="4865" h="5103">
                      <a:moveTo>
                        <a:pt x="4865" y="5039"/>
                      </a:moveTo>
                      <a:lnTo>
                        <a:pt x="4864" y="5055"/>
                      </a:lnTo>
                      <a:lnTo>
                        <a:pt x="4864" y="5071"/>
                      </a:lnTo>
                      <a:lnTo>
                        <a:pt x="4863" y="5087"/>
                      </a:lnTo>
                      <a:lnTo>
                        <a:pt x="4863" y="5103"/>
                      </a:lnTo>
                      <a:lnTo>
                        <a:pt x="4227" y="5086"/>
                      </a:lnTo>
                      <a:lnTo>
                        <a:pt x="4228" y="5071"/>
                      </a:lnTo>
                      <a:lnTo>
                        <a:pt x="4228" y="5055"/>
                      </a:lnTo>
                      <a:lnTo>
                        <a:pt x="4229" y="5039"/>
                      </a:lnTo>
                      <a:lnTo>
                        <a:pt x="4229" y="5023"/>
                      </a:lnTo>
                      <a:lnTo>
                        <a:pt x="4229" y="4803"/>
                      </a:lnTo>
                      <a:lnTo>
                        <a:pt x="4218" y="4586"/>
                      </a:lnTo>
                      <a:lnTo>
                        <a:pt x="4196" y="4372"/>
                      </a:lnTo>
                      <a:lnTo>
                        <a:pt x="4164" y="4160"/>
                      </a:lnTo>
                      <a:lnTo>
                        <a:pt x="4122" y="3953"/>
                      </a:lnTo>
                      <a:lnTo>
                        <a:pt x="4069" y="3749"/>
                      </a:lnTo>
                      <a:lnTo>
                        <a:pt x="4007" y="3548"/>
                      </a:lnTo>
                      <a:lnTo>
                        <a:pt x="3935" y="3352"/>
                      </a:lnTo>
                      <a:lnTo>
                        <a:pt x="3854" y="3161"/>
                      </a:lnTo>
                      <a:lnTo>
                        <a:pt x="3764" y="2974"/>
                      </a:lnTo>
                      <a:lnTo>
                        <a:pt x="3665" y="2792"/>
                      </a:lnTo>
                      <a:lnTo>
                        <a:pt x="3559" y="2616"/>
                      </a:lnTo>
                      <a:lnTo>
                        <a:pt x="3443" y="2445"/>
                      </a:lnTo>
                      <a:lnTo>
                        <a:pt x="3320" y="2280"/>
                      </a:lnTo>
                      <a:lnTo>
                        <a:pt x="3189" y="2122"/>
                      </a:lnTo>
                      <a:lnTo>
                        <a:pt x="3051" y="1969"/>
                      </a:lnTo>
                      <a:lnTo>
                        <a:pt x="2907" y="1823"/>
                      </a:lnTo>
                      <a:lnTo>
                        <a:pt x="2755" y="1685"/>
                      </a:lnTo>
                      <a:lnTo>
                        <a:pt x="2597" y="1553"/>
                      </a:lnTo>
                      <a:lnTo>
                        <a:pt x="2432" y="1430"/>
                      </a:lnTo>
                      <a:lnTo>
                        <a:pt x="2261" y="1314"/>
                      </a:lnTo>
                      <a:lnTo>
                        <a:pt x="2085" y="1206"/>
                      </a:lnTo>
                      <a:lnTo>
                        <a:pt x="1903" y="1107"/>
                      </a:lnTo>
                      <a:lnTo>
                        <a:pt x="1716" y="1016"/>
                      </a:lnTo>
                      <a:lnTo>
                        <a:pt x="1524" y="935"/>
                      </a:lnTo>
                      <a:lnTo>
                        <a:pt x="1326" y="862"/>
                      </a:lnTo>
                      <a:lnTo>
                        <a:pt x="1126" y="799"/>
                      </a:lnTo>
                      <a:lnTo>
                        <a:pt x="921" y="746"/>
                      </a:lnTo>
                      <a:lnTo>
                        <a:pt x="712" y="702"/>
                      </a:lnTo>
                      <a:lnTo>
                        <a:pt x="498" y="670"/>
                      </a:lnTo>
                      <a:lnTo>
                        <a:pt x="282" y="648"/>
                      </a:lnTo>
                      <a:lnTo>
                        <a:pt x="63" y="636"/>
                      </a:lnTo>
                      <a:lnTo>
                        <a:pt x="47" y="636"/>
                      </a:lnTo>
                      <a:lnTo>
                        <a:pt x="32" y="636"/>
                      </a:lnTo>
                      <a:lnTo>
                        <a:pt x="16" y="636"/>
                      </a:lnTo>
                      <a:lnTo>
                        <a:pt x="0" y="636"/>
                      </a:lnTo>
                      <a:lnTo>
                        <a:pt x="17" y="0"/>
                      </a:lnTo>
                      <a:lnTo>
                        <a:pt x="32" y="0"/>
                      </a:lnTo>
                      <a:lnTo>
                        <a:pt x="48" y="0"/>
                      </a:lnTo>
                      <a:lnTo>
                        <a:pt x="64" y="0"/>
                      </a:lnTo>
                      <a:lnTo>
                        <a:pt x="79" y="1"/>
                      </a:lnTo>
                      <a:lnTo>
                        <a:pt x="330" y="14"/>
                      </a:lnTo>
                      <a:lnTo>
                        <a:pt x="579" y="39"/>
                      </a:lnTo>
                      <a:lnTo>
                        <a:pt x="824" y="76"/>
                      </a:lnTo>
                      <a:lnTo>
                        <a:pt x="1064" y="126"/>
                      </a:lnTo>
                      <a:lnTo>
                        <a:pt x="1300" y="187"/>
                      </a:lnTo>
                      <a:lnTo>
                        <a:pt x="1531" y="259"/>
                      </a:lnTo>
                      <a:lnTo>
                        <a:pt x="1757" y="343"/>
                      </a:lnTo>
                      <a:lnTo>
                        <a:pt x="1977" y="437"/>
                      </a:lnTo>
                      <a:lnTo>
                        <a:pt x="2192" y="541"/>
                      </a:lnTo>
                      <a:lnTo>
                        <a:pt x="2401" y="656"/>
                      </a:lnTo>
                      <a:lnTo>
                        <a:pt x="2604" y="779"/>
                      </a:lnTo>
                      <a:lnTo>
                        <a:pt x="2800" y="912"/>
                      </a:lnTo>
                      <a:lnTo>
                        <a:pt x="2990" y="1054"/>
                      </a:lnTo>
                      <a:lnTo>
                        <a:pt x="3171" y="1205"/>
                      </a:lnTo>
                      <a:lnTo>
                        <a:pt x="3345" y="1364"/>
                      </a:lnTo>
                      <a:lnTo>
                        <a:pt x="3512" y="1531"/>
                      </a:lnTo>
                      <a:lnTo>
                        <a:pt x="3670" y="1706"/>
                      </a:lnTo>
                      <a:lnTo>
                        <a:pt x="3821" y="1889"/>
                      </a:lnTo>
                      <a:lnTo>
                        <a:pt x="3962" y="2078"/>
                      </a:lnTo>
                      <a:lnTo>
                        <a:pt x="4094" y="2275"/>
                      </a:lnTo>
                      <a:lnTo>
                        <a:pt x="4217" y="2476"/>
                      </a:lnTo>
                      <a:lnTo>
                        <a:pt x="4330" y="2686"/>
                      </a:lnTo>
                      <a:lnTo>
                        <a:pt x="4434" y="2900"/>
                      </a:lnTo>
                      <a:lnTo>
                        <a:pt x="4526" y="3120"/>
                      </a:lnTo>
                      <a:lnTo>
                        <a:pt x="4609" y="3346"/>
                      </a:lnTo>
                      <a:lnTo>
                        <a:pt x="4680" y="3576"/>
                      </a:lnTo>
                      <a:lnTo>
                        <a:pt x="4741" y="3810"/>
                      </a:lnTo>
                      <a:lnTo>
                        <a:pt x="4790" y="4049"/>
                      </a:lnTo>
                      <a:lnTo>
                        <a:pt x="4827" y="4291"/>
                      </a:lnTo>
                      <a:lnTo>
                        <a:pt x="4852" y="4538"/>
                      </a:lnTo>
                      <a:lnTo>
                        <a:pt x="4865" y="4787"/>
                      </a:lnTo>
                      <a:lnTo>
                        <a:pt x="4865" y="5039"/>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cs typeface="Arial" pitchFamily="34" charset="0"/>
                  </a:endParaRPr>
                </a:p>
              </p:txBody>
            </p:sp>
          </p:grpSp>
        </p:grpSp>
        <p:grpSp>
          <p:nvGrpSpPr>
            <p:cNvPr id="5" name="组合 7"/>
            <p:cNvGrpSpPr/>
            <p:nvPr/>
          </p:nvGrpSpPr>
          <p:grpSpPr>
            <a:xfrm>
              <a:off x="1439830" y="3234958"/>
              <a:ext cx="283782" cy="258756"/>
              <a:chOff x="13017691" y="2112543"/>
              <a:chExt cx="339832" cy="441484"/>
            </a:xfrm>
            <a:solidFill>
              <a:schemeClr val="bg1"/>
            </a:solidFill>
          </p:grpSpPr>
          <p:grpSp>
            <p:nvGrpSpPr>
              <p:cNvPr id="6" name="组合 157"/>
              <p:cNvGrpSpPr/>
              <p:nvPr/>
            </p:nvGrpSpPr>
            <p:grpSpPr>
              <a:xfrm flipH="1">
                <a:off x="13119820" y="2193609"/>
                <a:ext cx="237703" cy="360418"/>
                <a:chOff x="2021101" y="5029536"/>
                <a:chExt cx="642585" cy="788169"/>
              </a:xfrm>
              <a:grpFill/>
            </p:grpSpPr>
            <p:sp>
              <p:nvSpPr>
                <p:cNvPr id="181" name="Freeform 125"/>
                <p:cNvSpPr>
                  <a:spLocks noEditPoints="1"/>
                </p:cNvSpPr>
                <p:nvPr/>
              </p:nvSpPr>
              <p:spPr bwMode="auto">
                <a:xfrm>
                  <a:off x="2107096" y="5115337"/>
                  <a:ext cx="486114" cy="278295"/>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83" name="Freeform 187"/>
                <p:cNvSpPr>
                  <a:spLocks noEditPoints="1"/>
                </p:cNvSpPr>
                <p:nvPr/>
              </p:nvSpPr>
              <p:spPr bwMode="auto">
                <a:xfrm>
                  <a:off x="2021101" y="5029536"/>
                  <a:ext cx="642585" cy="788169"/>
                </a:xfrm>
                <a:custGeom>
                  <a:avLst/>
                  <a:gdLst/>
                  <a:ahLst/>
                  <a:cxnLst>
                    <a:cxn ang="0">
                      <a:pos x="30" y="0"/>
                    </a:cxn>
                    <a:cxn ang="0">
                      <a:pos x="24" y="2"/>
                    </a:cxn>
                    <a:cxn ang="0">
                      <a:pos x="8" y="10"/>
                    </a:cxn>
                    <a:cxn ang="0">
                      <a:pos x="0" y="26"/>
                    </a:cxn>
                    <a:cxn ang="0">
                      <a:pos x="0" y="154"/>
                    </a:cxn>
                    <a:cxn ang="0">
                      <a:pos x="0" y="160"/>
                    </a:cxn>
                    <a:cxn ang="0">
                      <a:pos x="8" y="176"/>
                    </a:cxn>
                    <a:cxn ang="0">
                      <a:pos x="24" y="186"/>
                    </a:cxn>
                    <a:cxn ang="0">
                      <a:pos x="92" y="186"/>
                    </a:cxn>
                    <a:cxn ang="0">
                      <a:pos x="98" y="186"/>
                    </a:cxn>
                    <a:cxn ang="0">
                      <a:pos x="114" y="176"/>
                    </a:cxn>
                    <a:cxn ang="0">
                      <a:pos x="122" y="160"/>
                    </a:cxn>
                    <a:cxn ang="0">
                      <a:pos x="122" y="32"/>
                    </a:cxn>
                    <a:cxn ang="0">
                      <a:pos x="122" y="26"/>
                    </a:cxn>
                    <a:cxn ang="0">
                      <a:pos x="114" y="10"/>
                    </a:cxn>
                    <a:cxn ang="0">
                      <a:pos x="98" y="2"/>
                    </a:cxn>
                    <a:cxn ang="0">
                      <a:pos x="92" y="0"/>
                    </a:cxn>
                    <a:cxn ang="0">
                      <a:pos x="34" y="168"/>
                    </a:cxn>
                    <a:cxn ang="0">
                      <a:pos x="24" y="164"/>
                    </a:cxn>
                    <a:cxn ang="0">
                      <a:pos x="22" y="156"/>
                    </a:cxn>
                    <a:cxn ang="0">
                      <a:pos x="22" y="152"/>
                    </a:cxn>
                    <a:cxn ang="0">
                      <a:pos x="28" y="146"/>
                    </a:cxn>
                    <a:cxn ang="0">
                      <a:pos x="34" y="144"/>
                    </a:cxn>
                    <a:cxn ang="0">
                      <a:pos x="42" y="148"/>
                    </a:cxn>
                    <a:cxn ang="0">
                      <a:pos x="46" y="156"/>
                    </a:cxn>
                    <a:cxn ang="0">
                      <a:pos x="44" y="160"/>
                    </a:cxn>
                    <a:cxn ang="0">
                      <a:pos x="38" y="168"/>
                    </a:cxn>
                    <a:cxn ang="0">
                      <a:pos x="34" y="168"/>
                    </a:cxn>
                    <a:cxn ang="0">
                      <a:pos x="88" y="168"/>
                    </a:cxn>
                    <a:cxn ang="0">
                      <a:pos x="80" y="164"/>
                    </a:cxn>
                    <a:cxn ang="0">
                      <a:pos x="76" y="156"/>
                    </a:cxn>
                    <a:cxn ang="0">
                      <a:pos x="78" y="152"/>
                    </a:cxn>
                    <a:cxn ang="0">
                      <a:pos x="84" y="146"/>
                    </a:cxn>
                    <a:cxn ang="0">
                      <a:pos x="88" y="144"/>
                    </a:cxn>
                    <a:cxn ang="0">
                      <a:pos x="98" y="148"/>
                    </a:cxn>
                    <a:cxn ang="0">
                      <a:pos x="100" y="156"/>
                    </a:cxn>
                    <a:cxn ang="0">
                      <a:pos x="100" y="160"/>
                    </a:cxn>
                    <a:cxn ang="0">
                      <a:pos x="94" y="168"/>
                    </a:cxn>
                    <a:cxn ang="0">
                      <a:pos x="88" y="168"/>
                    </a:cxn>
                    <a:cxn ang="0">
                      <a:pos x="114" y="116"/>
                    </a:cxn>
                    <a:cxn ang="0">
                      <a:pos x="106" y="132"/>
                    </a:cxn>
                    <a:cxn ang="0">
                      <a:pos x="86" y="140"/>
                    </a:cxn>
                    <a:cxn ang="0">
                      <a:pos x="36" y="140"/>
                    </a:cxn>
                    <a:cxn ang="0">
                      <a:pos x="16" y="132"/>
                    </a:cxn>
                    <a:cxn ang="0">
                      <a:pos x="8" y="116"/>
                    </a:cxn>
                    <a:cxn ang="0">
                      <a:pos x="8" y="36"/>
                    </a:cxn>
                    <a:cxn ang="0">
                      <a:pos x="16" y="18"/>
                    </a:cxn>
                    <a:cxn ang="0">
                      <a:pos x="36" y="12"/>
                    </a:cxn>
                    <a:cxn ang="0">
                      <a:pos x="86" y="12"/>
                    </a:cxn>
                    <a:cxn ang="0">
                      <a:pos x="106" y="18"/>
                    </a:cxn>
                    <a:cxn ang="0">
                      <a:pos x="114" y="36"/>
                    </a:cxn>
                  </a:cxnLst>
                  <a:rect l="0" t="0" r="r" b="b"/>
                  <a:pathLst>
                    <a:path w="122" h="186">
                      <a:moveTo>
                        <a:pt x="92" y="0"/>
                      </a:moveTo>
                      <a:lnTo>
                        <a:pt x="30" y="0"/>
                      </a:lnTo>
                      <a:lnTo>
                        <a:pt x="30" y="0"/>
                      </a:lnTo>
                      <a:lnTo>
                        <a:pt x="24" y="2"/>
                      </a:lnTo>
                      <a:lnTo>
                        <a:pt x="18" y="4"/>
                      </a:lnTo>
                      <a:lnTo>
                        <a:pt x="8" y="10"/>
                      </a:lnTo>
                      <a:lnTo>
                        <a:pt x="2" y="20"/>
                      </a:lnTo>
                      <a:lnTo>
                        <a:pt x="0" y="26"/>
                      </a:lnTo>
                      <a:lnTo>
                        <a:pt x="0" y="32"/>
                      </a:lnTo>
                      <a:lnTo>
                        <a:pt x="0" y="154"/>
                      </a:lnTo>
                      <a:lnTo>
                        <a:pt x="0" y="154"/>
                      </a:lnTo>
                      <a:lnTo>
                        <a:pt x="0" y="160"/>
                      </a:lnTo>
                      <a:lnTo>
                        <a:pt x="2" y="166"/>
                      </a:lnTo>
                      <a:lnTo>
                        <a:pt x="8" y="176"/>
                      </a:lnTo>
                      <a:lnTo>
                        <a:pt x="18" y="184"/>
                      </a:lnTo>
                      <a:lnTo>
                        <a:pt x="24" y="186"/>
                      </a:lnTo>
                      <a:lnTo>
                        <a:pt x="30" y="186"/>
                      </a:lnTo>
                      <a:lnTo>
                        <a:pt x="92" y="186"/>
                      </a:lnTo>
                      <a:lnTo>
                        <a:pt x="92" y="186"/>
                      </a:lnTo>
                      <a:lnTo>
                        <a:pt x="98" y="186"/>
                      </a:lnTo>
                      <a:lnTo>
                        <a:pt x="104" y="184"/>
                      </a:lnTo>
                      <a:lnTo>
                        <a:pt x="114" y="176"/>
                      </a:lnTo>
                      <a:lnTo>
                        <a:pt x="120" y="166"/>
                      </a:lnTo>
                      <a:lnTo>
                        <a:pt x="122" y="160"/>
                      </a:lnTo>
                      <a:lnTo>
                        <a:pt x="122" y="154"/>
                      </a:lnTo>
                      <a:lnTo>
                        <a:pt x="122" y="32"/>
                      </a:lnTo>
                      <a:lnTo>
                        <a:pt x="122" y="32"/>
                      </a:lnTo>
                      <a:lnTo>
                        <a:pt x="122" y="26"/>
                      </a:lnTo>
                      <a:lnTo>
                        <a:pt x="120" y="20"/>
                      </a:lnTo>
                      <a:lnTo>
                        <a:pt x="114" y="10"/>
                      </a:lnTo>
                      <a:lnTo>
                        <a:pt x="104" y="4"/>
                      </a:lnTo>
                      <a:lnTo>
                        <a:pt x="98" y="2"/>
                      </a:lnTo>
                      <a:lnTo>
                        <a:pt x="92" y="0"/>
                      </a:lnTo>
                      <a:lnTo>
                        <a:pt x="92" y="0"/>
                      </a:lnTo>
                      <a:close/>
                      <a:moveTo>
                        <a:pt x="34" y="168"/>
                      </a:moveTo>
                      <a:lnTo>
                        <a:pt x="34" y="168"/>
                      </a:lnTo>
                      <a:lnTo>
                        <a:pt x="28" y="168"/>
                      </a:lnTo>
                      <a:lnTo>
                        <a:pt x="24" y="164"/>
                      </a:lnTo>
                      <a:lnTo>
                        <a:pt x="22" y="160"/>
                      </a:lnTo>
                      <a:lnTo>
                        <a:pt x="22" y="156"/>
                      </a:lnTo>
                      <a:lnTo>
                        <a:pt x="22" y="156"/>
                      </a:lnTo>
                      <a:lnTo>
                        <a:pt x="22" y="152"/>
                      </a:lnTo>
                      <a:lnTo>
                        <a:pt x="24" y="148"/>
                      </a:lnTo>
                      <a:lnTo>
                        <a:pt x="28" y="146"/>
                      </a:lnTo>
                      <a:lnTo>
                        <a:pt x="34" y="144"/>
                      </a:lnTo>
                      <a:lnTo>
                        <a:pt x="34" y="144"/>
                      </a:lnTo>
                      <a:lnTo>
                        <a:pt x="38" y="146"/>
                      </a:lnTo>
                      <a:lnTo>
                        <a:pt x="42" y="148"/>
                      </a:lnTo>
                      <a:lnTo>
                        <a:pt x="44" y="152"/>
                      </a:lnTo>
                      <a:lnTo>
                        <a:pt x="46" y="156"/>
                      </a:lnTo>
                      <a:lnTo>
                        <a:pt x="46" y="156"/>
                      </a:lnTo>
                      <a:lnTo>
                        <a:pt x="44" y="160"/>
                      </a:lnTo>
                      <a:lnTo>
                        <a:pt x="42" y="164"/>
                      </a:lnTo>
                      <a:lnTo>
                        <a:pt x="38" y="168"/>
                      </a:lnTo>
                      <a:lnTo>
                        <a:pt x="34" y="168"/>
                      </a:lnTo>
                      <a:lnTo>
                        <a:pt x="34" y="168"/>
                      </a:lnTo>
                      <a:close/>
                      <a:moveTo>
                        <a:pt x="88" y="168"/>
                      </a:moveTo>
                      <a:lnTo>
                        <a:pt x="88" y="168"/>
                      </a:lnTo>
                      <a:lnTo>
                        <a:pt x="84" y="168"/>
                      </a:lnTo>
                      <a:lnTo>
                        <a:pt x="80" y="164"/>
                      </a:lnTo>
                      <a:lnTo>
                        <a:pt x="78" y="160"/>
                      </a:lnTo>
                      <a:lnTo>
                        <a:pt x="76" y="156"/>
                      </a:lnTo>
                      <a:lnTo>
                        <a:pt x="76" y="156"/>
                      </a:lnTo>
                      <a:lnTo>
                        <a:pt x="78" y="152"/>
                      </a:lnTo>
                      <a:lnTo>
                        <a:pt x="80" y="148"/>
                      </a:lnTo>
                      <a:lnTo>
                        <a:pt x="84" y="146"/>
                      </a:lnTo>
                      <a:lnTo>
                        <a:pt x="88" y="144"/>
                      </a:lnTo>
                      <a:lnTo>
                        <a:pt x="88" y="144"/>
                      </a:lnTo>
                      <a:lnTo>
                        <a:pt x="94" y="146"/>
                      </a:lnTo>
                      <a:lnTo>
                        <a:pt x="98" y="148"/>
                      </a:lnTo>
                      <a:lnTo>
                        <a:pt x="100" y="152"/>
                      </a:lnTo>
                      <a:lnTo>
                        <a:pt x="100" y="156"/>
                      </a:lnTo>
                      <a:lnTo>
                        <a:pt x="100" y="156"/>
                      </a:lnTo>
                      <a:lnTo>
                        <a:pt x="100" y="160"/>
                      </a:lnTo>
                      <a:lnTo>
                        <a:pt x="98" y="164"/>
                      </a:lnTo>
                      <a:lnTo>
                        <a:pt x="94" y="168"/>
                      </a:lnTo>
                      <a:lnTo>
                        <a:pt x="88" y="168"/>
                      </a:lnTo>
                      <a:lnTo>
                        <a:pt x="88" y="168"/>
                      </a:lnTo>
                      <a:close/>
                      <a:moveTo>
                        <a:pt x="114" y="116"/>
                      </a:moveTo>
                      <a:lnTo>
                        <a:pt x="114" y="116"/>
                      </a:lnTo>
                      <a:lnTo>
                        <a:pt x="112" y="126"/>
                      </a:lnTo>
                      <a:lnTo>
                        <a:pt x="106" y="132"/>
                      </a:lnTo>
                      <a:lnTo>
                        <a:pt x="98" y="138"/>
                      </a:lnTo>
                      <a:lnTo>
                        <a:pt x="86" y="140"/>
                      </a:lnTo>
                      <a:lnTo>
                        <a:pt x="36" y="140"/>
                      </a:lnTo>
                      <a:lnTo>
                        <a:pt x="36" y="140"/>
                      </a:lnTo>
                      <a:lnTo>
                        <a:pt x="24" y="138"/>
                      </a:lnTo>
                      <a:lnTo>
                        <a:pt x="16" y="132"/>
                      </a:lnTo>
                      <a:lnTo>
                        <a:pt x="10" y="126"/>
                      </a:lnTo>
                      <a:lnTo>
                        <a:pt x="8" y="116"/>
                      </a:lnTo>
                      <a:lnTo>
                        <a:pt x="8" y="36"/>
                      </a:lnTo>
                      <a:lnTo>
                        <a:pt x="8" y="36"/>
                      </a:lnTo>
                      <a:lnTo>
                        <a:pt x="10" y="26"/>
                      </a:lnTo>
                      <a:lnTo>
                        <a:pt x="16" y="18"/>
                      </a:lnTo>
                      <a:lnTo>
                        <a:pt x="24" y="14"/>
                      </a:lnTo>
                      <a:lnTo>
                        <a:pt x="36" y="12"/>
                      </a:lnTo>
                      <a:lnTo>
                        <a:pt x="86" y="12"/>
                      </a:lnTo>
                      <a:lnTo>
                        <a:pt x="86" y="12"/>
                      </a:lnTo>
                      <a:lnTo>
                        <a:pt x="98" y="14"/>
                      </a:lnTo>
                      <a:lnTo>
                        <a:pt x="106" y="18"/>
                      </a:lnTo>
                      <a:lnTo>
                        <a:pt x="112" y="26"/>
                      </a:lnTo>
                      <a:lnTo>
                        <a:pt x="114" y="36"/>
                      </a:lnTo>
                      <a:lnTo>
                        <a:pt x="114" y="116"/>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grpSp>
          <p:sp>
            <p:nvSpPr>
              <p:cNvPr id="179" name="Freeform 22"/>
              <p:cNvSpPr>
                <a:spLocks/>
              </p:cNvSpPr>
              <p:nvPr/>
            </p:nvSpPr>
            <p:spPr bwMode="auto">
              <a:xfrm flipH="1">
                <a:off x="13017691" y="2112543"/>
                <a:ext cx="123808" cy="119581"/>
              </a:xfrm>
              <a:custGeom>
                <a:avLst/>
                <a:gdLst/>
                <a:ahLst/>
                <a:cxnLst>
                  <a:cxn ang="0">
                    <a:pos x="169" y="186"/>
                  </a:cxn>
                  <a:cxn ang="0">
                    <a:pos x="169" y="186"/>
                  </a:cxn>
                  <a:cxn ang="0">
                    <a:pos x="165" y="155"/>
                  </a:cxn>
                  <a:cxn ang="0">
                    <a:pos x="156" y="129"/>
                  </a:cxn>
                  <a:cxn ang="0">
                    <a:pos x="143" y="104"/>
                  </a:cxn>
                  <a:cxn ang="0">
                    <a:pos x="126" y="82"/>
                  </a:cxn>
                  <a:cxn ang="0">
                    <a:pos x="126" y="82"/>
                  </a:cxn>
                  <a:cxn ang="0">
                    <a:pos x="104" y="65"/>
                  </a:cxn>
                  <a:cxn ang="0">
                    <a:pos x="78" y="52"/>
                  </a:cxn>
                  <a:cxn ang="0">
                    <a:pos x="52" y="43"/>
                  </a:cxn>
                  <a:cxn ang="0">
                    <a:pos x="22" y="39"/>
                  </a:cxn>
                  <a:cxn ang="0">
                    <a:pos x="22" y="39"/>
                  </a:cxn>
                  <a:cxn ang="0">
                    <a:pos x="13" y="39"/>
                  </a:cxn>
                  <a:cxn ang="0">
                    <a:pos x="9" y="34"/>
                  </a:cxn>
                  <a:cxn ang="0">
                    <a:pos x="5" y="26"/>
                  </a:cxn>
                  <a:cxn ang="0">
                    <a:pos x="0" y="21"/>
                  </a:cxn>
                  <a:cxn ang="0">
                    <a:pos x="0" y="21"/>
                  </a:cxn>
                  <a:cxn ang="0">
                    <a:pos x="5" y="13"/>
                  </a:cxn>
                  <a:cxn ang="0">
                    <a:pos x="9" y="8"/>
                  </a:cxn>
                  <a:cxn ang="0">
                    <a:pos x="13" y="4"/>
                  </a:cxn>
                  <a:cxn ang="0">
                    <a:pos x="22" y="0"/>
                  </a:cxn>
                  <a:cxn ang="0">
                    <a:pos x="22" y="0"/>
                  </a:cxn>
                  <a:cxn ang="0">
                    <a:pos x="57" y="4"/>
                  </a:cxn>
                  <a:cxn ang="0">
                    <a:pos x="91" y="17"/>
                  </a:cxn>
                  <a:cxn ang="0">
                    <a:pos x="122" y="34"/>
                  </a:cxn>
                  <a:cxn ang="0">
                    <a:pos x="152" y="56"/>
                  </a:cxn>
                  <a:cxn ang="0">
                    <a:pos x="174" y="82"/>
                  </a:cxn>
                  <a:cxn ang="0">
                    <a:pos x="191" y="112"/>
                  </a:cxn>
                  <a:cxn ang="0">
                    <a:pos x="200" y="147"/>
                  </a:cxn>
                  <a:cxn ang="0">
                    <a:pos x="204" y="186"/>
                  </a:cxn>
                  <a:cxn ang="0">
                    <a:pos x="204" y="186"/>
                  </a:cxn>
                  <a:cxn ang="0">
                    <a:pos x="204" y="194"/>
                  </a:cxn>
                  <a:cxn ang="0">
                    <a:pos x="200" y="199"/>
                  </a:cxn>
                  <a:cxn ang="0">
                    <a:pos x="195" y="203"/>
                  </a:cxn>
                  <a:cxn ang="0">
                    <a:pos x="187" y="203"/>
                  </a:cxn>
                  <a:cxn ang="0">
                    <a:pos x="187" y="203"/>
                  </a:cxn>
                  <a:cxn ang="0">
                    <a:pos x="178" y="203"/>
                  </a:cxn>
                  <a:cxn ang="0">
                    <a:pos x="174" y="199"/>
                  </a:cxn>
                  <a:cxn ang="0">
                    <a:pos x="169" y="194"/>
                  </a:cxn>
                  <a:cxn ang="0">
                    <a:pos x="169" y="186"/>
                  </a:cxn>
                  <a:cxn ang="0">
                    <a:pos x="169" y="186"/>
                  </a:cxn>
                </a:cxnLst>
                <a:rect l="0" t="0" r="r" b="b"/>
                <a:pathLst>
                  <a:path w="204" h="203">
                    <a:moveTo>
                      <a:pt x="169" y="186"/>
                    </a:moveTo>
                    <a:lnTo>
                      <a:pt x="169" y="186"/>
                    </a:lnTo>
                    <a:lnTo>
                      <a:pt x="165" y="155"/>
                    </a:lnTo>
                    <a:lnTo>
                      <a:pt x="156" y="129"/>
                    </a:lnTo>
                    <a:lnTo>
                      <a:pt x="143" y="104"/>
                    </a:lnTo>
                    <a:lnTo>
                      <a:pt x="126" y="82"/>
                    </a:lnTo>
                    <a:lnTo>
                      <a:pt x="126" y="82"/>
                    </a:lnTo>
                    <a:lnTo>
                      <a:pt x="104" y="65"/>
                    </a:lnTo>
                    <a:lnTo>
                      <a:pt x="78" y="52"/>
                    </a:lnTo>
                    <a:lnTo>
                      <a:pt x="52" y="43"/>
                    </a:lnTo>
                    <a:lnTo>
                      <a:pt x="22" y="39"/>
                    </a:lnTo>
                    <a:lnTo>
                      <a:pt x="22" y="39"/>
                    </a:lnTo>
                    <a:lnTo>
                      <a:pt x="13" y="39"/>
                    </a:lnTo>
                    <a:lnTo>
                      <a:pt x="9" y="34"/>
                    </a:lnTo>
                    <a:lnTo>
                      <a:pt x="5" y="26"/>
                    </a:lnTo>
                    <a:lnTo>
                      <a:pt x="0" y="21"/>
                    </a:lnTo>
                    <a:lnTo>
                      <a:pt x="0" y="21"/>
                    </a:lnTo>
                    <a:lnTo>
                      <a:pt x="5" y="13"/>
                    </a:lnTo>
                    <a:lnTo>
                      <a:pt x="9" y="8"/>
                    </a:lnTo>
                    <a:lnTo>
                      <a:pt x="13" y="4"/>
                    </a:lnTo>
                    <a:lnTo>
                      <a:pt x="22" y="0"/>
                    </a:lnTo>
                    <a:lnTo>
                      <a:pt x="22" y="0"/>
                    </a:lnTo>
                    <a:lnTo>
                      <a:pt x="57" y="4"/>
                    </a:lnTo>
                    <a:lnTo>
                      <a:pt x="91" y="17"/>
                    </a:lnTo>
                    <a:lnTo>
                      <a:pt x="122" y="34"/>
                    </a:lnTo>
                    <a:lnTo>
                      <a:pt x="152" y="56"/>
                    </a:lnTo>
                    <a:lnTo>
                      <a:pt x="174" y="82"/>
                    </a:lnTo>
                    <a:lnTo>
                      <a:pt x="191" y="112"/>
                    </a:lnTo>
                    <a:lnTo>
                      <a:pt x="200" y="147"/>
                    </a:lnTo>
                    <a:lnTo>
                      <a:pt x="204" y="186"/>
                    </a:lnTo>
                    <a:lnTo>
                      <a:pt x="204" y="186"/>
                    </a:lnTo>
                    <a:lnTo>
                      <a:pt x="204" y="194"/>
                    </a:lnTo>
                    <a:lnTo>
                      <a:pt x="200" y="199"/>
                    </a:lnTo>
                    <a:lnTo>
                      <a:pt x="195" y="203"/>
                    </a:lnTo>
                    <a:lnTo>
                      <a:pt x="187" y="203"/>
                    </a:lnTo>
                    <a:lnTo>
                      <a:pt x="187" y="203"/>
                    </a:lnTo>
                    <a:lnTo>
                      <a:pt x="178" y="203"/>
                    </a:lnTo>
                    <a:lnTo>
                      <a:pt x="174" y="199"/>
                    </a:lnTo>
                    <a:lnTo>
                      <a:pt x="169" y="194"/>
                    </a:lnTo>
                    <a:lnTo>
                      <a:pt x="169" y="186"/>
                    </a:lnTo>
                    <a:lnTo>
                      <a:pt x="169" y="186"/>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80" name="Freeform 23"/>
              <p:cNvSpPr>
                <a:spLocks/>
              </p:cNvSpPr>
              <p:nvPr/>
            </p:nvSpPr>
            <p:spPr bwMode="auto">
              <a:xfrm flipH="1">
                <a:off x="13069491" y="2160116"/>
                <a:ext cx="74285" cy="71749"/>
              </a:xfrm>
              <a:custGeom>
                <a:avLst/>
                <a:gdLst/>
                <a:ahLst/>
                <a:cxnLst>
                  <a:cxn ang="0">
                    <a:pos x="109" y="126"/>
                  </a:cxn>
                  <a:cxn ang="0">
                    <a:pos x="109" y="126"/>
                  </a:cxn>
                  <a:cxn ang="0">
                    <a:pos x="109" y="108"/>
                  </a:cxn>
                  <a:cxn ang="0">
                    <a:pos x="104" y="91"/>
                  </a:cxn>
                  <a:cxn ang="0">
                    <a:pos x="96" y="74"/>
                  </a:cxn>
                  <a:cxn ang="0">
                    <a:pos x="83" y="61"/>
                  </a:cxn>
                  <a:cxn ang="0">
                    <a:pos x="70" y="52"/>
                  </a:cxn>
                  <a:cxn ang="0">
                    <a:pos x="57" y="44"/>
                  </a:cxn>
                  <a:cxn ang="0">
                    <a:pos x="39" y="39"/>
                  </a:cxn>
                  <a:cxn ang="0">
                    <a:pos x="22" y="35"/>
                  </a:cxn>
                  <a:cxn ang="0">
                    <a:pos x="22" y="35"/>
                  </a:cxn>
                  <a:cxn ang="0">
                    <a:pos x="13" y="35"/>
                  </a:cxn>
                  <a:cxn ang="0">
                    <a:pos x="9" y="31"/>
                  </a:cxn>
                  <a:cxn ang="0">
                    <a:pos x="5" y="26"/>
                  </a:cxn>
                  <a:cxn ang="0">
                    <a:pos x="0" y="18"/>
                  </a:cxn>
                  <a:cxn ang="0">
                    <a:pos x="0" y="18"/>
                  </a:cxn>
                  <a:cxn ang="0">
                    <a:pos x="5" y="9"/>
                  </a:cxn>
                  <a:cxn ang="0">
                    <a:pos x="9" y="5"/>
                  </a:cxn>
                  <a:cxn ang="0">
                    <a:pos x="13" y="0"/>
                  </a:cxn>
                  <a:cxn ang="0">
                    <a:pos x="22" y="0"/>
                  </a:cxn>
                  <a:cxn ang="0">
                    <a:pos x="22" y="0"/>
                  </a:cxn>
                  <a:cxn ang="0">
                    <a:pos x="48" y="0"/>
                  </a:cxn>
                  <a:cxn ang="0">
                    <a:pos x="70" y="9"/>
                  </a:cxn>
                  <a:cxn ang="0">
                    <a:pos x="91" y="22"/>
                  </a:cxn>
                  <a:cxn ang="0">
                    <a:pos x="109" y="35"/>
                  </a:cxn>
                  <a:cxn ang="0">
                    <a:pos x="126" y="56"/>
                  </a:cxn>
                  <a:cxn ang="0">
                    <a:pos x="139" y="78"/>
                  </a:cxn>
                  <a:cxn ang="0">
                    <a:pos x="143" y="100"/>
                  </a:cxn>
                  <a:cxn ang="0">
                    <a:pos x="148" y="126"/>
                  </a:cxn>
                  <a:cxn ang="0">
                    <a:pos x="148" y="126"/>
                  </a:cxn>
                  <a:cxn ang="0">
                    <a:pos x="148" y="134"/>
                  </a:cxn>
                  <a:cxn ang="0">
                    <a:pos x="143" y="139"/>
                  </a:cxn>
                  <a:cxn ang="0">
                    <a:pos x="135" y="143"/>
                  </a:cxn>
                  <a:cxn ang="0">
                    <a:pos x="130" y="143"/>
                  </a:cxn>
                  <a:cxn ang="0">
                    <a:pos x="130" y="143"/>
                  </a:cxn>
                  <a:cxn ang="0">
                    <a:pos x="122" y="143"/>
                  </a:cxn>
                  <a:cxn ang="0">
                    <a:pos x="117" y="139"/>
                  </a:cxn>
                  <a:cxn ang="0">
                    <a:pos x="113" y="134"/>
                  </a:cxn>
                  <a:cxn ang="0">
                    <a:pos x="109" y="126"/>
                  </a:cxn>
                  <a:cxn ang="0">
                    <a:pos x="109" y="126"/>
                  </a:cxn>
                </a:cxnLst>
                <a:rect l="0" t="0" r="r" b="b"/>
                <a:pathLst>
                  <a:path w="148" h="143">
                    <a:moveTo>
                      <a:pt x="109" y="126"/>
                    </a:moveTo>
                    <a:lnTo>
                      <a:pt x="109" y="126"/>
                    </a:lnTo>
                    <a:lnTo>
                      <a:pt x="109" y="108"/>
                    </a:lnTo>
                    <a:lnTo>
                      <a:pt x="104" y="91"/>
                    </a:lnTo>
                    <a:lnTo>
                      <a:pt x="96" y="74"/>
                    </a:lnTo>
                    <a:lnTo>
                      <a:pt x="83" y="61"/>
                    </a:lnTo>
                    <a:lnTo>
                      <a:pt x="70" y="52"/>
                    </a:lnTo>
                    <a:lnTo>
                      <a:pt x="57" y="44"/>
                    </a:lnTo>
                    <a:lnTo>
                      <a:pt x="39" y="39"/>
                    </a:lnTo>
                    <a:lnTo>
                      <a:pt x="22" y="35"/>
                    </a:lnTo>
                    <a:lnTo>
                      <a:pt x="22" y="35"/>
                    </a:lnTo>
                    <a:lnTo>
                      <a:pt x="13" y="35"/>
                    </a:lnTo>
                    <a:lnTo>
                      <a:pt x="9" y="31"/>
                    </a:lnTo>
                    <a:lnTo>
                      <a:pt x="5" y="26"/>
                    </a:lnTo>
                    <a:lnTo>
                      <a:pt x="0" y="18"/>
                    </a:lnTo>
                    <a:lnTo>
                      <a:pt x="0" y="18"/>
                    </a:lnTo>
                    <a:lnTo>
                      <a:pt x="5" y="9"/>
                    </a:lnTo>
                    <a:lnTo>
                      <a:pt x="9" y="5"/>
                    </a:lnTo>
                    <a:lnTo>
                      <a:pt x="13" y="0"/>
                    </a:lnTo>
                    <a:lnTo>
                      <a:pt x="22" y="0"/>
                    </a:lnTo>
                    <a:lnTo>
                      <a:pt x="22" y="0"/>
                    </a:lnTo>
                    <a:lnTo>
                      <a:pt x="48" y="0"/>
                    </a:lnTo>
                    <a:lnTo>
                      <a:pt x="70" y="9"/>
                    </a:lnTo>
                    <a:lnTo>
                      <a:pt x="91" y="22"/>
                    </a:lnTo>
                    <a:lnTo>
                      <a:pt x="109" y="35"/>
                    </a:lnTo>
                    <a:lnTo>
                      <a:pt x="126" y="56"/>
                    </a:lnTo>
                    <a:lnTo>
                      <a:pt x="139" y="78"/>
                    </a:lnTo>
                    <a:lnTo>
                      <a:pt x="143" y="100"/>
                    </a:lnTo>
                    <a:lnTo>
                      <a:pt x="148" y="126"/>
                    </a:lnTo>
                    <a:lnTo>
                      <a:pt x="148" y="126"/>
                    </a:lnTo>
                    <a:lnTo>
                      <a:pt x="148" y="134"/>
                    </a:lnTo>
                    <a:lnTo>
                      <a:pt x="143" y="139"/>
                    </a:lnTo>
                    <a:lnTo>
                      <a:pt x="135" y="143"/>
                    </a:lnTo>
                    <a:lnTo>
                      <a:pt x="130" y="143"/>
                    </a:lnTo>
                    <a:lnTo>
                      <a:pt x="130" y="143"/>
                    </a:lnTo>
                    <a:lnTo>
                      <a:pt x="122" y="143"/>
                    </a:lnTo>
                    <a:lnTo>
                      <a:pt x="117" y="139"/>
                    </a:lnTo>
                    <a:lnTo>
                      <a:pt x="113" y="134"/>
                    </a:lnTo>
                    <a:lnTo>
                      <a:pt x="109" y="126"/>
                    </a:lnTo>
                    <a:lnTo>
                      <a:pt x="109" y="126"/>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grpSp>
        <p:grpSp>
          <p:nvGrpSpPr>
            <p:cNvPr id="7" name="组合 224"/>
            <p:cNvGrpSpPr/>
            <p:nvPr/>
          </p:nvGrpSpPr>
          <p:grpSpPr>
            <a:xfrm>
              <a:off x="2197825" y="3973120"/>
              <a:ext cx="192914" cy="326989"/>
              <a:chOff x="11314189" y="3329737"/>
              <a:chExt cx="376370" cy="815124"/>
            </a:xfrm>
            <a:solidFill>
              <a:schemeClr val="bg1"/>
            </a:solidFill>
          </p:grpSpPr>
          <p:pic>
            <p:nvPicPr>
              <p:cNvPr id="176" name="图片 17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14189" y="3329737"/>
                <a:ext cx="276199" cy="815124"/>
              </a:xfrm>
              <a:prstGeom prst="rect">
                <a:avLst/>
              </a:prstGeom>
              <a:grpFill/>
            </p:spPr>
          </p:pic>
          <p:pic>
            <p:nvPicPr>
              <p:cNvPr id="177" name="图片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531835" y="3558082"/>
                <a:ext cx="158724" cy="468429"/>
              </a:xfrm>
              <a:prstGeom prst="rect">
                <a:avLst/>
              </a:prstGeom>
              <a:grpFill/>
            </p:spPr>
          </p:pic>
        </p:grpSp>
        <p:cxnSp>
          <p:nvCxnSpPr>
            <p:cNvPr id="147" name="直接连接符 146"/>
            <p:cNvCxnSpPr>
              <a:stCxn id="149" idx="4"/>
            </p:cNvCxnSpPr>
            <p:nvPr/>
          </p:nvCxnSpPr>
          <p:spPr>
            <a:xfrm>
              <a:off x="1943953" y="2609989"/>
              <a:ext cx="164831" cy="33080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8" name="Line 44"/>
            <p:cNvSpPr>
              <a:spLocks noChangeShapeType="1"/>
            </p:cNvSpPr>
            <p:nvPr/>
          </p:nvSpPr>
          <p:spPr bwMode="auto">
            <a:xfrm rot="5195274">
              <a:off x="1695511" y="2562519"/>
              <a:ext cx="135529" cy="263257"/>
            </a:xfrm>
            <a:prstGeom prst="line">
              <a:avLst/>
            </a:prstGeom>
            <a:noFill/>
            <a:ln w="12700">
              <a:solidFill>
                <a:schemeClr val="bg1">
                  <a:lumMod val="7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49" name="Oval 63"/>
            <p:cNvSpPr>
              <a:spLocks noChangeAspect="1"/>
            </p:cNvSpPr>
            <p:nvPr/>
          </p:nvSpPr>
          <p:spPr bwMode="auto">
            <a:xfrm rot="15995274" flipH="1">
              <a:off x="1904336" y="2588334"/>
              <a:ext cx="33826"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cxnSp>
          <p:nvCxnSpPr>
            <p:cNvPr id="150" name="直接连接符 149"/>
            <p:cNvCxnSpPr/>
            <p:nvPr/>
          </p:nvCxnSpPr>
          <p:spPr>
            <a:xfrm flipV="1">
              <a:off x="1929003" y="2463063"/>
              <a:ext cx="41624" cy="1350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1" name="Line 8"/>
            <p:cNvSpPr>
              <a:spLocks noChangeShapeType="1"/>
            </p:cNvSpPr>
            <p:nvPr/>
          </p:nvSpPr>
          <p:spPr bwMode="auto">
            <a:xfrm rot="15995274">
              <a:off x="1376101" y="3371873"/>
              <a:ext cx="135783" cy="18229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2" name="Oval 63"/>
            <p:cNvSpPr>
              <a:spLocks noChangeAspect="1"/>
            </p:cNvSpPr>
            <p:nvPr/>
          </p:nvSpPr>
          <p:spPr bwMode="auto">
            <a:xfrm rot="15995274" flipH="1">
              <a:off x="1329922" y="3524493"/>
              <a:ext cx="33826"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3" name="Line 8"/>
            <p:cNvSpPr>
              <a:spLocks noChangeShapeType="1"/>
            </p:cNvSpPr>
            <p:nvPr/>
          </p:nvSpPr>
          <p:spPr bwMode="auto">
            <a:xfrm rot="15995274" flipH="1">
              <a:off x="1316411" y="3603204"/>
              <a:ext cx="213613" cy="13097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4" name="Line 8"/>
            <p:cNvSpPr>
              <a:spLocks noChangeShapeType="1"/>
            </p:cNvSpPr>
            <p:nvPr/>
          </p:nvSpPr>
          <p:spPr bwMode="auto">
            <a:xfrm rot="15995274">
              <a:off x="1698969" y="4075583"/>
              <a:ext cx="146091" cy="30185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5" name="Oval 63"/>
            <p:cNvSpPr>
              <a:spLocks noChangeAspect="1"/>
            </p:cNvSpPr>
            <p:nvPr/>
          </p:nvSpPr>
          <p:spPr bwMode="auto">
            <a:xfrm rot="15995274" flipH="1">
              <a:off x="1899606" y="4143783"/>
              <a:ext cx="33826"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6" name="Line 42"/>
            <p:cNvSpPr>
              <a:spLocks noChangeShapeType="1"/>
            </p:cNvSpPr>
            <p:nvPr/>
          </p:nvSpPr>
          <p:spPr bwMode="auto">
            <a:xfrm rot="5195274">
              <a:off x="1832960" y="3133319"/>
              <a:ext cx="93020" cy="33882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7" name="Line 8"/>
            <p:cNvSpPr>
              <a:spLocks noChangeShapeType="1"/>
            </p:cNvSpPr>
            <p:nvPr/>
          </p:nvSpPr>
          <p:spPr bwMode="auto">
            <a:xfrm rot="15995274" flipV="1">
              <a:off x="2080384" y="4032630"/>
              <a:ext cx="20468" cy="275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58" name="Oval 55"/>
            <p:cNvSpPr>
              <a:spLocks/>
            </p:cNvSpPr>
            <p:nvPr/>
          </p:nvSpPr>
          <p:spPr bwMode="auto">
            <a:xfrm rot="15995274" flipH="1">
              <a:off x="2066934" y="3224149"/>
              <a:ext cx="31009" cy="41695"/>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pic>
          <p:nvPicPr>
            <p:cNvPr id="159" name="Picture 9" descr="C:\Users\z00124665\Desktop\图标设计.WMF"/>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451229" y="4313929"/>
              <a:ext cx="210799" cy="236907"/>
            </a:xfrm>
            <a:prstGeom prst="rect">
              <a:avLst/>
            </a:prstGeom>
            <a:solidFill>
              <a:schemeClr val="bg1"/>
            </a:solidFill>
          </p:spPr>
        </p:pic>
        <p:cxnSp>
          <p:nvCxnSpPr>
            <p:cNvPr id="160" name="直接连接符 159"/>
            <p:cNvCxnSpPr/>
            <p:nvPr/>
          </p:nvCxnSpPr>
          <p:spPr>
            <a:xfrm flipH="1">
              <a:off x="2077991" y="3037170"/>
              <a:ext cx="60873" cy="21081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48" idx="1"/>
            </p:cNvCxnSpPr>
            <p:nvPr/>
          </p:nvCxnSpPr>
          <p:spPr>
            <a:xfrm flipV="1">
              <a:off x="1636897" y="2755624"/>
              <a:ext cx="1253499" cy="1246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2" name="直接连接符 161"/>
            <p:cNvCxnSpPr/>
            <p:nvPr/>
          </p:nvCxnSpPr>
          <p:spPr>
            <a:xfrm>
              <a:off x="1736777" y="3832566"/>
              <a:ext cx="1236804" cy="216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3" name="直接连接符 162"/>
            <p:cNvCxnSpPr/>
            <p:nvPr/>
          </p:nvCxnSpPr>
          <p:spPr>
            <a:xfrm flipV="1">
              <a:off x="1639456" y="3405954"/>
              <a:ext cx="334982" cy="333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64" name="直接连接符 163"/>
            <p:cNvCxnSpPr/>
            <p:nvPr/>
          </p:nvCxnSpPr>
          <p:spPr>
            <a:xfrm>
              <a:off x="1651878" y="4428781"/>
              <a:ext cx="1269927" cy="495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65" name="Line 3"/>
            <p:cNvSpPr>
              <a:spLocks noChangeShapeType="1"/>
            </p:cNvSpPr>
            <p:nvPr/>
          </p:nvSpPr>
          <p:spPr bwMode="auto">
            <a:xfrm rot="5195274">
              <a:off x="2119096" y="3773101"/>
              <a:ext cx="351547" cy="46871"/>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66" name="Line 4"/>
            <p:cNvSpPr>
              <a:spLocks noChangeShapeType="1"/>
            </p:cNvSpPr>
            <p:nvPr/>
          </p:nvSpPr>
          <p:spPr bwMode="auto">
            <a:xfrm rot="15995274" flipH="1">
              <a:off x="2045917" y="3357302"/>
              <a:ext cx="103438" cy="366693"/>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67" name="Oval 5"/>
            <p:cNvSpPr>
              <a:spLocks/>
            </p:cNvSpPr>
            <p:nvPr/>
          </p:nvSpPr>
          <p:spPr bwMode="auto">
            <a:xfrm rot="5195274">
              <a:off x="2298976" y="3553308"/>
              <a:ext cx="33828"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68" name="Oval 13"/>
            <p:cNvSpPr>
              <a:spLocks/>
            </p:cNvSpPr>
            <p:nvPr/>
          </p:nvSpPr>
          <p:spPr bwMode="auto">
            <a:xfrm rot="5195274">
              <a:off x="1835118" y="3453770"/>
              <a:ext cx="33828"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69" name="Line 29"/>
            <p:cNvSpPr>
              <a:spLocks noChangeShapeType="1"/>
            </p:cNvSpPr>
            <p:nvPr/>
          </p:nvSpPr>
          <p:spPr bwMode="auto">
            <a:xfrm rot="5195274" flipV="1">
              <a:off x="2083025" y="3310949"/>
              <a:ext cx="280911" cy="165521"/>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0" name="Line 42"/>
            <p:cNvSpPr>
              <a:spLocks noChangeShapeType="1"/>
            </p:cNvSpPr>
            <p:nvPr/>
          </p:nvSpPr>
          <p:spPr bwMode="auto">
            <a:xfrm rot="5195274">
              <a:off x="1908138" y="3419410"/>
              <a:ext cx="216511" cy="556647"/>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1" name="Oval 55"/>
            <p:cNvSpPr>
              <a:spLocks/>
            </p:cNvSpPr>
            <p:nvPr/>
          </p:nvSpPr>
          <p:spPr bwMode="auto">
            <a:xfrm rot="15995274" flipH="1">
              <a:off x="2588544" y="3508417"/>
              <a:ext cx="31009" cy="41695"/>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2" name="Line 56"/>
            <p:cNvSpPr>
              <a:spLocks noChangeShapeType="1"/>
            </p:cNvSpPr>
            <p:nvPr/>
          </p:nvSpPr>
          <p:spPr bwMode="auto">
            <a:xfrm rot="5195274">
              <a:off x="2440425" y="3461246"/>
              <a:ext cx="25018" cy="181474"/>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3" name="Line 29"/>
            <p:cNvSpPr>
              <a:spLocks noChangeShapeType="1"/>
            </p:cNvSpPr>
            <p:nvPr/>
          </p:nvSpPr>
          <p:spPr bwMode="auto">
            <a:xfrm rot="5195274" flipV="1">
              <a:off x="1720695" y="3966811"/>
              <a:ext cx="97995" cy="293241"/>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4" name="Oval 13"/>
            <p:cNvSpPr>
              <a:spLocks/>
            </p:cNvSpPr>
            <p:nvPr/>
          </p:nvSpPr>
          <p:spPr bwMode="auto">
            <a:xfrm rot="5195274">
              <a:off x="1578836" y="4044744"/>
              <a:ext cx="33828" cy="45487"/>
            </a:xfrm>
            <a:prstGeom prst="ellipse">
              <a:avLst/>
            </a:prstGeom>
            <a:solidFill>
              <a:schemeClr val="bg1"/>
            </a:solidFill>
            <a:ln w="762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175" name="Line 29"/>
            <p:cNvSpPr>
              <a:spLocks noChangeShapeType="1"/>
            </p:cNvSpPr>
            <p:nvPr/>
          </p:nvSpPr>
          <p:spPr bwMode="auto">
            <a:xfrm rot="5195274" flipH="1" flipV="1">
              <a:off x="1416844" y="3991065"/>
              <a:ext cx="78758" cy="249571"/>
            </a:xfrm>
            <a:prstGeom prst="line">
              <a:avLst/>
            </a:prstGeom>
            <a:noFill/>
            <a:ln w="12700">
              <a:solidFill>
                <a:schemeClr val="bg1">
                  <a:lumMod val="65000"/>
                </a:schemeClr>
              </a:solidFill>
              <a:round/>
              <a:headEnd/>
              <a:tailEnd/>
            </a:ln>
          </p:spPr>
          <p:txBody>
            <a:bodyPr lIns="0" tIns="0" rIns="0" bIns="0"/>
            <a:lstStyle/>
            <a:p>
              <a:endParaRPr lang="zh-CN" altLang="en-US" sz="1334">
                <a:solidFill>
                  <a:schemeClr val="bg1"/>
                </a:solidFill>
                <a:latin typeface="微软雅黑" panose="020B0503020204020204" pitchFamily="34" charset="-122"/>
                <a:ea typeface="微软雅黑" panose="020B0503020204020204" pitchFamily="34" charset="-122"/>
              </a:endParaRPr>
            </a:p>
          </p:txBody>
        </p:sp>
      </p:grpSp>
      <p:sp>
        <p:nvSpPr>
          <p:cNvPr id="191" name="TextBox 162"/>
          <p:cNvSpPr txBox="1"/>
          <p:nvPr/>
        </p:nvSpPr>
        <p:spPr>
          <a:xfrm>
            <a:off x="3956124" y="3068978"/>
            <a:ext cx="1526991" cy="5288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r>
              <a:rPr lang="zh-CN" altLang="en-US" sz="1400" dirty="0">
                <a:solidFill>
                  <a:schemeClr val="bg1"/>
                </a:solidFill>
                <a:latin typeface="微软雅黑" panose="020B0503020204020204" pitchFamily="34" charset="-122"/>
                <a:ea typeface="微软雅黑" panose="020B0503020204020204" pitchFamily="34" charset="-122"/>
                <a:sym typeface="Arial"/>
              </a:rPr>
              <a:t>Agile IoT Gateway</a:t>
            </a:r>
          </a:p>
        </p:txBody>
      </p:sp>
      <p:grpSp>
        <p:nvGrpSpPr>
          <p:cNvPr id="8" name="组合 281"/>
          <p:cNvGrpSpPr/>
          <p:nvPr/>
        </p:nvGrpSpPr>
        <p:grpSpPr>
          <a:xfrm>
            <a:off x="4444895" y="2614312"/>
            <a:ext cx="816987" cy="208475"/>
            <a:chOff x="9419704" y="2777861"/>
            <a:chExt cx="1722438" cy="519113"/>
          </a:xfrm>
          <a:solidFill>
            <a:srgbClr val="7B8897"/>
          </a:solidFill>
        </p:grpSpPr>
        <p:grpSp>
          <p:nvGrpSpPr>
            <p:cNvPr id="9" name="组合 189"/>
            <p:cNvGrpSpPr/>
            <p:nvPr/>
          </p:nvGrpSpPr>
          <p:grpSpPr>
            <a:xfrm>
              <a:off x="10669067" y="2893749"/>
              <a:ext cx="196850" cy="36513"/>
              <a:chOff x="10707167" y="1194489"/>
              <a:chExt cx="196850" cy="36513"/>
            </a:xfrm>
            <a:grpFill/>
          </p:grpSpPr>
          <p:sp>
            <p:nvSpPr>
              <p:cNvPr id="201"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02"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03"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04"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grpSp>
          <p:nvGrpSpPr>
            <p:cNvPr id="10" name="组合 312"/>
            <p:cNvGrpSpPr/>
            <p:nvPr/>
          </p:nvGrpSpPr>
          <p:grpSpPr>
            <a:xfrm>
              <a:off x="10669067" y="3144574"/>
              <a:ext cx="196850" cy="36513"/>
              <a:chOff x="10707167" y="1445314"/>
              <a:chExt cx="196850" cy="36513"/>
            </a:xfrm>
            <a:grpFill/>
          </p:grpSpPr>
          <p:sp>
            <p:nvSpPr>
              <p:cNvPr id="197"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198"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199"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00"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sp>
          <p:nvSpPr>
            <p:cNvPr id="195"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196"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grpSp>
        <p:nvGrpSpPr>
          <p:cNvPr id="11" name="组合 281"/>
          <p:cNvGrpSpPr/>
          <p:nvPr/>
        </p:nvGrpSpPr>
        <p:grpSpPr>
          <a:xfrm>
            <a:off x="4252133" y="2723248"/>
            <a:ext cx="816987" cy="208475"/>
            <a:chOff x="9419704" y="2777861"/>
            <a:chExt cx="1722438" cy="519113"/>
          </a:xfrm>
          <a:solidFill>
            <a:srgbClr val="D3D6DA">
              <a:alpha val="88000"/>
            </a:srgbClr>
          </a:solidFill>
        </p:grpSpPr>
        <p:grpSp>
          <p:nvGrpSpPr>
            <p:cNvPr id="12" name="组合 189"/>
            <p:cNvGrpSpPr/>
            <p:nvPr/>
          </p:nvGrpSpPr>
          <p:grpSpPr>
            <a:xfrm>
              <a:off x="10669067" y="2893749"/>
              <a:ext cx="196850" cy="36513"/>
              <a:chOff x="10707167" y="1194489"/>
              <a:chExt cx="196850" cy="36513"/>
            </a:xfrm>
            <a:grpFill/>
          </p:grpSpPr>
          <p:sp>
            <p:nvSpPr>
              <p:cNvPr id="214"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5"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6"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7"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grpSp>
          <p:nvGrpSpPr>
            <p:cNvPr id="13" name="组合 300"/>
            <p:cNvGrpSpPr/>
            <p:nvPr/>
          </p:nvGrpSpPr>
          <p:grpSpPr>
            <a:xfrm>
              <a:off x="10669067" y="3144574"/>
              <a:ext cx="196850" cy="36513"/>
              <a:chOff x="10707167" y="1445314"/>
              <a:chExt cx="196850" cy="36513"/>
            </a:xfrm>
            <a:grpFill/>
          </p:grpSpPr>
          <p:sp>
            <p:nvSpPr>
              <p:cNvPr id="210"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1"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2"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13"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sp>
          <p:nvSpPr>
            <p:cNvPr id="208"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09"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grpSp>
        <p:nvGrpSpPr>
          <p:cNvPr id="14" name="组合 281"/>
          <p:cNvGrpSpPr/>
          <p:nvPr/>
        </p:nvGrpSpPr>
        <p:grpSpPr>
          <a:xfrm>
            <a:off x="4053550" y="2839155"/>
            <a:ext cx="816987" cy="208475"/>
            <a:chOff x="9419704" y="2777861"/>
            <a:chExt cx="1722438" cy="519113"/>
          </a:xfrm>
          <a:solidFill>
            <a:srgbClr val="F2F2F2"/>
          </a:solidFill>
        </p:grpSpPr>
        <p:grpSp>
          <p:nvGrpSpPr>
            <p:cNvPr id="15" name="组合 189"/>
            <p:cNvGrpSpPr/>
            <p:nvPr/>
          </p:nvGrpSpPr>
          <p:grpSpPr>
            <a:xfrm>
              <a:off x="10669067" y="2893749"/>
              <a:ext cx="196850" cy="36513"/>
              <a:chOff x="10707167" y="1194489"/>
              <a:chExt cx="196850" cy="36513"/>
            </a:xfrm>
            <a:grpFill/>
          </p:grpSpPr>
          <p:sp>
            <p:nvSpPr>
              <p:cNvPr id="227"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8"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9"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30"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grpSp>
          <p:nvGrpSpPr>
            <p:cNvPr id="16" name="组合 288"/>
            <p:cNvGrpSpPr/>
            <p:nvPr/>
          </p:nvGrpSpPr>
          <p:grpSpPr>
            <a:xfrm>
              <a:off x="10669067" y="3144574"/>
              <a:ext cx="196850" cy="36513"/>
              <a:chOff x="10707167" y="1445314"/>
              <a:chExt cx="196850" cy="36513"/>
            </a:xfrm>
            <a:grpFill/>
          </p:grpSpPr>
          <p:sp>
            <p:nvSpPr>
              <p:cNvPr id="223"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4"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5"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6"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sp>
          <p:nvSpPr>
            <p:cNvPr id="221"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22"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sp>
        <p:nvSpPr>
          <p:cNvPr id="231" name="六边形 230"/>
          <p:cNvSpPr/>
          <p:nvPr/>
        </p:nvSpPr>
        <p:spPr>
          <a:xfrm>
            <a:off x="3074349" y="2848123"/>
            <a:ext cx="562350" cy="459482"/>
          </a:xfrm>
          <a:prstGeom prst="hexag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pic>
        <p:nvPicPr>
          <p:cNvPr id="232" name="图片 231"/>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rot="5400000">
            <a:off x="3158527" y="2861008"/>
            <a:ext cx="417711" cy="422242"/>
          </a:xfrm>
          <a:prstGeom prst="rect">
            <a:avLst/>
          </a:prstGeom>
        </p:spPr>
      </p:pic>
      <p:sp>
        <p:nvSpPr>
          <p:cNvPr id="233" name="六边形 232"/>
          <p:cNvSpPr/>
          <p:nvPr/>
        </p:nvSpPr>
        <p:spPr>
          <a:xfrm>
            <a:off x="5640854" y="2434152"/>
            <a:ext cx="456733" cy="397414"/>
          </a:xfrm>
          <a:prstGeom prst="hexag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grpSp>
        <p:nvGrpSpPr>
          <p:cNvPr id="17" name="组合 758"/>
          <p:cNvGrpSpPr/>
          <p:nvPr/>
        </p:nvGrpSpPr>
        <p:grpSpPr>
          <a:xfrm>
            <a:off x="5724002" y="2553861"/>
            <a:ext cx="290648" cy="216771"/>
            <a:chOff x="7440613" y="4868863"/>
            <a:chExt cx="1019175" cy="828675"/>
          </a:xfrm>
          <a:solidFill>
            <a:schemeClr val="bg1"/>
          </a:solidFill>
        </p:grpSpPr>
        <p:sp>
          <p:nvSpPr>
            <p:cNvPr id="235" name="Freeform 15"/>
            <p:cNvSpPr>
              <a:spLocks/>
            </p:cNvSpPr>
            <p:nvPr/>
          </p:nvSpPr>
          <p:spPr bwMode="auto">
            <a:xfrm>
              <a:off x="7832726" y="5462588"/>
              <a:ext cx="234950" cy="234950"/>
            </a:xfrm>
            <a:custGeom>
              <a:avLst/>
              <a:gdLst/>
              <a:ahLst/>
              <a:cxnLst>
                <a:cxn ang="0">
                  <a:pos x="3281" y="680"/>
                </a:cxn>
                <a:cxn ang="0">
                  <a:pos x="3439" y="907"/>
                </a:cxn>
                <a:cxn ang="0">
                  <a:pos x="3559" y="1151"/>
                </a:cxn>
                <a:cxn ang="0">
                  <a:pos x="3642" y="1406"/>
                </a:cxn>
                <a:cxn ang="0">
                  <a:pos x="3686" y="1670"/>
                </a:cxn>
                <a:cxn ang="0">
                  <a:pos x="3693" y="1936"/>
                </a:cxn>
                <a:cxn ang="0">
                  <a:pos x="3661" y="2201"/>
                </a:cxn>
                <a:cxn ang="0">
                  <a:pos x="3591" y="2460"/>
                </a:cxn>
                <a:cxn ang="0">
                  <a:pos x="3484" y="2708"/>
                </a:cxn>
                <a:cxn ang="0">
                  <a:pos x="3339" y="2941"/>
                </a:cxn>
                <a:cxn ang="0">
                  <a:pos x="3155" y="3155"/>
                </a:cxn>
                <a:cxn ang="0">
                  <a:pos x="2941" y="3339"/>
                </a:cxn>
                <a:cxn ang="0">
                  <a:pos x="2708" y="3484"/>
                </a:cxn>
                <a:cxn ang="0">
                  <a:pos x="2460" y="3592"/>
                </a:cxn>
                <a:cxn ang="0">
                  <a:pos x="2201" y="3661"/>
                </a:cxn>
                <a:cxn ang="0">
                  <a:pos x="1936" y="3693"/>
                </a:cxn>
                <a:cxn ang="0">
                  <a:pos x="1670" y="3687"/>
                </a:cxn>
                <a:cxn ang="0">
                  <a:pos x="1408" y="3643"/>
                </a:cxn>
                <a:cxn ang="0">
                  <a:pos x="1152" y="3561"/>
                </a:cxn>
                <a:cxn ang="0">
                  <a:pos x="908" y="3440"/>
                </a:cxn>
                <a:cxn ang="0">
                  <a:pos x="680" y="3282"/>
                </a:cxn>
                <a:cxn ang="0">
                  <a:pos x="475" y="3086"/>
                </a:cxn>
                <a:cxn ang="0">
                  <a:pos x="304" y="2866"/>
                </a:cxn>
                <a:cxn ang="0">
                  <a:pos x="172" y="2627"/>
                </a:cxn>
                <a:cxn ang="0">
                  <a:pos x="76" y="2374"/>
                </a:cxn>
                <a:cxn ang="0">
                  <a:pos x="19" y="2114"/>
                </a:cxn>
                <a:cxn ang="0">
                  <a:pos x="0" y="1848"/>
                </a:cxn>
                <a:cxn ang="0">
                  <a:pos x="19" y="1582"/>
                </a:cxn>
                <a:cxn ang="0">
                  <a:pos x="76" y="1321"/>
                </a:cxn>
                <a:cxn ang="0">
                  <a:pos x="171" y="1069"/>
                </a:cxn>
                <a:cxn ang="0">
                  <a:pos x="304" y="830"/>
                </a:cxn>
                <a:cxn ang="0">
                  <a:pos x="475" y="609"/>
                </a:cxn>
                <a:cxn ang="0">
                  <a:pos x="680" y="414"/>
                </a:cxn>
                <a:cxn ang="0">
                  <a:pos x="907" y="255"/>
                </a:cxn>
                <a:cxn ang="0">
                  <a:pos x="1151" y="135"/>
                </a:cxn>
                <a:cxn ang="0">
                  <a:pos x="1407" y="52"/>
                </a:cxn>
                <a:cxn ang="0">
                  <a:pos x="1669" y="8"/>
                </a:cxn>
                <a:cxn ang="0">
                  <a:pos x="1936" y="2"/>
                </a:cxn>
                <a:cxn ang="0">
                  <a:pos x="2201" y="33"/>
                </a:cxn>
                <a:cxn ang="0">
                  <a:pos x="2459" y="104"/>
                </a:cxn>
                <a:cxn ang="0">
                  <a:pos x="2708" y="211"/>
                </a:cxn>
                <a:cxn ang="0">
                  <a:pos x="2940" y="356"/>
                </a:cxn>
                <a:cxn ang="0">
                  <a:pos x="3154" y="539"/>
                </a:cxn>
              </a:cxnLst>
              <a:rect l="0" t="0" r="r" b="b"/>
              <a:pathLst>
                <a:path w="3695" h="3695">
                  <a:moveTo>
                    <a:pt x="3154" y="539"/>
                  </a:moveTo>
                  <a:lnTo>
                    <a:pt x="3220" y="608"/>
                  </a:lnTo>
                  <a:lnTo>
                    <a:pt x="3281" y="680"/>
                  </a:lnTo>
                  <a:lnTo>
                    <a:pt x="3338" y="754"/>
                  </a:lnTo>
                  <a:lnTo>
                    <a:pt x="3391" y="829"/>
                  </a:lnTo>
                  <a:lnTo>
                    <a:pt x="3439" y="907"/>
                  </a:lnTo>
                  <a:lnTo>
                    <a:pt x="3483" y="987"/>
                  </a:lnTo>
                  <a:lnTo>
                    <a:pt x="3523" y="1068"/>
                  </a:lnTo>
                  <a:lnTo>
                    <a:pt x="3559" y="1151"/>
                  </a:lnTo>
                  <a:lnTo>
                    <a:pt x="3591" y="1235"/>
                  </a:lnTo>
                  <a:lnTo>
                    <a:pt x="3619" y="1320"/>
                  </a:lnTo>
                  <a:lnTo>
                    <a:pt x="3642" y="1406"/>
                  </a:lnTo>
                  <a:lnTo>
                    <a:pt x="3661" y="1493"/>
                  </a:lnTo>
                  <a:lnTo>
                    <a:pt x="3676" y="1582"/>
                  </a:lnTo>
                  <a:lnTo>
                    <a:pt x="3686" y="1670"/>
                  </a:lnTo>
                  <a:lnTo>
                    <a:pt x="3693" y="1758"/>
                  </a:lnTo>
                  <a:lnTo>
                    <a:pt x="3695" y="1847"/>
                  </a:lnTo>
                  <a:lnTo>
                    <a:pt x="3693" y="1936"/>
                  </a:lnTo>
                  <a:lnTo>
                    <a:pt x="3686" y="2024"/>
                  </a:lnTo>
                  <a:lnTo>
                    <a:pt x="3676" y="2113"/>
                  </a:lnTo>
                  <a:lnTo>
                    <a:pt x="3661" y="2201"/>
                  </a:lnTo>
                  <a:lnTo>
                    <a:pt x="3642" y="2288"/>
                  </a:lnTo>
                  <a:lnTo>
                    <a:pt x="3619" y="2374"/>
                  </a:lnTo>
                  <a:lnTo>
                    <a:pt x="3591" y="2460"/>
                  </a:lnTo>
                  <a:lnTo>
                    <a:pt x="3559" y="2544"/>
                  </a:lnTo>
                  <a:lnTo>
                    <a:pt x="3524" y="2626"/>
                  </a:lnTo>
                  <a:lnTo>
                    <a:pt x="3484" y="2708"/>
                  </a:lnTo>
                  <a:lnTo>
                    <a:pt x="3439" y="2788"/>
                  </a:lnTo>
                  <a:lnTo>
                    <a:pt x="3391" y="2865"/>
                  </a:lnTo>
                  <a:lnTo>
                    <a:pt x="3339" y="2941"/>
                  </a:lnTo>
                  <a:lnTo>
                    <a:pt x="3281" y="3015"/>
                  </a:lnTo>
                  <a:lnTo>
                    <a:pt x="3220" y="3086"/>
                  </a:lnTo>
                  <a:lnTo>
                    <a:pt x="3155" y="3155"/>
                  </a:lnTo>
                  <a:lnTo>
                    <a:pt x="3086" y="3220"/>
                  </a:lnTo>
                  <a:lnTo>
                    <a:pt x="3015" y="3282"/>
                  </a:lnTo>
                  <a:lnTo>
                    <a:pt x="2941" y="3339"/>
                  </a:lnTo>
                  <a:lnTo>
                    <a:pt x="2865" y="3391"/>
                  </a:lnTo>
                  <a:lnTo>
                    <a:pt x="2788" y="3440"/>
                  </a:lnTo>
                  <a:lnTo>
                    <a:pt x="2708" y="3484"/>
                  </a:lnTo>
                  <a:lnTo>
                    <a:pt x="2626" y="3524"/>
                  </a:lnTo>
                  <a:lnTo>
                    <a:pt x="2544" y="3560"/>
                  </a:lnTo>
                  <a:lnTo>
                    <a:pt x="2460" y="3592"/>
                  </a:lnTo>
                  <a:lnTo>
                    <a:pt x="2375" y="3619"/>
                  </a:lnTo>
                  <a:lnTo>
                    <a:pt x="2288" y="3643"/>
                  </a:lnTo>
                  <a:lnTo>
                    <a:pt x="2201" y="3661"/>
                  </a:lnTo>
                  <a:lnTo>
                    <a:pt x="2114" y="3676"/>
                  </a:lnTo>
                  <a:lnTo>
                    <a:pt x="2026" y="3687"/>
                  </a:lnTo>
                  <a:lnTo>
                    <a:pt x="1936" y="3693"/>
                  </a:lnTo>
                  <a:lnTo>
                    <a:pt x="1848" y="3695"/>
                  </a:lnTo>
                  <a:lnTo>
                    <a:pt x="1759" y="3693"/>
                  </a:lnTo>
                  <a:lnTo>
                    <a:pt x="1670" y="3687"/>
                  </a:lnTo>
                  <a:lnTo>
                    <a:pt x="1582" y="3676"/>
                  </a:lnTo>
                  <a:lnTo>
                    <a:pt x="1495" y="3662"/>
                  </a:lnTo>
                  <a:lnTo>
                    <a:pt x="1408" y="3643"/>
                  </a:lnTo>
                  <a:lnTo>
                    <a:pt x="1321" y="3620"/>
                  </a:lnTo>
                  <a:lnTo>
                    <a:pt x="1236" y="3592"/>
                  </a:lnTo>
                  <a:lnTo>
                    <a:pt x="1152" y="3561"/>
                  </a:lnTo>
                  <a:lnTo>
                    <a:pt x="1069" y="3524"/>
                  </a:lnTo>
                  <a:lnTo>
                    <a:pt x="987" y="3484"/>
                  </a:lnTo>
                  <a:lnTo>
                    <a:pt x="908" y="3440"/>
                  </a:lnTo>
                  <a:lnTo>
                    <a:pt x="830" y="3391"/>
                  </a:lnTo>
                  <a:lnTo>
                    <a:pt x="755" y="3339"/>
                  </a:lnTo>
                  <a:lnTo>
                    <a:pt x="680" y="3282"/>
                  </a:lnTo>
                  <a:lnTo>
                    <a:pt x="609" y="3220"/>
                  </a:lnTo>
                  <a:lnTo>
                    <a:pt x="541" y="3155"/>
                  </a:lnTo>
                  <a:lnTo>
                    <a:pt x="475" y="3086"/>
                  </a:lnTo>
                  <a:lnTo>
                    <a:pt x="414" y="3015"/>
                  </a:lnTo>
                  <a:lnTo>
                    <a:pt x="357" y="2941"/>
                  </a:lnTo>
                  <a:lnTo>
                    <a:pt x="304" y="2866"/>
                  </a:lnTo>
                  <a:lnTo>
                    <a:pt x="256" y="2788"/>
                  </a:lnTo>
                  <a:lnTo>
                    <a:pt x="212" y="2709"/>
                  </a:lnTo>
                  <a:lnTo>
                    <a:pt x="172" y="2627"/>
                  </a:lnTo>
                  <a:lnTo>
                    <a:pt x="136" y="2544"/>
                  </a:lnTo>
                  <a:lnTo>
                    <a:pt x="104" y="2460"/>
                  </a:lnTo>
                  <a:lnTo>
                    <a:pt x="76" y="2374"/>
                  </a:lnTo>
                  <a:lnTo>
                    <a:pt x="53" y="2288"/>
                  </a:lnTo>
                  <a:lnTo>
                    <a:pt x="34" y="2201"/>
                  </a:lnTo>
                  <a:lnTo>
                    <a:pt x="19" y="2114"/>
                  </a:lnTo>
                  <a:lnTo>
                    <a:pt x="9" y="2025"/>
                  </a:lnTo>
                  <a:lnTo>
                    <a:pt x="2" y="1937"/>
                  </a:lnTo>
                  <a:lnTo>
                    <a:pt x="0" y="1848"/>
                  </a:lnTo>
                  <a:lnTo>
                    <a:pt x="2" y="1759"/>
                  </a:lnTo>
                  <a:lnTo>
                    <a:pt x="9" y="1670"/>
                  </a:lnTo>
                  <a:lnTo>
                    <a:pt x="19" y="1582"/>
                  </a:lnTo>
                  <a:lnTo>
                    <a:pt x="34" y="1494"/>
                  </a:lnTo>
                  <a:lnTo>
                    <a:pt x="53" y="1407"/>
                  </a:lnTo>
                  <a:lnTo>
                    <a:pt x="76" y="1321"/>
                  </a:lnTo>
                  <a:lnTo>
                    <a:pt x="104" y="1236"/>
                  </a:lnTo>
                  <a:lnTo>
                    <a:pt x="136" y="1151"/>
                  </a:lnTo>
                  <a:lnTo>
                    <a:pt x="171" y="1069"/>
                  </a:lnTo>
                  <a:lnTo>
                    <a:pt x="211" y="988"/>
                  </a:lnTo>
                  <a:lnTo>
                    <a:pt x="255" y="907"/>
                  </a:lnTo>
                  <a:lnTo>
                    <a:pt x="304" y="830"/>
                  </a:lnTo>
                  <a:lnTo>
                    <a:pt x="356" y="754"/>
                  </a:lnTo>
                  <a:lnTo>
                    <a:pt x="414" y="681"/>
                  </a:lnTo>
                  <a:lnTo>
                    <a:pt x="475" y="609"/>
                  </a:lnTo>
                  <a:lnTo>
                    <a:pt x="540" y="540"/>
                  </a:lnTo>
                  <a:lnTo>
                    <a:pt x="609" y="475"/>
                  </a:lnTo>
                  <a:lnTo>
                    <a:pt x="680" y="414"/>
                  </a:lnTo>
                  <a:lnTo>
                    <a:pt x="754" y="356"/>
                  </a:lnTo>
                  <a:lnTo>
                    <a:pt x="830" y="303"/>
                  </a:lnTo>
                  <a:lnTo>
                    <a:pt x="907" y="255"/>
                  </a:lnTo>
                  <a:lnTo>
                    <a:pt x="987" y="211"/>
                  </a:lnTo>
                  <a:lnTo>
                    <a:pt x="1069" y="171"/>
                  </a:lnTo>
                  <a:lnTo>
                    <a:pt x="1151" y="135"/>
                  </a:lnTo>
                  <a:lnTo>
                    <a:pt x="1235" y="104"/>
                  </a:lnTo>
                  <a:lnTo>
                    <a:pt x="1320" y="76"/>
                  </a:lnTo>
                  <a:lnTo>
                    <a:pt x="1407" y="52"/>
                  </a:lnTo>
                  <a:lnTo>
                    <a:pt x="1494" y="33"/>
                  </a:lnTo>
                  <a:lnTo>
                    <a:pt x="1581" y="19"/>
                  </a:lnTo>
                  <a:lnTo>
                    <a:pt x="1669" y="8"/>
                  </a:lnTo>
                  <a:lnTo>
                    <a:pt x="1759" y="2"/>
                  </a:lnTo>
                  <a:lnTo>
                    <a:pt x="1847" y="0"/>
                  </a:lnTo>
                  <a:lnTo>
                    <a:pt x="1936" y="2"/>
                  </a:lnTo>
                  <a:lnTo>
                    <a:pt x="2025" y="8"/>
                  </a:lnTo>
                  <a:lnTo>
                    <a:pt x="2113" y="19"/>
                  </a:lnTo>
                  <a:lnTo>
                    <a:pt x="2201" y="33"/>
                  </a:lnTo>
                  <a:lnTo>
                    <a:pt x="2287" y="52"/>
                  </a:lnTo>
                  <a:lnTo>
                    <a:pt x="2374" y="76"/>
                  </a:lnTo>
                  <a:lnTo>
                    <a:pt x="2459" y="104"/>
                  </a:lnTo>
                  <a:lnTo>
                    <a:pt x="2543" y="135"/>
                  </a:lnTo>
                  <a:lnTo>
                    <a:pt x="2626" y="171"/>
                  </a:lnTo>
                  <a:lnTo>
                    <a:pt x="2708" y="211"/>
                  </a:lnTo>
                  <a:lnTo>
                    <a:pt x="2787" y="255"/>
                  </a:lnTo>
                  <a:lnTo>
                    <a:pt x="2865" y="303"/>
                  </a:lnTo>
                  <a:lnTo>
                    <a:pt x="2940" y="356"/>
                  </a:lnTo>
                  <a:lnTo>
                    <a:pt x="3015" y="413"/>
                  </a:lnTo>
                  <a:lnTo>
                    <a:pt x="3086" y="474"/>
                  </a:lnTo>
                  <a:lnTo>
                    <a:pt x="3154" y="539"/>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sp>
          <p:nvSpPr>
            <p:cNvPr id="236" name="Freeform 16"/>
            <p:cNvSpPr>
              <a:spLocks noEditPoints="1"/>
            </p:cNvSpPr>
            <p:nvPr/>
          </p:nvSpPr>
          <p:spPr bwMode="auto">
            <a:xfrm>
              <a:off x="7440613" y="4868863"/>
              <a:ext cx="1019175" cy="544513"/>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1334">
                <a:solidFill>
                  <a:schemeClr val="bg1"/>
                </a:solidFill>
                <a:latin typeface="微软雅黑" panose="020B0503020204020204" pitchFamily="34" charset="-122"/>
                <a:ea typeface="微软雅黑" panose="020B0503020204020204" pitchFamily="34" charset="-122"/>
              </a:endParaRPr>
            </a:p>
          </p:txBody>
        </p:sp>
      </p:grpSp>
      <p:sp>
        <p:nvSpPr>
          <p:cNvPr id="237" name="六边形 236"/>
          <p:cNvSpPr/>
          <p:nvPr/>
        </p:nvSpPr>
        <p:spPr>
          <a:xfrm>
            <a:off x="5640854" y="3008642"/>
            <a:ext cx="456733" cy="397414"/>
          </a:xfrm>
          <a:prstGeom prst="hexag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pic>
        <p:nvPicPr>
          <p:cNvPr id="238" name="图片 237"/>
          <p:cNvPicPr>
            <a:picLocks noChangeAspect="1"/>
          </p:cNvPicPr>
          <p:nvPr/>
        </p:nvPicPr>
        <p:blipFill>
          <a:blip r:embed="rId9" cstate="email">
            <a:extLst>
              <a:ext uri="{BEBA8EAE-BF5A-486C-A8C5-ECC9F3942E4B}">
                <a14:imgProps xmlns:a14="http://schemas.microsoft.com/office/drawing/2010/main">
                  <a14:imgLayer r:embed="rId10">
                    <a14:imgEffect>
                      <a14:colorTemperature colorTemp="11200"/>
                    </a14:imgEffect>
                    <a14:imgEffect>
                      <a14:saturation sat="66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707430" y="3078452"/>
            <a:ext cx="307876" cy="289502"/>
          </a:xfrm>
          <a:prstGeom prst="rect">
            <a:avLst/>
          </a:prstGeom>
        </p:spPr>
      </p:pic>
      <p:sp>
        <p:nvSpPr>
          <p:cNvPr id="239" name="六边形 238"/>
          <p:cNvSpPr/>
          <p:nvPr/>
        </p:nvSpPr>
        <p:spPr>
          <a:xfrm>
            <a:off x="5640854" y="3594022"/>
            <a:ext cx="456733" cy="397414"/>
          </a:xfrm>
          <a:prstGeom prst="hexag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pic>
        <p:nvPicPr>
          <p:cNvPr id="240" name="图片 239"/>
          <p:cNvPicPr>
            <a:picLocks noChangeAspect="1"/>
          </p:cNvPicPr>
          <p:nvPr/>
        </p:nvPicPr>
        <p:blipFill>
          <a:blip r:embed="rId11" cstate="email">
            <a:lum bright="70000" contrast="-70000"/>
            <a:extLst>
              <a:ext uri="{BEBA8EAE-BF5A-486C-A8C5-ECC9F3942E4B}">
                <a14:imgProps xmlns:a14="http://schemas.microsoft.com/office/drawing/2010/main">
                  <a14:imgLayer r:embed="rId12">
                    <a14:imgEffect>
                      <a14:brightnessContrast bright="-25000"/>
                    </a14:imgEffect>
                  </a14:imgLayer>
                </a14:imgProps>
              </a:ext>
              <a:ext uri="{28A0092B-C50C-407E-A947-70E740481C1C}">
                <a14:useLocalDpi xmlns:a14="http://schemas.microsoft.com/office/drawing/2010/main"/>
              </a:ext>
            </a:extLst>
          </a:blip>
          <a:stretch>
            <a:fillRect/>
          </a:stretch>
        </p:blipFill>
        <p:spPr>
          <a:xfrm>
            <a:off x="5771284" y="3688753"/>
            <a:ext cx="198579" cy="216771"/>
          </a:xfrm>
          <a:prstGeom prst="rect">
            <a:avLst/>
          </a:prstGeom>
        </p:spPr>
      </p:pic>
      <p:sp>
        <p:nvSpPr>
          <p:cNvPr id="241" name="TextBox 162"/>
          <p:cNvSpPr txBox="1"/>
          <p:nvPr/>
        </p:nvSpPr>
        <p:spPr>
          <a:xfrm>
            <a:off x="2909323" y="3367954"/>
            <a:ext cx="902785" cy="307768"/>
          </a:xfrm>
          <a:prstGeom prst="rect">
            <a:avLst/>
          </a:prstGeom>
          <a:noFill/>
        </p:spPr>
        <p:txBody>
          <a:bodyPr wrap="none" rtlCol="0">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IoT Interface</a:t>
            </a:r>
          </a:p>
        </p:txBody>
      </p:sp>
      <p:sp>
        <p:nvSpPr>
          <p:cNvPr id="242" name="矩形 241"/>
          <p:cNvSpPr/>
          <p:nvPr/>
        </p:nvSpPr>
        <p:spPr>
          <a:xfrm>
            <a:off x="8835147" y="4868764"/>
            <a:ext cx="2316643" cy="646331"/>
          </a:xfrm>
          <a:prstGeom prst="rect">
            <a:avLst/>
          </a:prstGeom>
        </p:spPr>
        <p:txBody>
          <a:bodyPr wrap="square">
            <a:spAutoFit/>
          </a:bodyPr>
          <a:lstStyle/>
          <a:p>
            <a:pPr marL="285721" indent="-285721">
              <a:buClr>
                <a:schemeClr val="bg1"/>
              </a:buClr>
              <a:buFont typeface="Wingdings" panose="05000000000000000000" pitchFamily="2" charset="2"/>
              <a:buChar char="l"/>
            </a:pPr>
            <a:r>
              <a:rPr lang="zh-CN" altLang="en-US" sz="1200" dirty="0" smtClean="0">
                <a:solidFill>
                  <a:schemeClr val="bg1"/>
                </a:solidFill>
                <a:latin typeface="微软雅黑" panose="020B0503020204020204" pitchFamily="34" charset="-122"/>
                <a:ea typeface="微软雅黑" panose="020B0503020204020204" pitchFamily="34" charset="-122"/>
                <a:cs typeface="Arial" pitchFamily="34" charset="0"/>
              </a:rPr>
              <a:t>Generate, distribute, and manage certificates at the sensor level</a:t>
            </a:r>
            <a:endParaRPr lang="en-US" altLang="zh-CN" sz="1200" dirty="0" smtClean="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243" name="矩形 242"/>
          <p:cNvSpPr/>
          <p:nvPr/>
        </p:nvSpPr>
        <p:spPr>
          <a:xfrm>
            <a:off x="701524" y="4843083"/>
            <a:ext cx="2732609" cy="830997"/>
          </a:xfrm>
          <a:prstGeom prst="rect">
            <a:avLst/>
          </a:prstGeom>
        </p:spPr>
        <p:txBody>
          <a:bodyPr wrap="square">
            <a:spAutoFit/>
          </a:bodyPr>
          <a:lstStyle/>
          <a:p>
            <a:pPr marL="285721" indent="-285721">
              <a:buClr>
                <a:schemeClr val="bg1"/>
              </a:buClr>
              <a:buFont typeface="Wingdings" panose="05000000000000000000" pitchFamily="2" charset="2"/>
              <a:buChar char="l"/>
            </a:pPr>
            <a:r>
              <a:rPr lang="zh-CN" altLang="en-US" sz="1200" dirty="0">
                <a:solidFill>
                  <a:schemeClr val="bg1"/>
                </a:solidFill>
                <a:latin typeface="微软雅黑" panose="020B0503020204020204" pitchFamily="34" charset="-122"/>
                <a:ea typeface="微软雅黑" panose="020B0503020204020204" pitchFamily="34" charset="-122"/>
                <a:cs typeface="Arial" pitchFamily="34" charset="0"/>
              </a:rPr>
              <a:t>Built-in hardware encryption engine, providing multiple security mechanisms at the MAC layer and transport </a:t>
            </a:r>
            <a:r>
              <a:rPr lang="zh-CN" altLang="en-US" sz="1200" dirty="0" smtClean="0">
                <a:solidFill>
                  <a:schemeClr val="bg1"/>
                </a:solidFill>
                <a:latin typeface="微软雅黑" panose="020B0503020204020204" pitchFamily="34" charset="-122"/>
                <a:ea typeface="微软雅黑" panose="020B0503020204020204" pitchFamily="34" charset="-122"/>
                <a:cs typeface="Arial" pitchFamily="34" charset="0"/>
              </a:rPr>
              <a:t>layer</a:t>
            </a:r>
            <a:endParaRPr lang="en-US" altLang="zh-CN" sz="1200" dirty="0" smtClean="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244" name="矩形 9"/>
          <p:cNvSpPr/>
          <p:nvPr/>
        </p:nvSpPr>
        <p:spPr>
          <a:xfrm>
            <a:off x="6254863" y="4868764"/>
            <a:ext cx="2198368" cy="830997"/>
          </a:xfrm>
          <a:prstGeom prst="rect">
            <a:avLst/>
          </a:prstGeom>
        </p:spPr>
        <p:txBody>
          <a:bodyPr wrap="square">
            <a:spAutoFit/>
          </a:bodyPr>
          <a:lstStyle/>
          <a:p>
            <a:pPr marL="285721" indent="-285721">
              <a:buClr>
                <a:schemeClr val="bg1"/>
              </a:buClr>
              <a:buFont typeface="Wingdings" panose="05000000000000000000" pitchFamily="2" charset="2"/>
              <a:buChar char="l"/>
            </a:pPr>
            <a:r>
              <a:rPr lang="en-US" altLang="zh-CN" sz="1200" dirty="0">
                <a:solidFill>
                  <a:schemeClr val="bg1"/>
                </a:solidFill>
                <a:latin typeface="微软雅黑" panose="020B0503020204020204" pitchFamily="34" charset="-122"/>
                <a:ea typeface="微软雅黑" panose="020B0503020204020204" pitchFamily="34" charset="-122"/>
                <a:cs typeface="Arial" pitchFamily="34" charset="0"/>
              </a:rPr>
              <a:t>VPN technologies, such as L2TP/GRE/IPsec, ensure data security on the backhaul </a:t>
            </a:r>
            <a:r>
              <a:rPr lang="en-US" altLang="zh-CN" sz="1200" dirty="0" smtClean="0">
                <a:solidFill>
                  <a:schemeClr val="bg1"/>
                </a:solidFill>
                <a:latin typeface="微软雅黑" panose="020B0503020204020204" pitchFamily="34" charset="-122"/>
                <a:ea typeface="微软雅黑" panose="020B0503020204020204" pitchFamily="34" charset="-122"/>
                <a:cs typeface="Arial" pitchFamily="34" charset="0"/>
              </a:rPr>
              <a:t>network</a:t>
            </a:r>
            <a:endParaRPr lang="en-US" altLang="zh-CN" sz="12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245" name="云形 244"/>
          <p:cNvSpPr/>
          <p:nvPr/>
        </p:nvSpPr>
        <p:spPr>
          <a:xfrm>
            <a:off x="6385619" y="2723167"/>
            <a:ext cx="1139702" cy="803572"/>
          </a:xfrm>
          <a:prstGeom prst="cloud">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46" name="文本框 191"/>
          <p:cNvSpPr txBox="1"/>
          <p:nvPr/>
        </p:nvSpPr>
        <p:spPr>
          <a:xfrm>
            <a:off x="6457627" y="2965054"/>
            <a:ext cx="957079" cy="307768"/>
          </a:xfrm>
          <a:prstGeom prst="rect">
            <a:avLst/>
          </a:prstGeom>
          <a:noFill/>
        </p:spPr>
        <p:txBody>
          <a:bodyPr wrap="square" rtlCol="0">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Network</a:t>
            </a:r>
            <a:endParaRPr lang="zh-CN" altLang="en-US" sz="14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8" name="组合 173"/>
          <p:cNvGrpSpPr/>
          <p:nvPr/>
        </p:nvGrpSpPr>
        <p:grpSpPr>
          <a:xfrm>
            <a:off x="8066651" y="2212363"/>
            <a:ext cx="3311822" cy="2294894"/>
            <a:chOff x="8186675" y="2284338"/>
            <a:chExt cx="3042985" cy="2108607"/>
          </a:xfrm>
        </p:grpSpPr>
        <p:sp>
          <p:nvSpPr>
            <p:cNvPr id="248" name="TextBox 112"/>
            <p:cNvSpPr txBox="1"/>
            <p:nvPr/>
          </p:nvSpPr>
          <p:spPr>
            <a:xfrm>
              <a:off x="8659763" y="2788579"/>
              <a:ext cx="996137" cy="240367"/>
            </a:xfrm>
            <a:prstGeom prst="rect">
              <a:avLst/>
            </a:prstGeom>
            <a:noFill/>
            <a:ln>
              <a:noFill/>
            </a:ln>
          </p:spPr>
          <p:txBody>
            <a:bodyPr wrap="square" rtlCol="0">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Network Mgmt.</a:t>
              </a:r>
            </a:p>
          </p:txBody>
        </p:sp>
        <p:sp>
          <p:nvSpPr>
            <p:cNvPr id="249" name="TextBox 112"/>
            <p:cNvSpPr txBox="1"/>
            <p:nvPr/>
          </p:nvSpPr>
          <p:spPr>
            <a:xfrm>
              <a:off x="9734644" y="2804511"/>
              <a:ext cx="996137" cy="240367"/>
            </a:xfrm>
            <a:prstGeom prst="rect">
              <a:avLst/>
            </a:prstGeom>
            <a:noFill/>
            <a:ln>
              <a:noFill/>
            </a:ln>
          </p:spPr>
          <p:txBody>
            <a:bodyPr wrap="square" rtlCol="0">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Application Mgmt.</a:t>
              </a:r>
            </a:p>
          </p:txBody>
        </p:sp>
        <p:sp>
          <p:nvSpPr>
            <p:cNvPr id="250" name="TextBox 112"/>
            <p:cNvSpPr txBox="1"/>
            <p:nvPr/>
          </p:nvSpPr>
          <p:spPr>
            <a:xfrm>
              <a:off x="9534763" y="3997035"/>
              <a:ext cx="1556302" cy="395910"/>
            </a:xfrm>
            <a:prstGeom prst="rect">
              <a:avLst/>
            </a:prstGeom>
            <a:noFill/>
            <a:ln>
              <a:noFill/>
            </a:ln>
          </p:spPr>
          <p:txBody>
            <a:bodyPr wrap="square" rtlCol="0">
              <a:spAutoFit/>
            </a:bodyPr>
            <a:lstStyle/>
            <a:p>
              <a:pPr algn="ctr"/>
              <a:r>
                <a:rPr lang="en-US" altLang="zh-CN" sz="1100" dirty="0">
                  <a:solidFill>
                    <a:schemeClr val="bg1"/>
                  </a:solidFill>
                  <a:latin typeface="微软雅黑" panose="020B0503020204020204" pitchFamily="34" charset="-122"/>
                  <a:ea typeface="微软雅黑" panose="020B0503020204020204" pitchFamily="34" charset="-122"/>
                </a:rPr>
                <a:t>IoT Data Subscription and Provisioning</a:t>
              </a:r>
            </a:p>
          </p:txBody>
        </p:sp>
        <p:sp>
          <p:nvSpPr>
            <p:cNvPr id="251" name="TextBox 112"/>
            <p:cNvSpPr txBox="1"/>
            <p:nvPr/>
          </p:nvSpPr>
          <p:spPr>
            <a:xfrm>
              <a:off x="8325270" y="3987292"/>
              <a:ext cx="1316250" cy="395910"/>
            </a:xfrm>
            <a:prstGeom prst="rect">
              <a:avLst/>
            </a:prstGeom>
            <a:noFill/>
            <a:ln>
              <a:noFill/>
            </a:ln>
          </p:spPr>
          <p:txBody>
            <a:bodyPr wrap="square" rtlCol="0">
              <a:spAutoFit/>
            </a:bodyPr>
            <a:lstStyle/>
            <a:p>
              <a:pPr algn="ctr"/>
              <a:r>
                <a:rPr lang="zh-CN" altLang="en-US" sz="1100" dirty="0">
                  <a:solidFill>
                    <a:schemeClr val="bg1"/>
                  </a:solidFill>
                  <a:latin typeface="微软雅黑" panose="020B0503020204020204" pitchFamily="34" charset="-122"/>
                  <a:ea typeface="微软雅黑" panose="020B0503020204020204" pitchFamily="34" charset="-122"/>
                </a:rPr>
                <a:t>Computing Resource Mgmt.</a:t>
              </a:r>
            </a:p>
          </p:txBody>
        </p:sp>
        <p:sp>
          <p:nvSpPr>
            <p:cNvPr id="252" name="Freeform 14"/>
            <p:cNvSpPr>
              <a:spLocks noEditPoints="1"/>
            </p:cNvSpPr>
            <p:nvPr/>
          </p:nvSpPr>
          <p:spPr bwMode="auto">
            <a:xfrm>
              <a:off x="8896424" y="2284338"/>
              <a:ext cx="531738" cy="377603"/>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53" name="Freeform 10"/>
            <p:cNvSpPr>
              <a:spLocks noEditPoints="1"/>
            </p:cNvSpPr>
            <p:nvPr/>
          </p:nvSpPr>
          <p:spPr bwMode="auto">
            <a:xfrm>
              <a:off x="9058317" y="2337329"/>
              <a:ext cx="200645" cy="186985"/>
            </a:xfrm>
            <a:custGeom>
              <a:avLst/>
              <a:gdLst/>
              <a:ahLst/>
              <a:cxnLst>
                <a:cxn ang="0">
                  <a:pos x="244" y="98"/>
                </a:cxn>
                <a:cxn ang="0">
                  <a:pos x="210" y="36"/>
                </a:cxn>
                <a:cxn ang="0">
                  <a:pos x="148" y="2"/>
                </a:cxn>
                <a:cxn ang="0">
                  <a:pos x="110" y="2"/>
                </a:cxn>
                <a:cxn ang="0">
                  <a:pos x="54" y="22"/>
                </a:cxn>
                <a:cxn ang="0">
                  <a:pos x="6" y="86"/>
                </a:cxn>
                <a:cxn ang="0">
                  <a:pos x="0" y="124"/>
                </a:cxn>
                <a:cxn ang="0">
                  <a:pos x="10" y="170"/>
                </a:cxn>
                <a:cxn ang="0">
                  <a:pos x="76" y="236"/>
                </a:cxn>
                <a:cxn ang="0">
                  <a:pos x="124" y="246"/>
                </a:cxn>
                <a:cxn ang="0">
                  <a:pos x="160" y="240"/>
                </a:cxn>
                <a:cxn ang="0">
                  <a:pos x="226" y="192"/>
                </a:cxn>
                <a:cxn ang="0">
                  <a:pos x="246" y="136"/>
                </a:cxn>
                <a:cxn ang="0">
                  <a:pos x="56" y="132"/>
                </a:cxn>
                <a:cxn ang="0">
                  <a:pos x="28" y="170"/>
                </a:cxn>
                <a:cxn ang="0">
                  <a:pos x="18" y="132"/>
                </a:cxn>
                <a:cxn ang="0">
                  <a:pos x="190" y="94"/>
                </a:cxn>
                <a:cxn ang="0">
                  <a:pos x="224" y="94"/>
                </a:cxn>
                <a:cxn ang="0">
                  <a:pos x="132" y="114"/>
                </a:cxn>
                <a:cxn ang="0">
                  <a:pos x="172" y="94"/>
                </a:cxn>
                <a:cxn ang="0">
                  <a:pos x="132" y="18"/>
                </a:cxn>
                <a:cxn ang="0">
                  <a:pos x="148" y="38"/>
                </a:cxn>
                <a:cxn ang="0">
                  <a:pos x="114" y="58"/>
                </a:cxn>
                <a:cxn ang="0">
                  <a:pos x="114" y="18"/>
                </a:cxn>
                <a:cxn ang="0">
                  <a:pos x="114" y="76"/>
                </a:cxn>
                <a:cxn ang="0">
                  <a:pos x="74" y="94"/>
                </a:cxn>
                <a:cxn ang="0">
                  <a:pos x="18" y="114"/>
                </a:cxn>
                <a:cxn ang="0">
                  <a:pos x="62" y="76"/>
                </a:cxn>
                <a:cxn ang="0">
                  <a:pos x="56" y="114"/>
                </a:cxn>
                <a:cxn ang="0">
                  <a:pos x="80" y="170"/>
                </a:cxn>
                <a:cxn ang="0">
                  <a:pos x="72" y="132"/>
                </a:cxn>
                <a:cxn ang="0">
                  <a:pos x="100" y="206"/>
                </a:cxn>
                <a:cxn ang="0">
                  <a:pos x="158" y="186"/>
                </a:cxn>
                <a:cxn ang="0">
                  <a:pos x="132" y="186"/>
                </a:cxn>
                <a:cxn ang="0">
                  <a:pos x="174" y="132"/>
                </a:cxn>
                <a:cxn ang="0">
                  <a:pos x="192" y="132"/>
                </a:cxn>
                <a:cxn ang="0">
                  <a:pos x="218" y="170"/>
                </a:cxn>
                <a:cxn ang="0">
                  <a:pos x="192" y="132"/>
                </a:cxn>
                <a:cxn ang="0">
                  <a:pos x="180" y="58"/>
                </a:cxn>
                <a:cxn ang="0">
                  <a:pos x="174" y="30"/>
                </a:cxn>
                <a:cxn ang="0">
                  <a:pos x="206" y="58"/>
                </a:cxn>
                <a:cxn ang="0">
                  <a:pos x="68" y="58"/>
                </a:cxn>
                <a:cxn ang="0">
                  <a:pos x="62" y="38"/>
                </a:cxn>
                <a:cxn ang="0">
                  <a:pos x="40" y="186"/>
                </a:cxn>
                <a:cxn ang="0">
                  <a:pos x="90" y="222"/>
                </a:cxn>
                <a:cxn ang="0">
                  <a:pos x="50" y="198"/>
                </a:cxn>
                <a:cxn ang="0">
                  <a:pos x="156" y="222"/>
                </a:cxn>
                <a:cxn ang="0">
                  <a:pos x="208" y="186"/>
                </a:cxn>
                <a:cxn ang="0">
                  <a:pos x="156" y="222"/>
                </a:cxn>
              </a:cxnLst>
              <a:rect l="0" t="0" r="r" b="b"/>
              <a:pathLst>
                <a:path w="246" h="246">
                  <a:moveTo>
                    <a:pt x="246" y="124"/>
                  </a:moveTo>
                  <a:lnTo>
                    <a:pt x="246" y="124"/>
                  </a:lnTo>
                  <a:lnTo>
                    <a:pt x="246" y="110"/>
                  </a:lnTo>
                  <a:lnTo>
                    <a:pt x="244" y="98"/>
                  </a:lnTo>
                  <a:lnTo>
                    <a:pt x="240" y="86"/>
                  </a:lnTo>
                  <a:lnTo>
                    <a:pt x="236" y="76"/>
                  </a:lnTo>
                  <a:lnTo>
                    <a:pt x="226" y="54"/>
                  </a:lnTo>
                  <a:lnTo>
                    <a:pt x="210" y="36"/>
                  </a:lnTo>
                  <a:lnTo>
                    <a:pt x="192" y="22"/>
                  </a:lnTo>
                  <a:lnTo>
                    <a:pt x="172" y="10"/>
                  </a:lnTo>
                  <a:lnTo>
                    <a:pt x="160" y="6"/>
                  </a:lnTo>
                  <a:lnTo>
                    <a:pt x="148" y="2"/>
                  </a:lnTo>
                  <a:lnTo>
                    <a:pt x="136" y="2"/>
                  </a:lnTo>
                  <a:lnTo>
                    <a:pt x="124" y="0"/>
                  </a:lnTo>
                  <a:lnTo>
                    <a:pt x="124" y="0"/>
                  </a:lnTo>
                  <a:lnTo>
                    <a:pt x="110" y="2"/>
                  </a:lnTo>
                  <a:lnTo>
                    <a:pt x="98" y="2"/>
                  </a:lnTo>
                  <a:lnTo>
                    <a:pt x="88" y="6"/>
                  </a:lnTo>
                  <a:lnTo>
                    <a:pt x="76" y="10"/>
                  </a:lnTo>
                  <a:lnTo>
                    <a:pt x="54" y="22"/>
                  </a:lnTo>
                  <a:lnTo>
                    <a:pt x="36" y="36"/>
                  </a:lnTo>
                  <a:lnTo>
                    <a:pt x="22" y="54"/>
                  </a:lnTo>
                  <a:lnTo>
                    <a:pt x="10" y="76"/>
                  </a:lnTo>
                  <a:lnTo>
                    <a:pt x="6" y="86"/>
                  </a:lnTo>
                  <a:lnTo>
                    <a:pt x="4" y="98"/>
                  </a:lnTo>
                  <a:lnTo>
                    <a:pt x="2" y="110"/>
                  </a:lnTo>
                  <a:lnTo>
                    <a:pt x="0" y="124"/>
                  </a:lnTo>
                  <a:lnTo>
                    <a:pt x="0" y="124"/>
                  </a:lnTo>
                  <a:lnTo>
                    <a:pt x="2" y="136"/>
                  </a:lnTo>
                  <a:lnTo>
                    <a:pt x="4" y="148"/>
                  </a:lnTo>
                  <a:lnTo>
                    <a:pt x="6" y="160"/>
                  </a:lnTo>
                  <a:lnTo>
                    <a:pt x="10" y="170"/>
                  </a:lnTo>
                  <a:lnTo>
                    <a:pt x="22" y="192"/>
                  </a:lnTo>
                  <a:lnTo>
                    <a:pt x="36" y="210"/>
                  </a:lnTo>
                  <a:lnTo>
                    <a:pt x="54" y="224"/>
                  </a:lnTo>
                  <a:lnTo>
                    <a:pt x="76" y="236"/>
                  </a:lnTo>
                  <a:lnTo>
                    <a:pt x="88" y="240"/>
                  </a:lnTo>
                  <a:lnTo>
                    <a:pt x="98" y="244"/>
                  </a:lnTo>
                  <a:lnTo>
                    <a:pt x="110" y="246"/>
                  </a:lnTo>
                  <a:lnTo>
                    <a:pt x="124" y="246"/>
                  </a:lnTo>
                  <a:lnTo>
                    <a:pt x="124" y="246"/>
                  </a:lnTo>
                  <a:lnTo>
                    <a:pt x="136" y="246"/>
                  </a:lnTo>
                  <a:lnTo>
                    <a:pt x="148" y="244"/>
                  </a:lnTo>
                  <a:lnTo>
                    <a:pt x="160" y="240"/>
                  </a:lnTo>
                  <a:lnTo>
                    <a:pt x="172" y="236"/>
                  </a:lnTo>
                  <a:lnTo>
                    <a:pt x="192" y="224"/>
                  </a:lnTo>
                  <a:lnTo>
                    <a:pt x="210" y="210"/>
                  </a:lnTo>
                  <a:lnTo>
                    <a:pt x="226" y="192"/>
                  </a:lnTo>
                  <a:lnTo>
                    <a:pt x="236" y="170"/>
                  </a:lnTo>
                  <a:lnTo>
                    <a:pt x="240" y="160"/>
                  </a:lnTo>
                  <a:lnTo>
                    <a:pt x="244" y="148"/>
                  </a:lnTo>
                  <a:lnTo>
                    <a:pt x="246" y="136"/>
                  </a:lnTo>
                  <a:lnTo>
                    <a:pt x="246" y="124"/>
                  </a:lnTo>
                  <a:lnTo>
                    <a:pt x="246" y="124"/>
                  </a:lnTo>
                  <a:close/>
                  <a:moveTo>
                    <a:pt x="18" y="132"/>
                  </a:moveTo>
                  <a:lnTo>
                    <a:pt x="56" y="132"/>
                  </a:lnTo>
                  <a:lnTo>
                    <a:pt x="56" y="132"/>
                  </a:lnTo>
                  <a:lnTo>
                    <a:pt x="58" y="150"/>
                  </a:lnTo>
                  <a:lnTo>
                    <a:pt x="62" y="170"/>
                  </a:lnTo>
                  <a:lnTo>
                    <a:pt x="28" y="170"/>
                  </a:lnTo>
                  <a:lnTo>
                    <a:pt x="28" y="170"/>
                  </a:lnTo>
                  <a:lnTo>
                    <a:pt x="22" y="152"/>
                  </a:lnTo>
                  <a:lnTo>
                    <a:pt x="18" y="132"/>
                  </a:lnTo>
                  <a:lnTo>
                    <a:pt x="18" y="132"/>
                  </a:lnTo>
                  <a:close/>
                  <a:moveTo>
                    <a:pt x="228" y="114"/>
                  </a:moveTo>
                  <a:lnTo>
                    <a:pt x="192" y="114"/>
                  </a:lnTo>
                  <a:lnTo>
                    <a:pt x="192" y="114"/>
                  </a:lnTo>
                  <a:lnTo>
                    <a:pt x="190" y="94"/>
                  </a:lnTo>
                  <a:lnTo>
                    <a:pt x="186" y="76"/>
                  </a:lnTo>
                  <a:lnTo>
                    <a:pt x="218" y="76"/>
                  </a:lnTo>
                  <a:lnTo>
                    <a:pt x="218" y="76"/>
                  </a:lnTo>
                  <a:lnTo>
                    <a:pt x="224" y="94"/>
                  </a:lnTo>
                  <a:lnTo>
                    <a:pt x="228" y="114"/>
                  </a:lnTo>
                  <a:lnTo>
                    <a:pt x="228" y="114"/>
                  </a:lnTo>
                  <a:close/>
                  <a:moveTo>
                    <a:pt x="174" y="114"/>
                  </a:moveTo>
                  <a:lnTo>
                    <a:pt x="132" y="114"/>
                  </a:lnTo>
                  <a:lnTo>
                    <a:pt x="132" y="76"/>
                  </a:lnTo>
                  <a:lnTo>
                    <a:pt x="168" y="76"/>
                  </a:lnTo>
                  <a:lnTo>
                    <a:pt x="168" y="76"/>
                  </a:lnTo>
                  <a:lnTo>
                    <a:pt x="172" y="94"/>
                  </a:lnTo>
                  <a:lnTo>
                    <a:pt x="174" y="114"/>
                  </a:lnTo>
                  <a:lnTo>
                    <a:pt x="174" y="114"/>
                  </a:lnTo>
                  <a:close/>
                  <a:moveTo>
                    <a:pt x="132" y="58"/>
                  </a:moveTo>
                  <a:lnTo>
                    <a:pt x="132" y="18"/>
                  </a:lnTo>
                  <a:lnTo>
                    <a:pt x="132" y="18"/>
                  </a:lnTo>
                  <a:lnTo>
                    <a:pt x="132" y="18"/>
                  </a:lnTo>
                  <a:lnTo>
                    <a:pt x="132" y="18"/>
                  </a:lnTo>
                  <a:lnTo>
                    <a:pt x="148" y="38"/>
                  </a:lnTo>
                  <a:lnTo>
                    <a:pt x="160" y="58"/>
                  </a:lnTo>
                  <a:lnTo>
                    <a:pt x="132" y="58"/>
                  </a:lnTo>
                  <a:close/>
                  <a:moveTo>
                    <a:pt x="114" y="18"/>
                  </a:moveTo>
                  <a:lnTo>
                    <a:pt x="114" y="58"/>
                  </a:lnTo>
                  <a:lnTo>
                    <a:pt x="86" y="58"/>
                  </a:lnTo>
                  <a:lnTo>
                    <a:pt x="86" y="58"/>
                  </a:lnTo>
                  <a:lnTo>
                    <a:pt x="98" y="38"/>
                  </a:lnTo>
                  <a:lnTo>
                    <a:pt x="114" y="18"/>
                  </a:lnTo>
                  <a:lnTo>
                    <a:pt x="114" y="18"/>
                  </a:lnTo>
                  <a:lnTo>
                    <a:pt x="114" y="18"/>
                  </a:lnTo>
                  <a:lnTo>
                    <a:pt x="114" y="18"/>
                  </a:lnTo>
                  <a:close/>
                  <a:moveTo>
                    <a:pt x="114" y="76"/>
                  </a:moveTo>
                  <a:lnTo>
                    <a:pt x="114" y="114"/>
                  </a:lnTo>
                  <a:lnTo>
                    <a:pt x="72" y="114"/>
                  </a:lnTo>
                  <a:lnTo>
                    <a:pt x="72" y="114"/>
                  </a:lnTo>
                  <a:lnTo>
                    <a:pt x="74" y="94"/>
                  </a:lnTo>
                  <a:lnTo>
                    <a:pt x="80" y="76"/>
                  </a:lnTo>
                  <a:lnTo>
                    <a:pt x="114" y="76"/>
                  </a:lnTo>
                  <a:close/>
                  <a:moveTo>
                    <a:pt x="56" y="114"/>
                  </a:moveTo>
                  <a:lnTo>
                    <a:pt x="18" y="114"/>
                  </a:lnTo>
                  <a:lnTo>
                    <a:pt x="18" y="114"/>
                  </a:lnTo>
                  <a:lnTo>
                    <a:pt x="22" y="94"/>
                  </a:lnTo>
                  <a:lnTo>
                    <a:pt x="30" y="76"/>
                  </a:lnTo>
                  <a:lnTo>
                    <a:pt x="62" y="76"/>
                  </a:lnTo>
                  <a:lnTo>
                    <a:pt x="62" y="76"/>
                  </a:lnTo>
                  <a:lnTo>
                    <a:pt x="58" y="94"/>
                  </a:lnTo>
                  <a:lnTo>
                    <a:pt x="56" y="114"/>
                  </a:lnTo>
                  <a:lnTo>
                    <a:pt x="56" y="114"/>
                  </a:lnTo>
                  <a:close/>
                  <a:moveTo>
                    <a:pt x="72" y="132"/>
                  </a:moveTo>
                  <a:lnTo>
                    <a:pt x="114" y="132"/>
                  </a:lnTo>
                  <a:lnTo>
                    <a:pt x="114" y="170"/>
                  </a:lnTo>
                  <a:lnTo>
                    <a:pt x="80" y="170"/>
                  </a:lnTo>
                  <a:lnTo>
                    <a:pt x="80" y="170"/>
                  </a:lnTo>
                  <a:lnTo>
                    <a:pt x="76" y="150"/>
                  </a:lnTo>
                  <a:lnTo>
                    <a:pt x="72" y="132"/>
                  </a:lnTo>
                  <a:lnTo>
                    <a:pt x="72" y="132"/>
                  </a:lnTo>
                  <a:close/>
                  <a:moveTo>
                    <a:pt x="114" y="186"/>
                  </a:moveTo>
                  <a:lnTo>
                    <a:pt x="114" y="224"/>
                  </a:lnTo>
                  <a:lnTo>
                    <a:pt x="114" y="224"/>
                  </a:lnTo>
                  <a:lnTo>
                    <a:pt x="100" y="206"/>
                  </a:lnTo>
                  <a:lnTo>
                    <a:pt x="88" y="186"/>
                  </a:lnTo>
                  <a:lnTo>
                    <a:pt x="114" y="186"/>
                  </a:lnTo>
                  <a:close/>
                  <a:moveTo>
                    <a:pt x="132" y="186"/>
                  </a:moveTo>
                  <a:lnTo>
                    <a:pt x="158" y="186"/>
                  </a:lnTo>
                  <a:lnTo>
                    <a:pt x="158" y="186"/>
                  </a:lnTo>
                  <a:lnTo>
                    <a:pt x="148" y="206"/>
                  </a:lnTo>
                  <a:lnTo>
                    <a:pt x="132" y="224"/>
                  </a:lnTo>
                  <a:lnTo>
                    <a:pt x="132" y="186"/>
                  </a:lnTo>
                  <a:close/>
                  <a:moveTo>
                    <a:pt x="132" y="170"/>
                  </a:moveTo>
                  <a:lnTo>
                    <a:pt x="132" y="132"/>
                  </a:lnTo>
                  <a:lnTo>
                    <a:pt x="174" y="132"/>
                  </a:lnTo>
                  <a:lnTo>
                    <a:pt x="174" y="132"/>
                  </a:lnTo>
                  <a:lnTo>
                    <a:pt x="172" y="150"/>
                  </a:lnTo>
                  <a:lnTo>
                    <a:pt x="166" y="170"/>
                  </a:lnTo>
                  <a:lnTo>
                    <a:pt x="132" y="170"/>
                  </a:lnTo>
                  <a:close/>
                  <a:moveTo>
                    <a:pt x="192" y="132"/>
                  </a:moveTo>
                  <a:lnTo>
                    <a:pt x="228" y="132"/>
                  </a:lnTo>
                  <a:lnTo>
                    <a:pt x="228" y="132"/>
                  </a:lnTo>
                  <a:lnTo>
                    <a:pt x="224" y="152"/>
                  </a:lnTo>
                  <a:lnTo>
                    <a:pt x="218" y="170"/>
                  </a:lnTo>
                  <a:lnTo>
                    <a:pt x="184" y="170"/>
                  </a:lnTo>
                  <a:lnTo>
                    <a:pt x="184" y="170"/>
                  </a:lnTo>
                  <a:lnTo>
                    <a:pt x="188" y="150"/>
                  </a:lnTo>
                  <a:lnTo>
                    <a:pt x="192" y="132"/>
                  </a:lnTo>
                  <a:lnTo>
                    <a:pt x="192" y="132"/>
                  </a:lnTo>
                  <a:close/>
                  <a:moveTo>
                    <a:pt x="206" y="58"/>
                  </a:moveTo>
                  <a:lnTo>
                    <a:pt x="180" y="58"/>
                  </a:lnTo>
                  <a:lnTo>
                    <a:pt x="180" y="58"/>
                  </a:lnTo>
                  <a:lnTo>
                    <a:pt x="172" y="40"/>
                  </a:lnTo>
                  <a:lnTo>
                    <a:pt x="160" y="24"/>
                  </a:lnTo>
                  <a:lnTo>
                    <a:pt x="160" y="24"/>
                  </a:lnTo>
                  <a:lnTo>
                    <a:pt x="174" y="30"/>
                  </a:lnTo>
                  <a:lnTo>
                    <a:pt x="186" y="38"/>
                  </a:lnTo>
                  <a:lnTo>
                    <a:pt x="196" y="48"/>
                  </a:lnTo>
                  <a:lnTo>
                    <a:pt x="206" y="58"/>
                  </a:lnTo>
                  <a:lnTo>
                    <a:pt x="206" y="58"/>
                  </a:lnTo>
                  <a:close/>
                  <a:moveTo>
                    <a:pt x="86" y="24"/>
                  </a:moveTo>
                  <a:lnTo>
                    <a:pt x="86" y="24"/>
                  </a:lnTo>
                  <a:lnTo>
                    <a:pt x="76" y="40"/>
                  </a:lnTo>
                  <a:lnTo>
                    <a:pt x="68" y="58"/>
                  </a:lnTo>
                  <a:lnTo>
                    <a:pt x="40" y="58"/>
                  </a:lnTo>
                  <a:lnTo>
                    <a:pt x="40" y="58"/>
                  </a:lnTo>
                  <a:lnTo>
                    <a:pt x="50" y="48"/>
                  </a:lnTo>
                  <a:lnTo>
                    <a:pt x="62" y="38"/>
                  </a:lnTo>
                  <a:lnTo>
                    <a:pt x="72" y="30"/>
                  </a:lnTo>
                  <a:lnTo>
                    <a:pt x="86" y="24"/>
                  </a:lnTo>
                  <a:lnTo>
                    <a:pt x="86" y="24"/>
                  </a:lnTo>
                  <a:close/>
                  <a:moveTo>
                    <a:pt x="40" y="186"/>
                  </a:moveTo>
                  <a:lnTo>
                    <a:pt x="68" y="186"/>
                  </a:lnTo>
                  <a:lnTo>
                    <a:pt x="68" y="186"/>
                  </a:lnTo>
                  <a:lnTo>
                    <a:pt x="78" y="206"/>
                  </a:lnTo>
                  <a:lnTo>
                    <a:pt x="90" y="222"/>
                  </a:lnTo>
                  <a:lnTo>
                    <a:pt x="90" y="222"/>
                  </a:lnTo>
                  <a:lnTo>
                    <a:pt x="76" y="216"/>
                  </a:lnTo>
                  <a:lnTo>
                    <a:pt x="62" y="208"/>
                  </a:lnTo>
                  <a:lnTo>
                    <a:pt x="50" y="198"/>
                  </a:lnTo>
                  <a:lnTo>
                    <a:pt x="40" y="186"/>
                  </a:lnTo>
                  <a:lnTo>
                    <a:pt x="40" y="186"/>
                  </a:lnTo>
                  <a:close/>
                  <a:moveTo>
                    <a:pt x="156" y="222"/>
                  </a:moveTo>
                  <a:lnTo>
                    <a:pt x="156" y="222"/>
                  </a:lnTo>
                  <a:lnTo>
                    <a:pt x="168" y="206"/>
                  </a:lnTo>
                  <a:lnTo>
                    <a:pt x="178" y="186"/>
                  </a:lnTo>
                  <a:lnTo>
                    <a:pt x="208" y="186"/>
                  </a:lnTo>
                  <a:lnTo>
                    <a:pt x="208" y="186"/>
                  </a:lnTo>
                  <a:lnTo>
                    <a:pt x="196" y="198"/>
                  </a:lnTo>
                  <a:lnTo>
                    <a:pt x="184" y="208"/>
                  </a:lnTo>
                  <a:lnTo>
                    <a:pt x="172" y="216"/>
                  </a:lnTo>
                  <a:lnTo>
                    <a:pt x="156" y="222"/>
                  </a:lnTo>
                  <a:lnTo>
                    <a:pt x="156" y="222"/>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54" name="Freeform 14"/>
            <p:cNvSpPr>
              <a:spLocks noEditPoints="1"/>
            </p:cNvSpPr>
            <p:nvPr/>
          </p:nvSpPr>
          <p:spPr bwMode="auto">
            <a:xfrm>
              <a:off x="9983483" y="2295735"/>
              <a:ext cx="531651" cy="376116"/>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55" name="圆角矩形 254"/>
            <p:cNvSpPr/>
            <p:nvPr/>
          </p:nvSpPr>
          <p:spPr>
            <a:xfrm>
              <a:off x="10070228" y="2354642"/>
              <a:ext cx="154933" cy="153744"/>
            </a:xfrm>
            <a:prstGeom prst="roundRect">
              <a:avLst>
                <a:gd name="adj" fmla="val 8588"/>
              </a:avLst>
            </a:prstGeom>
            <a:no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56" name="TextBox 30"/>
            <p:cNvSpPr txBox="1"/>
            <p:nvPr/>
          </p:nvSpPr>
          <p:spPr>
            <a:xfrm>
              <a:off x="10084964" y="2375612"/>
              <a:ext cx="163936" cy="164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r>
                <a:rPr lang="en-US" altLang="zh-CN" sz="600" dirty="0">
                  <a:solidFill>
                    <a:schemeClr val="bg1"/>
                  </a:solidFill>
                  <a:latin typeface="微软雅黑" panose="020B0503020204020204" pitchFamily="34" charset="-122"/>
                  <a:ea typeface="微软雅黑" panose="020B0503020204020204" pitchFamily="34" charset="-122"/>
                  <a:sym typeface="Arial"/>
                </a:rPr>
                <a:t>A</a:t>
              </a:r>
              <a:endParaRPr lang="zh-CN" altLang="en-US" sz="600" dirty="0">
                <a:solidFill>
                  <a:schemeClr val="bg1"/>
                </a:solidFill>
                <a:latin typeface="微软雅黑" panose="020B0503020204020204" pitchFamily="34" charset="-122"/>
                <a:ea typeface="微软雅黑" panose="020B0503020204020204" pitchFamily="34" charset="-122"/>
                <a:sym typeface="Arial"/>
              </a:endParaRPr>
            </a:p>
          </p:txBody>
        </p:sp>
        <p:grpSp>
          <p:nvGrpSpPr>
            <p:cNvPr id="19" name="组合 169"/>
            <p:cNvGrpSpPr/>
            <p:nvPr/>
          </p:nvGrpSpPr>
          <p:grpSpPr>
            <a:xfrm>
              <a:off x="8186675" y="3445005"/>
              <a:ext cx="3042985" cy="376116"/>
              <a:chOff x="8186675" y="3445005"/>
              <a:chExt cx="3042985" cy="376116"/>
            </a:xfrm>
          </p:grpSpPr>
          <p:sp>
            <p:nvSpPr>
              <p:cNvPr id="259" name="燕尾形 258"/>
              <p:cNvSpPr/>
              <p:nvPr/>
            </p:nvSpPr>
            <p:spPr>
              <a:xfrm>
                <a:off x="11091065" y="3528339"/>
                <a:ext cx="138595" cy="111453"/>
              </a:xfrm>
              <a:prstGeom prst="chevr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0" name="燕尾形 259"/>
              <p:cNvSpPr/>
              <p:nvPr/>
            </p:nvSpPr>
            <p:spPr>
              <a:xfrm rot="10800000">
                <a:off x="8186675" y="3525536"/>
                <a:ext cx="138595" cy="111453"/>
              </a:xfrm>
              <a:prstGeom prst="chevron">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1" name="Freeform 14"/>
              <p:cNvSpPr>
                <a:spLocks noEditPoints="1"/>
              </p:cNvSpPr>
              <p:nvPr/>
            </p:nvSpPr>
            <p:spPr bwMode="auto">
              <a:xfrm>
                <a:off x="8892788" y="3445005"/>
                <a:ext cx="521226" cy="376116"/>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2" name="Freeform 14"/>
              <p:cNvSpPr>
                <a:spLocks noEditPoints="1"/>
              </p:cNvSpPr>
              <p:nvPr/>
            </p:nvSpPr>
            <p:spPr bwMode="auto">
              <a:xfrm>
                <a:off x="9986189" y="3445005"/>
                <a:ext cx="521226" cy="376116"/>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3" name="Rectangle 6"/>
              <p:cNvSpPr>
                <a:spLocks noChangeArrowheads="1"/>
              </p:cNvSpPr>
              <p:nvPr/>
            </p:nvSpPr>
            <p:spPr bwMode="auto">
              <a:xfrm>
                <a:off x="9085217" y="3565992"/>
                <a:ext cx="126192" cy="82011"/>
              </a:xfrm>
              <a:prstGeom prst="rect">
                <a:avLst/>
              </a:pr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4" name="Freeform 7"/>
              <p:cNvSpPr>
                <a:spLocks noEditPoints="1"/>
              </p:cNvSpPr>
              <p:nvPr/>
            </p:nvSpPr>
            <p:spPr bwMode="auto">
              <a:xfrm>
                <a:off x="8993042" y="3495481"/>
                <a:ext cx="312736" cy="197956"/>
              </a:xfrm>
              <a:custGeom>
                <a:avLst/>
                <a:gdLst/>
                <a:ahLst/>
                <a:cxnLst>
                  <a:cxn ang="0">
                    <a:pos x="3607" y="2525"/>
                  </a:cxn>
                  <a:cxn ang="0">
                    <a:pos x="12779" y="2555"/>
                  </a:cxn>
                  <a:cxn ang="0">
                    <a:pos x="13040" y="2666"/>
                  </a:cxn>
                  <a:cxn ang="0">
                    <a:pos x="13256" y="2843"/>
                  </a:cxn>
                  <a:cxn ang="0">
                    <a:pos x="13412" y="3076"/>
                  </a:cxn>
                  <a:cxn ang="0">
                    <a:pos x="13498" y="3348"/>
                  </a:cxn>
                  <a:cxn ang="0">
                    <a:pos x="13504" y="12518"/>
                  </a:cxn>
                  <a:cxn ang="0">
                    <a:pos x="13433" y="12797"/>
                  </a:cxn>
                  <a:cxn ang="0">
                    <a:pos x="13286" y="13037"/>
                  </a:cxn>
                  <a:cxn ang="0">
                    <a:pos x="13079" y="13225"/>
                  </a:cxn>
                  <a:cxn ang="0">
                    <a:pos x="12824" y="13347"/>
                  </a:cxn>
                  <a:cxn ang="0">
                    <a:pos x="12537" y="13391"/>
                  </a:cxn>
                  <a:cxn ang="0">
                    <a:pos x="3365" y="13360"/>
                  </a:cxn>
                  <a:cxn ang="0">
                    <a:pos x="3104" y="13251"/>
                  </a:cxn>
                  <a:cxn ang="0">
                    <a:pos x="2889" y="13072"/>
                  </a:cxn>
                  <a:cxn ang="0">
                    <a:pos x="2731" y="12840"/>
                  </a:cxn>
                  <a:cxn ang="0">
                    <a:pos x="2646" y="12567"/>
                  </a:cxn>
                  <a:cxn ang="0">
                    <a:pos x="2640" y="3397"/>
                  </a:cxn>
                  <a:cxn ang="0">
                    <a:pos x="2712" y="3119"/>
                  </a:cxn>
                  <a:cxn ang="0">
                    <a:pos x="2858" y="2879"/>
                  </a:cxn>
                  <a:cxn ang="0">
                    <a:pos x="3064" y="2691"/>
                  </a:cxn>
                  <a:cxn ang="0">
                    <a:pos x="3319" y="2568"/>
                  </a:cxn>
                  <a:cxn ang="0">
                    <a:pos x="3607" y="2525"/>
                  </a:cxn>
                  <a:cxn ang="0">
                    <a:pos x="12050" y="3336"/>
                  </a:cxn>
                  <a:cxn ang="0">
                    <a:pos x="12278" y="3421"/>
                  </a:cxn>
                  <a:cxn ang="0">
                    <a:pos x="12469" y="3563"/>
                  </a:cxn>
                  <a:cxn ang="0">
                    <a:pos x="12612" y="3754"/>
                  </a:cxn>
                  <a:cxn ang="0">
                    <a:pos x="12696" y="3983"/>
                  </a:cxn>
                  <a:cxn ang="0">
                    <a:pos x="12712" y="11809"/>
                  </a:cxn>
                  <a:cxn ang="0">
                    <a:pos x="12663" y="12051"/>
                  </a:cxn>
                  <a:cxn ang="0">
                    <a:pos x="12547" y="12262"/>
                  </a:cxn>
                  <a:cxn ang="0">
                    <a:pos x="12379" y="12431"/>
                  </a:cxn>
                  <a:cxn ang="0">
                    <a:pos x="12168" y="12546"/>
                  </a:cxn>
                  <a:cxn ang="0">
                    <a:pos x="11926" y="12595"/>
                  </a:cxn>
                  <a:cxn ang="0">
                    <a:pos x="4094" y="12579"/>
                  </a:cxn>
                  <a:cxn ang="0">
                    <a:pos x="3865" y="12496"/>
                  </a:cxn>
                  <a:cxn ang="0">
                    <a:pos x="3674" y="12353"/>
                  </a:cxn>
                  <a:cxn ang="0">
                    <a:pos x="3531" y="12162"/>
                  </a:cxn>
                  <a:cxn ang="0">
                    <a:pos x="3448" y="11934"/>
                  </a:cxn>
                  <a:cxn ang="0">
                    <a:pos x="3432" y="4106"/>
                  </a:cxn>
                  <a:cxn ang="0">
                    <a:pos x="3482" y="3865"/>
                  </a:cxn>
                  <a:cxn ang="0">
                    <a:pos x="3596" y="3654"/>
                  </a:cxn>
                  <a:cxn ang="0">
                    <a:pos x="3765" y="3485"/>
                  </a:cxn>
                  <a:cxn ang="0">
                    <a:pos x="3976" y="3370"/>
                  </a:cxn>
                  <a:cxn ang="0">
                    <a:pos x="4219" y="3320"/>
                  </a:cxn>
                  <a:cxn ang="0">
                    <a:pos x="3942" y="14186"/>
                  </a:cxn>
                  <a:cxn ang="0">
                    <a:pos x="7548" y="14186"/>
                  </a:cxn>
                  <a:cxn ang="0">
                    <a:pos x="10346" y="14186"/>
                  </a:cxn>
                  <a:cxn ang="0">
                    <a:pos x="12149" y="15960"/>
                  </a:cxn>
                  <a:cxn ang="0">
                    <a:pos x="0" y="3857"/>
                  </a:cxn>
                  <a:cxn ang="0">
                    <a:pos x="1775" y="5659"/>
                  </a:cxn>
                  <a:cxn ang="0">
                    <a:pos x="1775" y="9262"/>
                  </a:cxn>
                  <a:cxn ang="0">
                    <a:pos x="1775" y="12059"/>
                  </a:cxn>
                  <a:cxn ang="0">
                    <a:pos x="14470" y="4852"/>
                  </a:cxn>
                  <a:cxn ang="0">
                    <a:pos x="14470" y="5659"/>
                  </a:cxn>
                  <a:cxn ang="0">
                    <a:pos x="16245" y="7460"/>
                  </a:cxn>
                  <a:cxn ang="0">
                    <a:pos x="16245" y="11063"/>
                  </a:cxn>
                  <a:cxn ang="0">
                    <a:pos x="4938" y="0"/>
                  </a:cxn>
                  <a:cxn ang="0">
                    <a:pos x="6741" y="1774"/>
                  </a:cxn>
                  <a:cxn ang="0">
                    <a:pos x="7548" y="1774"/>
                  </a:cxn>
                  <a:cxn ang="0">
                    <a:pos x="9351" y="0"/>
                  </a:cxn>
                </a:cxnLst>
                <a:rect l="0" t="0" r="r" b="b"/>
                <a:pathLst>
                  <a:path w="16245" h="15960">
                    <a:moveTo>
                      <a:pt x="11153" y="0"/>
                    </a:moveTo>
                    <a:lnTo>
                      <a:pt x="12149" y="0"/>
                    </a:lnTo>
                    <a:lnTo>
                      <a:pt x="12149" y="1774"/>
                    </a:lnTo>
                    <a:lnTo>
                      <a:pt x="11153" y="1774"/>
                    </a:lnTo>
                    <a:lnTo>
                      <a:pt x="11153" y="0"/>
                    </a:lnTo>
                    <a:close/>
                    <a:moveTo>
                      <a:pt x="3607" y="2525"/>
                    </a:moveTo>
                    <a:lnTo>
                      <a:pt x="12537" y="2525"/>
                    </a:lnTo>
                    <a:lnTo>
                      <a:pt x="12586" y="2526"/>
                    </a:lnTo>
                    <a:lnTo>
                      <a:pt x="12636" y="2530"/>
                    </a:lnTo>
                    <a:lnTo>
                      <a:pt x="12684" y="2536"/>
                    </a:lnTo>
                    <a:lnTo>
                      <a:pt x="12732" y="2544"/>
                    </a:lnTo>
                    <a:lnTo>
                      <a:pt x="12779" y="2555"/>
                    </a:lnTo>
                    <a:lnTo>
                      <a:pt x="12824" y="2568"/>
                    </a:lnTo>
                    <a:lnTo>
                      <a:pt x="12870" y="2583"/>
                    </a:lnTo>
                    <a:lnTo>
                      <a:pt x="12914" y="2601"/>
                    </a:lnTo>
                    <a:lnTo>
                      <a:pt x="12957" y="2621"/>
                    </a:lnTo>
                    <a:lnTo>
                      <a:pt x="12999" y="2642"/>
                    </a:lnTo>
                    <a:lnTo>
                      <a:pt x="13040" y="2666"/>
                    </a:lnTo>
                    <a:lnTo>
                      <a:pt x="13079" y="2691"/>
                    </a:lnTo>
                    <a:lnTo>
                      <a:pt x="13117" y="2718"/>
                    </a:lnTo>
                    <a:lnTo>
                      <a:pt x="13154" y="2747"/>
                    </a:lnTo>
                    <a:lnTo>
                      <a:pt x="13189" y="2777"/>
                    </a:lnTo>
                    <a:lnTo>
                      <a:pt x="13223" y="2810"/>
                    </a:lnTo>
                    <a:lnTo>
                      <a:pt x="13256" y="2843"/>
                    </a:lnTo>
                    <a:lnTo>
                      <a:pt x="13286" y="2879"/>
                    </a:lnTo>
                    <a:lnTo>
                      <a:pt x="13315" y="2916"/>
                    </a:lnTo>
                    <a:lnTo>
                      <a:pt x="13342" y="2954"/>
                    </a:lnTo>
                    <a:lnTo>
                      <a:pt x="13368" y="2993"/>
                    </a:lnTo>
                    <a:lnTo>
                      <a:pt x="13391" y="3034"/>
                    </a:lnTo>
                    <a:lnTo>
                      <a:pt x="13412" y="3076"/>
                    </a:lnTo>
                    <a:lnTo>
                      <a:pt x="13433" y="3119"/>
                    </a:lnTo>
                    <a:lnTo>
                      <a:pt x="13450" y="3163"/>
                    </a:lnTo>
                    <a:lnTo>
                      <a:pt x="13465" y="3208"/>
                    </a:lnTo>
                    <a:lnTo>
                      <a:pt x="13478" y="3254"/>
                    </a:lnTo>
                    <a:lnTo>
                      <a:pt x="13489" y="3301"/>
                    </a:lnTo>
                    <a:lnTo>
                      <a:pt x="13498" y="3348"/>
                    </a:lnTo>
                    <a:lnTo>
                      <a:pt x="13504" y="3397"/>
                    </a:lnTo>
                    <a:lnTo>
                      <a:pt x="13508" y="3447"/>
                    </a:lnTo>
                    <a:lnTo>
                      <a:pt x="13509" y="3496"/>
                    </a:lnTo>
                    <a:lnTo>
                      <a:pt x="13509" y="12420"/>
                    </a:lnTo>
                    <a:lnTo>
                      <a:pt x="13508" y="12469"/>
                    </a:lnTo>
                    <a:lnTo>
                      <a:pt x="13504" y="12518"/>
                    </a:lnTo>
                    <a:lnTo>
                      <a:pt x="13498" y="12567"/>
                    </a:lnTo>
                    <a:lnTo>
                      <a:pt x="13489" y="12615"/>
                    </a:lnTo>
                    <a:lnTo>
                      <a:pt x="13478" y="12662"/>
                    </a:lnTo>
                    <a:lnTo>
                      <a:pt x="13465" y="12708"/>
                    </a:lnTo>
                    <a:lnTo>
                      <a:pt x="13450" y="12753"/>
                    </a:lnTo>
                    <a:lnTo>
                      <a:pt x="13433" y="12797"/>
                    </a:lnTo>
                    <a:lnTo>
                      <a:pt x="13412" y="12840"/>
                    </a:lnTo>
                    <a:lnTo>
                      <a:pt x="13391" y="12881"/>
                    </a:lnTo>
                    <a:lnTo>
                      <a:pt x="13368" y="12923"/>
                    </a:lnTo>
                    <a:lnTo>
                      <a:pt x="13342" y="12962"/>
                    </a:lnTo>
                    <a:lnTo>
                      <a:pt x="13315" y="13000"/>
                    </a:lnTo>
                    <a:lnTo>
                      <a:pt x="13286" y="13037"/>
                    </a:lnTo>
                    <a:lnTo>
                      <a:pt x="13256" y="13072"/>
                    </a:lnTo>
                    <a:lnTo>
                      <a:pt x="13223" y="13106"/>
                    </a:lnTo>
                    <a:lnTo>
                      <a:pt x="13189" y="13138"/>
                    </a:lnTo>
                    <a:lnTo>
                      <a:pt x="13154" y="13169"/>
                    </a:lnTo>
                    <a:lnTo>
                      <a:pt x="13117" y="13198"/>
                    </a:lnTo>
                    <a:lnTo>
                      <a:pt x="13079" y="13225"/>
                    </a:lnTo>
                    <a:lnTo>
                      <a:pt x="13040" y="13251"/>
                    </a:lnTo>
                    <a:lnTo>
                      <a:pt x="12999" y="13274"/>
                    </a:lnTo>
                    <a:lnTo>
                      <a:pt x="12957" y="13295"/>
                    </a:lnTo>
                    <a:lnTo>
                      <a:pt x="12914" y="13315"/>
                    </a:lnTo>
                    <a:lnTo>
                      <a:pt x="12870" y="13332"/>
                    </a:lnTo>
                    <a:lnTo>
                      <a:pt x="12824" y="13347"/>
                    </a:lnTo>
                    <a:lnTo>
                      <a:pt x="12779" y="13360"/>
                    </a:lnTo>
                    <a:lnTo>
                      <a:pt x="12732" y="13372"/>
                    </a:lnTo>
                    <a:lnTo>
                      <a:pt x="12684" y="13380"/>
                    </a:lnTo>
                    <a:lnTo>
                      <a:pt x="12636" y="13387"/>
                    </a:lnTo>
                    <a:lnTo>
                      <a:pt x="12586" y="13390"/>
                    </a:lnTo>
                    <a:lnTo>
                      <a:pt x="12537" y="13391"/>
                    </a:lnTo>
                    <a:lnTo>
                      <a:pt x="3607" y="13391"/>
                    </a:lnTo>
                    <a:lnTo>
                      <a:pt x="3558" y="13390"/>
                    </a:lnTo>
                    <a:lnTo>
                      <a:pt x="3509" y="13387"/>
                    </a:lnTo>
                    <a:lnTo>
                      <a:pt x="3460" y="13380"/>
                    </a:lnTo>
                    <a:lnTo>
                      <a:pt x="3412" y="13372"/>
                    </a:lnTo>
                    <a:lnTo>
                      <a:pt x="3365" y="13360"/>
                    </a:lnTo>
                    <a:lnTo>
                      <a:pt x="3319" y="13347"/>
                    </a:lnTo>
                    <a:lnTo>
                      <a:pt x="3273" y="13332"/>
                    </a:lnTo>
                    <a:lnTo>
                      <a:pt x="3230" y="13315"/>
                    </a:lnTo>
                    <a:lnTo>
                      <a:pt x="3187" y="13295"/>
                    </a:lnTo>
                    <a:lnTo>
                      <a:pt x="3144" y="13274"/>
                    </a:lnTo>
                    <a:lnTo>
                      <a:pt x="3104" y="13251"/>
                    </a:lnTo>
                    <a:lnTo>
                      <a:pt x="3064" y="13225"/>
                    </a:lnTo>
                    <a:lnTo>
                      <a:pt x="3027" y="13198"/>
                    </a:lnTo>
                    <a:lnTo>
                      <a:pt x="2990" y="13169"/>
                    </a:lnTo>
                    <a:lnTo>
                      <a:pt x="2955" y="13138"/>
                    </a:lnTo>
                    <a:lnTo>
                      <a:pt x="2921" y="13106"/>
                    </a:lnTo>
                    <a:lnTo>
                      <a:pt x="2889" y="13072"/>
                    </a:lnTo>
                    <a:lnTo>
                      <a:pt x="2858" y="13037"/>
                    </a:lnTo>
                    <a:lnTo>
                      <a:pt x="2829" y="13000"/>
                    </a:lnTo>
                    <a:lnTo>
                      <a:pt x="2801" y="12962"/>
                    </a:lnTo>
                    <a:lnTo>
                      <a:pt x="2776" y="12923"/>
                    </a:lnTo>
                    <a:lnTo>
                      <a:pt x="2753" y="12881"/>
                    </a:lnTo>
                    <a:lnTo>
                      <a:pt x="2731" y="12840"/>
                    </a:lnTo>
                    <a:lnTo>
                      <a:pt x="2712" y="12797"/>
                    </a:lnTo>
                    <a:lnTo>
                      <a:pt x="2694" y="12753"/>
                    </a:lnTo>
                    <a:lnTo>
                      <a:pt x="2678" y="12708"/>
                    </a:lnTo>
                    <a:lnTo>
                      <a:pt x="2665" y="12662"/>
                    </a:lnTo>
                    <a:lnTo>
                      <a:pt x="2655" y="12615"/>
                    </a:lnTo>
                    <a:lnTo>
                      <a:pt x="2646" y="12567"/>
                    </a:lnTo>
                    <a:lnTo>
                      <a:pt x="2640" y="12518"/>
                    </a:lnTo>
                    <a:lnTo>
                      <a:pt x="2637" y="12469"/>
                    </a:lnTo>
                    <a:lnTo>
                      <a:pt x="2635" y="12420"/>
                    </a:lnTo>
                    <a:lnTo>
                      <a:pt x="2635" y="3496"/>
                    </a:lnTo>
                    <a:lnTo>
                      <a:pt x="2637" y="3447"/>
                    </a:lnTo>
                    <a:lnTo>
                      <a:pt x="2640" y="3397"/>
                    </a:lnTo>
                    <a:lnTo>
                      <a:pt x="2646" y="3348"/>
                    </a:lnTo>
                    <a:lnTo>
                      <a:pt x="2655" y="3301"/>
                    </a:lnTo>
                    <a:lnTo>
                      <a:pt x="2665" y="3254"/>
                    </a:lnTo>
                    <a:lnTo>
                      <a:pt x="2678" y="3208"/>
                    </a:lnTo>
                    <a:lnTo>
                      <a:pt x="2694" y="3163"/>
                    </a:lnTo>
                    <a:lnTo>
                      <a:pt x="2712" y="3119"/>
                    </a:lnTo>
                    <a:lnTo>
                      <a:pt x="2731" y="3076"/>
                    </a:lnTo>
                    <a:lnTo>
                      <a:pt x="2753" y="3034"/>
                    </a:lnTo>
                    <a:lnTo>
                      <a:pt x="2776" y="2993"/>
                    </a:lnTo>
                    <a:lnTo>
                      <a:pt x="2801" y="2954"/>
                    </a:lnTo>
                    <a:lnTo>
                      <a:pt x="2829" y="2916"/>
                    </a:lnTo>
                    <a:lnTo>
                      <a:pt x="2858" y="2879"/>
                    </a:lnTo>
                    <a:lnTo>
                      <a:pt x="2889" y="2843"/>
                    </a:lnTo>
                    <a:lnTo>
                      <a:pt x="2921" y="2810"/>
                    </a:lnTo>
                    <a:lnTo>
                      <a:pt x="2955" y="2777"/>
                    </a:lnTo>
                    <a:lnTo>
                      <a:pt x="2990" y="2747"/>
                    </a:lnTo>
                    <a:lnTo>
                      <a:pt x="3027" y="2718"/>
                    </a:lnTo>
                    <a:lnTo>
                      <a:pt x="3064" y="2691"/>
                    </a:lnTo>
                    <a:lnTo>
                      <a:pt x="3104" y="2666"/>
                    </a:lnTo>
                    <a:lnTo>
                      <a:pt x="3144" y="2642"/>
                    </a:lnTo>
                    <a:lnTo>
                      <a:pt x="3187" y="2621"/>
                    </a:lnTo>
                    <a:lnTo>
                      <a:pt x="3230" y="2601"/>
                    </a:lnTo>
                    <a:lnTo>
                      <a:pt x="3273" y="2583"/>
                    </a:lnTo>
                    <a:lnTo>
                      <a:pt x="3319" y="2568"/>
                    </a:lnTo>
                    <a:lnTo>
                      <a:pt x="3365" y="2555"/>
                    </a:lnTo>
                    <a:lnTo>
                      <a:pt x="3412" y="2544"/>
                    </a:lnTo>
                    <a:lnTo>
                      <a:pt x="3460" y="2536"/>
                    </a:lnTo>
                    <a:lnTo>
                      <a:pt x="3509" y="2530"/>
                    </a:lnTo>
                    <a:lnTo>
                      <a:pt x="3558" y="2526"/>
                    </a:lnTo>
                    <a:lnTo>
                      <a:pt x="3607" y="2525"/>
                    </a:lnTo>
                    <a:close/>
                    <a:moveTo>
                      <a:pt x="4261" y="3319"/>
                    </a:moveTo>
                    <a:lnTo>
                      <a:pt x="11883" y="3319"/>
                    </a:lnTo>
                    <a:lnTo>
                      <a:pt x="11926" y="3320"/>
                    </a:lnTo>
                    <a:lnTo>
                      <a:pt x="11967" y="3324"/>
                    </a:lnTo>
                    <a:lnTo>
                      <a:pt x="12009" y="3329"/>
                    </a:lnTo>
                    <a:lnTo>
                      <a:pt x="12050" y="3336"/>
                    </a:lnTo>
                    <a:lnTo>
                      <a:pt x="12090" y="3345"/>
                    </a:lnTo>
                    <a:lnTo>
                      <a:pt x="12129" y="3357"/>
                    </a:lnTo>
                    <a:lnTo>
                      <a:pt x="12168" y="3370"/>
                    </a:lnTo>
                    <a:lnTo>
                      <a:pt x="12205" y="3385"/>
                    </a:lnTo>
                    <a:lnTo>
                      <a:pt x="12242" y="3402"/>
                    </a:lnTo>
                    <a:lnTo>
                      <a:pt x="12278" y="3421"/>
                    </a:lnTo>
                    <a:lnTo>
                      <a:pt x="12313" y="3440"/>
                    </a:lnTo>
                    <a:lnTo>
                      <a:pt x="12346" y="3462"/>
                    </a:lnTo>
                    <a:lnTo>
                      <a:pt x="12379" y="3485"/>
                    </a:lnTo>
                    <a:lnTo>
                      <a:pt x="12410" y="3510"/>
                    </a:lnTo>
                    <a:lnTo>
                      <a:pt x="12441" y="3535"/>
                    </a:lnTo>
                    <a:lnTo>
                      <a:pt x="12469" y="3563"/>
                    </a:lnTo>
                    <a:lnTo>
                      <a:pt x="12496" y="3592"/>
                    </a:lnTo>
                    <a:lnTo>
                      <a:pt x="12523" y="3622"/>
                    </a:lnTo>
                    <a:lnTo>
                      <a:pt x="12547" y="3654"/>
                    </a:lnTo>
                    <a:lnTo>
                      <a:pt x="12571" y="3686"/>
                    </a:lnTo>
                    <a:lnTo>
                      <a:pt x="12592" y="3720"/>
                    </a:lnTo>
                    <a:lnTo>
                      <a:pt x="12612" y="3754"/>
                    </a:lnTo>
                    <a:lnTo>
                      <a:pt x="12630" y="3791"/>
                    </a:lnTo>
                    <a:lnTo>
                      <a:pt x="12648" y="3827"/>
                    </a:lnTo>
                    <a:lnTo>
                      <a:pt x="12663" y="3865"/>
                    </a:lnTo>
                    <a:lnTo>
                      <a:pt x="12676" y="3903"/>
                    </a:lnTo>
                    <a:lnTo>
                      <a:pt x="12687" y="3942"/>
                    </a:lnTo>
                    <a:lnTo>
                      <a:pt x="12696" y="3983"/>
                    </a:lnTo>
                    <a:lnTo>
                      <a:pt x="12704" y="4023"/>
                    </a:lnTo>
                    <a:lnTo>
                      <a:pt x="12709" y="4065"/>
                    </a:lnTo>
                    <a:lnTo>
                      <a:pt x="12712" y="4106"/>
                    </a:lnTo>
                    <a:lnTo>
                      <a:pt x="12714" y="4149"/>
                    </a:lnTo>
                    <a:lnTo>
                      <a:pt x="12714" y="11766"/>
                    </a:lnTo>
                    <a:lnTo>
                      <a:pt x="12712" y="11809"/>
                    </a:lnTo>
                    <a:lnTo>
                      <a:pt x="12709" y="11852"/>
                    </a:lnTo>
                    <a:lnTo>
                      <a:pt x="12704" y="11893"/>
                    </a:lnTo>
                    <a:lnTo>
                      <a:pt x="12696" y="11934"/>
                    </a:lnTo>
                    <a:lnTo>
                      <a:pt x="12687" y="11973"/>
                    </a:lnTo>
                    <a:lnTo>
                      <a:pt x="12676" y="12013"/>
                    </a:lnTo>
                    <a:lnTo>
                      <a:pt x="12663" y="12051"/>
                    </a:lnTo>
                    <a:lnTo>
                      <a:pt x="12648" y="12089"/>
                    </a:lnTo>
                    <a:lnTo>
                      <a:pt x="12630" y="12126"/>
                    </a:lnTo>
                    <a:lnTo>
                      <a:pt x="12612" y="12162"/>
                    </a:lnTo>
                    <a:lnTo>
                      <a:pt x="12592" y="12197"/>
                    </a:lnTo>
                    <a:lnTo>
                      <a:pt x="12571" y="12230"/>
                    </a:lnTo>
                    <a:lnTo>
                      <a:pt x="12547" y="12262"/>
                    </a:lnTo>
                    <a:lnTo>
                      <a:pt x="12523" y="12294"/>
                    </a:lnTo>
                    <a:lnTo>
                      <a:pt x="12496" y="12323"/>
                    </a:lnTo>
                    <a:lnTo>
                      <a:pt x="12469" y="12353"/>
                    </a:lnTo>
                    <a:lnTo>
                      <a:pt x="12441" y="12380"/>
                    </a:lnTo>
                    <a:lnTo>
                      <a:pt x="12410" y="12407"/>
                    </a:lnTo>
                    <a:lnTo>
                      <a:pt x="12379" y="12431"/>
                    </a:lnTo>
                    <a:lnTo>
                      <a:pt x="12346" y="12454"/>
                    </a:lnTo>
                    <a:lnTo>
                      <a:pt x="12313" y="12476"/>
                    </a:lnTo>
                    <a:lnTo>
                      <a:pt x="12278" y="12496"/>
                    </a:lnTo>
                    <a:lnTo>
                      <a:pt x="12242" y="12514"/>
                    </a:lnTo>
                    <a:lnTo>
                      <a:pt x="12205" y="12530"/>
                    </a:lnTo>
                    <a:lnTo>
                      <a:pt x="12168" y="12546"/>
                    </a:lnTo>
                    <a:lnTo>
                      <a:pt x="12129" y="12559"/>
                    </a:lnTo>
                    <a:lnTo>
                      <a:pt x="12090" y="12570"/>
                    </a:lnTo>
                    <a:lnTo>
                      <a:pt x="12050" y="12579"/>
                    </a:lnTo>
                    <a:lnTo>
                      <a:pt x="12009" y="12587"/>
                    </a:lnTo>
                    <a:lnTo>
                      <a:pt x="11967" y="12592"/>
                    </a:lnTo>
                    <a:lnTo>
                      <a:pt x="11926" y="12595"/>
                    </a:lnTo>
                    <a:lnTo>
                      <a:pt x="11883" y="12596"/>
                    </a:lnTo>
                    <a:lnTo>
                      <a:pt x="4261" y="12596"/>
                    </a:lnTo>
                    <a:lnTo>
                      <a:pt x="4219" y="12595"/>
                    </a:lnTo>
                    <a:lnTo>
                      <a:pt x="4176" y="12592"/>
                    </a:lnTo>
                    <a:lnTo>
                      <a:pt x="4134" y="12587"/>
                    </a:lnTo>
                    <a:lnTo>
                      <a:pt x="4094" y="12579"/>
                    </a:lnTo>
                    <a:lnTo>
                      <a:pt x="4054" y="12570"/>
                    </a:lnTo>
                    <a:lnTo>
                      <a:pt x="4015" y="12559"/>
                    </a:lnTo>
                    <a:lnTo>
                      <a:pt x="3976" y="12546"/>
                    </a:lnTo>
                    <a:lnTo>
                      <a:pt x="3938" y="12530"/>
                    </a:lnTo>
                    <a:lnTo>
                      <a:pt x="3902" y="12514"/>
                    </a:lnTo>
                    <a:lnTo>
                      <a:pt x="3865" y="12496"/>
                    </a:lnTo>
                    <a:lnTo>
                      <a:pt x="3831" y="12476"/>
                    </a:lnTo>
                    <a:lnTo>
                      <a:pt x="3797" y="12454"/>
                    </a:lnTo>
                    <a:lnTo>
                      <a:pt x="3765" y="12431"/>
                    </a:lnTo>
                    <a:lnTo>
                      <a:pt x="3733" y="12407"/>
                    </a:lnTo>
                    <a:lnTo>
                      <a:pt x="3703" y="12380"/>
                    </a:lnTo>
                    <a:lnTo>
                      <a:pt x="3674" y="12353"/>
                    </a:lnTo>
                    <a:lnTo>
                      <a:pt x="3647" y="12323"/>
                    </a:lnTo>
                    <a:lnTo>
                      <a:pt x="3621" y="12294"/>
                    </a:lnTo>
                    <a:lnTo>
                      <a:pt x="3596" y="12262"/>
                    </a:lnTo>
                    <a:lnTo>
                      <a:pt x="3573" y="12230"/>
                    </a:lnTo>
                    <a:lnTo>
                      <a:pt x="3552" y="12197"/>
                    </a:lnTo>
                    <a:lnTo>
                      <a:pt x="3531" y="12162"/>
                    </a:lnTo>
                    <a:lnTo>
                      <a:pt x="3513" y="12126"/>
                    </a:lnTo>
                    <a:lnTo>
                      <a:pt x="3496" y="12089"/>
                    </a:lnTo>
                    <a:lnTo>
                      <a:pt x="3482" y="12051"/>
                    </a:lnTo>
                    <a:lnTo>
                      <a:pt x="3468" y="12013"/>
                    </a:lnTo>
                    <a:lnTo>
                      <a:pt x="3457" y="11973"/>
                    </a:lnTo>
                    <a:lnTo>
                      <a:pt x="3448" y="11934"/>
                    </a:lnTo>
                    <a:lnTo>
                      <a:pt x="3440" y="11893"/>
                    </a:lnTo>
                    <a:lnTo>
                      <a:pt x="3435" y="11852"/>
                    </a:lnTo>
                    <a:lnTo>
                      <a:pt x="3432" y="11809"/>
                    </a:lnTo>
                    <a:lnTo>
                      <a:pt x="3431" y="11766"/>
                    </a:lnTo>
                    <a:lnTo>
                      <a:pt x="3431" y="4149"/>
                    </a:lnTo>
                    <a:lnTo>
                      <a:pt x="3432" y="4106"/>
                    </a:lnTo>
                    <a:lnTo>
                      <a:pt x="3435" y="4065"/>
                    </a:lnTo>
                    <a:lnTo>
                      <a:pt x="3440" y="4023"/>
                    </a:lnTo>
                    <a:lnTo>
                      <a:pt x="3448" y="3983"/>
                    </a:lnTo>
                    <a:lnTo>
                      <a:pt x="3457" y="3942"/>
                    </a:lnTo>
                    <a:lnTo>
                      <a:pt x="3468" y="3903"/>
                    </a:lnTo>
                    <a:lnTo>
                      <a:pt x="3482" y="3865"/>
                    </a:lnTo>
                    <a:lnTo>
                      <a:pt x="3496" y="3827"/>
                    </a:lnTo>
                    <a:lnTo>
                      <a:pt x="3513" y="3791"/>
                    </a:lnTo>
                    <a:lnTo>
                      <a:pt x="3531" y="3754"/>
                    </a:lnTo>
                    <a:lnTo>
                      <a:pt x="3552" y="3720"/>
                    </a:lnTo>
                    <a:lnTo>
                      <a:pt x="3573" y="3686"/>
                    </a:lnTo>
                    <a:lnTo>
                      <a:pt x="3596" y="3654"/>
                    </a:lnTo>
                    <a:lnTo>
                      <a:pt x="3621" y="3622"/>
                    </a:lnTo>
                    <a:lnTo>
                      <a:pt x="3647" y="3592"/>
                    </a:lnTo>
                    <a:lnTo>
                      <a:pt x="3674" y="3563"/>
                    </a:lnTo>
                    <a:lnTo>
                      <a:pt x="3703" y="3535"/>
                    </a:lnTo>
                    <a:lnTo>
                      <a:pt x="3733" y="3510"/>
                    </a:lnTo>
                    <a:lnTo>
                      <a:pt x="3765" y="3485"/>
                    </a:lnTo>
                    <a:lnTo>
                      <a:pt x="3797" y="3462"/>
                    </a:lnTo>
                    <a:lnTo>
                      <a:pt x="3831" y="3440"/>
                    </a:lnTo>
                    <a:lnTo>
                      <a:pt x="3865" y="3421"/>
                    </a:lnTo>
                    <a:lnTo>
                      <a:pt x="3902" y="3402"/>
                    </a:lnTo>
                    <a:lnTo>
                      <a:pt x="3938" y="3385"/>
                    </a:lnTo>
                    <a:lnTo>
                      <a:pt x="3976" y="3370"/>
                    </a:lnTo>
                    <a:lnTo>
                      <a:pt x="4015" y="3357"/>
                    </a:lnTo>
                    <a:lnTo>
                      <a:pt x="4054" y="3345"/>
                    </a:lnTo>
                    <a:lnTo>
                      <a:pt x="4094" y="3336"/>
                    </a:lnTo>
                    <a:lnTo>
                      <a:pt x="4134" y="3329"/>
                    </a:lnTo>
                    <a:lnTo>
                      <a:pt x="4176" y="3324"/>
                    </a:lnTo>
                    <a:lnTo>
                      <a:pt x="4219" y="3320"/>
                    </a:lnTo>
                    <a:lnTo>
                      <a:pt x="4261" y="3319"/>
                    </a:lnTo>
                    <a:close/>
                    <a:moveTo>
                      <a:pt x="3942" y="14186"/>
                    </a:moveTo>
                    <a:lnTo>
                      <a:pt x="4938" y="14186"/>
                    </a:lnTo>
                    <a:lnTo>
                      <a:pt x="4938" y="15960"/>
                    </a:lnTo>
                    <a:lnTo>
                      <a:pt x="3942" y="15960"/>
                    </a:lnTo>
                    <a:lnTo>
                      <a:pt x="3942" y="14186"/>
                    </a:lnTo>
                    <a:close/>
                    <a:moveTo>
                      <a:pt x="5745" y="14186"/>
                    </a:moveTo>
                    <a:lnTo>
                      <a:pt x="6741" y="14186"/>
                    </a:lnTo>
                    <a:lnTo>
                      <a:pt x="6741" y="15960"/>
                    </a:lnTo>
                    <a:lnTo>
                      <a:pt x="5745" y="15960"/>
                    </a:lnTo>
                    <a:lnTo>
                      <a:pt x="5745" y="14186"/>
                    </a:lnTo>
                    <a:close/>
                    <a:moveTo>
                      <a:pt x="7548" y="14186"/>
                    </a:moveTo>
                    <a:lnTo>
                      <a:pt x="8544" y="14186"/>
                    </a:lnTo>
                    <a:lnTo>
                      <a:pt x="8544" y="15960"/>
                    </a:lnTo>
                    <a:lnTo>
                      <a:pt x="7548" y="15960"/>
                    </a:lnTo>
                    <a:lnTo>
                      <a:pt x="7548" y="14186"/>
                    </a:lnTo>
                    <a:close/>
                    <a:moveTo>
                      <a:pt x="9351" y="14186"/>
                    </a:moveTo>
                    <a:lnTo>
                      <a:pt x="10346" y="14186"/>
                    </a:lnTo>
                    <a:lnTo>
                      <a:pt x="10346" y="15960"/>
                    </a:lnTo>
                    <a:lnTo>
                      <a:pt x="9351" y="15960"/>
                    </a:lnTo>
                    <a:lnTo>
                      <a:pt x="9351" y="14186"/>
                    </a:lnTo>
                    <a:close/>
                    <a:moveTo>
                      <a:pt x="11153" y="14186"/>
                    </a:moveTo>
                    <a:lnTo>
                      <a:pt x="12149" y="14186"/>
                    </a:lnTo>
                    <a:lnTo>
                      <a:pt x="12149" y="15960"/>
                    </a:lnTo>
                    <a:lnTo>
                      <a:pt x="11153" y="15960"/>
                    </a:lnTo>
                    <a:lnTo>
                      <a:pt x="11153" y="14186"/>
                    </a:lnTo>
                    <a:close/>
                    <a:moveTo>
                      <a:pt x="1775" y="3857"/>
                    </a:moveTo>
                    <a:lnTo>
                      <a:pt x="1775" y="4852"/>
                    </a:lnTo>
                    <a:lnTo>
                      <a:pt x="0" y="4852"/>
                    </a:lnTo>
                    <a:lnTo>
                      <a:pt x="0" y="3857"/>
                    </a:lnTo>
                    <a:lnTo>
                      <a:pt x="1775" y="3857"/>
                    </a:lnTo>
                    <a:close/>
                    <a:moveTo>
                      <a:pt x="1775" y="5659"/>
                    </a:moveTo>
                    <a:lnTo>
                      <a:pt x="1775" y="6653"/>
                    </a:lnTo>
                    <a:lnTo>
                      <a:pt x="0" y="6653"/>
                    </a:lnTo>
                    <a:lnTo>
                      <a:pt x="0" y="5659"/>
                    </a:lnTo>
                    <a:lnTo>
                      <a:pt x="1775" y="5659"/>
                    </a:lnTo>
                    <a:close/>
                    <a:moveTo>
                      <a:pt x="1775" y="7460"/>
                    </a:moveTo>
                    <a:lnTo>
                      <a:pt x="1775" y="8455"/>
                    </a:lnTo>
                    <a:lnTo>
                      <a:pt x="0" y="8455"/>
                    </a:lnTo>
                    <a:lnTo>
                      <a:pt x="0" y="7460"/>
                    </a:lnTo>
                    <a:lnTo>
                      <a:pt x="1775" y="7460"/>
                    </a:lnTo>
                    <a:close/>
                    <a:moveTo>
                      <a:pt x="1775" y="9262"/>
                    </a:moveTo>
                    <a:lnTo>
                      <a:pt x="1775" y="10256"/>
                    </a:lnTo>
                    <a:lnTo>
                      <a:pt x="0" y="10256"/>
                    </a:lnTo>
                    <a:lnTo>
                      <a:pt x="0" y="9262"/>
                    </a:lnTo>
                    <a:lnTo>
                      <a:pt x="1775" y="9262"/>
                    </a:lnTo>
                    <a:close/>
                    <a:moveTo>
                      <a:pt x="1775" y="11063"/>
                    </a:moveTo>
                    <a:lnTo>
                      <a:pt x="1775" y="12059"/>
                    </a:lnTo>
                    <a:lnTo>
                      <a:pt x="0" y="12059"/>
                    </a:lnTo>
                    <a:lnTo>
                      <a:pt x="0" y="11063"/>
                    </a:lnTo>
                    <a:lnTo>
                      <a:pt x="1775" y="11063"/>
                    </a:lnTo>
                    <a:close/>
                    <a:moveTo>
                      <a:pt x="16245" y="3857"/>
                    </a:moveTo>
                    <a:lnTo>
                      <a:pt x="16245" y="4852"/>
                    </a:lnTo>
                    <a:lnTo>
                      <a:pt x="14470" y="4852"/>
                    </a:lnTo>
                    <a:lnTo>
                      <a:pt x="14470" y="3857"/>
                    </a:lnTo>
                    <a:lnTo>
                      <a:pt x="16245" y="3857"/>
                    </a:lnTo>
                    <a:close/>
                    <a:moveTo>
                      <a:pt x="16245" y="5659"/>
                    </a:moveTo>
                    <a:lnTo>
                      <a:pt x="16245" y="6653"/>
                    </a:lnTo>
                    <a:lnTo>
                      <a:pt x="14470" y="6653"/>
                    </a:lnTo>
                    <a:lnTo>
                      <a:pt x="14470" y="5659"/>
                    </a:lnTo>
                    <a:lnTo>
                      <a:pt x="16245" y="5659"/>
                    </a:lnTo>
                    <a:close/>
                    <a:moveTo>
                      <a:pt x="16245" y="7460"/>
                    </a:moveTo>
                    <a:lnTo>
                      <a:pt x="16245" y="8455"/>
                    </a:lnTo>
                    <a:lnTo>
                      <a:pt x="14470" y="8455"/>
                    </a:lnTo>
                    <a:lnTo>
                      <a:pt x="14470" y="7460"/>
                    </a:lnTo>
                    <a:lnTo>
                      <a:pt x="16245" y="7460"/>
                    </a:lnTo>
                    <a:close/>
                    <a:moveTo>
                      <a:pt x="16245" y="9262"/>
                    </a:moveTo>
                    <a:lnTo>
                      <a:pt x="16245" y="10256"/>
                    </a:lnTo>
                    <a:lnTo>
                      <a:pt x="14470" y="10256"/>
                    </a:lnTo>
                    <a:lnTo>
                      <a:pt x="14470" y="9262"/>
                    </a:lnTo>
                    <a:lnTo>
                      <a:pt x="16245" y="9262"/>
                    </a:lnTo>
                    <a:close/>
                    <a:moveTo>
                      <a:pt x="16245" y="11063"/>
                    </a:moveTo>
                    <a:lnTo>
                      <a:pt x="16245" y="12059"/>
                    </a:lnTo>
                    <a:lnTo>
                      <a:pt x="14470" y="12059"/>
                    </a:lnTo>
                    <a:lnTo>
                      <a:pt x="14470" y="11063"/>
                    </a:lnTo>
                    <a:lnTo>
                      <a:pt x="16245" y="11063"/>
                    </a:lnTo>
                    <a:close/>
                    <a:moveTo>
                      <a:pt x="3942" y="0"/>
                    </a:moveTo>
                    <a:lnTo>
                      <a:pt x="4938" y="0"/>
                    </a:lnTo>
                    <a:lnTo>
                      <a:pt x="4938" y="1774"/>
                    </a:lnTo>
                    <a:lnTo>
                      <a:pt x="3942" y="1774"/>
                    </a:lnTo>
                    <a:lnTo>
                      <a:pt x="3942" y="0"/>
                    </a:lnTo>
                    <a:close/>
                    <a:moveTo>
                      <a:pt x="5745" y="0"/>
                    </a:moveTo>
                    <a:lnTo>
                      <a:pt x="6741" y="0"/>
                    </a:lnTo>
                    <a:lnTo>
                      <a:pt x="6741" y="1774"/>
                    </a:lnTo>
                    <a:lnTo>
                      <a:pt x="5745" y="1774"/>
                    </a:lnTo>
                    <a:lnTo>
                      <a:pt x="5745" y="0"/>
                    </a:lnTo>
                    <a:close/>
                    <a:moveTo>
                      <a:pt x="7548" y="0"/>
                    </a:moveTo>
                    <a:lnTo>
                      <a:pt x="8544" y="0"/>
                    </a:lnTo>
                    <a:lnTo>
                      <a:pt x="8544" y="1774"/>
                    </a:lnTo>
                    <a:lnTo>
                      <a:pt x="7548" y="1774"/>
                    </a:lnTo>
                    <a:lnTo>
                      <a:pt x="7548" y="0"/>
                    </a:lnTo>
                    <a:close/>
                    <a:moveTo>
                      <a:pt x="9351" y="0"/>
                    </a:moveTo>
                    <a:lnTo>
                      <a:pt x="10346" y="0"/>
                    </a:lnTo>
                    <a:lnTo>
                      <a:pt x="10346" y="1774"/>
                    </a:lnTo>
                    <a:lnTo>
                      <a:pt x="9351" y="1774"/>
                    </a:lnTo>
                    <a:lnTo>
                      <a:pt x="9351" y="0"/>
                    </a:ln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zh-CN" altLang="en-US" sz="1799">
                  <a:solidFill>
                    <a:schemeClr val="bg1"/>
                  </a:solidFill>
                  <a:latin typeface="微软雅黑" panose="020B0503020204020204" pitchFamily="34" charset="-122"/>
                  <a:ea typeface="微软雅黑" panose="020B0503020204020204" pitchFamily="34" charset="-122"/>
                  <a:sym typeface="Arial"/>
                </a:endParaRPr>
              </a:p>
            </p:txBody>
          </p:sp>
          <p:sp>
            <p:nvSpPr>
              <p:cNvPr id="265" name="Freeform 73"/>
              <p:cNvSpPr>
                <a:spLocks noEditPoints="1"/>
              </p:cNvSpPr>
              <p:nvPr/>
            </p:nvSpPr>
            <p:spPr bwMode="black">
              <a:xfrm>
                <a:off x="10116848" y="3480352"/>
                <a:ext cx="270527" cy="2340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gradFill flip="none" rotWithShape="1">
                <a:gsLst>
                  <a:gs pos="0">
                    <a:srgbClr val="1F7ABF"/>
                  </a:gs>
                  <a:gs pos="100000">
                    <a:srgbClr val="1B6A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endParaRPr lang="en-US" altLang="en-US" sz="1799" dirty="0">
                  <a:solidFill>
                    <a:schemeClr val="bg1"/>
                  </a:solidFill>
                  <a:latin typeface="微软雅黑" panose="020B0503020204020204" pitchFamily="34" charset="-122"/>
                  <a:ea typeface="微软雅黑" panose="020B0503020204020204" pitchFamily="34" charset="-122"/>
                  <a:sym typeface="Arial"/>
                </a:endParaRPr>
              </a:p>
            </p:txBody>
          </p:sp>
        </p:grpSp>
        <p:sp>
          <p:nvSpPr>
            <p:cNvPr id="258" name="TextBox 30"/>
            <p:cNvSpPr txBox="1"/>
            <p:nvPr/>
          </p:nvSpPr>
          <p:spPr>
            <a:xfrm>
              <a:off x="10145288" y="2375612"/>
              <a:ext cx="297287" cy="164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77" algn="ctr" defTabSz="2560155" fontAlgn="ctr">
                <a:buClr>
                  <a:srgbClr val="990000"/>
                </a:buClr>
                <a:buSzPct val="60000"/>
                <a:defRPr/>
              </a:pPr>
              <a:r>
                <a:rPr lang="en-US" altLang="zh-CN" sz="600" dirty="0">
                  <a:solidFill>
                    <a:schemeClr val="bg1"/>
                  </a:solidFill>
                  <a:latin typeface="微软雅黑" panose="020B0503020204020204" pitchFamily="34" charset="-122"/>
                  <a:ea typeface="微软雅黑" panose="020B0503020204020204" pitchFamily="34" charset="-122"/>
                  <a:sym typeface="Arial"/>
                </a:rPr>
                <a:t>PP</a:t>
              </a:r>
              <a:endParaRPr lang="zh-CN" altLang="en-US" sz="600" dirty="0">
                <a:solidFill>
                  <a:schemeClr val="bg1"/>
                </a:solidFill>
                <a:latin typeface="微软雅黑" panose="020B0503020204020204" pitchFamily="34" charset="-122"/>
                <a:ea typeface="微软雅黑" panose="020B0503020204020204" pitchFamily="34" charset="-122"/>
                <a:sym typeface="Arial"/>
              </a:endParaRPr>
            </a:p>
          </p:txBody>
        </p:sp>
      </p:grpSp>
      <p:sp>
        <p:nvSpPr>
          <p:cNvPr id="266" name="矩形 265"/>
          <p:cNvSpPr/>
          <p:nvPr/>
        </p:nvSpPr>
        <p:spPr>
          <a:xfrm>
            <a:off x="676216" y="278450"/>
            <a:ext cx="10729191" cy="523220"/>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rPr>
              <a:t>End-to-</a:t>
            </a:r>
            <a:r>
              <a:rPr lang="en-US" altLang="zh-CN" sz="2800" b="1" dirty="0" smtClean="0">
                <a:solidFill>
                  <a:srgbClr val="00B050"/>
                </a:solidFill>
                <a:effectLst>
                  <a:outerShdw blurRad="38100" dist="38100" dir="2700000" algn="tl">
                    <a:srgbClr val="000000">
                      <a:alpha val="43137"/>
                    </a:srgbClr>
                  </a:outerShdw>
                </a:effectLst>
              </a:rPr>
              <a:t>E</a:t>
            </a:r>
            <a:r>
              <a:rPr lang="zh-CN" altLang="en-US" sz="2800" b="1" dirty="0" smtClean="0">
                <a:solidFill>
                  <a:srgbClr val="00B050"/>
                </a:solidFill>
                <a:effectLst>
                  <a:outerShdw blurRad="38100" dist="38100" dir="2700000" algn="tl">
                    <a:srgbClr val="000000">
                      <a:alpha val="43137"/>
                    </a:srgbClr>
                  </a:outerShdw>
                </a:effectLst>
              </a:rPr>
              <a:t>nd </a:t>
            </a:r>
            <a:r>
              <a:rPr lang="zh-CN" altLang="en-US" sz="2800" b="1" dirty="0" smtClean="0">
                <a:solidFill>
                  <a:schemeClr val="bg1"/>
                </a:solidFill>
                <a:effectLst>
                  <a:outerShdw blurRad="38100" dist="38100" dir="2700000" algn="tl">
                    <a:srgbClr val="000000">
                      <a:alpha val="43137"/>
                    </a:srgbClr>
                  </a:outerShdw>
                </a:effectLst>
              </a:rPr>
              <a:t>Security Solution, </a:t>
            </a:r>
            <a:r>
              <a:rPr lang="zh-CN" altLang="en-US" sz="2800" b="1" dirty="0" smtClean="0">
                <a:solidFill>
                  <a:srgbClr val="FFC000"/>
                </a:solidFill>
                <a:effectLst>
                  <a:outerShdw blurRad="38100" dist="38100" dir="2700000" algn="tl">
                    <a:srgbClr val="000000">
                      <a:alpha val="43137"/>
                    </a:srgbClr>
                  </a:outerShdw>
                </a:effectLst>
              </a:rPr>
              <a:t>Ensuring IoT Data Security</a:t>
            </a:r>
            <a:endParaRPr lang="zh-CN" altLang="en-US" sz="2800" b="1" dirty="0">
              <a:solidFill>
                <a:srgbClr val="FFC000"/>
              </a:solidFill>
              <a:effectLst>
                <a:outerShdw blurRad="38100" dist="38100" dir="2700000" algn="tl">
                  <a:srgbClr val="000000">
                    <a:alpha val="43137"/>
                  </a:srgbClr>
                </a:outerShdw>
              </a:effectLst>
            </a:endParaRPr>
          </a:p>
        </p:txBody>
      </p:sp>
      <p:sp>
        <p:nvSpPr>
          <p:cNvPr id="267" name="TextBox 266"/>
          <p:cNvSpPr txBox="1"/>
          <p:nvPr/>
        </p:nvSpPr>
        <p:spPr>
          <a:xfrm>
            <a:off x="621211" y="1413570"/>
            <a:ext cx="2760861" cy="303397"/>
          </a:xfrm>
          <a:prstGeom prst="rect">
            <a:avLst/>
          </a:prstGeom>
          <a:gradFill flip="none" rotWithShape="1">
            <a:gsLst>
              <a:gs pos="68000">
                <a:srgbClr val="00ADED">
                  <a:alpha val="0"/>
                </a:srgbClr>
              </a:gs>
              <a:gs pos="100000">
                <a:srgbClr val="00B0F0">
                  <a:alpha val="41000"/>
                </a:srgbClr>
              </a:gs>
            </a:gsLst>
            <a:path path="rect">
              <a:fillToRect l="50000" t="50000" r="50000" b="50000"/>
            </a:path>
            <a:tileRect/>
          </a:gradFill>
          <a:ln w="9525">
            <a:solidFill>
              <a:srgbClr val="00ADED"/>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itchFamily="2" charset="2"/>
              <a:buNone/>
              <a:defRPr sz="1800" b="1">
                <a:solidFill>
                  <a:srgbClr val="FFFFFF"/>
                </a:solidFill>
                <a:latin typeface="FrutigerNext LT Regular"/>
                <a:ea typeface="宋体"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60155"/>
            <a:r>
              <a:rPr lang="zh-CN" altLang="en-US" sz="1400" dirty="0" smtClean="0">
                <a:solidFill>
                  <a:schemeClr val="bg1"/>
                </a:solidFill>
                <a:latin typeface="微软雅黑" panose="020B0503020204020204" pitchFamily="34" charset="-122"/>
                <a:ea typeface="微软雅黑" panose="020B0503020204020204" pitchFamily="34" charset="-122"/>
                <a:cs typeface="Arial" pitchFamily="34" charset="0"/>
              </a:rPr>
              <a:t>Sensor Control Layer</a:t>
            </a:r>
            <a:endParaRPr lang="zh-CN" altLang="en-US" sz="14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268" name="TextBox 267"/>
          <p:cNvSpPr txBox="1"/>
          <p:nvPr/>
        </p:nvSpPr>
        <p:spPr>
          <a:xfrm>
            <a:off x="3433291" y="1413570"/>
            <a:ext cx="4400967" cy="303397"/>
          </a:xfrm>
          <a:prstGeom prst="rect">
            <a:avLst/>
          </a:prstGeom>
          <a:gradFill flip="none" rotWithShape="1">
            <a:gsLst>
              <a:gs pos="68000">
                <a:srgbClr val="00ADED">
                  <a:alpha val="0"/>
                </a:srgbClr>
              </a:gs>
              <a:gs pos="100000">
                <a:srgbClr val="00B0F0">
                  <a:alpha val="41000"/>
                </a:srgbClr>
              </a:gs>
            </a:gsLst>
            <a:path path="rect">
              <a:fillToRect l="50000" t="50000" r="50000" b="50000"/>
            </a:path>
            <a:tileRect/>
          </a:gradFill>
          <a:ln w="9525">
            <a:solidFill>
              <a:srgbClr val="00ADED"/>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itchFamily="2" charset="2"/>
              <a:buNone/>
              <a:defRPr sz="1800" b="1">
                <a:solidFill>
                  <a:srgbClr val="FFFFFF"/>
                </a:solidFill>
                <a:latin typeface="FrutigerNext LT Regular"/>
                <a:ea typeface="宋体"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60155"/>
            <a:r>
              <a:rPr lang="zh-CN" altLang="en-US" sz="1400" dirty="0" smtClean="0">
                <a:solidFill>
                  <a:schemeClr val="bg1"/>
                </a:solidFill>
                <a:latin typeface="微软雅黑" panose="020B0503020204020204" pitchFamily="34" charset="-122"/>
                <a:ea typeface="微软雅黑" panose="020B0503020204020204" pitchFamily="34" charset="-122"/>
                <a:cs typeface="Arial" pitchFamily="34" charset="0"/>
              </a:rPr>
              <a:t>Network Layer</a:t>
            </a:r>
            <a:endParaRPr lang="zh-CN" altLang="en-US" sz="14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269" name="TextBox 268"/>
          <p:cNvSpPr txBox="1"/>
          <p:nvPr/>
        </p:nvSpPr>
        <p:spPr>
          <a:xfrm>
            <a:off x="7905799" y="1413570"/>
            <a:ext cx="3669189" cy="303397"/>
          </a:xfrm>
          <a:prstGeom prst="rect">
            <a:avLst/>
          </a:prstGeom>
          <a:gradFill flip="none" rotWithShape="1">
            <a:gsLst>
              <a:gs pos="68000">
                <a:srgbClr val="00ADED">
                  <a:alpha val="0"/>
                </a:srgbClr>
              </a:gs>
              <a:gs pos="100000">
                <a:srgbClr val="00B0F0">
                  <a:alpha val="41000"/>
                </a:srgbClr>
              </a:gs>
            </a:gsLst>
            <a:path path="rect">
              <a:fillToRect l="50000" t="50000" r="50000" b="50000"/>
            </a:path>
            <a:tileRect/>
          </a:gradFill>
          <a:ln w="9525">
            <a:solidFill>
              <a:srgbClr val="00ADED"/>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wrap="none" anchor="ctr" anchorCtr="1"/>
          <a:lstStyle>
            <a:defPPr>
              <a:defRPr lang="zh-CN"/>
            </a:defPPr>
            <a:lvl1pPr algn="ctr">
              <a:spcBef>
                <a:spcPct val="50000"/>
              </a:spcBef>
              <a:buClr>
                <a:srgbClr val="CC9900"/>
              </a:buClr>
              <a:buFont typeface="Wingdings" pitchFamily="2" charset="2"/>
              <a:buNone/>
              <a:defRPr sz="1800" b="1">
                <a:solidFill>
                  <a:srgbClr val="FFFFFF"/>
                </a:solidFill>
                <a:latin typeface="FrutigerNext LT Regular"/>
                <a:ea typeface="宋体"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2560155"/>
            <a:r>
              <a:rPr lang="zh-CN" altLang="en-US" sz="1400" dirty="0" smtClean="0">
                <a:solidFill>
                  <a:schemeClr val="bg1"/>
                </a:solidFill>
                <a:latin typeface="微软雅黑" panose="020B0503020204020204" pitchFamily="34" charset="-122"/>
                <a:ea typeface="微软雅黑" panose="020B0503020204020204" pitchFamily="34" charset="-122"/>
                <a:cs typeface="Arial" pitchFamily="34" charset="0"/>
              </a:rPr>
              <a:t>Platform Layer</a:t>
            </a:r>
            <a:endParaRPr lang="zh-CN" altLang="en-US" sz="1400"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135" name="矩形 242"/>
          <p:cNvSpPr/>
          <p:nvPr/>
        </p:nvSpPr>
        <p:spPr>
          <a:xfrm>
            <a:off x="3675898" y="4848521"/>
            <a:ext cx="2307517" cy="830997"/>
          </a:xfrm>
          <a:prstGeom prst="rect">
            <a:avLst/>
          </a:prstGeom>
        </p:spPr>
        <p:txBody>
          <a:bodyPr wrap="square">
            <a:spAutoFit/>
          </a:bodyPr>
          <a:lstStyle/>
          <a:p>
            <a:pPr marL="285721" indent="-285721">
              <a:buClr>
                <a:schemeClr val="bg1"/>
              </a:buClr>
              <a:buFont typeface="Wingdings" panose="05000000000000000000" pitchFamily="2" charset="2"/>
              <a:buChar char="l"/>
            </a:pPr>
            <a:r>
              <a:rPr lang="zh-CN" altLang="en-US" sz="1200" dirty="0" smtClean="0">
                <a:solidFill>
                  <a:schemeClr val="bg1"/>
                </a:solidFill>
                <a:latin typeface="微软雅黑" panose="020B0503020204020204" pitchFamily="34" charset="-122"/>
                <a:ea typeface="微软雅黑" panose="020B0503020204020204" pitchFamily="34" charset="-122"/>
                <a:cs typeface="Arial" pitchFamily="34" charset="0"/>
              </a:rPr>
              <a:t>The </a:t>
            </a:r>
            <a:r>
              <a:rPr lang="en-US" altLang="zh-CN" sz="1200" dirty="0" smtClean="0">
                <a:solidFill>
                  <a:schemeClr val="bg1"/>
                </a:solidFill>
                <a:latin typeface="微软雅黑" panose="020B0503020204020204" pitchFamily="34" charset="-122"/>
                <a:ea typeface="微软雅黑" panose="020B0503020204020204" pitchFamily="34" charset="-122"/>
                <a:cs typeface="Arial" pitchFamily="34" charset="0"/>
              </a:rPr>
              <a:t>LED screen and alarm system are</a:t>
            </a:r>
            <a:r>
              <a:rPr lang="zh-CN" altLang="en-US" sz="1200" dirty="0" smtClean="0">
                <a:solidFill>
                  <a:schemeClr val="bg1"/>
                </a:solidFill>
                <a:latin typeface="微软雅黑" panose="020B0503020204020204" pitchFamily="34" charset="-122"/>
                <a:ea typeface="微软雅黑" panose="020B0503020204020204" pitchFamily="34" charset="-122"/>
                <a:cs typeface="Arial" pitchFamily="34" charset="0"/>
              </a:rPr>
              <a:t> </a:t>
            </a:r>
            <a:r>
              <a:rPr lang="zh-CN" altLang="en-US" sz="1200" dirty="0">
                <a:solidFill>
                  <a:schemeClr val="bg1"/>
                </a:solidFill>
                <a:latin typeface="微软雅黑" panose="020B0503020204020204" pitchFamily="34" charset="-122"/>
                <a:ea typeface="微软雅黑" panose="020B0503020204020204" pitchFamily="34" charset="-122"/>
                <a:cs typeface="Arial" pitchFamily="34" charset="0"/>
              </a:rPr>
              <a:t>connected based on the PKI </a:t>
            </a:r>
            <a:r>
              <a:rPr lang="zh-CN" altLang="en-US" sz="1200" dirty="0" smtClean="0">
                <a:solidFill>
                  <a:schemeClr val="bg1"/>
                </a:solidFill>
                <a:latin typeface="微软雅黑" panose="020B0503020204020204" pitchFamily="34" charset="-122"/>
                <a:ea typeface="微软雅黑" panose="020B0503020204020204" pitchFamily="34" charset="-122"/>
                <a:cs typeface="Arial" pitchFamily="34" charset="0"/>
              </a:rPr>
              <a:t>certificate</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42621329"/>
      </p:ext>
    </p:extLst>
  </p:cSld>
  <p:clrMapOvr>
    <a:masterClrMapping/>
  </p:clrMapOvr>
  <p:transition>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图片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6987" y="5824643"/>
            <a:ext cx="10531388" cy="584776"/>
          </a:xfrm>
          <a:prstGeom prst="rect">
            <a:avLst/>
          </a:prstGeom>
        </p:spPr>
      </p:pic>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210" y="1269554"/>
            <a:ext cx="11553528" cy="1486987"/>
          </a:xfrm>
          <a:prstGeom prst="rect">
            <a:avLst/>
          </a:prstGeom>
        </p:spPr>
      </p:pic>
      <p:sp>
        <p:nvSpPr>
          <p:cNvPr id="2" name="矩形 1"/>
          <p:cNvSpPr/>
          <p:nvPr/>
        </p:nvSpPr>
        <p:spPr>
          <a:xfrm>
            <a:off x="696987" y="244097"/>
            <a:ext cx="10928024" cy="954107"/>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rPr>
              <a:t>Smart </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City</a:t>
            </a:r>
            <a:r>
              <a:rPr lang="en-US" altLang="zh-CN"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 </a:t>
            </a:r>
            <a:r>
              <a:rPr lang="zh-CN" altLang="en-US"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rPr>
              <a:t>Better Construction and Management of Cities </a:t>
            </a:r>
            <a:r>
              <a:rPr lang="zh-CN" altLang="en-US"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Using</a:t>
            </a:r>
            <a:r>
              <a:rPr lang="zh-CN" altLang="en-US"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rPr>
              <a:t> Information Technologies</a:t>
            </a:r>
            <a:endParaRPr lang="en-US" sz="280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sp>
        <p:nvSpPr>
          <p:cNvPr id="23" name="矩形 22"/>
          <p:cNvSpPr/>
          <p:nvPr/>
        </p:nvSpPr>
        <p:spPr>
          <a:xfrm>
            <a:off x="1314291" y="5721849"/>
            <a:ext cx="9230376" cy="461665"/>
          </a:xfrm>
          <a:prstGeom prst="rect">
            <a:avLst/>
          </a:prstGeom>
        </p:spPr>
        <p:txBody>
          <a:bodyPr wrap="square">
            <a:spAutoFit/>
          </a:bodyPr>
          <a:lstStyle/>
          <a:p>
            <a:pPr algn="ctr"/>
            <a:r>
              <a:rPr lang="zh-CN" altLang="en-US" sz="2000" dirty="0">
                <a:solidFill>
                  <a:schemeClr val="bg1"/>
                </a:solidFill>
                <a:latin typeface="微软雅黑" pitchFamily="34" charset="-122"/>
                <a:ea typeface="微软雅黑" pitchFamily="34" charset="-122"/>
              </a:rPr>
              <a:t>Information</a:t>
            </a:r>
            <a:r>
              <a:rPr lang="zh-CN" altLang="en-US"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collection</a:t>
            </a:r>
            <a:r>
              <a:rPr lang="zh-CN" altLang="en-US" sz="2000" dirty="0">
                <a:solidFill>
                  <a:schemeClr val="bg1"/>
                </a:solidFill>
                <a:latin typeface="微软雅黑" pitchFamily="34" charset="-122"/>
                <a:ea typeface="微软雅黑" pitchFamily="34" charset="-122"/>
              </a:rPr>
              <a:t> and</a:t>
            </a:r>
            <a:r>
              <a:rPr lang="zh-CN" altLang="en-US"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transmission</a:t>
            </a:r>
            <a:r>
              <a:rPr lang="zh-CN" altLang="en-US" sz="2000" dirty="0">
                <a:solidFill>
                  <a:schemeClr val="bg1"/>
                </a:solidFill>
                <a:latin typeface="微软雅黑" pitchFamily="34" charset="-122"/>
                <a:ea typeface="微软雅黑" pitchFamily="34" charset="-122"/>
              </a:rPr>
              <a:t> are the basis of Smart </a:t>
            </a:r>
            <a:r>
              <a:rPr lang="zh-CN" altLang="en-US" sz="2000" dirty="0" smtClean="0">
                <a:solidFill>
                  <a:srgbClr val="00B050"/>
                </a:solidFill>
                <a:latin typeface="微软雅黑" pitchFamily="34" charset="-122"/>
                <a:ea typeface="微软雅黑" pitchFamily="34" charset="-122"/>
              </a:rPr>
              <a:t>Cit</a:t>
            </a:r>
            <a:r>
              <a:rPr lang="en-US" altLang="zh-CN" sz="2000" dirty="0" err="1" smtClean="0">
                <a:solidFill>
                  <a:srgbClr val="00B050"/>
                </a:solidFill>
                <a:latin typeface="微软雅黑" pitchFamily="34" charset="-122"/>
                <a:ea typeface="微软雅黑" pitchFamily="34" charset="-122"/>
              </a:rPr>
              <a:t>ies</a:t>
            </a:r>
            <a:endParaRPr lang="zh-CN" altLang="en-US" dirty="0">
              <a:solidFill>
                <a:srgbClr val="00B050"/>
              </a:solidFill>
              <a:latin typeface="微软雅黑" pitchFamily="34" charset="-122"/>
              <a:ea typeface="微软雅黑" pitchFamily="34" charset="-122"/>
            </a:endParaRPr>
          </a:p>
        </p:txBody>
      </p:sp>
      <p:sp>
        <p:nvSpPr>
          <p:cNvPr id="8" name="Rectangle 3"/>
          <p:cNvSpPr>
            <a:spLocks noChangeArrowheads="1"/>
          </p:cNvSpPr>
          <p:nvPr/>
        </p:nvSpPr>
        <p:spPr bwMode="auto">
          <a:xfrm>
            <a:off x="586001" y="1516642"/>
            <a:ext cx="11039010" cy="974983"/>
          </a:xfrm>
          <a:prstGeom prst="rect">
            <a:avLst/>
          </a:prstGeom>
          <a:noFill/>
          <a:ln w="9525">
            <a:noFill/>
            <a:miter lim="800000"/>
            <a:headEnd/>
            <a:tailEnd/>
          </a:ln>
        </p:spPr>
        <p:txBody>
          <a:bodyPr lIns="121944" tIns="60972" rIns="121944" bIns="60972"/>
          <a:lstStyle/>
          <a:p>
            <a:pPr algn="ctr">
              <a:buClr>
                <a:schemeClr val="bg1"/>
              </a:buClr>
            </a:pPr>
            <a:r>
              <a:rPr lang="zh-CN" altLang="en-US" sz="2000" dirty="0" smtClean="0">
                <a:solidFill>
                  <a:schemeClr val="bg1"/>
                </a:solidFill>
                <a:latin typeface="微软雅黑" pitchFamily="34" charset="-122"/>
                <a:ea typeface="微软雅黑" pitchFamily="34" charset="-122"/>
              </a:rPr>
              <a:t>Smart City refers to using new-generation technologies </a:t>
            </a:r>
            <a:r>
              <a:rPr lang="en-US" altLang="zh-CN" sz="2000" dirty="0" smtClean="0">
                <a:solidFill>
                  <a:srgbClr val="00B050"/>
                </a:solidFill>
                <a:latin typeface="微软雅黑" pitchFamily="34" charset="-122"/>
                <a:ea typeface="微软雅黑" pitchFamily="34" charset="-122"/>
              </a:rPr>
              <a:t>—</a:t>
            </a:r>
            <a:r>
              <a:rPr lang="zh-CN" altLang="en-US" sz="2000" dirty="0" smtClean="0">
                <a:solidFill>
                  <a:srgbClr val="00B050"/>
                </a:solidFill>
                <a:latin typeface="微软雅黑" pitchFamily="34" charset="-122"/>
                <a:ea typeface="微软雅黑" pitchFamily="34" charset="-122"/>
              </a:rPr>
              <a:t> </a:t>
            </a:r>
            <a:r>
              <a:rPr lang="zh-CN" altLang="en-US" sz="2000" dirty="0" smtClean="0">
                <a:solidFill>
                  <a:schemeClr val="bg1"/>
                </a:solidFill>
                <a:latin typeface="微软雅黑" pitchFamily="34" charset="-122"/>
                <a:ea typeface="微软雅黑" pitchFamily="34" charset="-122"/>
              </a:rPr>
              <a:t>such as </a:t>
            </a:r>
            <a:r>
              <a:rPr lang="en-US" altLang="zh-CN" sz="2000" dirty="0" smtClean="0">
                <a:solidFill>
                  <a:srgbClr val="00B050"/>
                </a:solidFill>
                <a:latin typeface="微软雅黑" pitchFamily="34" charset="-122"/>
                <a:ea typeface="微软雅黑" pitchFamily="34" charset="-122"/>
              </a:rPr>
              <a:t>the</a:t>
            </a:r>
            <a:r>
              <a:rPr lang="en-US" altLang="zh-CN" sz="2000" dirty="0" smtClean="0">
                <a:solidFill>
                  <a:schemeClr val="bg1"/>
                </a:solidFill>
                <a:latin typeface="微软雅黑" pitchFamily="34" charset="-122"/>
                <a:ea typeface="微软雅黑" pitchFamily="34" charset="-122"/>
              </a:rPr>
              <a:t> </a:t>
            </a:r>
            <a:r>
              <a:rPr lang="zh-CN" altLang="en-US" sz="2000" dirty="0" smtClean="0">
                <a:solidFill>
                  <a:schemeClr val="bg1"/>
                </a:solidFill>
                <a:latin typeface="微软雅黑" pitchFamily="34" charset="-122"/>
                <a:ea typeface="微软雅黑" pitchFamily="34" charset="-122"/>
              </a:rPr>
              <a:t>IoT, cloud computing</a:t>
            </a:r>
            <a:r>
              <a:rPr lang="en-US" altLang="zh-CN" sz="2000" dirty="0" smtClean="0">
                <a:solidFill>
                  <a:srgbClr val="00B050"/>
                </a:solidFill>
                <a:latin typeface="微软雅黑" pitchFamily="34" charset="-122"/>
                <a:ea typeface="微软雅黑" pitchFamily="34" charset="-122"/>
              </a:rPr>
              <a:t>,</a:t>
            </a:r>
            <a:r>
              <a:rPr lang="zh-CN" altLang="en-US" sz="2000" dirty="0" smtClean="0">
                <a:solidFill>
                  <a:srgbClr val="00B050"/>
                </a:solidFill>
                <a:latin typeface="微软雅黑" pitchFamily="34" charset="-122"/>
                <a:ea typeface="微软雅黑" pitchFamily="34" charset="-122"/>
              </a:rPr>
              <a:t> and </a:t>
            </a:r>
            <a:r>
              <a:rPr lang="en-US" altLang="zh-CN" sz="2000" dirty="0" smtClean="0">
                <a:solidFill>
                  <a:srgbClr val="00B050"/>
                </a:solidFill>
                <a:latin typeface="微软雅黑" pitchFamily="34" charset="-122"/>
                <a:ea typeface="微软雅黑" pitchFamily="34" charset="-122"/>
              </a:rPr>
              <a:t>b</a:t>
            </a:r>
            <a:r>
              <a:rPr lang="zh-CN" altLang="en-US" sz="2000" dirty="0" smtClean="0">
                <a:solidFill>
                  <a:srgbClr val="00B050"/>
                </a:solidFill>
                <a:latin typeface="微软雅黑" pitchFamily="34" charset="-122"/>
                <a:ea typeface="微软雅黑" pitchFamily="34" charset="-122"/>
              </a:rPr>
              <a:t>ig </a:t>
            </a:r>
            <a:r>
              <a:rPr lang="en-US" altLang="zh-CN" sz="2000" dirty="0" smtClean="0">
                <a:solidFill>
                  <a:srgbClr val="00B050"/>
                </a:solidFill>
                <a:latin typeface="微软雅黑" pitchFamily="34" charset="-122"/>
                <a:ea typeface="微软雅黑" pitchFamily="34" charset="-122"/>
              </a:rPr>
              <a:t>d</a:t>
            </a:r>
            <a:r>
              <a:rPr lang="zh-CN" altLang="en-US" sz="2000" dirty="0" smtClean="0">
                <a:solidFill>
                  <a:srgbClr val="00B050"/>
                </a:solidFill>
                <a:latin typeface="微软雅黑" pitchFamily="34" charset="-122"/>
                <a:ea typeface="微软雅黑" pitchFamily="34" charset="-122"/>
              </a:rPr>
              <a:t>ata</a:t>
            </a:r>
            <a:r>
              <a:rPr lang="zh-CN" altLang="en-US" sz="2000" dirty="0" smtClean="0">
                <a:solidFill>
                  <a:schemeClr val="bg1"/>
                </a:solidFill>
                <a:latin typeface="微软雅黑" pitchFamily="34" charset="-122"/>
                <a:ea typeface="微软雅黑" pitchFamily="34" charset="-122"/>
              </a:rPr>
              <a:t> </a:t>
            </a:r>
            <a:r>
              <a:rPr lang="en-US" altLang="zh-CN" sz="2000" dirty="0">
                <a:solidFill>
                  <a:srgbClr val="00B050"/>
                </a:solidFill>
                <a:latin typeface="微软雅黑" pitchFamily="34" charset="-122"/>
                <a:ea typeface="微软雅黑" pitchFamily="34" charset="-122"/>
              </a:rPr>
              <a:t>—</a:t>
            </a:r>
            <a:r>
              <a:rPr lang="zh-CN" altLang="en-US" sz="2000" dirty="0">
                <a:solidFill>
                  <a:srgbClr val="00B050"/>
                </a:solidFill>
                <a:latin typeface="微软雅黑" pitchFamily="34" charset="-122"/>
                <a:ea typeface="微软雅黑" pitchFamily="34" charset="-122"/>
              </a:rPr>
              <a:t> </a:t>
            </a:r>
            <a:r>
              <a:rPr lang="zh-CN" altLang="en-US" sz="2000" dirty="0" smtClean="0">
                <a:solidFill>
                  <a:schemeClr val="bg1"/>
                </a:solidFill>
                <a:latin typeface="微软雅黑" pitchFamily="34" charset="-122"/>
                <a:ea typeface="微软雅黑" pitchFamily="34" charset="-122"/>
              </a:rPr>
              <a:t>to </a:t>
            </a:r>
            <a:r>
              <a:rPr lang="zh-CN" altLang="en-US" sz="2000" dirty="0" smtClean="0">
                <a:solidFill>
                  <a:srgbClr val="00B050"/>
                </a:solidFill>
                <a:latin typeface="微软雅黑" pitchFamily="34" charset="-122"/>
                <a:ea typeface="微软雅黑" pitchFamily="34" charset="-122"/>
              </a:rPr>
              <a:t>collect </a:t>
            </a:r>
            <a:r>
              <a:rPr lang="zh-CN" altLang="en-US" sz="2000" dirty="0" smtClean="0">
                <a:solidFill>
                  <a:schemeClr val="bg1"/>
                </a:solidFill>
                <a:latin typeface="微软雅黑" pitchFamily="34" charset="-122"/>
                <a:ea typeface="微软雅黑" pitchFamily="34" charset="-122"/>
              </a:rPr>
              <a:t>and </a:t>
            </a:r>
            <a:r>
              <a:rPr lang="zh-CN" altLang="en-US" sz="2000" dirty="0">
                <a:solidFill>
                  <a:srgbClr val="00B050"/>
                </a:solidFill>
                <a:latin typeface="微软雅黑" pitchFamily="34" charset="-122"/>
                <a:ea typeface="微软雅黑" pitchFamily="34" charset="-122"/>
              </a:rPr>
              <a:t>analyz</a:t>
            </a:r>
            <a:r>
              <a:rPr lang="en-US" altLang="zh-CN" sz="2000" dirty="0">
                <a:solidFill>
                  <a:srgbClr val="00B050"/>
                </a:solidFill>
                <a:latin typeface="微软雅黑" pitchFamily="34" charset="-122"/>
                <a:ea typeface="微软雅黑" pitchFamily="34" charset="-122"/>
              </a:rPr>
              <a:t>e </a:t>
            </a:r>
            <a:r>
              <a:rPr lang="zh-CN" altLang="en-US" sz="2000" dirty="0" smtClean="0">
                <a:solidFill>
                  <a:srgbClr val="00B050"/>
                </a:solidFill>
                <a:latin typeface="微软雅黑" pitchFamily="34" charset="-122"/>
                <a:ea typeface="微软雅黑" pitchFamily="34" charset="-122"/>
              </a:rPr>
              <a:t>data</a:t>
            </a:r>
            <a:r>
              <a:rPr lang="zh-CN" altLang="en-US" sz="2000" dirty="0" smtClean="0">
                <a:solidFill>
                  <a:schemeClr val="bg1"/>
                </a:solidFill>
                <a:latin typeface="微软雅黑" pitchFamily="34" charset="-122"/>
                <a:ea typeface="微软雅黑" pitchFamily="34" charset="-122"/>
              </a:rPr>
              <a:t>, </a:t>
            </a:r>
            <a:r>
              <a:rPr lang="zh-CN" altLang="en-US" sz="2000" dirty="0" smtClean="0">
                <a:solidFill>
                  <a:srgbClr val="FFC000"/>
                </a:solidFill>
                <a:latin typeface="微软雅黑" pitchFamily="34" charset="-122"/>
                <a:ea typeface="微软雅黑" pitchFamily="34" charset="-122"/>
              </a:rPr>
              <a:t>thus opmizing city planning, </a:t>
            </a:r>
            <a:r>
              <a:rPr lang="en-US" altLang="zh-CN" sz="2000" dirty="0" smtClean="0">
                <a:solidFill>
                  <a:srgbClr val="FFC000"/>
                </a:solidFill>
                <a:latin typeface="微软雅黑" pitchFamily="34" charset="-122"/>
                <a:ea typeface="微软雅黑" pitchFamily="34" charset="-122"/>
              </a:rPr>
              <a:t/>
            </a:r>
            <a:br>
              <a:rPr lang="en-US" altLang="zh-CN" sz="2000" dirty="0" smtClean="0">
                <a:solidFill>
                  <a:srgbClr val="FFC000"/>
                </a:solidFill>
                <a:latin typeface="微软雅黑" pitchFamily="34" charset="-122"/>
                <a:ea typeface="微软雅黑" pitchFamily="34" charset="-122"/>
              </a:rPr>
            </a:br>
            <a:r>
              <a:rPr lang="zh-CN" altLang="en-US" sz="2000" dirty="0" smtClean="0">
                <a:solidFill>
                  <a:srgbClr val="FFC000"/>
                </a:solidFill>
                <a:latin typeface="微软雅黑" pitchFamily="34" charset="-122"/>
                <a:ea typeface="微软雅黑" pitchFamily="34" charset="-122"/>
              </a:rPr>
              <a:t>construction</a:t>
            </a:r>
            <a:r>
              <a:rPr lang="en-US" altLang="zh-CN" sz="2000" dirty="0" smtClean="0">
                <a:solidFill>
                  <a:srgbClr val="00B050"/>
                </a:solidFill>
                <a:latin typeface="微软雅黑" pitchFamily="34" charset="-122"/>
                <a:ea typeface="微软雅黑" pitchFamily="34" charset="-122"/>
              </a:rPr>
              <a:t>,</a:t>
            </a:r>
            <a:r>
              <a:rPr lang="zh-CN" altLang="en-US" sz="2000" dirty="0" smtClean="0">
                <a:solidFill>
                  <a:srgbClr val="00B050"/>
                </a:solidFill>
                <a:latin typeface="微软雅黑" pitchFamily="34" charset="-122"/>
                <a:ea typeface="微软雅黑" pitchFamily="34" charset="-122"/>
              </a:rPr>
              <a:t> and </a:t>
            </a:r>
            <a:r>
              <a:rPr lang="zh-CN" altLang="en-US" sz="2000" dirty="0" smtClean="0">
                <a:solidFill>
                  <a:srgbClr val="FFC000"/>
                </a:solidFill>
                <a:latin typeface="微软雅黑" pitchFamily="34" charset="-122"/>
                <a:ea typeface="微软雅黑" pitchFamily="34" charset="-122"/>
              </a:rPr>
              <a:t>management.</a:t>
            </a:r>
            <a:endParaRPr lang="zh-CN" altLang="en-US" sz="2000" dirty="0">
              <a:solidFill>
                <a:srgbClr val="FFC000"/>
              </a:solidFill>
              <a:latin typeface="微软雅黑" pitchFamily="34" charset="-122"/>
              <a:ea typeface="微软雅黑" pitchFamily="34" charset="-122"/>
            </a:endParaRPr>
          </a:p>
        </p:txBody>
      </p:sp>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019" y="3136464"/>
            <a:ext cx="2487662" cy="2109425"/>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65724" y="3136464"/>
            <a:ext cx="2487662" cy="2109425"/>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46429" y="3141762"/>
            <a:ext cx="2487662" cy="2109425"/>
          </a:xfrm>
          <a:prstGeom prst="rect">
            <a:avLst/>
          </a:prstGeom>
        </p:spPr>
      </p:pic>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46429" y="3136464"/>
            <a:ext cx="2487662" cy="2109425"/>
          </a:xfrm>
          <a:prstGeom prst="rect">
            <a:avLst/>
          </a:prstGeom>
        </p:spPr>
      </p:pic>
      <p:sp>
        <p:nvSpPr>
          <p:cNvPr id="16" name="右箭头 15"/>
          <p:cNvSpPr/>
          <p:nvPr/>
        </p:nvSpPr>
        <p:spPr>
          <a:xfrm>
            <a:off x="3721323" y="3501802"/>
            <a:ext cx="576064" cy="1584176"/>
          </a:xfrm>
          <a:prstGeom prst="rightArrow">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右箭头 16"/>
          <p:cNvSpPr/>
          <p:nvPr/>
        </p:nvSpPr>
        <p:spPr>
          <a:xfrm>
            <a:off x="7277851" y="3501802"/>
            <a:ext cx="576064" cy="1584176"/>
          </a:xfrm>
          <a:prstGeom prst="rightArrow">
            <a:avLst/>
          </a:prstGeom>
          <a:gradFill flip="none" rotWithShape="1">
            <a:gsLst>
              <a:gs pos="0">
                <a:schemeClr val="accent1">
                  <a:lumMod val="50000"/>
                  <a:shade val="30000"/>
                  <a:satMod val="115000"/>
                  <a:alpha val="0"/>
                </a:schemeClr>
              </a:gs>
              <a:gs pos="50000">
                <a:schemeClr val="accent1">
                  <a:lumMod val="50000"/>
                  <a:shade val="67500"/>
                  <a:satMod val="115000"/>
                </a:schemeClr>
              </a:gs>
              <a:gs pos="100000">
                <a:schemeClr val="accent1">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8300031" y="4850406"/>
            <a:ext cx="2173705" cy="369332"/>
          </a:xfrm>
          <a:prstGeom prst="rect">
            <a:avLst/>
          </a:prstGeom>
          <a:noFill/>
        </p:spPr>
        <p:txBody>
          <a:bodyPr wrap="square" rtlCol="0">
            <a:spAutoFit/>
          </a:bodyPr>
          <a:lstStyle/>
          <a:p>
            <a:pPr algn="ctr"/>
            <a:r>
              <a:rPr lang="zh-CN" altLang="en-US" sz="1800" b="1" dirty="0" smtClean="0">
                <a:solidFill>
                  <a:schemeClr val="bg1"/>
                </a:solidFill>
                <a:effectLst>
                  <a:outerShdw blurRad="38100" dist="38100" dir="2700000" algn="tl">
                    <a:srgbClr val="000000">
                      <a:alpha val="43137"/>
                    </a:srgbClr>
                  </a:outerShdw>
                </a:effectLst>
              </a:rPr>
              <a:t>Data Application</a:t>
            </a:r>
            <a:endParaRPr lang="zh-CN" altLang="en-US" sz="1800" b="1" dirty="0">
              <a:solidFill>
                <a:schemeClr val="bg1"/>
              </a:solidFill>
              <a:effectLst>
                <a:outerShdw blurRad="38100" dist="38100" dir="2700000" algn="tl">
                  <a:srgbClr val="000000">
                    <a:alpha val="43137"/>
                  </a:srgbClr>
                </a:outerShdw>
              </a:effectLst>
            </a:endParaRPr>
          </a:p>
        </p:txBody>
      </p:sp>
      <p:sp>
        <p:nvSpPr>
          <p:cNvPr id="19" name="TextBox 18"/>
          <p:cNvSpPr txBox="1"/>
          <p:nvPr/>
        </p:nvSpPr>
        <p:spPr>
          <a:xfrm>
            <a:off x="4565724" y="4850406"/>
            <a:ext cx="2487661" cy="369332"/>
          </a:xfrm>
          <a:prstGeom prst="rect">
            <a:avLst/>
          </a:prstGeom>
          <a:noFill/>
        </p:spPr>
        <p:txBody>
          <a:bodyPr wrap="square" rtlCol="0">
            <a:spAutoFit/>
          </a:bodyPr>
          <a:lstStyle/>
          <a:p>
            <a:pPr algn="ctr"/>
            <a:r>
              <a:rPr lang="zh-CN" altLang="en-US" sz="1800" b="1" dirty="0" smtClean="0">
                <a:solidFill>
                  <a:schemeClr val="bg1"/>
                </a:solidFill>
                <a:effectLst>
                  <a:outerShdw blurRad="38100" dist="38100" dir="2700000" algn="tl">
                    <a:srgbClr val="000000">
                      <a:alpha val="43137"/>
                    </a:srgbClr>
                  </a:outerShdw>
                </a:effectLst>
              </a:rPr>
              <a:t>Data Convergence</a:t>
            </a:r>
            <a:endParaRPr lang="zh-CN" altLang="en-US" sz="1800" b="1" dirty="0">
              <a:solidFill>
                <a:schemeClr val="bg1"/>
              </a:solidFill>
              <a:effectLst>
                <a:outerShdw blurRad="38100" dist="38100" dir="2700000" algn="tl">
                  <a:srgbClr val="000000">
                    <a:alpha val="43137"/>
                  </a:srgbClr>
                </a:outerShdw>
              </a:effectLst>
            </a:endParaRPr>
          </a:p>
        </p:txBody>
      </p:sp>
      <p:sp>
        <p:nvSpPr>
          <p:cNvPr id="20" name="TextBox 19"/>
          <p:cNvSpPr txBox="1"/>
          <p:nvPr/>
        </p:nvSpPr>
        <p:spPr>
          <a:xfrm>
            <a:off x="1143706" y="4850406"/>
            <a:ext cx="2173705" cy="369332"/>
          </a:xfrm>
          <a:prstGeom prst="rect">
            <a:avLst/>
          </a:prstGeom>
          <a:noFill/>
        </p:spPr>
        <p:txBody>
          <a:bodyPr wrap="square" rtlCol="0">
            <a:spAutoFit/>
          </a:bodyPr>
          <a:lstStyle/>
          <a:p>
            <a:pPr algn="ctr"/>
            <a:r>
              <a:rPr lang="zh-CN" altLang="en-US" sz="1800" b="1" dirty="0" smtClean="0">
                <a:solidFill>
                  <a:schemeClr val="bg1"/>
                </a:solidFill>
                <a:effectLst>
                  <a:outerShdw blurRad="38100" dist="38100" dir="2700000" algn="tl">
                    <a:srgbClr val="000000">
                      <a:alpha val="43137"/>
                    </a:srgbClr>
                  </a:outerShdw>
                </a:effectLst>
              </a:rPr>
              <a:t>Data Collection</a:t>
            </a:r>
            <a:endParaRPr lang="zh-CN" altLang="en-US" sz="1800" b="1" dirty="0">
              <a:solidFill>
                <a:schemeClr val="bg1"/>
              </a:solidFill>
              <a:effectLst>
                <a:outerShdw blurRad="38100" dist="38100" dir="2700000" algn="tl">
                  <a:srgbClr val="000000">
                    <a:alpha val="43137"/>
                  </a:srgbClr>
                </a:outerShdw>
              </a:effectLst>
            </a:endParaRPr>
          </a:p>
        </p:txBody>
      </p:sp>
      <p:pic>
        <p:nvPicPr>
          <p:cNvPr id="1028" name="Picture 4"/>
          <p:cNvPicPr>
            <a:picLocks noChangeAspect="1" noChangeArrowheads="1"/>
          </p:cNvPicPr>
          <p:nvPr/>
        </p:nvPicPr>
        <p:blipFill>
          <a:blip r:embed="rId5" cstate="print"/>
          <a:srcRect/>
          <a:stretch>
            <a:fillRect/>
          </a:stretch>
        </p:blipFill>
        <p:spPr bwMode="auto">
          <a:xfrm>
            <a:off x="1115387" y="3334086"/>
            <a:ext cx="2173705" cy="1212564"/>
          </a:xfrm>
          <a:prstGeom prst="roundRect">
            <a:avLst/>
          </a:prstGeom>
          <a:noFill/>
          <a:ln w="9525">
            <a:noFill/>
            <a:miter lim="800000"/>
            <a:headEnd/>
            <a:tailEnd/>
          </a:ln>
          <a:effectLst>
            <a:reflection blurRad="6350" stA="52000" endA="300" endPos="35000" dir="5400000" sy="-100000" algn="bl" rotWithShape="0"/>
          </a:effectLst>
          <a:scene3d>
            <a:camera prst="perspectiveHeroicExtremeLeftFacing"/>
            <a:lightRig rig="threePt" dir="t"/>
          </a:scene3d>
        </p:spPr>
      </p:pic>
      <p:pic>
        <p:nvPicPr>
          <p:cNvPr id="1030" name="Picture 6"/>
          <p:cNvPicPr>
            <a:picLocks noChangeAspect="1" noChangeArrowheads="1"/>
          </p:cNvPicPr>
          <p:nvPr/>
        </p:nvPicPr>
        <p:blipFill>
          <a:blip r:embed="rId6" cstate="print"/>
          <a:srcRect/>
          <a:stretch>
            <a:fillRect/>
          </a:stretch>
        </p:blipFill>
        <p:spPr bwMode="auto">
          <a:xfrm>
            <a:off x="4712202" y="3330940"/>
            <a:ext cx="2146409" cy="1218856"/>
          </a:xfrm>
          <a:prstGeom prst="roundRect">
            <a:avLst/>
          </a:prstGeom>
          <a:noFill/>
          <a:ln w="9525">
            <a:noFill/>
            <a:miter lim="800000"/>
            <a:headEnd/>
            <a:tailEnd/>
          </a:ln>
          <a:effectLst>
            <a:reflection blurRad="6350" stA="52000" endA="300" endPos="35000" dir="5400000" sy="-100000" algn="bl" rotWithShape="0"/>
          </a:effectLst>
          <a:scene3d>
            <a:camera prst="perspectiveHeroicExtremeLeftFacing"/>
            <a:lightRig rig="threePt" dir="t"/>
          </a:scene3d>
        </p:spPr>
      </p:pic>
      <p:pic>
        <p:nvPicPr>
          <p:cNvPr id="1031" name="Picture 7"/>
          <p:cNvPicPr>
            <a:picLocks noChangeAspect="1" noChangeArrowheads="1"/>
          </p:cNvPicPr>
          <p:nvPr/>
        </p:nvPicPr>
        <p:blipFill>
          <a:blip r:embed="rId7" cstate="print"/>
          <a:srcRect/>
          <a:stretch>
            <a:fillRect/>
          </a:stretch>
        </p:blipFill>
        <p:spPr bwMode="auto">
          <a:xfrm>
            <a:off x="8313411" y="3326111"/>
            <a:ext cx="2145600" cy="1228515"/>
          </a:xfrm>
          <a:prstGeom prst="roundRect">
            <a:avLst/>
          </a:prstGeom>
          <a:noFill/>
          <a:ln w="9525">
            <a:noFill/>
            <a:miter lim="800000"/>
            <a:headEnd/>
            <a:tailEnd/>
          </a:ln>
          <a:effectLst>
            <a:reflection blurRad="6350" stA="52000" endA="300" endPos="35000" dir="5400000" sy="-100000" algn="bl" rotWithShape="0"/>
          </a:effectLst>
          <a:scene3d>
            <a:camera prst="perspectiveHeroicExtremeLeftFacing"/>
            <a:lightRig rig="threePt" dir="t"/>
          </a:scene3d>
        </p:spPr>
      </p:pic>
    </p:spTree>
    <p:extLst>
      <p:ext uri="{BB962C8B-B14F-4D97-AF65-F5344CB8AC3E}">
        <p14:creationId xmlns:p14="http://schemas.microsoft.com/office/powerpoint/2010/main" val="1315804855"/>
      </p:ext>
    </p:extLst>
  </p:cSld>
  <p:clrMapOvr>
    <a:masterClrMapping/>
  </p:clrMapOvr>
  <p:transition>
    <p:fade thruBlk="1"/>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cstate="print"/>
          <a:srcRect/>
          <a:stretch>
            <a:fillRect/>
          </a:stretch>
        </p:blipFill>
        <p:spPr bwMode="auto">
          <a:xfrm>
            <a:off x="3175" y="0"/>
            <a:ext cx="12192000" cy="6859588"/>
          </a:xfrm>
          <a:prstGeom prst="rect">
            <a:avLst/>
          </a:prstGeom>
          <a:noFill/>
          <a:ln w="9525">
            <a:noFill/>
            <a:miter lim="800000"/>
            <a:headEnd/>
            <a:tailEnd/>
          </a:ln>
        </p:spPr>
      </p:pic>
      <p:sp>
        <p:nvSpPr>
          <p:cNvPr id="15" name="Freeform 9"/>
          <p:cNvSpPr>
            <a:spLocks/>
          </p:cNvSpPr>
          <p:nvPr/>
        </p:nvSpPr>
        <p:spPr bwMode="auto">
          <a:xfrm>
            <a:off x="7805463" y="117426"/>
            <a:ext cx="4268788" cy="1411288"/>
          </a:xfrm>
          <a:custGeom>
            <a:avLst/>
            <a:gdLst>
              <a:gd name="T0" fmla="*/ 2551 w 2551"/>
              <a:gd name="T1" fmla="*/ 889 h 889"/>
              <a:gd name="T2" fmla="*/ 142 w 2551"/>
              <a:gd name="T3" fmla="*/ 889 h 889"/>
              <a:gd name="T4" fmla="*/ 0 w 2551"/>
              <a:gd name="T5" fmla="*/ 726 h 889"/>
              <a:gd name="T6" fmla="*/ 306 w 2551"/>
              <a:gd name="T7" fmla="*/ 293 h 889"/>
              <a:gd name="T8" fmla="*/ 142 w 2551"/>
              <a:gd name="T9" fmla="*/ 0 h 889"/>
              <a:gd name="T10" fmla="*/ 2551 w 2551"/>
              <a:gd name="T11" fmla="*/ 0 h 889"/>
              <a:gd name="T12" fmla="*/ 2551 w 2551"/>
              <a:gd name="T13" fmla="*/ 889 h 889"/>
            </a:gdLst>
            <a:ahLst/>
            <a:cxnLst>
              <a:cxn ang="0">
                <a:pos x="T0" y="T1"/>
              </a:cxn>
              <a:cxn ang="0">
                <a:pos x="T2" y="T3"/>
              </a:cxn>
              <a:cxn ang="0">
                <a:pos x="T4" y="T5"/>
              </a:cxn>
              <a:cxn ang="0">
                <a:pos x="T6" y="T7"/>
              </a:cxn>
              <a:cxn ang="0">
                <a:pos x="T8" y="T9"/>
              </a:cxn>
              <a:cxn ang="0">
                <a:pos x="T10" y="T11"/>
              </a:cxn>
              <a:cxn ang="0">
                <a:pos x="T12" y="T13"/>
              </a:cxn>
            </a:cxnLst>
            <a:rect l="0" t="0" r="r" b="b"/>
            <a:pathLst>
              <a:path w="2551" h="889">
                <a:moveTo>
                  <a:pt x="2551" y="889"/>
                </a:moveTo>
                <a:lnTo>
                  <a:pt x="142" y="889"/>
                </a:lnTo>
                <a:lnTo>
                  <a:pt x="0" y="726"/>
                </a:lnTo>
                <a:lnTo>
                  <a:pt x="306" y="293"/>
                </a:lnTo>
                <a:lnTo>
                  <a:pt x="142" y="0"/>
                </a:lnTo>
                <a:lnTo>
                  <a:pt x="2551" y="0"/>
                </a:lnTo>
                <a:lnTo>
                  <a:pt x="2551" y="889"/>
                </a:ln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TextBox 15"/>
          <p:cNvSpPr txBox="1"/>
          <p:nvPr/>
        </p:nvSpPr>
        <p:spPr>
          <a:xfrm>
            <a:off x="10058027" y="539093"/>
            <a:ext cx="1800200" cy="707886"/>
          </a:xfrm>
          <a:prstGeom prst="rect">
            <a:avLst/>
          </a:prstGeom>
          <a:noFill/>
        </p:spPr>
        <p:txBody>
          <a:bodyPr wrap="square" rtlCol="0">
            <a:spAutoFit/>
          </a:bodyPr>
          <a:lstStyle/>
          <a:p>
            <a:pPr algn="ctr"/>
            <a:r>
              <a:rPr lang="zh-CN" altLang="en-US" sz="2000" b="1" dirty="0" smtClean="0">
                <a:solidFill>
                  <a:schemeClr val="bg1"/>
                </a:solidFill>
                <a:effectLst>
                  <a:outerShdw blurRad="38100" dist="38100" dir="2700000" algn="tl">
                    <a:srgbClr val="000000">
                      <a:alpha val="43137"/>
                    </a:srgbClr>
                  </a:outerShdw>
                </a:effectLst>
              </a:rPr>
              <a:t>We are doing...</a:t>
            </a:r>
            <a:endParaRPr lang="zh-CN" altLang="en-US" sz="2000" b="1" dirty="0">
              <a:solidFill>
                <a:schemeClr val="bg1"/>
              </a:solidFill>
              <a:effectLst>
                <a:outerShdw blurRad="38100" dist="38100" dir="2700000" algn="tl">
                  <a:srgbClr val="000000">
                    <a:alpha val="43137"/>
                  </a:srgbClr>
                </a:outerShdw>
              </a:effectLst>
            </a:endParaRPr>
          </a:p>
        </p:txBody>
      </p:sp>
      <p:sp>
        <p:nvSpPr>
          <p:cNvPr id="9" name="TextBox 8"/>
          <p:cNvSpPr txBox="1"/>
          <p:nvPr/>
        </p:nvSpPr>
        <p:spPr>
          <a:xfrm>
            <a:off x="7506683" y="-413926"/>
            <a:ext cx="1021760" cy="2431435"/>
          </a:xfrm>
          <a:prstGeom prst="rect">
            <a:avLst/>
          </a:prstGeom>
          <a:noFill/>
        </p:spPr>
        <p:txBody>
          <a:bodyPr wrap="square" rtlCol="0">
            <a:spAutoFit/>
          </a:bodyPr>
          <a:lstStyle/>
          <a:p>
            <a:pPr algn="ctr"/>
            <a:r>
              <a:rPr lang="en-US" altLang="zh-CN" sz="15300" dirty="0" smtClean="0">
                <a:solidFill>
                  <a:srgbClr val="C00000"/>
                </a:solidFill>
              </a:rPr>
              <a:t>3</a:t>
            </a:r>
            <a:endParaRPr lang="zh-CN" altLang="en-US" sz="15300" dirty="0">
              <a:solidFill>
                <a:srgbClr val="C00000"/>
              </a:solidFill>
            </a:endParaRPr>
          </a:p>
        </p:txBody>
      </p:sp>
      <p:sp>
        <p:nvSpPr>
          <p:cNvPr id="12" name="Rectangle 3"/>
          <p:cNvSpPr txBox="1">
            <a:spLocks noChangeArrowheads="1"/>
          </p:cNvSpPr>
          <p:nvPr/>
        </p:nvSpPr>
        <p:spPr>
          <a:xfrm>
            <a:off x="8277957" y="286842"/>
            <a:ext cx="2140109" cy="1107996"/>
          </a:xfrm>
          <a:prstGeom prst="rect">
            <a:avLst/>
          </a:prstGeom>
        </p:spPr>
        <p:txBody>
          <a:bodyPr wrap="square">
            <a:spAutoFit/>
          </a:bodyPr>
          <a:lstStyle/>
          <a:p>
            <a:pPr lvl="0">
              <a:buClr>
                <a:srgbClr val="777777"/>
              </a:buClr>
              <a:buSzPct val="60000"/>
              <a:defRPr/>
            </a:pPr>
            <a:r>
              <a:rPr lang="en-US" altLang="zh-CN" sz="6600" b="1" kern="0" noProof="0" dirty="0" smtClean="0">
                <a:solidFill>
                  <a:schemeClr val="bg1"/>
                </a:solidFill>
                <a:latin typeface="微软雅黑" pitchFamily="34" charset="-122"/>
                <a:ea typeface="微软雅黑" pitchFamily="34" charset="-122"/>
              </a:rPr>
              <a:t>How</a:t>
            </a:r>
            <a:endParaRPr kumimoji="0" lang="en-US" altLang="zh-CN" sz="1400" b="1" i="0" u="none" strike="noStrike" kern="0" cap="none" spc="0" normalizeH="0" baseline="0" noProof="0" dirty="0">
              <a:ln>
                <a:noFill/>
              </a:ln>
              <a:solidFill>
                <a:schemeClr val="bg1"/>
              </a:solidFill>
              <a:effectLst/>
              <a:uLnTx/>
              <a:uFillTx/>
              <a:latin typeface="微软雅黑" pitchFamily="34" charset="-122"/>
              <a:ea typeface="微软雅黑" pitchFamily="34" charset="-122"/>
            </a:endParaRPr>
          </a:p>
        </p:txBody>
      </p:sp>
    </p:spTree>
  </p:cSld>
  <p:clrMapOvr>
    <a:masterClrMapping/>
  </p:clrMapOvr>
  <p:transition>
    <p:fade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2" cstate="print"/>
          <a:srcRect/>
          <a:stretch>
            <a:fillRect/>
          </a:stretch>
        </p:blipFill>
        <p:spPr bwMode="auto">
          <a:xfrm>
            <a:off x="-8068" y="10997"/>
            <a:ext cx="12184062" cy="6944541"/>
          </a:xfrm>
          <a:prstGeom prst="rect">
            <a:avLst/>
          </a:prstGeom>
          <a:noFill/>
          <a:ln w="9525">
            <a:noFill/>
            <a:miter lim="800000"/>
            <a:headEnd/>
            <a:tailEnd/>
          </a:ln>
        </p:spPr>
      </p:pic>
      <p:sp>
        <p:nvSpPr>
          <p:cNvPr id="3" name="矩形 2">
            <a:extLst>
              <a:ext uri="{FF2B5EF4-FFF2-40B4-BE49-F238E27FC236}">
                <a16:creationId xmlns:a16="http://schemas.microsoft.com/office/drawing/2014/main" xmlns="" id="{895520C8-04DD-4123-ACDC-FEBFB1F3E43E}"/>
              </a:ext>
            </a:extLst>
          </p:cNvPr>
          <p:cNvSpPr/>
          <p:nvPr/>
        </p:nvSpPr>
        <p:spPr>
          <a:xfrm>
            <a:off x="-8068" y="4474"/>
            <a:ext cx="12175994" cy="6944541"/>
          </a:xfrm>
          <a:prstGeom prst="rect">
            <a:avLst/>
          </a:prstGeom>
          <a:gradFill>
            <a:gsLst>
              <a:gs pos="100000">
                <a:schemeClr val="tx2">
                  <a:lumMod val="50000"/>
                  <a:alpha val="0"/>
                </a:schemeClr>
              </a:gs>
              <a:gs pos="0">
                <a:srgbClr val="07101B"/>
              </a:gs>
              <a:gs pos="57000">
                <a:srgbClr val="07101B">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path path="circle">
                  <a:fillToRect l="50000" t="50000" r="50000" b="50000"/>
                </a:path>
                <a:tileRect/>
              </a:gradFill>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019" y="4726448"/>
            <a:ext cx="4896544" cy="1884323"/>
          </a:xfrm>
          <a:prstGeom prst="rect">
            <a:avLst/>
          </a:prstGeom>
        </p:spPr>
      </p:pic>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3438" y="3849430"/>
            <a:ext cx="4896544" cy="2316882"/>
          </a:xfrm>
          <a:prstGeom prst="rect">
            <a:avLst/>
          </a:prstGeom>
        </p:spPr>
      </p:pic>
      <p:sp>
        <p:nvSpPr>
          <p:cNvPr id="9" name="TextBox 8"/>
          <p:cNvSpPr txBox="1"/>
          <p:nvPr/>
        </p:nvSpPr>
        <p:spPr>
          <a:xfrm>
            <a:off x="841003" y="4807816"/>
            <a:ext cx="1800200"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Solution</a:t>
            </a:r>
          </a:p>
        </p:txBody>
      </p:sp>
      <p:sp>
        <p:nvSpPr>
          <p:cNvPr id="10" name="TextBox 9"/>
          <p:cNvSpPr txBox="1"/>
          <p:nvPr/>
        </p:nvSpPr>
        <p:spPr>
          <a:xfrm>
            <a:off x="6100589" y="3963246"/>
            <a:ext cx="2820583"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Customer Benefits</a:t>
            </a:r>
          </a:p>
        </p:txBody>
      </p:sp>
      <p:sp>
        <p:nvSpPr>
          <p:cNvPr id="12" name="TextBox 11"/>
          <p:cNvSpPr txBox="1"/>
          <p:nvPr/>
        </p:nvSpPr>
        <p:spPr>
          <a:xfrm>
            <a:off x="985019" y="5225777"/>
            <a:ext cx="4896544" cy="1384995"/>
          </a:xfrm>
          <a:prstGeom prst="rect">
            <a:avLst/>
          </a:prstGeom>
          <a:noFill/>
        </p:spPr>
        <p:txBody>
          <a:bodyPr wrap="square" rtlCol="0">
            <a:spAutoFit/>
          </a:bodyPr>
          <a:lstStyle/>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Introduce smart pole and deploy smart streetlight solution</a:t>
            </a:r>
            <a:endParaRPr lang="en-US" altLang="zh-CN" sz="14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Install cameras, panic </a:t>
            </a:r>
            <a:r>
              <a:rPr lang="zh-CN" altLang="en-US" sz="1400" dirty="0" smtClean="0">
                <a:solidFill>
                  <a:srgbClr val="00B050"/>
                </a:solidFill>
                <a:latin typeface="微软雅黑" pitchFamily="34" charset="-122"/>
                <a:ea typeface="微软雅黑" pitchFamily="34" charset="-122"/>
              </a:rPr>
              <a:t>button</a:t>
            </a:r>
            <a:r>
              <a:rPr lang="en-US" altLang="zh-CN" sz="1400" dirty="0" smtClean="0">
                <a:solidFill>
                  <a:srgbClr val="00B050"/>
                </a:solidFill>
                <a:latin typeface="微软雅黑" pitchFamily="34" charset="-122"/>
                <a:ea typeface="微软雅黑" pitchFamily="34" charset="-122"/>
              </a:rPr>
              <a:t>s,</a:t>
            </a:r>
            <a:r>
              <a:rPr lang="zh-CN" altLang="en-US" sz="1400" dirty="0" smtClean="0">
                <a:solidFill>
                  <a:srgbClr val="00B050"/>
                </a:solidFill>
                <a:latin typeface="微软雅黑" pitchFamily="34" charset="-122"/>
                <a:ea typeface="微软雅黑" pitchFamily="34" charset="-122"/>
              </a:rPr>
              <a:t> and air</a:t>
            </a:r>
            <a:r>
              <a:rPr lang="en-US" altLang="zh-CN" sz="1400" dirty="0" smtClean="0">
                <a:solidFill>
                  <a:srgbClr val="00B050"/>
                </a:solidFill>
                <a:latin typeface="微软雅黑" pitchFamily="34" charset="-122"/>
                <a:ea typeface="微软雅黑" pitchFamily="34" charset="-122"/>
              </a:rPr>
              <a:t>-</a:t>
            </a:r>
            <a:r>
              <a:rPr lang="zh-CN" altLang="en-US" sz="1400" dirty="0" smtClean="0">
                <a:solidFill>
                  <a:schemeClr val="bg1"/>
                </a:solidFill>
                <a:latin typeface="微软雅黑" pitchFamily="34" charset="-122"/>
                <a:ea typeface="微软雅黑" pitchFamily="34" charset="-122"/>
              </a:rPr>
              <a:t>quality monitoring on the lamp pole</a:t>
            </a:r>
            <a:endParaRPr lang="en-US" altLang="zh-CN" sz="14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Install </a:t>
            </a:r>
            <a:r>
              <a:rPr lang="en-US" altLang="zh-CN" sz="1400" dirty="0" smtClean="0">
                <a:solidFill>
                  <a:srgbClr val="00B050"/>
                </a:solidFill>
                <a:latin typeface="微软雅黑" pitchFamily="34" charset="-122"/>
                <a:ea typeface="微软雅黑" pitchFamily="34" charset="-122"/>
              </a:rPr>
              <a:t>a</a:t>
            </a: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smart screen on </a:t>
            </a:r>
            <a:r>
              <a:rPr lang="en-US" altLang="zh-CN" sz="1400" dirty="0" smtClean="0">
                <a:solidFill>
                  <a:srgbClr val="00B050"/>
                </a:solidFill>
                <a:latin typeface="微软雅黑" pitchFamily="34" charset="-122"/>
                <a:ea typeface="微软雅黑" pitchFamily="34" charset="-122"/>
              </a:rPr>
              <a:t>each</a:t>
            </a: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lamp pole to </a:t>
            </a:r>
            <a:r>
              <a:rPr lang="zh-CN" altLang="en-US" sz="1400" dirty="0" smtClean="0">
                <a:solidFill>
                  <a:srgbClr val="00B050"/>
                </a:solidFill>
                <a:latin typeface="微软雅黑" pitchFamily="34" charset="-122"/>
                <a:ea typeface="微软雅黑" pitchFamily="34" charset="-122"/>
              </a:rPr>
              <a:t>play </a:t>
            </a:r>
            <a:r>
              <a:rPr lang="en-US" altLang="zh-CN" sz="1400" dirty="0" smtClean="0">
                <a:solidFill>
                  <a:srgbClr val="00B050"/>
                </a:solidFill>
                <a:latin typeface="微软雅黑" pitchFamily="34" charset="-122"/>
                <a:ea typeface="微软雅黑" pitchFamily="34" charset="-122"/>
              </a:rPr>
              <a:t>ongoing</a:t>
            </a:r>
            <a:r>
              <a:rPr lang="zh-CN" altLang="en-US" sz="1400" dirty="0" smtClean="0">
                <a:solidFill>
                  <a:schemeClr val="bg1"/>
                </a:solidFill>
                <a:latin typeface="微软雅黑" pitchFamily="34" charset="-122"/>
                <a:ea typeface="微软雅黑" pitchFamily="34" charset="-122"/>
              </a:rPr>
              <a:t> publicity videos of Yanbu</a:t>
            </a:r>
            <a:endParaRPr lang="en-US" altLang="zh-CN" sz="1400" dirty="0" smtClean="0">
              <a:solidFill>
                <a:schemeClr val="bg1"/>
              </a:solidFill>
              <a:latin typeface="微软雅黑" pitchFamily="34" charset="-122"/>
              <a:ea typeface="微软雅黑" pitchFamily="34" charset="-122"/>
            </a:endParaRPr>
          </a:p>
        </p:txBody>
      </p:sp>
      <p:sp>
        <p:nvSpPr>
          <p:cNvPr id="13" name="TextBox 12"/>
          <p:cNvSpPr txBox="1"/>
          <p:nvPr/>
        </p:nvSpPr>
        <p:spPr>
          <a:xfrm>
            <a:off x="6163438" y="4369879"/>
            <a:ext cx="4896544" cy="1815882"/>
          </a:xfrm>
          <a:prstGeom prst="rect">
            <a:avLst/>
          </a:prstGeom>
          <a:noFill/>
        </p:spPr>
        <p:txBody>
          <a:bodyPr wrap="square" rtlCol="0">
            <a:spAutoFit/>
          </a:bodyPr>
          <a:lstStyle/>
          <a:p>
            <a:pPr>
              <a:buFont typeface="Arial" pitchFamily="34" charset="0"/>
              <a:buChar char="•"/>
            </a:pPr>
            <a:r>
              <a:rPr lang="zh-CN" altLang="en-US" sz="11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Public lighting </a:t>
            </a:r>
            <a:r>
              <a:rPr lang="zh-CN" altLang="en-US" sz="1400" dirty="0" smtClean="0">
                <a:solidFill>
                  <a:srgbClr val="00B050"/>
                </a:solidFill>
                <a:latin typeface="微软雅黑" pitchFamily="34" charset="-122"/>
                <a:ea typeface="微软雅黑" pitchFamily="34" charset="-122"/>
              </a:rPr>
              <a:t>cost</a:t>
            </a:r>
            <a:r>
              <a:rPr lang="en-US" altLang="zh-CN" sz="1400" dirty="0" smtClean="0">
                <a:solidFill>
                  <a:srgbClr val="00B050"/>
                </a:solidFill>
                <a:latin typeface="微软雅黑" pitchFamily="34" charset="-122"/>
                <a:ea typeface="微软雅黑" pitchFamily="34" charset="-122"/>
              </a:rPr>
              <a:t>s are</a:t>
            </a:r>
            <a:r>
              <a:rPr lang="zh-CN" altLang="en-US" sz="1400" dirty="0" smtClean="0">
                <a:solidFill>
                  <a:srgbClr val="00B050"/>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reduced by </a:t>
            </a:r>
            <a:r>
              <a:rPr lang="en-US" altLang="zh-CN"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50%</a:t>
            </a:r>
            <a:r>
              <a:rPr lang="zh-CN" altLang="en-US" sz="1400" dirty="0" smtClean="0">
                <a:solidFill>
                  <a:schemeClr val="bg1"/>
                </a:solidFill>
                <a:latin typeface="微软雅黑" pitchFamily="34" charset="-122"/>
                <a:ea typeface="微软雅黑" pitchFamily="34" charset="-122"/>
              </a:rPr>
              <a:t> and lighting maintenance </a:t>
            </a:r>
            <a:r>
              <a:rPr lang="zh-CN" altLang="en-US" sz="1400" dirty="0" smtClean="0">
                <a:solidFill>
                  <a:srgbClr val="00B050"/>
                </a:solidFill>
                <a:latin typeface="微软雅黑" pitchFamily="34" charset="-122"/>
                <a:ea typeface="微软雅黑" pitchFamily="34" charset="-122"/>
              </a:rPr>
              <a:t>cost</a:t>
            </a:r>
            <a:r>
              <a:rPr lang="en-US" altLang="zh-CN" sz="1400" dirty="0" smtClean="0">
                <a:solidFill>
                  <a:srgbClr val="00B050"/>
                </a:solidFill>
                <a:latin typeface="微软雅黑" pitchFamily="34" charset="-122"/>
                <a:ea typeface="微软雅黑" pitchFamily="34" charset="-122"/>
              </a:rPr>
              <a:t>s are</a:t>
            </a:r>
            <a:r>
              <a:rPr lang="zh-CN" altLang="en-US" sz="1400" dirty="0" smtClean="0">
                <a:solidFill>
                  <a:srgbClr val="00B050"/>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reduced by </a:t>
            </a:r>
            <a:r>
              <a:rPr lang="en-US" altLang="zh-CN"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90%</a:t>
            </a:r>
          </a:p>
          <a:p>
            <a:pPr>
              <a:buFont typeface="Arial" pitchFamily="34" charset="0"/>
              <a:buChar char="•"/>
            </a:pPr>
            <a:r>
              <a:rPr lang="zh-CN" altLang="en-US" sz="1400" dirty="0" smtClean="0">
                <a:solidFill>
                  <a:schemeClr val="bg1"/>
                </a:solidFill>
                <a:latin typeface="微软雅黑" pitchFamily="34" charset="-122"/>
                <a:ea typeface="微软雅黑" pitchFamily="34" charset="-122"/>
              </a:rPr>
              <a:t> </a:t>
            </a:r>
            <a:r>
              <a:rPr lang="en-US" altLang="zh-CN" sz="1400" dirty="0" smtClean="0">
                <a:solidFill>
                  <a:srgbClr val="00B050"/>
                </a:solidFill>
                <a:latin typeface="微软雅黑" pitchFamily="34" charset="-122"/>
                <a:ea typeface="微软雅黑" pitchFamily="34" charset="-122"/>
              </a:rPr>
              <a:t>C</a:t>
            </a:r>
            <a:r>
              <a:rPr lang="zh-CN" altLang="en-US" sz="1400" b="1" dirty="0" smtClean="0">
                <a:solidFill>
                  <a:srgbClr val="00B050"/>
                </a:solidFill>
                <a:latin typeface="微软雅黑" pitchFamily="34" charset="-122"/>
                <a:ea typeface="微软雅黑" pitchFamily="34" charset="-122"/>
              </a:rPr>
              <a:t>omprehensive</a:t>
            </a:r>
            <a:r>
              <a:rPr lang="zh-CN" altLang="en-US" sz="1400" dirty="0" smtClean="0">
                <a:solidFill>
                  <a:srgbClr val="00B050"/>
                </a:solidFill>
                <a:latin typeface="微软雅黑" pitchFamily="34" charset="-122"/>
                <a:ea typeface="微软雅黑" pitchFamily="34" charset="-122"/>
              </a:rPr>
              <a:t> </a:t>
            </a:r>
            <a:r>
              <a:rPr lang="en-US" altLang="zh-CN"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24/7 </a:t>
            </a: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video surveillance</a:t>
            </a:r>
            <a:r>
              <a:rPr lang="zh-CN" altLang="en-US" sz="1400" dirty="0" smtClean="0">
                <a:solidFill>
                  <a:schemeClr val="bg1"/>
                </a:solidFill>
                <a:latin typeface="微软雅黑" pitchFamily="34" charset="-122"/>
                <a:ea typeface="微软雅黑" pitchFamily="34" charset="-122"/>
              </a:rPr>
              <a:t> greatly </a:t>
            </a:r>
            <a:r>
              <a:rPr lang="zh-CN" altLang="en-US" sz="1400" dirty="0" smtClean="0">
                <a:solidFill>
                  <a:srgbClr val="00B050"/>
                </a:solidFill>
                <a:latin typeface="微软雅黑" pitchFamily="34" charset="-122"/>
                <a:ea typeface="微软雅黑" pitchFamily="34" charset="-122"/>
              </a:rPr>
              <a:t>reduc</a:t>
            </a:r>
            <a:r>
              <a:rPr lang="en-US" altLang="zh-CN" sz="1400" dirty="0" smtClean="0">
                <a:solidFill>
                  <a:srgbClr val="00B050"/>
                </a:solidFill>
                <a:latin typeface="微软雅黑" pitchFamily="34" charset="-122"/>
                <a:ea typeface="微软雅黑" pitchFamily="34" charset="-122"/>
              </a:rPr>
              <a:t>es</a:t>
            </a:r>
            <a:r>
              <a:rPr lang="zh-CN" altLang="en-US" sz="1400" dirty="0" smtClean="0">
                <a:solidFill>
                  <a:srgbClr val="00B050"/>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safety risks</a:t>
            </a:r>
            <a:endParaRPr lang="en-US" altLang="zh-CN" sz="14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Real-time display of air quality and </a:t>
            </a:r>
            <a:r>
              <a:rPr lang="zh-CN" altLang="en-US" sz="1400" dirty="0" smtClean="0">
                <a:solidFill>
                  <a:srgbClr val="00B050"/>
                </a:solidFill>
                <a:latin typeface="微软雅黑" pitchFamily="34" charset="-122"/>
                <a:ea typeface="微软雅黑" pitchFamily="34" charset="-122"/>
              </a:rPr>
              <a:t>publicity</a:t>
            </a:r>
            <a:r>
              <a:rPr lang="zh-CN" altLang="en-US" sz="1400" dirty="0" smtClean="0">
                <a:solidFill>
                  <a:schemeClr val="bg1"/>
                </a:solidFill>
                <a:latin typeface="微软雅黑" pitchFamily="34" charset="-122"/>
                <a:ea typeface="微软雅黑" pitchFamily="34" charset="-122"/>
              </a:rPr>
              <a:t> videos </a:t>
            </a:r>
            <a:r>
              <a:rPr lang="zh-CN" altLang="en-US" sz="1400" dirty="0" smtClean="0">
                <a:solidFill>
                  <a:srgbClr val="00B050"/>
                </a:solidFill>
                <a:latin typeface="微软雅黑" pitchFamily="34" charset="-122"/>
                <a:ea typeface="微软雅黑" pitchFamily="34" charset="-122"/>
              </a:rPr>
              <a:t>highlight</a:t>
            </a:r>
            <a:r>
              <a:rPr lang="zh-CN" altLang="en-US" sz="1400" dirty="0" smtClean="0">
                <a:solidFill>
                  <a:schemeClr val="bg1"/>
                </a:solidFill>
                <a:latin typeface="微软雅黑" pitchFamily="34" charset="-122"/>
                <a:ea typeface="微软雅黑" pitchFamily="34" charset="-122"/>
              </a:rPr>
              <a:t> the </a:t>
            </a:r>
            <a:r>
              <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achievements</a:t>
            </a:r>
            <a:r>
              <a:rPr lang="zh-CN" altLang="en-US" sz="1400" dirty="0" smtClean="0">
                <a:solidFill>
                  <a:schemeClr val="bg1"/>
                </a:solidFill>
                <a:latin typeface="微软雅黑" pitchFamily="34" charset="-122"/>
                <a:ea typeface="微软雅黑" pitchFamily="34" charset="-122"/>
              </a:rPr>
              <a:t> of smart city construction</a:t>
            </a:r>
            <a:endParaRPr lang="en-US" altLang="zh-CN"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In </a:t>
            </a:r>
            <a:r>
              <a:rPr lang="en-US" altLang="zh-CN" sz="1400" dirty="0" smtClean="0">
                <a:solidFill>
                  <a:srgbClr val="00B050"/>
                </a:solidFill>
                <a:latin typeface="微软雅黑" pitchFamily="34" charset="-122"/>
                <a:ea typeface="微软雅黑" pitchFamily="34" charset="-122"/>
              </a:rPr>
              <a:t>a</a:t>
            </a: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later stage, the smart screen operation can be used to </a:t>
            </a:r>
            <a:r>
              <a:rPr lang="zh-CN" altLang="en-US" sz="1400" b="1" dirty="0" smtClean="0">
                <a:solidFill>
                  <a:srgbClr val="FFC000"/>
                </a:solidFill>
                <a:latin typeface="微软雅黑" pitchFamily="34" charset="-122"/>
                <a:ea typeface="微软雅黑" pitchFamily="34" charset="-122"/>
              </a:rPr>
              <a:t>increase</a:t>
            </a: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revenue</a:t>
            </a:r>
          </a:p>
        </p:txBody>
      </p: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019" y="2565698"/>
            <a:ext cx="4896544" cy="1872718"/>
          </a:xfrm>
          <a:prstGeom prst="rect">
            <a:avLst/>
          </a:prstGeom>
        </p:spPr>
      </p:pic>
      <p:sp>
        <p:nvSpPr>
          <p:cNvPr id="18" name="TextBox 17"/>
          <p:cNvSpPr txBox="1"/>
          <p:nvPr/>
        </p:nvSpPr>
        <p:spPr>
          <a:xfrm>
            <a:off x="989053" y="3066727"/>
            <a:ext cx="4896544" cy="1384995"/>
          </a:xfrm>
          <a:prstGeom prst="rect">
            <a:avLst/>
          </a:prstGeom>
          <a:noFill/>
        </p:spPr>
        <p:txBody>
          <a:bodyPr wrap="square" rtlCol="0">
            <a:spAutoFit/>
          </a:bodyPr>
          <a:lstStyle/>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The costs of public lighting and maintenance are high, and faults cannot be handled </a:t>
            </a:r>
            <a:r>
              <a:rPr lang="en-US" altLang="zh-CN" sz="1400" dirty="0" smtClean="0">
                <a:solidFill>
                  <a:srgbClr val="00B050"/>
                </a:solidFill>
                <a:latin typeface="微软雅黑" pitchFamily="34" charset="-122"/>
                <a:ea typeface="微软雅黑" pitchFamily="34" charset="-122"/>
              </a:rPr>
              <a:t>o</a:t>
            </a:r>
            <a:r>
              <a:rPr lang="zh-CN" altLang="en-US" sz="1400" dirty="0" smtClean="0">
                <a:solidFill>
                  <a:srgbClr val="00B050"/>
                </a:solidFill>
                <a:latin typeface="微软雅黑" pitchFamily="34" charset="-122"/>
                <a:ea typeface="微软雅黑" pitchFamily="34" charset="-122"/>
              </a:rPr>
              <a:t>n</a:t>
            </a:r>
            <a:r>
              <a:rPr lang="zh-CN" altLang="en-US" sz="1400" dirty="0" smtClean="0">
                <a:solidFill>
                  <a:schemeClr val="bg1"/>
                </a:solidFill>
                <a:latin typeface="微软雅黑" pitchFamily="34" charset="-122"/>
                <a:ea typeface="微软雅黑" pitchFamily="34" charset="-122"/>
              </a:rPr>
              <a:t> time.</a:t>
            </a:r>
            <a:endParaRPr lang="en-US" altLang="zh-CN" sz="14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Safety risks exist in seaside </a:t>
            </a:r>
            <a:r>
              <a:rPr lang="en-US" altLang="zh-CN" sz="1400" dirty="0" smtClean="0">
                <a:solidFill>
                  <a:srgbClr val="00B050"/>
                </a:solidFill>
                <a:latin typeface="微软雅黑" pitchFamily="34" charset="-122"/>
                <a:ea typeface="微软雅黑" pitchFamily="34" charset="-122"/>
              </a:rPr>
              <a:t>areas</a:t>
            </a:r>
            <a:r>
              <a:rPr lang="zh-CN" altLang="en-US" sz="1400" dirty="0" smtClean="0">
                <a:solidFill>
                  <a:schemeClr val="bg1"/>
                </a:solidFill>
                <a:latin typeface="微软雅黑" pitchFamily="34" charset="-122"/>
                <a:ea typeface="微软雅黑" pitchFamily="34" charset="-122"/>
              </a:rPr>
              <a:t>, parks</a:t>
            </a:r>
            <a:r>
              <a:rPr lang="en-US" altLang="zh-CN" sz="1400" dirty="0" smtClean="0">
                <a:solidFill>
                  <a:schemeClr val="bg1"/>
                </a:solidFill>
                <a:latin typeface="微软雅黑" pitchFamily="34" charset="-122"/>
                <a:ea typeface="微软雅黑" pitchFamily="34" charset="-122"/>
              </a:rPr>
              <a:t>,</a:t>
            </a:r>
            <a:r>
              <a:rPr lang="zh-CN" altLang="en-US" sz="1400" dirty="0" smtClean="0">
                <a:solidFill>
                  <a:schemeClr val="bg1"/>
                </a:solidFill>
                <a:latin typeface="微软雅黑" pitchFamily="34" charset="-122"/>
                <a:ea typeface="微软雅黑" pitchFamily="34" charset="-122"/>
              </a:rPr>
              <a:t> and other </a:t>
            </a:r>
            <a:r>
              <a:rPr lang="en-US" altLang="zh-CN" sz="1400" dirty="0" smtClean="0">
                <a:solidFill>
                  <a:srgbClr val="00B050"/>
                </a:solidFill>
                <a:latin typeface="微软雅黑" pitchFamily="34" charset="-122"/>
                <a:ea typeface="微软雅黑" pitchFamily="34" charset="-122"/>
              </a:rPr>
              <a:t>locations</a:t>
            </a:r>
            <a:r>
              <a:rPr lang="zh-CN" altLang="en-US" sz="1400" dirty="0" smtClean="0">
                <a:solidFill>
                  <a:schemeClr val="bg1"/>
                </a:solidFill>
                <a:latin typeface="微软雅黑" pitchFamily="34" charset="-122"/>
                <a:ea typeface="微软雅黑" pitchFamily="34" charset="-122"/>
              </a:rPr>
              <a:t>.</a:t>
            </a:r>
            <a:endParaRPr lang="en-US" altLang="zh-CN" sz="14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The current </a:t>
            </a:r>
            <a:r>
              <a:rPr lang="en-US" altLang="zh-CN" sz="1400" dirty="0" smtClean="0">
                <a:solidFill>
                  <a:srgbClr val="00B050"/>
                </a:solidFill>
                <a:latin typeface="微软雅黑" pitchFamily="34" charset="-122"/>
                <a:ea typeface="微软雅黑" pitchFamily="34" charset="-122"/>
              </a:rPr>
              <a:t>design</a:t>
            </a:r>
            <a:r>
              <a:rPr lang="en-US" altLang="zh-CN" sz="1400" dirty="0" smtClean="0">
                <a:solidFill>
                  <a:schemeClr val="bg1"/>
                </a:solidFill>
                <a:latin typeface="微软雅黑" pitchFamily="34" charset="-122"/>
                <a:ea typeface="微软雅黑" pitchFamily="34" charset="-122"/>
              </a:rPr>
              <a:t> </a:t>
            </a:r>
            <a:r>
              <a:rPr lang="zh-CN" altLang="en-US" sz="1400" dirty="0" smtClean="0">
                <a:solidFill>
                  <a:schemeClr val="bg1"/>
                </a:solidFill>
                <a:latin typeface="微软雅黑" pitchFamily="34" charset="-122"/>
                <a:ea typeface="微软雅黑" pitchFamily="34" charset="-122"/>
              </a:rPr>
              <a:t>style of streetlights is </a:t>
            </a:r>
            <a:r>
              <a:rPr lang="zh-CN" altLang="en-US" sz="1400" dirty="0" smtClean="0">
                <a:solidFill>
                  <a:srgbClr val="00B050"/>
                </a:solidFill>
                <a:latin typeface="微软雅黑" pitchFamily="34" charset="-122"/>
                <a:ea typeface="微软雅黑" pitchFamily="34" charset="-122"/>
              </a:rPr>
              <a:t>sing</a:t>
            </a:r>
            <a:r>
              <a:rPr lang="en-US" altLang="zh-CN" sz="1400" dirty="0" err="1" smtClean="0">
                <a:solidFill>
                  <a:srgbClr val="00B050"/>
                </a:solidFill>
                <a:latin typeface="微软雅黑" pitchFamily="34" charset="-122"/>
                <a:ea typeface="微软雅黑" pitchFamily="34" charset="-122"/>
              </a:rPr>
              <a:t>ular</a:t>
            </a:r>
            <a:r>
              <a:rPr lang="en-US" altLang="zh-CN" sz="1400" dirty="0" smtClean="0">
                <a:solidFill>
                  <a:srgbClr val="00B050"/>
                </a:solidFill>
                <a:latin typeface="微软雅黑" pitchFamily="34" charset="-122"/>
                <a:ea typeface="微软雅黑" pitchFamily="34" charset="-122"/>
              </a:rPr>
              <a:t>,</a:t>
            </a:r>
            <a:r>
              <a:rPr lang="zh-CN" altLang="en-US" sz="1400" dirty="0" smtClean="0">
                <a:solidFill>
                  <a:srgbClr val="00B050"/>
                </a:solidFill>
                <a:latin typeface="微软雅黑" pitchFamily="34" charset="-122"/>
                <a:ea typeface="微软雅黑" pitchFamily="34" charset="-122"/>
              </a:rPr>
              <a:t> and </a:t>
            </a:r>
            <a:r>
              <a:rPr lang="zh-CN" altLang="en-US" sz="1400" dirty="0" smtClean="0">
                <a:solidFill>
                  <a:schemeClr val="bg1"/>
                </a:solidFill>
                <a:latin typeface="微软雅黑" pitchFamily="34" charset="-122"/>
                <a:ea typeface="微软雅黑" pitchFamily="34" charset="-122"/>
              </a:rPr>
              <a:t>there is no high-tech </a:t>
            </a:r>
            <a:r>
              <a:rPr lang="en-US" altLang="zh-CN" sz="1400" dirty="0" smtClean="0">
                <a:solidFill>
                  <a:srgbClr val="00B050"/>
                </a:solidFill>
                <a:latin typeface="微软雅黑" pitchFamily="34" charset="-122"/>
                <a:ea typeface="微软雅黑" pitchFamily="34" charset="-122"/>
              </a:rPr>
              <a:t>appearance</a:t>
            </a:r>
            <a:r>
              <a:rPr lang="zh-CN" altLang="en-US" sz="1400" dirty="0" smtClean="0">
                <a:solidFill>
                  <a:schemeClr val="bg1"/>
                </a:solidFill>
                <a:latin typeface="微软雅黑" pitchFamily="34" charset="-122"/>
                <a:ea typeface="微软雅黑" pitchFamily="34" charset="-122"/>
              </a:rPr>
              <a:t>.</a:t>
            </a:r>
            <a:endParaRPr lang="en-US" altLang="zh-CN" sz="1400" dirty="0" smtClean="0">
              <a:solidFill>
                <a:schemeClr val="bg1"/>
              </a:solidFill>
              <a:latin typeface="微软雅黑" pitchFamily="34" charset="-122"/>
              <a:ea typeface="微软雅黑" pitchFamily="34" charset="-122"/>
            </a:endParaRPr>
          </a:p>
        </p:txBody>
      </p:sp>
      <p:sp>
        <p:nvSpPr>
          <p:cNvPr id="17" name="TextBox 16"/>
          <p:cNvSpPr txBox="1"/>
          <p:nvPr/>
        </p:nvSpPr>
        <p:spPr>
          <a:xfrm>
            <a:off x="1016349" y="2616466"/>
            <a:ext cx="3069048"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Customer Pain Points</a:t>
            </a:r>
          </a:p>
        </p:txBody>
      </p:sp>
      <p:sp>
        <p:nvSpPr>
          <p:cNvPr id="14" name="矩形 13"/>
          <p:cNvSpPr/>
          <p:nvPr/>
        </p:nvSpPr>
        <p:spPr>
          <a:xfrm>
            <a:off x="696986" y="405458"/>
            <a:ext cx="10729191" cy="523220"/>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latin typeface="Calibri" pitchFamily="34" charset="0"/>
                <a:ea typeface="微软雅黑" pitchFamily="34" charset="-122"/>
                <a:cs typeface="Calibri" pitchFamily="34" charset="0"/>
              </a:rPr>
              <a:t>Smart Pole Project of Yanbu Smart City Phase </a:t>
            </a:r>
            <a:r>
              <a:rPr lang="zh-CN" altLang="en-US" sz="2800" b="1" dirty="0" smtClean="0">
                <a:solidFill>
                  <a:srgbClr val="00B050"/>
                </a:solidFill>
                <a:effectLst>
                  <a:outerShdw blurRad="38100" dist="38100" dir="2700000" algn="tl">
                    <a:srgbClr val="000000">
                      <a:alpha val="43137"/>
                    </a:srgbClr>
                  </a:outerShdw>
                </a:effectLst>
                <a:latin typeface="Calibri" pitchFamily="34" charset="0"/>
                <a:ea typeface="微软雅黑" pitchFamily="34" charset="-122"/>
                <a:cs typeface="Calibri" pitchFamily="34" charset="0"/>
              </a:rPr>
              <a:t>2</a:t>
            </a:r>
            <a:r>
              <a:rPr lang="en-US" altLang="zh-CN" sz="2800" b="1" dirty="0">
                <a:solidFill>
                  <a:srgbClr val="00B050"/>
                </a:solidFill>
                <a:effectLst>
                  <a:outerShdw blurRad="38100" dist="38100" dir="2700000" algn="tl">
                    <a:srgbClr val="000000">
                      <a:alpha val="43137"/>
                    </a:srgbClr>
                  </a:outerShdw>
                </a:effectLst>
                <a:latin typeface="Calibri" pitchFamily="34" charset="0"/>
                <a:ea typeface="微软雅黑" pitchFamily="34" charset="-122"/>
                <a:cs typeface="Calibri" pitchFamily="34" charset="0"/>
              </a:rPr>
              <a:t>:</a:t>
            </a:r>
            <a:r>
              <a:rPr lang="zh-CN" altLang="en-US" sz="2800" b="1" dirty="0" smtClean="0">
                <a:solidFill>
                  <a:srgbClr val="00B050"/>
                </a:solidFill>
                <a:effectLst>
                  <a:outerShdw blurRad="38100" dist="38100" dir="2700000" algn="tl">
                    <a:srgbClr val="000000">
                      <a:alpha val="43137"/>
                    </a:srgbClr>
                  </a:outerShdw>
                </a:effectLst>
                <a:latin typeface="Calibri" pitchFamily="34" charset="0"/>
                <a:ea typeface="微软雅黑" pitchFamily="34" charset="-122"/>
                <a:cs typeface="Calibri" pitchFamily="34" charset="0"/>
              </a:rPr>
              <a:t> </a:t>
            </a:r>
            <a:r>
              <a:rPr lang="zh-CN" altLang="en-US" sz="2800" b="1" dirty="0" smtClean="0">
                <a:solidFill>
                  <a:schemeClr val="bg1"/>
                </a:solidFill>
                <a:effectLst>
                  <a:outerShdw blurRad="38100" dist="38100" dir="2700000" algn="tl">
                    <a:srgbClr val="000000">
                      <a:alpha val="43137"/>
                    </a:srgbClr>
                  </a:outerShdw>
                </a:effectLst>
                <a:latin typeface="Calibri" pitchFamily="34" charset="0"/>
                <a:ea typeface="微软雅黑" pitchFamily="34" charset="-122"/>
                <a:cs typeface="Calibri" pitchFamily="34" charset="0"/>
              </a:rPr>
              <a:t>Saudi Arabia </a:t>
            </a:r>
            <a:endParaRPr lang="zh-CN" altLang="en-US" sz="2800" b="1" dirty="0">
              <a:solidFill>
                <a:schemeClr val="bg1"/>
              </a:solidFill>
              <a:effectLst>
                <a:outerShdw blurRad="38100" dist="38100" dir="2700000" algn="tl">
                  <a:srgbClr val="000000">
                    <a:alpha val="43137"/>
                  </a:srgbClr>
                </a:outerShdw>
              </a:effectLst>
            </a:endParaRPr>
          </a:p>
        </p:txBody>
      </p:sp>
    </p:spTree>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p:cNvPicPr>
            <a:picLocks noChangeAspect="1" noChangeArrowheads="1"/>
          </p:cNvPicPr>
          <p:nvPr/>
        </p:nvPicPr>
        <p:blipFill>
          <a:blip r:embed="rId2" cstate="print"/>
          <a:srcRect/>
          <a:stretch>
            <a:fillRect/>
          </a:stretch>
        </p:blipFill>
        <p:spPr bwMode="auto">
          <a:xfrm>
            <a:off x="0" y="0"/>
            <a:ext cx="12195175" cy="6859588"/>
          </a:xfrm>
          <a:prstGeom prst="rect">
            <a:avLst/>
          </a:prstGeom>
          <a:noFill/>
          <a:ln w="9525">
            <a:noFill/>
            <a:miter lim="800000"/>
            <a:headEnd/>
            <a:tailEnd/>
          </a:ln>
        </p:spPr>
      </p:pic>
      <p:sp>
        <p:nvSpPr>
          <p:cNvPr id="10" name="矩形 9">
            <a:extLst>
              <a:ext uri="{FF2B5EF4-FFF2-40B4-BE49-F238E27FC236}">
                <a16:creationId xmlns:a16="http://schemas.microsoft.com/office/drawing/2014/main" xmlns="" id="{895520C8-04DD-4123-ACDC-FEBFB1F3E43E}"/>
              </a:ext>
            </a:extLst>
          </p:cNvPr>
          <p:cNvSpPr/>
          <p:nvPr/>
        </p:nvSpPr>
        <p:spPr>
          <a:xfrm>
            <a:off x="-6219" y="-26590"/>
            <a:ext cx="12201394" cy="6886178"/>
          </a:xfrm>
          <a:prstGeom prst="rect">
            <a:avLst/>
          </a:prstGeom>
          <a:gradFill>
            <a:gsLst>
              <a:gs pos="100000">
                <a:schemeClr val="tx2">
                  <a:lumMod val="50000"/>
                  <a:alpha val="0"/>
                </a:schemeClr>
              </a:gs>
              <a:gs pos="0">
                <a:srgbClr val="07101B"/>
              </a:gs>
              <a:gs pos="57000">
                <a:srgbClr val="07101B">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path path="circle">
                  <a:fillToRect l="50000" t="50000" r="50000" b="50000"/>
                </a:path>
                <a:tileRect/>
              </a:gradFill>
            </a:endParaRPr>
          </a:p>
        </p:txBody>
      </p:sp>
      <p:sp>
        <p:nvSpPr>
          <p:cNvPr id="8" name="矩形 7"/>
          <p:cNvSpPr/>
          <p:nvPr/>
        </p:nvSpPr>
        <p:spPr>
          <a:xfrm>
            <a:off x="696986" y="405458"/>
            <a:ext cx="10729191" cy="523220"/>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rPr>
              <a:t>Smart Pole Project in Haidian </a:t>
            </a:r>
            <a:r>
              <a:rPr lang="zh-CN" altLang="en-US" sz="2800" b="1" dirty="0" smtClean="0">
                <a:solidFill>
                  <a:srgbClr val="00B050"/>
                </a:solidFill>
                <a:effectLst>
                  <a:outerShdw blurRad="38100" dist="38100" dir="2700000" algn="tl">
                    <a:srgbClr val="000000">
                      <a:alpha val="43137"/>
                    </a:srgbClr>
                  </a:outerShdw>
                </a:effectLst>
              </a:rPr>
              <a:t>Park</a:t>
            </a:r>
            <a:r>
              <a:rPr lang="en-US" altLang="zh-CN" sz="2800" b="1" dirty="0" smtClean="0">
                <a:solidFill>
                  <a:srgbClr val="00B050"/>
                </a:solidFill>
                <a:effectLst>
                  <a:outerShdw blurRad="38100" dist="38100" dir="2700000" algn="tl">
                    <a:srgbClr val="000000">
                      <a:alpha val="43137"/>
                    </a:srgbClr>
                  </a:outerShdw>
                </a:effectLst>
              </a:rPr>
              <a:t>:</a:t>
            </a:r>
            <a:r>
              <a:rPr lang="zh-CN" altLang="en-US" sz="2800" b="1" dirty="0" smtClean="0">
                <a:solidFill>
                  <a:schemeClr val="bg1"/>
                </a:solidFill>
                <a:effectLst>
                  <a:outerShdw blurRad="38100" dist="38100" dir="2700000" algn="tl">
                    <a:srgbClr val="000000">
                      <a:alpha val="43137"/>
                    </a:srgbClr>
                  </a:outerShdw>
                </a:effectLst>
              </a:rPr>
              <a:t> Beijing </a:t>
            </a:r>
            <a:endParaRPr lang="zh-CN" altLang="en-US" sz="2800" b="1" dirty="0">
              <a:solidFill>
                <a:schemeClr val="bg1"/>
              </a:solidFill>
              <a:effectLst>
                <a:outerShdw blurRad="38100" dist="38100" dir="2700000" algn="tl">
                  <a:srgbClr val="000000">
                    <a:alpha val="43137"/>
                  </a:srgbClr>
                </a:outerShdw>
              </a:effectLst>
            </a:endParaRP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019" y="4365898"/>
            <a:ext cx="4896544" cy="2161261"/>
          </a:xfrm>
          <a:prstGeom prst="rect">
            <a:avLst/>
          </a:prstGeom>
        </p:spPr>
      </p:pic>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9595" y="4365898"/>
            <a:ext cx="4896544" cy="2161261"/>
          </a:xfrm>
          <a:prstGeom prst="rect">
            <a:avLst/>
          </a:prstGeom>
        </p:spPr>
      </p:pic>
      <p:sp>
        <p:nvSpPr>
          <p:cNvPr id="13" name="TextBox 12"/>
          <p:cNvSpPr txBox="1"/>
          <p:nvPr/>
        </p:nvSpPr>
        <p:spPr>
          <a:xfrm>
            <a:off x="1012315" y="4457921"/>
            <a:ext cx="1556880"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Solution</a:t>
            </a:r>
          </a:p>
        </p:txBody>
      </p:sp>
      <p:sp>
        <p:nvSpPr>
          <p:cNvPr id="14" name="TextBox 13"/>
          <p:cNvSpPr txBox="1"/>
          <p:nvPr/>
        </p:nvSpPr>
        <p:spPr>
          <a:xfrm>
            <a:off x="6169595" y="4406254"/>
            <a:ext cx="3024336"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Customer Benefits</a:t>
            </a:r>
          </a:p>
        </p:txBody>
      </p:sp>
      <p:sp>
        <p:nvSpPr>
          <p:cNvPr id="15" name="TextBox 14"/>
          <p:cNvSpPr txBox="1"/>
          <p:nvPr/>
        </p:nvSpPr>
        <p:spPr>
          <a:xfrm>
            <a:off x="985018" y="4860074"/>
            <a:ext cx="4855733" cy="1569660"/>
          </a:xfrm>
          <a:prstGeom prst="rect">
            <a:avLst/>
          </a:prstGeom>
          <a:noFill/>
        </p:spPr>
        <p:txBody>
          <a:bodyPr wrap="square" rtlCol="0">
            <a:spAutoFit/>
          </a:bodyPr>
          <a:lstStyle/>
          <a:p>
            <a:pPr>
              <a:buFont typeface="Arial" pitchFamily="34" charset="0"/>
              <a:buChar char="•"/>
            </a:pPr>
            <a:r>
              <a:rPr lang="zh-CN" altLang="en-US" sz="1200" dirty="0" smtClean="0">
                <a:solidFill>
                  <a:schemeClr val="bg1"/>
                </a:solidFill>
                <a:latin typeface="微软雅黑" pitchFamily="34" charset="-122"/>
                <a:ea typeface="微软雅黑" pitchFamily="34" charset="-122"/>
              </a:rPr>
              <a:t> Build a public lighting platform with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LED</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lighting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PTZ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a:t>
            </a:r>
            <a:r>
              <a:rPr lang="en-US" altLang="zh-CN"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Wi-Fi</a:t>
            </a:r>
            <a:r>
              <a:rPr lang="zh-CN" altLang="en-US" sz="1200" dirty="0" smtClean="0">
                <a:solidFill>
                  <a:schemeClr val="bg1"/>
                </a:solidFill>
                <a:latin typeface="微软雅黑" pitchFamily="34" charset="-122"/>
                <a:ea typeface="微软雅黑" pitchFamily="34" charset="-122"/>
              </a:rPr>
              <a:t>. There is 360° video surveillance and wireless Internet access in the park.</a:t>
            </a:r>
            <a:endParaRPr lang="en-US" altLang="zh-CN" sz="1200" dirty="0" smtClean="0">
              <a:solidFill>
                <a:schemeClr val="bg1"/>
              </a:solidFill>
              <a:latin typeface="微软雅黑" pitchFamily="34" charset="-122"/>
              <a:ea typeface="微软雅黑" pitchFamily="34" charset="-122"/>
            </a:endParaRPr>
          </a:p>
          <a:p>
            <a:pPr>
              <a:buFont typeface="Arial" pitchFamily="34" charset="0"/>
              <a:buChar char="•"/>
            </a:pPr>
            <a:r>
              <a:rPr lang="en-US" altLang="zh-CN"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The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LED</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screen </a:t>
            </a:r>
            <a:r>
              <a:rPr lang="zh-CN" altLang="en-US" sz="1200" dirty="0" smtClean="0">
                <a:solidFill>
                  <a:schemeClr val="bg1"/>
                </a:solidFill>
                <a:latin typeface="微软雅黑" pitchFamily="34" charset="-122"/>
                <a:ea typeface="微软雅黑" pitchFamily="34" charset="-122"/>
              </a:rPr>
              <a:t>of the lamp pole is used to </a:t>
            </a:r>
            <a:r>
              <a:rPr lang="zh-CN" altLang="en-US" sz="1200" dirty="0" smtClean="0">
                <a:solidFill>
                  <a:srgbClr val="00B050"/>
                </a:solidFill>
                <a:latin typeface="微软雅黑" pitchFamily="34" charset="-122"/>
                <a:ea typeface="微软雅黑" pitchFamily="34" charset="-122"/>
              </a:rPr>
              <a:t>publ</a:t>
            </a:r>
            <a:r>
              <a:rPr lang="en-US" altLang="zh-CN" sz="1200" dirty="0" smtClean="0">
                <a:solidFill>
                  <a:srgbClr val="00B050"/>
                </a:solidFill>
                <a:latin typeface="微软雅黑" pitchFamily="34" charset="-122"/>
                <a:ea typeface="微软雅黑" pitchFamily="34" charset="-122"/>
              </a:rPr>
              <a:t>icize</a:t>
            </a:r>
            <a:r>
              <a:rPr lang="zh-CN" altLang="en-US" sz="1200" dirty="0" smtClean="0">
                <a:solidFill>
                  <a:srgbClr val="00B050"/>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information in real time, and promote public </a:t>
            </a:r>
            <a:r>
              <a:rPr lang="en-US" altLang="zh-CN" sz="1200" dirty="0" smtClean="0">
                <a:solidFill>
                  <a:schemeClr val="bg1"/>
                </a:solidFill>
                <a:latin typeface="微软雅黑" pitchFamily="34" charset="-122"/>
                <a:ea typeface="微软雅黑" pitchFamily="34" charset="-122"/>
              </a:rPr>
              <a:t>awareness</a:t>
            </a:r>
            <a:r>
              <a:rPr lang="zh-CN" altLang="en-US" sz="1200" dirty="0" smtClean="0">
                <a:solidFill>
                  <a:schemeClr val="bg1"/>
                </a:solidFill>
                <a:latin typeface="微软雅黑" pitchFamily="34" charset="-122"/>
                <a:ea typeface="微软雅黑" pitchFamily="34" charset="-122"/>
              </a:rPr>
              <a:t>. </a:t>
            </a:r>
            <a:endParaRPr lang="en-US" altLang="zh-CN" sz="1200" dirty="0" smtClean="0">
              <a:solidFill>
                <a:schemeClr val="bg1"/>
              </a:solidFill>
              <a:latin typeface="微软雅黑" pitchFamily="34" charset="-122"/>
              <a:ea typeface="微软雅黑" pitchFamily="34" charset="-122"/>
            </a:endParaRPr>
          </a:p>
          <a:p>
            <a:pPr>
              <a:buFont typeface="Arial" pitchFamily="34" charset="0"/>
              <a:buChar char="•"/>
            </a:pPr>
            <a:r>
              <a:rPr lang="zh-CN" altLang="en-US" sz="1200" dirty="0" smtClean="0">
                <a:solidFill>
                  <a:schemeClr val="bg1"/>
                </a:solidFill>
                <a:latin typeface="微软雅黑" pitchFamily="34" charset="-122"/>
                <a:ea typeface="微软雅黑" pitchFamily="34" charset="-122"/>
              </a:rPr>
              <a:t> </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Panic button</a:t>
            </a:r>
            <a:r>
              <a:rPr lang="zh-CN" altLang="en-US" sz="1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 provides </a:t>
            </a:r>
            <a:r>
              <a:rPr lang="en-US" altLang="zh-CN"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instant</a:t>
            </a:r>
            <a:r>
              <a:rPr lang="en-US" altLang="zh-CN" sz="1200"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emergency </a:t>
            </a:r>
            <a:r>
              <a:rPr lang="zh-CN" altLang="en-US"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call</a:t>
            </a:r>
            <a:r>
              <a:rPr lang="en-US" altLang="zh-CN" sz="1200" dirty="0" err="1"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ing</a:t>
            </a:r>
            <a:r>
              <a:rPr lang="zh-CN" altLang="en-US"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 </a:t>
            </a:r>
            <a:r>
              <a:rPr lang="en-US" altLang="zh-CN"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for</a:t>
            </a:r>
            <a:r>
              <a:rPr lang="zh-CN" altLang="en-US"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a </a:t>
            </a:r>
            <a:r>
              <a:rPr lang="en-US" altLang="zh-CN"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safe and secure</a:t>
            </a:r>
            <a:r>
              <a:rPr lang="zh-CN" altLang="en-US" sz="1200"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park.</a:t>
            </a:r>
            <a:endParaRPr lang="en-US" altLang="zh-CN" sz="1200" dirty="0" smtClean="0">
              <a:solidFill>
                <a:schemeClr val="bg1"/>
              </a:solidFill>
            </a:endParaRPr>
          </a:p>
          <a:p>
            <a:pPr>
              <a:buFont typeface="Arial" pitchFamily="34" charset="0"/>
              <a:buChar char="•"/>
            </a:pPr>
            <a:r>
              <a:rPr lang="en-US" altLang="zh-CN"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A total of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28</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dirty="0">
                <a:solidFill>
                  <a:srgbClr val="FFC000"/>
                </a:solidFill>
                <a:latin typeface="微软雅黑" pitchFamily="34" charset="-122"/>
                <a:ea typeface="微软雅黑" pitchFamily="34" charset="-122"/>
              </a:rPr>
              <a:t>smart </a:t>
            </a:r>
            <a:r>
              <a:rPr lang="zh-CN" altLang="en-US" sz="1200" dirty="0" smtClean="0">
                <a:solidFill>
                  <a:srgbClr val="FFC000"/>
                </a:solidFill>
                <a:latin typeface="微软雅黑" pitchFamily="34" charset="-122"/>
                <a:ea typeface="微软雅黑" pitchFamily="34" charset="-122"/>
              </a:rPr>
              <a:t>poles </a:t>
            </a:r>
            <a:r>
              <a:rPr lang="zh-CN" altLang="en-US" sz="1200" dirty="0">
                <a:solidFill>
                  <a:schemeClr val="bg1"/>
                </a:solidFill>
                <a:latin typeface="微软雅黑" pitchFamily="34" charset="-122"/>
                <a:ea typeface="微软雅黑" pitchFamily="34" charset="-122"/>
              </a:rPr>
              <a:t>are deployed</a:t>
            </a:r>
            <a:r>
              <a:rPr lang="zh-CN" altLang="en-US" sz="12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a:t>
            </a:r>
            <a:endParaRPr lang="en-US" altLang="zh-CN" sz="12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6" name="TextBox 15"/>
          <p:cNvSpPr txBox="1"/>
          <p:nvPr/>
        </p:nvSpPr>
        <p:spPr>
          <a:xfrm>
            <a:off x="6169595" y="4858031"/>
            <a:ext cx="4824536" cy="1384995"/>
          </a:xfrm>
          <a:prstGeom prst="rect">
            <a:avLst/>
          </a:prstGeom>
          <a:noFill/>
        </p:spPr>
        <p:txBody>
          <a:bodyPr wrap="square" rtlCol="0">
            <a:spAutoFit/>
          </a:bodyPr>
          <a:lstStyle/>
          <a:p>
            <a:pPr marL="0" lvl="1" defTabSz="801128" eaLnBrk="0" hangingPunct="0">
              <a:spcBef>
                <a:spcPts val="0"/>
              </a:spcBef>
              <a:buClr>
                <a:schemeClr val="bg1"/>
              </a:buClr>
              <a:buSzPct val="100000"/>
              <a:buFont typeface="Arial" pitchFamily="34" charset="0"/>
              <a:buChar char="•"/>
              <a:defRPr/>
            </a:pPr>
            <a:r>
              <a:rPr lang="zh-CN" altLang="en-US" sz="11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Saves on </a:t>
            </a:r>
            <a:r>
              <a:rPr lang="zh-CN" altLang="en-US" sz="1200" dirty="0" smtClean="0">
                <a:solidFill>
                  <a:srgbClr val="00B050"/>
                </a:solidFill>
                <a:latin typeface="微软雅黑" pitchFamily="34" charset="-122"/>
                <a:ea typeface="微软雅黑" pitchFamily="34" charset="-122"/>
              </a:rPr>
              <a:t>secondary energy </a:t>
            </a:r>
            <a:r>
              <a:rPr lang="en-US" altLang="zh-CN" sz="1200" dirty="0" smtClean="0">
                <a:solidFill>
                  <a:srgbClr val="00B050"/>
                </a:solidFill>
                <a:latin typeface="微软雅黑" pitchFamily="34" charset="-122"/>
                <a:ea typeface="微软雅黑" pitchFamily="34" charset="-122"/>
              </a:rPr>
              <a:t>usage </a:t>
            </a:r>
            <a:r>
              <a:rPr lang="zh-CN" altLang="en-US" sz="1200" dirty="0" smtClean="0">
                <a:solidFill>
                  <a:srgbClr val="00B050"/>
                </a:solidFill>
                <a:latin typeface="微软雅黑" pitchFamily="34" charset="-122"/>
                <a:ea typeface="微软雅黑" pitchFamily="34" charset="-122"/>
              </a:rPr>
              <a:t>and </a:t>
            </a:r>
            <a:r>
              <a:rPr lang="zh-CN" altLang="en-US" sz="1200" b="1" dirty="0" smtClean="0">
                <a:solidFill>
                  <a:srgbClr val="00B050"/>
                </a:solidFill>
                <a:latin typeface="微软雅黑" pitchFamily="34" charset="-122"/>
                <a:ea typeface="微软雅黑" pitchFamily="34" charset="-122"/>
              </a:rPr>
              <a:t>reduce</a:t>
            </a:r>
            <a:r>
              <a:rPr lang="en-US" altLang="zh-CN" sz="1200" b="1" dirty="0" smtClean="0">
                <a:solidFill>
                  <a:srgbClr val="00B050"/>
                </a:solidFill>
                <a:latin typeface="微软雅黑" pitchFamily="34" charset="-122"/>
                <a:ea typeface="微软雅黑" pitchFamily="34" charset="-122"/>
              </a:rPr>
              <a:t>s</a:t>
            </a:r>
            <a:r>
              <a:rPr lang="zh-CN" altLang="en-US" sz="1200" b="1" dirty="0" smtClean="0">
                <a:solidFill>
                  <a:srgbClr val="00B050"/>
                </a:solidFill>
                <a:latin typeface="微软雅黑" pitchFamily="34" charset="-122"/>
                <a:ea typeface="微软雅黑" pitchFamily="34" charset="-122"/>
              </a:rPr>
              <a:t> </a:t>
            </a:r>
            <a:r>
              <a:rPr lang="en-US" altLang="zh-CN" sz="1200" b="1" dirty="0" smtClean="0">
                <a:solidFill>
                  <a:srgbClr val="00B050"/>
                </a:solidFill>
                <a:latin typeface="微软雅黑" pitchFamily="34" charset="-122"/>
                <a:ea typeface="微软雅黑" pitchFamily="34" charset="-122"/>
              </a:rPr>
              <a:t>costs</a:t>
            </a:r>
          </a:p>
          <a:p>
            <a:pPr marL="0" lvl="1" defTabSz="801128" eaLnBrk="0" hangingPunct="0">
              <a:spcBef>
                <a:spcPts val="0"/>
              </a:spcBef>
              <a:buClr>
                <a:schemeClr val="bg1"/>
              </a:buClr>
              <a:buSzPct val="100000"/>
              <a:buFont typeface="Arial" pitchFamily="34" charset="0"/>
              <a:buChar char="•"/>
              <a:defRPr/>
            </a:pPr>
            <a:r>
              <a:rPr lang="zh-CN" altLang="en-US" sz="1200" dirty="0" smtClean="0">
                <a:solidFill>
                  <a:schemeClr val="bg1"/>
                </a:solidFill>
                <a:latin typeface="微软雅黑" pitchFamily="34" charset="-122"/>
                <a:ea typeface="微软雅黑" pitchFamily="34" charset="-122"/>
              </a:rPr>
              <a:t> </a:t>
            </a:r>
            <a:r>
              <a:rPr lang="en-US" altLang="zh-CN" sz="1200" dirty="0" smtClean="0">
                <a:solidFill>
                  <a:schemeClr val="bg1"/>
                </a:solidFill>
                <a:latin typeface="微软雅黑" pitchFamily="34" charset="-122"/>
                <a:ea typeface="微软雅黑" pitchFamily="34" charset="-122"/>
              </a:rPr>
              <a:t>Provides </a:t>
            </a:r>
            <a:r>
              <a:rPr lang="en-US" altLang="zh-CN" sz="1200" dirty="0" err="1" smtClean="0">
                <a:solidFill>
                  <a:schemeClr val="bg1"/>
                </a:solidFill>
                <a:latin typeface="微软雅黑" pitchFamily="34" charset="-122"/>
                <a:ea typeface="微软雅黑" pitchFamily="34" charset="-122"/>
              </a:rPr>
              <a:t>i</a:t>
            </a:r>
            <a:r>
              <a:rPr lang="zh-CN" altLang="en-US" sz="1200" dirty="0" smtClean="0">
                <a:solidFill>
                  <a:schemeClr val="bg1"/>
                </a:solidFill>
                <a:latin typeface="微软雅黑" pitchFamily="34" charset="-122"/>
                <a:ea typeface="微软雅黑" pitchFamily="34" charset="-122"/>
              </a:rPr>
              <a:t>ntelligent inspection of park assets</a:t>
            </a:r>
            <a:r>
              <a:rPr lang="en-US" altLang="zh-CN" sz="12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and</a:t>
            </a:r>
            <a:r>
              <a:rPr lang="zh-CN" altLang="en-US" sz="1200" dirty="0" smtClean="0">
                <a:solidFill>
                  <a:srgbClr val="00B050"/>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timely </a:t>
            </a:r>
            <a:r>
              <a:rPr lang="zh-CN" altLang="en-US" sz="1200" dirty="0" smtClean="0">
                <a:solidFill>
                  <a:srgbClr val="00B050"/>
                </a:solidFill>
                <a:latin typeface="微软雅黑" pitchFamily="34" charset="-122"/>
                <a:ea typeface="微软雅黑" pitchFamily="34" charset="-122"/>
              </a:rPr>
              <a:t>repair</a:t>
            </a:r>
            <a:r>
              <a:rPr lang="en-US" altLang="zh-CN" sz="1200" dirty="0" smtClean="0">
                <a:solidFill>
                  <a:srgbClr val="00B050"/>
                </a:solidFill>
                <a:latin typeface="微软雅黑" pitchFamily="34" charset="-122"/>
                <a:ea typeface="微软雅黑" pitchFamily="34" charset="-122"/>
              </a:rPr>
              <a:t>s</a:t>
            </a:r>
            <a:r>
              <a:rPr lang="en-US" altLang="zh-CN" sz="12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with</a:t>
            </a:r>
            <a:r>
              <a:rPr lang="zh-CN" altLang="en-US" sz="1200" dirty="0" smtClean="0">
                <a:solidFill>
                  <a:srgbClr val="00B050"/>
                </a:solidFill>
                <a:latin typeface="微软雅黑" pitchFamily="34" charset="-122"/>
                <a:ea typeface="微软雅黑" pitchFamily="34" charset="-122"/>
              </a:rPr>
              <a:t> </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quick and efficient </a:t>
            </a:r>
            <a:r>
              <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maintenance </a:t>
            </a:r>
          </a:p>
          <a:p>
            <a:pPr marL="0" lvl="1" defTabSz="801128" eaLnBrk="0" hangingPunct="0">
              <a:spcBef>
                <a:spcPts val="0"/>
              </a:spcBef>
              <a:buClr>
                <a:schemeClr val="bg1"/>
              </a:buClr>
              <a:buSzPct val="100000"/>
              <a:buFont typeface="Arial" pitchFamily="34" charset="0"/>
              <a:buChar char="•"/>
              <a:defRPr/>
            </a:pPr>
            <a:r>
              <a:rPr lang="zh-CN" altLang="en-US" sz="1200" dirty="0" smtClean="0"/>
              <a:t> </a:t>
            </a:r>
            <a:r>
              <a:rPr lang="zh-CN" altLang="en-US" sz="1200" dirty="0" smtClean="0">
                <a:solidFill>
                  <a:srgbClr val="00B050"/>
                </a:solidFill>
                <a:latin typeface="微软雅黑" pitchFamily="34" charset="-122"/>
                <a:ea typeface="微软雅黑" pitchFamily="34" charset="-122"/>
              </a:rPr>
              <a:t>Standardize</a:t>
            </a:r>
            <a:r>
              <a:rPr lang="en-US" altLang="zh-CN" sz="1200" dirty="0" smtClean="0">
                <a:solidFill>
                  <a:srgbClr val="00B050"/>
                </a:solidFill>
                <a:latin typeface="微软雅黑" pitchFamily="34" charset="-122"/>
                <a:ea typeface="微软雅黑" pitchFamily="34" charset="-122"/>
              </a:rPr>
              <a:t>s</a:t>
            </a:r>
            <a:r>
              <a:rPr lang="zh-CN" altLang="en-US" sz="1200" dirty="0" smtClean="0">
                <a:solidFill>
                  <a:srgbClr val="00B050"/>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social safety</a:t>
            </a:r>
            <a:r>
              <a:rPr lang="en-US" altLang="zh-CN" sz="1200" dirty="0" smtClean="0">
                <a:solidFill>
                  <a:schemeClr val="bg1"/>
                </a:solidFill>
                <a:latin typeface="微软雅黑" pitchFamily="34" charset="-122"/>
                <a:ea typeface="微软雅黑" pitchFamily="34" charset="-122"/>
              </a:rPr>
              <a:t> by</a:t>
            </a:r>
            <a:r>
              <a:rPr lang="zh-CN" altLang="en-US" sz="1200" dirty="0" smtClean="0">
                <a:solidFill>
                  <a:schemeClr val="bg1"/>
                </a:solidFill>
                <a:latin typeface="微软雅黑" pitchFamily="34" charset="-122"/>
                <a:ea typeface="微软雅黑" pitchFamily="34" charset="-122"/>
              </a:rPr>
              <a:t> </a:t>
            </a:r>
            <a:r>
              <a:rPr lang="zh-CN" altLang="en-US"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detect</a:t>
            </a:r>
            <a:r>
              <a:rPr lang="en-US" altLang="zh-CN" sz="1200" b="1" dirty="0" err="1"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ing</a:t>
            </a:r>
            <a:r>
              <a:rPr lang="zh-CN" altLang="en-US" sz="1200" dirty="0" smtClean="0">
                <a:solidFill>
                  <a:srgbClr val="00B050"/>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and preventing </a:t>
            </a:r>
            <a:r>
              <a:rPr lang="zh-CN" altLang="en-US" sz="1200" dirty="0" smtClean="0">
                <a:solidFill>
                  <a:schemeClr val="bg1"/>
                </a:solidFill>
                <a:latin typeface="微软雅黑" pitchFamily="34" charset="-122"/>
                <a:ea typeface="微软雅黑" pitchFamily="34" charset="-122"/>
              </a:rPr>
              <a:t>social safety issues</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 in advance</a:t>
            </a:r>
            <a:endParaRPr lang="en-US" altLang="zh-CN"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a:p>
            <a:pPr marL="0" lvl="1" defTabSz="801128" eaLnBrk="0" hangingPunct="0">
              <a:spcBef>
                <a:spcPts val="0"/>
              </a:spcBef>
              <a:buClr>
                <a:schemeClr val="bg1"/>
              </a:buClr>
              <a:buSzPct val="100000"/>
              <a:buFont typeface="Arial" pitchFamily="34" charset="0"/>
              <a:buChar char="•"/>
              <a:defRPr/>
            </a:pPr>
            <a:r>
              <a:rPr lang="zh-CN" altLang="en-US" sz="1200" dirty="0" smtClean="0">
                <a:solidFill>
                  <a:schemeClr val="bg1"/>
                </a:solidFill>
                <a:latin typeface="微软雅黑" pitchFamily="34" charset="-122"/>
                <a:ea typeface="微软雅黑" pitchFamily="34" charset="-122"/>
              </a:rPr>
              <a:t> </a:t>
            </a:r>
            <a:r>
              <a:rPr lang="zh-CN" altLang="en-US"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Improve</a:t>
            </a:r>
            <a:r>
              <a:rPr lang="en-US" altLang="zh-CN"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s</a:t>
            </a:r>
            <a:r>
              <a:rPr lang="zh-CN" altLang="en-US"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2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the image of the </a:t>
            </a:r>
            <a:r>
              <a:rPr lang="zh-CN" altLang="en-US" sz="12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rPr>
              <a:t>park</a:t>
            </a:r>
            <a:r>
              <a:rPr lang="zh-CN" altLang="en-US" sz="1200" dirty="0" smtClean="0">
                <a:solidFill>
                  <a:srgbClr val="00B050"/>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and the LED screen promotes</a:t>
            </a:r>
            <a:r>
              <a:rPr lang="en-US" altLang="zh-CN" sz="12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the park’s culture</a:t>
            </a:r>
          </a:p>
        </p:txBody>
      </p:sp>
      <p:pic>
        <p:nvPicPr>
          <p:cNvPr id="17" name="图片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019" y="2447765"/>
            <a:ext cx="4896544" cy="1630101"/>
          </a:xfrm>
          <a:prstGeom prst="rect">
            <a:avLst/>
          </a:prstGeom>
        </p:spPr>
      </p:pic>
      <p:sp>
        <p:nvSpPr>
          <p:cNvPr id="18" name="TextBox 17"/>
          <p:cNvSpPr txBox="1"/>
          <p:nvPr/>
        </p:nvSpPr>
        <p:spPr>
          <a:xfrm>
            <a:off x="971504" y="2990637"/>
            <a:ext cx="4869248" cy="1015663"/>
          </a:xfrm>
          <a:prstGeom prst="rect">
            <a:avLst/>
          </a:prstGeom>
          <a:noFill/>
        </p:spPr>
        <p:txBody>
          <a:bodyPr wrap="square" rtlCol="0">
            <a:spAutoFit/>
          </a:bodyPr>
          <a:lstStyle/>
          <a:p>
            <a:pPr>
              <a:buFont typeface="Arial" pitchFamily="34" charset="0"/>
              <a:buChar char="•"/>
            </a:pPr>
            <a:r>
              <a:rPr lang="zh-CN" altLang="en-US" sz="12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G</a:t>
            </a:r>
            <a:r>
              <a:rPr lang="zh-CN" altLang="en-US" sz="1200" dirty="0" smtClean="0">
                <a:solidFill>
                  <a:srgbClr val="00B050"/>
                </a:solidFill>
                <a:latin typeface="微软雅黑" pitchFamily="34" charset="-122"/>
                <a:ea typeface="微软雅黑" pitchFamily="34" charset="-122"/>
              </a:rPr>
              <a:t>uided </a:t>
            </a:r>
            <a:r>
              <a:rPr lang="zh-CN" altLang="en-US" sz="1200" dirty="0" smtClean="0">
                <a:solidFill>
                  <a:schemeClr val="bg1"/>
                </a:solidFill>
                <a:latin typeface="微软雅黑" pitchFamily="34" charset="-122"/>
                <a:ea typeface="微软雅黑" pitchFamily="34" charset="-122"/>
              </a:rPr>
              <a:t>by the </a:t>
            </a:r>
            <a:r>
              <a:rPr lang="zh-CN" altLang="en-US" sz="1200" b="1" dirty="0" smtClean="0">
                <a:solidFill>
                  <a:srgbClr val="FFC000"/>
                </a:solidFill>
                <a:latin typeface="微软雅黑" pitchFamily="34" charset="-122"/>
                <a:ea typeface="微软雅黑" pitchFamily="34" charset="-122"/>
              </a:rPr>
              <a:t>13th Five-Year Development Plan of Smart Haidian</a:t>
            </a:r>
            <a:r>
              <a:rPr lang="zh-CN" altLang="en-US" sz="1200" dirty="0" smtClean="0">
                <a:solidFill>
                  <a:schemeClr val="bg1"/>
                </a:solidFill>
                <a:latin typeface="微软雅黑" pitchFamily="34" charset="-122"/>
                <a:ea typeface="微软雅黑" pitchFamily="34" charset="-122"/>
              </a:rPr>
              <a:t>, </a:t>
            </a:r>
            <a:r>
              <a:rPr lang="zh-CN" altLang="en-US" sz="1200" dirty="0">
                <a:solidFill>
                  <a:schemeClr val="bg1"/>
                </a:solidFill>
                <a:latin typeface="微软雅黑" pitchFamily="34" charset="-122"/>
                <a:ea typeface="微软雅黑" pitchFamily="34" charset="-122"/>
              </a:rPr>
              <a:t>Beijing Haidian </a:t>
            </a:r>
            <a:r>
              <a:rPr lang="zh-CN" altLang="en-US" sz="1200" dirty="0" smtClean="0">
                <a:solidFill>
                  <a:schemeClr val="bg1"/>
                </a:solidFill>
                <a:latin typeface="微软雅黑" pitchFamily="34" charset="-122"/>
                <a:ea typeface="微软雅黑" pitchFamily="34" charset="-122"/>
              </a:rPr>
              <a:t>District </a:t>
            </a:r>
            <a:r>
              <a:rPr lang="en-US" altLang="zh-CN" sz="1200" dirty="0" smtClean="0">
                <a:solidFill>
                  <a:srgbClr val="00B050"/>
                </a:solidFill>
                <a:latin typeface="微软雅黑" pitchFamily="34" charset="-122"/>
                <a:ea typeface="微软雅黑" pitchFamily="34" charset="-122"/>
              </a:rPr>
              <a:t>considers</a:t>
            </a:r>
            <a:r>
              <a:rPr lang="en-US" altLang="zh-CN"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Smart Park </a:t>
            </a:r>
            <a:r>
              <a:rPr lang="zh-CN" altLang="en-US" sz="1200" dirty="0" smtClean="0">
                <a:solidFill>
                  <a:srgbClr val="00B050"/>
                </a:solidFill>
                <a:latin typeface="微软雅黑" pitchFamily="34" charset="-122"/>
                <a:ea typeface="微软雅黑" pitchFamily="34" charset="-122"/>
              </a:rPr>
              <a:t>an</a:t>
            </a:r>
            <a:r>
              <a:rPr lang="zh-CN" altLang="en-US" sz="1200" dirty="0" smtClean="0">
                <a:solidFill>
                  <a:schemeClr val="bg1"/>
                </a:solidFill>
                <a:latin typeface="微软雅黑" pitchFamily="34" charset="-122"/>
                <a:ea typeface="微软雅黑" pitchFamily="34" charset="-122"/>
              </a:rPr>
              <a:t> important part of </a:t>
            </a:r>
            <a:r>
              <a:rPr lang="en-US" altLang="zh-CN" sz="1200" dirty="0" smtClean="0">
                <a:solidFill>
                  <a:srgbClr val="00B050"/>
                </a:solidFill>
                <a:latin typeface="微软雅黑" pitchFamily="34" charset="-122"/>
                <a:ea typeface="微软雅黑" pitchFamily="34" charset="-122"/>
              </a:rPr>
              <a:t>S</a:t>
            </a:r>
            <a:r>
              <a:rPr lang="zh-CN" altLang="en-US" sz="1200" dirty="0" smtClean="0">
                <a:solidFill>
                  <a:srgbClr val="00B050"/>
                </a:solidFill>
                <a:latin typeface="微软雅黑" pitchFamily="34" charset="-122"/>
                <a:ea typeface="微软雅黑" pitchFamily="34" charset="-122"/>
              </a:rPr>
              <a:t>mart </a:t>
            </a:r>
            <a:r>
              <a:rPr lang="en-US" altLang="zh-CN" sz="1200" dirty="0">
                <a:solidFill>
                  <a:srgbClr val="00B050"/>
                </a:solidFill>
                <a:latin typeface="微软雅黑" pitchFamily="34" charset="-122"/>
                <a:ea typeface="微软雅黑" pitchFamily="34" charset="-122"/>
              </a:rPr>
              <a:t>C</a:t>
            </a:r>
            <a:r>
              <a:rPr lang="zh-CN" altLang="en-US" sz="1200" dirty="0" smtClean="0">
                <a:solidFill>
                  <a:srgbClr val="00B050"/>
                </a:solidFill>
                <a:latin typeface="微软雅黑" pitchFamily="34" charset="-122"/>
                <a:ea typeface="微软雅黑" pitchFamily="34" charset="-122"/>
              </a:rPr>
              <a:t>ity </a:t>
            </a:r>
            <a:r>
              <a:rPr lang="zh-CN" altLang="en-US" sz="1200" dirty="0" smtClean="0">
                <a:solidFill>
                  <a:schemeClr val="bg1"/>
                </a:solidFill>
                <a:latin typeface="微软雅黑" pitchFamily="34" charset="-122"/>
                <a:ea typeface="微软雅黑" pitchFamily="34" charset="-122"/>
              </a:rPr>
              <a:t>construction</a:t>
            </a:r>
            <a:r>
              <a:rPr lang="en-US" altLang="zh-CN" sz="1200" dirty="0" smtClean="0">
                <a:solidFill>
                  <a:schemeClr val="bg1"/>
                </a:solidFill>
                <a:latin typeface="微软雅黑" pitchFamily="34" charset="-122"/>
                <a:ea typeface="微软雅黑" pitchFamily="34" charset="-122"/>
              </a:rPr>
              <a:t>. </a:t>
            </a:r>
            <a:r>
              <a:rPr lang="en-US" altLang="zh-CN" sz="1200" dirty="0" smtClean="0">
                <a:solidFill>
                  <a:srgbClr val="00B050"/>
                </a:solidFill>
                <a:latin typeface="微软雅黑" pitchFamily="34" charset="-122"/>
                <a:ea typeface="微软雅黑" pitchFamily="34" charset="-122"/>
              </a:rPr>
              <a:t>The goal is</a:t>
            </a:r>
            <a:r>
              <a:rPr lang="zh-CN" altLang="en-US" sz="1200" dirty="0" smtClean="0">
                <a:solidFill>
                  <a:srgbClr val="00B050"/>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to improve the living quality of residents, </a:t>
            </a:r>
            <a:r>
              <a:rPr lang="en-US" altLang="zh-CN" sz="1200" dirty="0" smtClean="0">
                <a:solidFill>
                  <a:srgbClr val="00B050"/>
                </a:solidFill>
                <a:latin typeface="微软雅黑" pitchFamily="34" charset="-122"/>
                <a:ea typeface="微软雅黑" pitchFamily="34" charset="-122"/>
              </a:rPr>
              <a:t>raise</a:t>
            </a:r>
            <a:r>
              <a:rPr lang="en-US" altLang="zh-CN"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the overall living </a:t>
            </a:r>
            <a:r>
              <a:rPr lang="zh-CN" altLang="en-US" sz="1200" dirty="0" smtClean="0">
                <a:solidFill>
                  <a:srgbClr val="00B050"/>
                </a:solidFill>
                <a:latin typeface="微软雅黑" pitchFamily="34" charset="-122"/>
                <a:ea typeface="微软雅黑" pitchFamily="34" charset="-122"/>
              </a:rPr>
              <a:t>standard</a:t>
            </a:r>
            <a:r>
              <a:rPr lang="en-US" altLang="zh-CN" sz="1200" dirty="0" smtClean="0">
                <a:solidFill>
                  <a:srgbClr val="00B050"/>
                </a:solidFill>
                <a:latin typeface="微软雅黑" pitchFamily="34" charset="-122"/>
                <a:ea typeface="微软雅黑" pitchFamily="34" charset="-122"/>
              </a:rPr>
              <a:t>s</a:t>
            </a:r>
            <a:r>
              <a:rPr lang="zh-CN" altLang="en-US" sz="1200" dirty="0" smtClean="0">
                <a:solidFill>
                  <a:srgbClr val="00B050"/>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of the people, and enhance the happiness of public life.</a:t>
            </a:r>
            <a:endParaRPr lang="en-US" altLang="zh-CN" sz="1200" dirty="0" smtClean="0">
              <a:solidFill>
                <a:schemeClr val="bg1"/>
              </a:solidFill>
              <a:latin typeface="微软雅黑" pitchFamily="34" charset="-122"/>
              <a:ea typeface="微软雅黑" pitchFamily="34" charset="-122"/>
            </a:endParaRPr>
          </a:p>
        </p:txBody>
      </p:sp>
      <p:sp>
        <p:nvSpPr>
          <p:cNvPr id="19" name="TextBox 18"/>
          <p:cNvSpPr txBox="1"/>
          <p:nvPr/>
        </p:nvSpPr>
        <p:spPr>
          <a:xfrm>
            <a:off x="1012315" y="2569351"/>
            <a:ext cx="3429088" cy="400110"/>
          </a:xfrm>
          <a:prstGeom prst="rect">
            <a:avLst/>
          </a:prstGeom>
          <a:noFill/>
        </p:spPr>
        <p:txBody>
          <a:bodyPr wrap="square" rtlCol="0">
            <a:spAutoFit/>
          </a:bodyPr>
          <a:lstStyle/>
          <a:p>
            <a:pPr algn="ctr"/>
            <a:r>
              <a:rPr lang="zh-CN" altLang="en-US" sz="20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Customer Requirement</a:t>
            </a:r>
          </a:p>
        </p:txBody>
      </p:sp>
      <p:grpSp>
        <p:nvGrpSpPr>
          <p:cNvPr id="23" name="组合 22"/>
          <p:cNvGrpSpPr/>
          <p:nvPr/>
        </p:nvGrpSpPr>
        <p:grpSpPr>
          <a:xfrm>
            <a:off x="6156895" y="1438796"/>
            <a:ext cx="5616624" cy="2613669"/>
            <a:chOff x="6169595" y="1438797"/>
            <a:chExt cx="4989760" cy="2017936"/>
          </a:xfrm>
        </p:grpSpPr>
        <p:pic>
          <p:nvPicPr>
            <p:cNvPr id="1032" name="Picture 8"/>
            <p:cNvPicPr>
              <a:picLocks noChangeAspect="1" noChangeArrowheads="1"/>
            </p:cNvPicPr>
            <p:nvPr/>
          </p:nvPicPr>
          <p:blipFill>
            <a:blip r:embed="rId5" cstate="print"/>
            <a:srcRect/>
            <a:stretch>
              <a:fillRect/>
            </a:stretch>
          </p:blipFill>
          <p:spPr bwMode="auto">
            <a:xfrm>
              <a:off x="9247311" y="1445231"/>
              <a:ext cx="1912044" cy="2011501"/>
            </a:xfrm>
            <a:prstGeom prst="rect">
              <a:avLst/>
            </a:prstGeom>
            <a:noFill/>
            <a:ln w="9525">
              <a:noFill/>
              <a:miter lim="800000"/>
              <a:headEnd/>
              <a:tailEnd/>
            </a:ln>
          </p:spPr>
        </p:pic>
        <p:pic>
          <p:nvPicPr>
            <p:cNvPr id="1033" name="Picture 9"/>
            <p:cNvPicPr>
              <a:picLocks noChangeAspect="1" noChangeArrowheads="1"/>
            </p:cNvPicPr>
            <p:nvPr/>
          </p:nvPicPr>
          <p:blipFill>
            <a:blip r:embed="rId6" cstate="print"/>
            <a:srcRect/>
            <a:stretch>
              <a:fillRect/>
            </a:stretch>
          </p:blipFill>
          <p:spPr bwMode="auto">
            <a:xfrm>
              <a:off x="6169595" y="1438797"/>
              <a:ext cx="3065710" cy="2017936"/>
            </a:xfrm>
            <a:prstGeom prst="rect">
              <a:avLst/>
            </a:prstGeom>
            <a:noFill/>
            <a:ln w="9525">
              <a:noFill/>
              <a:miter lim="800000"/>
              <a:headEnd/>
              <a:tailEnd/>
            </a:ln>
          </p:spPr>
        </p:pic>
      </p:grpSp>
    </p:spTree>
  </p:cSld>
  <p:clrMapOvr>
    <a:masterClrMapping/>
  </p:clrMapOvr>
  <p:transition>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73138" y="5590034"/>
            <a:ext cx="4548385" cy="369332"/>
          </a:xfrm>
          <a:prstGeom prst="rect">
            <a:avLst/>
          </a:prstGeom>
          <a:noFill/>
        </p:spPr>
        <p:txBody>
          <a:bodyPr wrap="square" lIns="0" rIns="0" rtlCol="0">
            <a:spAutoFit/>
          </a:bodyPr>
          <a:lstStyle/>
          <a:p>
            <a:r>
              <a:rPr lang="en-US" sz="900" dirty="0">
                <a:solidFill>
                  <a:srgbClr val="008000"/>
                </a:solidFill>
                <a:latin typeface="Arial"/>
                <a:cs typeface="Arial"/>
              </a:rPr>
              <a:t>All logos and images displayed in this document are the sole property of their respective copyright holders. No endorsement, </a:t>
            </a:r>
            <a:r>
              <a:rPr lang="en-US" sz="900" dirty="0" smtClean="0">
                <a:solidFill>
                  <a:srgbClr val="008000"/>
                </a:solidFill>
                <a:latin typeface="Arial"/>
                <a:cs typeface="Arial"/>
              </a:rPr>
              <a:t>partnership, </a:t>
            </a:r>
            <a:r>
              <a:rPr lang="en-US" sz="900" dirty="0">
                <a:solidFill>
                  <a:srgbClr val="008000"/>
                </a:solidFill>
                <a:latin typeface="Arial"/>
                <a:cs typeface="Arial"/>
              </a:rPr>
              <a:t>or affiliation is suggested or </a:t>
            </a:r>
            <a:r>
              <a:rPr lang="en-US" sz="900" dirty="0" smtClean="0">
                <a:solidFill>
                  <a:srgbClr val="008000"/>
                </a:solidFill>
                <a:latin typeface="Arial"/>
                <a:cs typeface="Arial"/>
              </a:rPr>
              <a:t>implied.</a:t>
            </a:r>
            <a:endParaRPr lang="en-US" sz="900" b="1" dirty="0" smtClean="0">
              <a:solidFill>
                <a:srgbClr val="008000"/>
              </a:solidFill>
              <a:latin typeface="Arial"/>
              <a:ea typeface="微软雅黑" pitchFamily="34" charset="-122"/>
              <a:cs typeface="Arial"/>
            </a:endParaRPr>
          </a:p>
        </p:txBody>
      </p:sp>
    </p:spTree>
    <p:extLst>
      <p:ext uri="{BB962C8B-B14F-4D97-AF65-F5344CB8AC3E}">
        <p14:creationId xmlns:p14="http://schemas.microsoft.com/office/powerpoint/2010/main" val="2086529556"/>
      </p:ext>
    </p:extLst>
  </p:cSld>
  <p:clrMapOvr>
    <a:masterClrMapping/>
  </p:clrMapOvr>
  <p:transition spd="med">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组合 14"/>
          <p:cNvGrpSpPr>
            <a:grpSpLocks/>
          </p:cNvGrpSpPr>
          <p:nvPr/>
        </p:nvGrpSpPr>
        <p:grpSpPr bwMode="auto">
          <a:xfrm>
            <a:off x="3602707" y="1026638"/>
            <a:ext cx="4968000" cy="5400000"/>
            <a:chOff x="822951" y="4328458"/>
            <a:chExt cx="2713334" cy="1755567"/>
          </a:xfrm>
        </p:grpSpPr>
        <p:pic>
          <p:nvPicPr>
            <p:cNvPr id="66" name="图片 15"/>
            <p:cNvPicPr>
              <a:picLocks noChangeAspect="1"/>
            </p:cNvPicPr>
            <p:nvPr/>
          </p:nvPicPr>
          <p:blipFill>
            <a:blip r:embed="rId2" cstate="print"/>
            <a:srcRect/>
            <a:stretch>
              <a:fillRect/>
            </a:stretch>
          </p:blipFill>
          <p:spPr bwMode="auto">
            <a:xfrm>
              <a:off x="822951" y="4328458"/>
              <a:ext cx="1329893" cy="705873"/>
            </a:xfrm>
            <a:prstGeom prst="rect">
              <a:avLst/>
            </a:prstGeom>
            <a:noFill/>
            <a:ln w="9525">
              <a:noFill/>
              <a:miter lim="800000"/>
              <a:headEnd/>
              <a:tailEnd/>
            </a:ln>
          </p:spPr>
        </p:pic>
        <p:pic>
          <p:nvPicPr>
            <p:cNvPr id="67" name="图片 16"/>
            <p:cNvPicPr>
              <a:picLocks noChangeAspect="1"/>
            </p:cNvPicPr>
            <p:nvPr/>
          </p:nvPicPr>
          <p:blipFill>
            <a:blip r:embed="rId3" cstate="print"/>
            <a:srcRect/>
            <a:stretch>
              <a:fillRect/>
            </a:stretch>
          </p:blipFill>
          <p:spPr bwMode="auto">
            <a:xfrm>
              <a:off x="2206300" y="4328458"/>
              <a:ext cx="1329892" cy="705873"/>
            </a:xfrm>
            <a:prstGeom prst="rect">
              <a:avLst/>
            </a:prstGeom>
            <a:noFill/>
            <a:ln w="9525">
              <a:noFill/>
              <a:miter lim="800000"/>
              <a:headEnd/>
              <a:tailEnd/>
            </a:ln>
          </p:spPr>
        </p:pic>
        <p:pic>
          <p:nvPicPr>
            <p:cNvPr id="68" name="图片 17"/>
            <p:cNvPicPr>
              <a:picLocks noChangeAspect="1"/>
            </p:cNvPicPr>
            <p:nvPr/>
          </p:nvPicPr>
          <p:blipFill>
            <a:blip r:embed="rId4" cstate="print"/>
            <a:srcRect/>
            <a:stretch>
              <a:fillRect/>
            </a:stretch>
          </p:blipFill>
          <p:spPr bwMode="auto">
            <a:xfrm>
              <a:off x="835997" y="5263793"/>
              <a:ext cx="1339065" cy="820232"/>
            </a:xfrm>
            <a:prstGeom prst="rect">
              <a:avLst/>
            </a:prstGeom>
            <a:noFill/>
            <a:ln w="9525">
              <a:noFill/>
              <a:miter lim="800000"/>
              <a:headEnd/>
              <a:tailEnd/>
            </a:ln>
          </p:spPr>
        </p:pic>
        <p:pic>
          <p:nvPicPr>
            <p:cNvPr id="69" name="图片 18"/>
            <p:cNvPicPr>
              <a:picLocks noChangeAspect="1"/>
            </p:cNvPicPr>
            <p:nvPr/>
          </p:nvPicPr>
          <p:blipFill>
            <a:blip r:embed="rId5" cstate="print"/>
            <a:srcRect/>
            <a:stretch>
              <a:fillRect/>
            </a:stretch>
          </p:blipFill>
          <p:spPr bwMode="auto">
            <a:xfrm>
              <a:off x="2197220" y="5255145"/>
              <a:ext cx="1339065" cy="820232"/>
            </a:xfrm>
            <a:prstGeom prst="rect">
              <a:avLst/>
            </a:prstGeom>
            <a:noFill/>
            <a:ln w="9525">
              <a:noFill/>
              <a:miter lim="800000"/>
              <a:headEnd/>
              <a:tailEnd/>
            </a:ln>
          </p:spPr>
        </p:pic>
      </p:grpSp>
      <p:sp>
        <p:nvSpPr>
          <p:cNvPr id="2" name="矩形 1"/>
          <p:cNvSpPr/>
          <p:nvPr/>
        </p:nvSpPr>
        <p:spPr>
          <a:xfrm>
            <a:off x="647437" y="271869"/>
            <a:ext cx="10778742" cy="954107"/>
          </a:xfrm>
          <a:prstGeom prst="rect">
            <a:avLst/>
          </a:prstGeom>
        </p:spPr>
        <p:txBody>
          <a:bodyPr wrap="square">
            <a:spAutoFit/>
          </a:bodyPr>
          <a:lstStyle/>
          <a:p>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mart </a:t>
            </a:r>
            <a:r>
              <a:rPr lang="zh-CN" altLang="en-US"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ole</a:t>
            </a:r>
            <a:r>
              <a:rPr lang="en-US" altLang="zh-CN" sz="28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the Best Node for </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mart </a:t>
            </a:r>
            <a:r>
              <a:rPr lang="zh-CN" altLang="en-US" sz="28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City Information Collection</a:t>
            </a:r>
            <a:endParaRPr lang="en-US" sz="280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grpSp>
        <p:nvGrpSpPr>
          <p:cNvPr id="43" name="组合 42"/>
          <p:cNvGrpSpPr/>
          <p:nvPr/>
        </p:nvGrpSpPr>
        <p:grpSpPr>
          <a:xfrm>
            <a:off x="4079969" y="1139055"/>
            <a:ext cx="4132656" cy="5459091"/>
            <a:chOff x="4108920" y="1139055"/>
            <a:chExt cx="4132656" cy="5459091"/>
          </a:xfrm>
        </p:grpSpPr>
        <p:sp>
          <p:nvSpPr>
            <p:cNvPr id="6" name="文本框 5"/>
            <p:cNvSpPr txBox="1">
              <a:spLocks noChangeArrowheads="1"/>
            </p:cNvSpPr>
            <p:nvPr/>
          </p:nvSpPr>
          <p:spPr bwMode="auto">
            <a:xfrm>
              <a:off x="4614370" y="3022983"/>
              <a:ext cx="1396322"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en-US" altLang="zh-CN" sz="1200" dirty="0" smtClean="0">
                  <a:solidFill>
                    <a:schemeClr val="bg1"/>
                  </a:solidFill>
                  <a:ea typeface="微软雅黑" panose="020B0503020204020204" pitchFamily="34" charset="-122"/>
                </a:rPr>
                <a:t>Environmental </a:t>
              </a:r>
              <a:r>
                <a:rPr lang="en-US" altLang="zh-CN" sz="1200" dirty="0" smtClean="0">
                  <a:solidFill>
                    <a:srgbClr val="00B050"/>
                  </a:solidFill>
                  <a:ea typeface="微软雅黑" panose="020B0503020204020204" pitchFamily="34" charset="-122"/>
                </a:rPr>
                <a:t>Monitoring</a:t>
              </a:r>
              <a:endParaRPr lang="zh-CN" altLang="en-US" sz="1200" dirty="0">
                <a:solidFill>
                  <a:srgbClr val="00B050"/>
                </a:solidFill>
                <a:ea typeface="微软雅黑" panose="020B0503020204020204" pitchFamily="34" charset="-122"/>
              </a:endParaRPr>
            </a:p>
          </p:txBody>
        </p:sp>
        <p:sp>
          <p:nvSpPr>
            <p:cNvPr id="8" name="文本框 8"/>
            <p:cNvSpPr txBox="1">
              <a:spLocks noChangeArrowheads="1"/>
            </p:cNvSpPr>
            <p:nvPr/>
          </p:nvSpPr>
          <p:spPr bwMode="auto">
            <a:xfrm>
              <a:off x="6657485" y="3017945"/>
              <a:ext cx="1095093"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zh-CN" altLang="en-US" sz="1200" dirty="0">
                  <a:solidFill>
                    <a:schemeClr val="bg1"/>
                  </a:solidFill>
                  <a:ea typeface="微软雅黑" panose="020B0503020204020204" pitchFamily="34" charset="-122"/>
                </a:rPr>
                <a:t>Video Surveillance</a:t>
              </a:r>
            </a:p>
          </p:txBody>
        </p:sp>
        <p:sp>
          <p:nvSpPr>
            <p:cNvPr id="11" name="文本框 17"/>
            <p:cNvSpPr txBox="1">
              <a:spLocks noChangeArrowheads="1"/>
            </p:cNvSpPr>
            <p:nvPr/>
          </p:nvSpPr>
          <p:spPr bwMode="auto">
            <a:xfrm>
              <a:off x="6628967" y="4671346"/>
              <a:ext cx="1152128"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zh-CN" altLang="en-US" sz="1200" dirty="0">
                  <a:solidFill>
                    <a:schemeClr val="bg1"/>
                  </a:solidFill>
                  <a:ea typeface="微软雅黑" panose="020B0503020204020204" pitchFamily="34" charset="-122"/>
                </a:rPr>
                <a:t>Information Release</a:t>
              </a:r>
            </a:p>
          </p:txBody>
        </p:sp>
        <p:sp>
          <p:nvSpPr>
            <p:cNvPr id="13" name="文本框 14"/>
            <p:cNvSpPr txBox="1">
              <a:spLocks noChangeArrowheads="1"/>
            </p:cNvSpPr>
            <p:nvPr/>
          </p:nvSpPr>
          <p:spPr bwMode="auto">
            <a:xfrm>
              <a:off x="6657485" y="1499226"/>
              <a:ext cx="1095093"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zh-CN" altLang="en-US" sz="1200" dirty="0">
                  <a:solidFill>
                    <a:schemeClr val="bg1"/>
                  </a:solidFill>
                  <a:ea typeface="微软雅黑" panose="020B0503020204020204" pitchFamily="34" charset="-122"/>
                </a:rPr>
                <a:t>Wireless Network</a:t>
              </a:r>
            </a:p>
          </p:txBody>
        </p:sp>
        <p:pic>
          <p:nvPicPr>
            <p:cNvPr id="15" name="图片 6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08920" y="3212540"/>
              <a:ext cx="532264" cy="53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图片 6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43016" y="2846975"/>
              <a:ext cx="541735" cy="5417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图片 7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71427" y="3686071"/>
              <a:ext cx="380730" cy="477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文本框 12"/>
            <p:cNvSpPr txBox="1">
              <a:spLocks noChangeArrowheads="1"/>
            </p:cNvSpPr>
            <p:nvPr/>
          </p:nvSpPr>
          <p:spPr bwMode="auto">
            <a:xfrm>
              <a:off x="4484002" y="1540170"/>
              <a:ext cx="983989"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zh-CN" altLang="en-US" sz="1200" dirty="0">
                  <a:solidFill>
                    <a:schemeClr val="bg1"/>
                  </a:solidFill>
                  <a:ea typeface="微软雅黑" panose="020B0503020204020204" pitchFamily="34" charset="-122"/>
                </a:rPr>
                <a:t>Intelligent Lighting</a:t>
              </a:r>
            </a:p>
          </p:txBody>
        </p:sp>
        <p:sp>
          <p:nvSpPr>
            <p:cNvPr id="19" name="文本框 5"/>
            <p:cNvSpPr txBox="1">
              <a:spLocks noChangeArrowheads="1"/>
            </p:cNvSpPr>
            <p:nvPr/>
          </p:nvSpPr>
          <p:spPr bwMode="auto">
            <a:xfrm>
              <a:off x="4515853" y="4681226"/>
              <a:ext cx="1205933" cy="492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44" tIns="60972" rIns="121944" bIns="60972">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r>
                <a:rPr lang="zh-CN" altLang="en-US" sz="1200" dirty="0">
                  <a:solidFill>
                    <a:schemeClr val="bg1"/>
                  </a:solidFill>
                  <a:ea typeface="微软雅黑" panose="020B0503020204020204" pitchFamily="34" charset="-122"/>
                </a:rPr>
                <a:t>Emergency Call</a:t>
              </a:r>
            </a:p>
          </p:txBody>
        </p:sp>
        <p:sp>
          <p:nvSpPr>
            <p:cNvPr id="21" name="椭圆 45"/>
            <p:cNvSpPr>
              <a:spLocks noChangeArrowheads="1"/>
            </p:cNvSpPr>
            <p:nvPr/>
          </p:nvSpPr>
          <p:spPr bwMode="auto">
            <a:xfrm>
              <a:off x="5439785" y="5076641"/>
              <a:ext cx="145852" cy="145848"/>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sp>
          <p:nvSpPr>
            <p:cNvPr id="22" name="椭圆 62"/>
            <p:cNvSpPr>
              <a:spLocks noChangeArrowheads="1"/>
            </p:cNvSpPr>
            <p:nvPr/>
          </p:nvSpPr>
          <p:spPr bwMode="auto">
            <a:xfrm>
              <a:off x="5445468" y="3462894"/>
              <a:ext cx="145851" cy="145848"/>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sp>
          <p:nvSpPr>
            <p:cNvPr id="23" name="椭圆 64"/>
            <p:cNvSpPr>
              <a:spLocks noChangeArrowheads="1"/>
            </p:cNvSpPr>
            <p:nvPr/>
          </p:nvSpPr>
          <p:spPr bwMode="auto">
            <a:xfrm>
              <a:off x="5437891" y="1921547"/>
              <a:ext cx="145851" cy="145848"/>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cxnSp>
          <p:nvCxnSpPr>
            <p:cNvPr id="24" name="直接连接符 58"/>
            <p:cNvCxnSpPr>
              <a:cxnSpLocks noChangeShapeType="1"/>
            </p:cNvCxnSpPr>
            <p:nvPr/>
          </p:nvCxnSpPr>
          <p:spPr bwMode="auto">
            <a:xfrm>
              <a:off x="4656310" y="5148240"/>
              <a:ext cx="828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cxnSp>
          <p:nvCxnSpPr>
            <p:cNvPr id="25" name="直接连接符 63"/>
            <p:cNvCxnSpPr>
              <a:cxnSpLocks noChangeShapeType="1"/>
            </p:cNvCxnSpPr>
            <p:nvPr/>
          </p:nvCxnSpPr>
          <p:spPr bwMode="auto">
            <a:xfrm>
              <a:off x="4663888" y="3536766"/>
              <a:ext cx="828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cxnSp>
          <p:nvCxnSpPr>
            <p:cNvPr id="26" name="直接连接符 65"/>
            <p:cNvCxnSpPr>
              <a:cxnSpLocks noChangeShapeType="1"/>
            </p:cNvCxnSpPr>
            <p:nvPr/>
          </p:nvCxnSpPr>
          <p:spPr bwMode="auto">
            <a:xfrm>
              <a:off x="4654794" y="1995419"/>
              <a:ext cx="828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sp>
          <p:nvSpPr>
            <p:cNvPr id="27" name="椭圆 66"/>
            <p:cNvSpPr>
              <a:spLocks noChangeArrowheads="1"/>
            </p:cNvSpPr>
            <p:nvPr/>
          </p:nvSpPr>
          <p:spPr bwMode="auto">
            <a:xfrm>
              <a:off x="6662290" y="5063904"/>
              <a:ext cx="145852" cy="145848"/>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sp>
          <p:nvSpPr>
            <p:cNvPr id="28" name="椭圆 68"/>
            <p:cNvSpPr>
              <a:spLocks noChangeArrowheads="1"/>
            </p:cNvSpPr>
            <p:nvPr/>
          </p:nvSpPr>
          <p:spPr bwMode="auto">
            <a:xfrm>
              <a:off x="6658502" y="3455677"/>
              <a:ext cx="145852" cy="145847"/>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sp>
          <p:nvSpPr>
            <p:cNvPr id="29" name="椭圆 72"/>
            <p:cNvSpPr>
              <a:spLocks noChangeArrowheads="1"/>
            </p:cNvSpPr>
            <p:nvPr/>
          </p:nvSpPr>
          <p:spPr bwMode="auto">
            <a:xfrm>
              <a:off x="6658502" y="1902608"/>
              <a:ext cx="145852" cy="145847"/>
            </a:xfrm>
            <a:prstGeom prst="ellipse">
              <a:avLst/>
            </a:prstGeom>
            <a:solidFill>
              <a:srgbClr val="0A4A77"/>
            </a:solidFill>
            <a:ln w="12700">
              <a:solidFill>
                <a:srgbClr val="003296"/>
              </a:solidFill>
              <a:round/>
              <a:headEnd/>
              <a:tailEnd/>
            </a:ln>
          </p:spPr>
          <p:txBody>
            <a:bodyPr lIns="121944" tIns="60972" rIns="121944" bIns="60972"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0" hangingPunct="0"/>
              <a:endParaRPr lang="zh-CN" altLang="en-US" sz="1200" noProof="1">
                <a:solidFill>
                  <a:schemeClr val="bg1"/>
                </a:solidFill>
                <a:latin typeface="微软雅黑" panose="020B0503020204020204" pitchFamily="34" charset="-122"/>
                <a:ea typeface="微软雅黑" panose="020B0503020204020204" pitchFamily="34" charset="-122"/>
              </a:endParaRPr>
            </a:p>
          </p:txBody>
        </p:sp>
        <p:cxnSp>
          <p:nvCxnSpPr>
            <p:cNvPr id="30" name="直接连接符 67"/>
            <p:cNvCxnSpPr>
              <a:cxnSpLocks noChangeShapeType="1"/>
            </p:cNvCxnSpPr>
            <p:nvPr/>
          </p:nvCxnSpPr>
          <p:spPr bwMode="auto">
            <a:xfrm>
              <a:off x="6808144" y="5137776"/>
              <a:ext cx="864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cxnSp>
          <p:nvCxnSpPr>
            <p:cNvPr id="31" name="直接连接符 69"/>
            <p:cNvCxnSpPr>
              <a:cxnSpLocks noChangeShapeType="1"/>
            </p:cNvCxnSpPr>
            <p:nvPr/>
          </p:nvCxnSpPr>
          <p:spPr bwMode="auto">
            <a:xfrm>
              <a:off x="6804355" y="3532404"/>
              <a:ext cx="864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cxnSp>
          <p:nvCxnSpPr>
            <p:cNvPr id="32" name="直接连接符 73"/>
            <p:cNvCxnSpPr>
              <a:cxnSpLocks noChangeShapeType="1"/>
            </p:cNvCxnSpPr>
            <p:nvPr/>
          </p:nvCxnSpPr>
          <p:spPr bwMode="auto">
            <a:xfrm>
              <a:off x="6804355" y="1976477"/>
              <a:ext cx="756000" cy="0"/>
            </a:xfrm>
            <a:prstGeom prst="line">
              <a:avLst/>
            </a:prstGeom>
            <a:noFill/>
            <a:ln w="3175">
              <a:solidFill>
                <a:srgbClr val="0A4A77"/>
              </a:solidFill>
              <a:round/>
              <a:headEnd/>
              <a:tailEnd/>
            </a:ln>
            <a:extLst>
              <a:ext uri="{909E8E84-426E-40dd-AFC4-6F175D3DCCD1}">
                <a14:hiddenFill xmlns:a14="http://schemas.microsoft.com/office/drawing/2010/main" xmlns="">
                  <a:noFill/>
                </a14:hiddenFill>
              </a:ext>
            </a:extLst>
          </p:spPr>
        </p:cxnSp>
        <p:pic>
          <p:nvPicPr>
            <p:cNvPr id="34" name="图片 33"/>
            <p:cNvPicPr>
              <a:picLocks noChangeAspect="1"/>
            </p:cNvPicPr>
            <p:nvPr/>
          </p:nvPicPr>
          <p:blipFill>
            <a:blip r:embed="rId9" cstate="print"/>
            <a:stretch>
              <a:fillRect/>
            </a:stretch>
          </p:blipFill>
          <p:spPr>
            <a:xfrm>
              <a:off x="7718343" y="4527465"/>
              <a:ext cx="414760" cy="1202769"/>
            </a:xfrm>
            <a:prstGeom prst="rect">
              <a:avLst/>
            </a:prstGeom>
          </p:spPr>
        </p:pic>
        <p:pic>
          <p:nvPicPr>
            <p:cNvPr id="35" name="图片 34" descr="1470195548.9338_wm_4620"/>
            <p:cNvPicPr/>
            <p:nvPr/>
          </p:nvPicPr>
          <p:blipFill>
            <a:blip r:embed="rId10" cstate="print"/>
            <a:srcRect l="4346" t="1967" r="3374" b="3200"/>
            <a:stretch>
              <a:fillRect/>
            </a:stretch>
          </p:blipFill>
          <p:spPr>
            <a:xfrm>
              <a:off x="4159045" y="4764855"/>
              <a:ext cx="453698" cy="754796"/>
            </a:xfrm>
            <a:prstGeom prst="rect">
              <a:avLst/>
            </a:prstGeom>
          </p:spPr>
        </p:pic>
        <p:pic>
          <p:nvPicPr>
            <p:cNvPr id="36" name="图片 35"/>
            <p:cNvPicPr>
              <a:picLocks noChangeAspect="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37895" r="44020"/>
            <a:stretch/>
          </p:blipFill>
          <p:spPr>
            <a:xfrm>
              <a:off x="5371247" y="1139055"/>
              <a:ext cx="1252437" cy="5459091"/>
            </a:xfrm>
            <a:custGeom>
              <a:avLst/>
              <a:gdLst>
                <a:gd name="connsiteX0" fmla="*/ 0 w 1446835"/>
                <a:gd name="connsiteY0" fmla="*/ 0 h 6858000"/>
                <a:gd name="connsiteX1" fmla="*/ 1446835 w 1446835"/>
                <a:gd name="connsiteY1" fmla="*/ 0 h 6858000"/>
                <a:gd name="connsiteX2" fmla="*/ 1446835 w 1446835"/>
                <a:gd name="connsiteY2" fmla="*/ 6858000 h 6858000"/>
                <a:gd name="connsiteX3" fmla="*/ 0 w 1446835"/>
                <a:gd name="connsiteY3" fmla="*/ 6858000 h 6858000"/>
                <a:gd name="connsiteX4" fmla="*/ 0 w 1446835"/>
                <a:gd name="connsiteY4" fmla="*/ 5949387 h 6858000"/>
                <a:gd name="connsiteX5" fmla="*/ 428263 w 1446835"/>
                <a:gd name="connsiteY5" fmla="*/ 5949387 h 6858000"/>
                <a:gd name="connsiteX6" fmla="*/ 428263 w 1446835"/>
                <a:gd name="connsiteY6" fmla="*/ 1122744 h 6858000"/>
                <a:gd name="connsiteX7" fmla="*/ 0 w 1446835"/>
                <a:gd name="connsiteY7" fmla="*/ 11227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835" h="6858000">
                  <a:moveTo>
                    <a:pt x="0" y="0"/>
                  </a:moveTo>
                  <a:lnTo>
                    <a:pt x="1446835" y="0"/>
                  </a:lnTo>
                  <a:lnTo>
                    <a:pt x="1446835" y="6858000"/>
                  </a:lnTo>
                  <a:lnTo>
                    <a:pt x="0" y="6858000"/>
                  </a:lnTo>
                  <a:lnTo>
                    <a:pt x="0" y="5949387"/>
                  </a:lnTo>
                  <a:lnTo>
                    <a:pt x="428263" y="5949387"/>
                  </a:lnTo>
                  <a:lnTo>
                    <a:pt x="428263" y="1122744"/>
                  </a:lnTo>
                  <a:lnTo>
                    <a:pt x="0" y="1122744"/>
                  </a:lnTo>
                  <a:close/>
                </a:path>
              </a:pathLst>
            </a:custGeom>
            <a:effectLst>
              <a:glow rad="139700">
                <a:schemeClr val="accent1">
                  <a:satMod val="175000"/>
                  <a:alpha val="40000"/>
                </a:schemeClr>
              </a:glow>
            </a:effectLst>
          </p:spPr>
        </p:pic>
        <p:pic>
          <p:nvPicPr>
            <p:cNvPr id="37" name="Picture 2"/>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7565071" y="3296409"/>
              <a:ext cx="676505" cy="514315"/>
            </a:xfrm>
            <a:prstGeom prst="rect">
              <a:avLst/>
            </a:prstGeom>
            <a:noFill/>
            <a:ln w="9525">
              <a:noFill/>
              <a:miter lim="800000"/>
              <a:headEnd/>
              <a:tailEnd/>
            </a:ln>
          </p:spPr>
        </p:pic>
        <p:pic>
          <p:nvPicPr>
            <p:cNvPr id="1026" name="Picture 2"/>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7587855" y="1799010"/>
              <a:ext cx="636064" cy="393698"/>
            </a:xfrm>
            <a:prstGeom prst="rect">
              <a:avLst/>
            </a:prstGeom>
            <a:noFill/>
            <a:ln w="9525">
              <a:noFill/>
              <a:miter lim="800000"/>
              <a:headEnd/>
              <a:tailEnd/>
            </a:ln>
          </p:spPr>
        </p:pic>
      </p:grpSp>
      <p:pic>
        <p:nvPicPr>
          <p:cNvPr id="44" name="图片 3" descr="底板 拷贝 6"/>
          <p:cNvPicPr>
            <a:picLocks noChangeAspect="1"/>
          </p:cNvPicPr>
          <p:nvPr/>
        </p:nvPicPr>
        <p:blipFill>
          <a:blip r:embed="rId14" cstate="print"/>
          <a:srcRect/>
          <a:stretch>
            <a:fillRect/>
          </a:stretch>
        </p:blipFill>
        <p:spPr bwMode="auto">
          <a:xfrm>
            <a:off x="520307" y="3154667"/>
            <a:ext cx="3129008" cy="491151"/>
          </a:xfrm>
          <a:prstGeom prst="rect">
            <a:avLst/>
          </a:prstGeom>
          <a:noFill/>
          <a:ln w="9525">
            <a:noFill/>
            <a:miter lim="800000"/>
            <a:headEnd/>
            <a:tailEnd/>
          </a:ln>
        </p:spPr>
      </p:pic>
      <p:pic>
        <p:nvPicPr>
          <p:cNvPr id="45" name="图片 3" descr="底板 拷贝 6"/>
          <p:cNvPicPr>
            <a:picLocks noChangeAspect="1"/>
          </p:cNvPicPr>
          <p:nvPr/>
        </p:nvPicPr>
        <p:blipFill>
          <a:blip r:embed="rId14" cstate="print"/>
          <a:srcRect/>
          <a:stretch>
            <a:fillRect/>
          </a:stretch>
        </p:blipFill>
        <p:spPr bwMode="auto">
          <a:xfrm>
            <a:off x="520307" y="5458923"/>
            <a:ext cx="3129008" cy="491151"/>
          </a:xfrm>
          <a:prstGeom prst="rect">
            <a:avLst/>
          </a:prstGeom>
          <a:noFill/>
          <a:ln w="9525">
            <a:noFill/>
            <a:miter lim="800000"/>
            <a:headEnd/>
            <a:tailEnd/>
          </a:ln>
        </p:spPr>
      </p:pic>
      <p:pic>
        <p:nvPicPr>
          <p:cNvPr id="46" name="图片 3" descr="底板 拷贝 6"/>
          <p:cNvPicPr>
            <a:picLocks noChangeAspect="1"/>
          </p:cNvPicPr>
          <p:nvPr/>
        </p:nvPicPr>
        <p:blipFill>
          <a:blip r:embed="rId14" cstate="print"/>
          <a:srcRect/>
          <a:stretch>
            <a:fillRect/>
          </a:stretch>
        </p:blipFill>
        <p:spPr bwMode="auto">
          <a:xfrm>
            <a:off x="8545859" y="3154667"/>
            <a:ext cx="3129008" cy="491151"/>
          </a:xfrm>
          <a:prstGeom prst="rect">
            <a:avLst/>
          </a:prstGeom>
          <a:noFill/>
          <a:ln w="9525">
            <a:noFill/>
            <a:miter lim="800000"/>
            <a:headEnd/>
            <a:tailEnd/>
          </a:ln>
        </p:spPr>
      </p:pic>
      <p:pic>
        <p:nvPicPr>
          <p:cNvPr id="47" name="图片 3" descr="底板 拷贝 6"/>
          <p:cNvPicPr>
            <a:picLocks noChangeAspect="1"/>
          </p:cNvPicPr>
          <p:nvPr/>
        </p:nvPicPr>
        <p:blipFill>
          <a:blip r:embed="rId14" cstate="print"/>
          <a:srcRect/>
          <a:stretch>
            <a:fillRect/>
          </a:stretch>
        </p:blipFill>
        <p:spPr bwMode="auto">
          <a:xfrm>
            <a:off x="8545859" y="5458923"/>
            <a:ext cx="3129008" cy="491151"/>
          </a:xfrm>
          <a:prstGeom prst="rect">
            <a:avLst/>
          </a:prstGeom>
          <a:noFill/>
          <a:ln w="9525">
            <a:noFill/>
            <a:miter lim="800000"/>
            <a:headEnd/>
            <a:tailEnd/>
          </a:ln>
        </p:spPr>
      </p:pic>
      <p:pic>
        <p:nvPicPr>
          <p:cNvPr id="1029" name="Picture 5"/>
          <p:cNvPicPr>
            <a:picLocks noChangeAspect="1" noChangeArrowheads="1"/>
          </p:cNvPicPr>
          <p:nvPr/>
        </p:nvPicPr>
        <p:blipFill>
          <a:blip r:embed="rId15" cstate="print"/>
          <a:srcRect/>
          <a:stretch>
            <a:fillRect/>
          </a:stretch>
        </p:blipFill>
        <p:spPr bwMode="auto">
          <a:xfrm>
            <a:off x="592315" y="1440930"/>
            <a:ext cx="1616840" cy="126878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50" name="TextBox 49"/>
          <p:cNvSpPr txBox="1"/>
          <p:nvPr/>
        </p:nvSpPr>
        <p:spPr>
          <a:xfrm>
            <a:off x="2293863" y="1674306"/>
            <a:ext cx="1571476" cy="959943"/>
          </a:xfrm>
          <a:prstGeom prst="rect">
            <a:avLst/>
          </a:prstGeom>
          <a:noFill/>
        </p:spPr>
        <p:txBody>
          <a:bodyPr wrap="square" rtlCol="0">
            <a:spAutoFit/>
          </a:bodyPr>
          <a:lstStyle/>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Wide distribution</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Good location</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Convenient transmission</a:t>
            </a:r>
            <a:endParaRPr lang="zh-CN" altLang="en-US" sz="1200" dirty="0">
              <a:solidFill>
                <a:schemeClr val="bg1"/>
              </a:solidFill>
              <a:latin typeface="+mn-ea"/>
            </a:endParaRPr>
          </a:p>
        </p:txBody>
      </p:sp>
      <p:sp>
        <p:nvSpPr>
          <p:cNvPr id="51" name="矩形 50"/>
          <p:cNvSpPr/>
          <p:nvPr/>
        </p:nvSpPr>
        <p:spPr>
          <a:xfrm>
            <a:off x="215298" y="2970450"/>
            <a:ext cx="3387409" cy="523220"/>
          </a:xfrm>
          <a:prstGeom prst="rect">
            <a:avLst/>
          </a:prstGeom>
        </p:spPr>
        <p:txBody>
          <a:bodyPr wrap="square">
            <a:spAutoFit/>
          </a:bodyPr>
          <a:lstStyle/>
          <a:p>
            <a:pPr algn="ct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1. Rich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IoT:</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r>
            <a:b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b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Neural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Network”</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of the city</a:t>
            </a:r>
            <a:endParaRPr lang="zh-CN" altLang="en-US" sz="1400" i="1" dirty="0">
              <a:solidFill>
                <a:srgbClr val="FFC000"/>
              </a:solidFill>
              <a:effectLst>
                <a:outerShdw blurRad="38100" dist="38100" dir="2700000" algn="tl">
                  <a:srgbClr val="000000">
                    <a:alpha val="43137"/>
                  </a:srgbClr>
                </a:outerShdw>
              </a:effectLst>
            </a:endParaRPr>
          </a:p>
        </p:txBody>
      </p:sp>
      <p:sp>
        <p:nvSpPr>
          <p:cNvPr id="52" name="矩形 51"/>
          <p:cNvSpPr/>
          <p:nvPr/>
        </p:nvSpPr>
        <p:spPr>
          <a:xfrm>
            <a:off x="8372021" y="2984865"/>
            <a:ext cx="3541427" cy="523220"/>
          </a:xfrm>
          <a:prstGeom prst="rect">
            <a:avLst/>
          </a:prstGeom>
        </p:spPr>
        <p:txBody>
          <a:bodyPr wrap="square">
            <a:spAutoFit/>
          </a:bodyPr>
          <a:lstStyle/>
          <a:p>
            <a:pPr algn="ct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2. Access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Node</a:t>
            </a:r>
            <a:r>
              <a:rPr lang="en-US" altLang="zh-CN" sz="1400" b="1" i="1" dirty="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r>
            <a:b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b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Rapid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ocket”</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of the city</a:t>
            </a:r>
            <a:endParaRPr lang="zh-CN" altLang="en-US" sz="1400" i="1" dirty="0">
              <a:solidFill>
                <a:srgbClr val="FFC000"/>
              </a:solidFill>
              <a:effectLst>
                <a:outerShdw blurRad="38100" dist="38100" dir="2700000" algn="tl">
                  <a:srgbClr val="000000">
                    <a:alpha val="43137"/>
                  </a:srgbClr>
                </a:outerShdw>
              </a:effectLst>
            </a:endParaRPr>
          </a:p>
        </p:txBody>
      </p:sp>
      <p:sp>
        <p:nvSpPr>
          <p:cNvPr id="53" name="矩形 52"/>
          <p:cNvSpPr/>
          <p:nvPr/>
        </p:nvSpPr>
        <p:spPr>
          <a:xfrm>
            <a:off x="480963" y="5229994"/>
            <a:ext cx="3040950" cy="523220"/>
          </a:xfrm>
          <a:prstGeom prst="rect">
            <a:avLst/>
          </a:prstGeom>
        </p:spPr>
        <p:txBody>
          <a:bodyPr wrap="square">
            <a:spAutoFit/>
          </a:bodyPr>
          <a:lstStyle/>
          <a:p>
            <a:pPr algn="ct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 Convenience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ystem: </a:t>
            </a:r>
            <a:b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b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Know-</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ll”</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of the city</a:t>
            </a:r>
            <a:endParaRPr lang="zh-CN" altLang="en-US" sz="1400" i="1" dirty="0">
              <a:solidFill>
                <a:srgbClr val="FFC000"/>
              </a:solidFill>
              <a:effectLst>
                <a:outerShdw blurRad="38100" dist="38100" dir="2700000" algn="tl">
                  <a:srgbClr val="000000">
                    <a:alpha val="43137"/>
                  </a:srgbClr>
                </a:outerShdw>
              </a:effectLst>
            </a:endParaRPr>
          </a:p>
        </p:txBody>
      </p:sp>
      <p:sp>
        <p:nvSpPr>
          <p:cNvPr id="54" name="矩形 53"/>
          <p:cNvSpPr/>
          <p:nvPr/>
        </p:nvSpPr>
        <p:spPr>
          <a:xfrm>
            <a:off x="8306320" y="5229994"/>
            <a:ext cx="3407891" cy="523220"/>
          </a:xfrm>
          <a:prstGeom prst="rect">
            <a:avLst/>
          </a:prstGeom>
        </p:spPr>
        <p:txBody>
          <a:bodyPr wrap="square">
            <a:spAutoFit/>
          </a:bodyPr>
          <a:lstStyle/>
          <a:p>
            <a:pPr algn="ct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4. Management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latform: </a:t>
            </a:r>
            <a:b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b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mart </a:t>
            </a:r>
            <a:r>
              <a:rPr lang="en-US" altLang="zh-CN" sz="1400" b="1" i="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Brain”</a:t>
            </a:r>
            <a:r>
              <a:rPr lang="en-US" altLang="zh-CN" sz="1400" b="1" i="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of the city</a:t>
            </a:r>
            <a:endParaRPr lang="zh-CN" altLang="en-US" sz="1400" i="1" dirty="0">
              <a:solidFill>
                <a:srgbClr val="FFC000"/>
              </a:solidFill>
              <a:effectLst>
                <a:outerShdw blurRad="38100" dist="38100" dir="2700000" algn="tl">
                  <a:srgbClr val="000000">
                    <a:alpha val="43137"/>
                  </a:srgbClr>
                </a:outerShdw>
              </a:effectLst>
            </a:endParaRPr>
          </a:p>
        </p:txBody>
      </p:sp>
      <p:sp>
        <p:nvSpPr>
          <p:cNvPr id="56" name="TextBox 55"/>
          <p:cNvSpPr txBox="1"/>
          <p:nvPr/>
        </p:nvSpPr>
        <p:spPr>
          <a:xfrm>
            <a:off x="10202043" y="1641282"/>
            <a:ext cx="1888461" cy="1181542"/>
          </a:xfrm>
          <a:prstGeom prst="rect">
            <a:avLst/>
          </a:prstGeom>
          <a:noFill/>
        </p:spPr>
        <p:txBody>
          <a:bodyPr wrap="square" rtlCol="0">
            <a:spAutoFit/>
          </a:bodyPr>
          <a:lstStyle/>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Video Surveillance</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Environmental acquistion</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Pedestrian flow analysis</a:t>
            </a:r>
            <a:endParaRPr lang="zh-CN" altLang="en-US" sz="1200" dirty="0">
              <a:solidFill>
                <a:schemeClr val="bg1"/>
              </a:solidFill>
              <a:latin typeface="+mn-ea"/>
            </a:endParaRPr>
          </a:p>
        </p:txBody>
      </p:sp>
      <p:sp>
        <p:nvSpPr>
          <p:cNvPr id="58" name="TextBox 57"/>
          <p:cNvSpPr txBox="1"/>
          <p:nvPr/>
        </p:nvSpPr>
        <p:spPr>
          <a:xfrm>
            <a:off x="2209155" y="3910322"/>
            <a:ext cx="1538812" cy="1181542"/>
          </a:xfrm>
          <a:prstGeom prst="rect">
            <a:avLst/>
          </a:prstGeom>
          <a:noFill/>
        </p:spPr>
        <p:txBody>
          <a:bodyPr wrap="square" rtlCol="0">
            <a:spAutoFit/>
          </a:bodyPr>
          <a:lstStyle/>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Wireless Internet access</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Information Release</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Panic button</a:t>
            </a:r>
            <a:endParaRPr lang="zh-CN" altLang="en-US" sz="1200" dirty="0">
              <a:solidFill>
                <a:schemeClr val="bg1"/>
              </a:solidFill>
              <a:latin typeface="+mn-ea"/>
            </a:endParaRPr>
          </a:p>
        </p:txBody>
      </p:sp>
      <p:sp>
        <p:nvSpPr>
          <p:cNvPr id="60" name="TextBox 59"/>
          <p:cNvSpPr txBox="1"/>
          <p:nvPr/>
        </p:nvSpPr>
        <p:spPr>
          <a:xfrm>
            <a:off x="10205811" y="3916434"/>
            <a:ext cx="1751126" cy="1181542"/>
          </a:xfrm>
          <a:prstGeom prst="rect">
            <a:avLst/>
          </a:prstGeom>
          <a:noFill/>
        </p:spPr>
        <p:txBody>
          <a:bodyPr wrap="square" rtlCol="0">
            <a:spAutoFit/>
          </a:bodyPr>
          <a:lstStyle/>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Public lighting mgmt.</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Municipal administration</a:t>
            </a:r>
            <a:endParaRPr lang="en-US" altLang="zh-CN" sz="1200" dirty="0" smtClean="0">
              <a:solidFill>
                <a:schemeClr val="bg1"/>
              </a:solidFill>
              <a:latin typeface="+mn-ea"/>
            </a:endParaRPr>
          </a:p>
          <a:p>
            <a:pPr>
              <a:lnSpc>
                <a:spcPct val="120000"/>
              </a:lnSpc>
              <a:buFont typeface="Arial" pitchFamily="34" charset="0"/>
              <a:buChar char="•"/>
            </a:pPr>
            <a:r>
              <a:rPr lang="en-US" altLang="zh-CN" sz="1200" dirty="0" smtClean="0">
                <a:solidFill>
                  <a:schemeClr val="bg1"/>
                </a:solidFill>
                <a:latin typeface="+mn-ea"/>
              </a:rPr>
              <a:t> </a:t>
            </a:r>
            <a:r>
              <a:rPr lang="zh-CN" altLang="en-US" sz="1200" dirty="0" smtClean="0">
                <a:solidFill>
                  <a:schemeClr val="bg1"/>
                </a:solidFill>
                <a:latin typeface="+mn-ea"/>
              </a:rPr>
              <a:t>Traffic surveillance</a:t>
            </a:r>
            <a:endParaRPr lang="zh-CN" altLang="en-US" sz="1200" dirty="0">
              <a:solidFill>
                <a:schemeClr val="bg1"/>
              </a:solidFill>
              <a:latin typeface="+mn-ea"/>
            </a:endParaRPr>
          </a:p>
        </p:txBody>
      </p:sp>
      <p:pic>
        <p:nvPicPr>
          <p:cNvPr id="1030" name="Picture 6"/>
          <p:cNvPicPr>
            <a:picLocks noChangeAspect="1" noChangeArrowheads="1"/>
          </p:cNvPicPr>
          <p:nvPr/>
        </p:nvPicPr>
        <p:blipFill>
          <a:blip r:embed="rId16" cstate="print"/>
          <a:srcRect/>
          <a:stretch>
            <a:fillRect/>
          </a:stretch>
        </p:blipFill>
        <p:spPr bwMode="auto">
          <a:xfrm>
            <a:off x="8545859" y="1413570"/>
            <a:ext cx="1596876" cy="128262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1032" name="Picture 8"/>
          <p:cNvPicPr>
            <a:picLocks noChangeAspect="1" noChangeArrowheads="1"/>
          </p:cNvPicPr>
          <p:nvPr/>
        </p:nvPicPr>
        <p:blipFill>
          <a:blip r:embed="rId17" cstate="print"/>
          <a:srcRect/>
          <a:stretch>
            <a:fillRect/>
          </a:stretch>
        </p:blipFill>
        <p:spPr bwMode="auto">
          <a:xfrm>
            <a:off x="8617867" y="3789834"/>
            <a:ext cx="1584176" cy="126223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1033" name="Picture 9"/>
          <p:cNvPicPr>
            <a:picLocks noChangeAspect="1" noChangeArrowheads="1"/>
          </p:cNvPicPr>
          <p:nvPr/>
        </p:nvPicPr>
        <p:blipFill>
          <a:blip r:embed="rId18" cstate="print"/>
          <a:srcRect/>
          <a:stretch>
            <a:fillRect/>
          </a:stretch>
        </p:blipFill>
        <p:spPr bwMode="auto">
          <a:xfrm>
            <a:off x="612279" y="3766664"/>
            <a:ext cx="1584176" cy="124730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55" name="Picture 2"/>
          <p:cNvPicPr>
            <a:picLocks noChangeAspect="1" noChangeArrowheads="1"/>
          </p:cNvPicPr>
          <p:nvPr/>
        </p:nvPicPr>
        <p:blipFill>
          <a:blip r:embed="rId19" cstate="print">
            <a:clrChange>
              <a:clrFrom>
                <a:srgbClr val="000000"/>
              </a:clrFrom>
              <a:clrTo>
                <a:srgbClr val="000000">
                  <a:alpha val="0"/>
                </a:srgbClr>
              </a:clrTo>
            </a:clrChange>
          </a:blip>
          <a:srcRect/>
          <a:stretch>
            <a:fillRect/>
          </a:stretch>
        </p:blipFill>
        <p:spPr bwMode="auto">
          <a:xfrm>
            <a:off x="3938974" y="1588854"/>
            <a:ext cx="718453" cy="627507"/>
          </a:xfrm>
          <a:prstGeom prst="rect">
            <a:avLst/>
          </a:prstGeom>
          <a:noFill/>
          <a:ln w="9525">
            <a:noFill/>
            <a:miter lim="800000"/>
            <a:headEnd/>
            <a:tailEnd/>
          </a:ln>
        </p:spPr>
      </p:pic>
    </p:spTree>
  </p:cSld>
  <p:clrMapOvr>
    <a:masterClrMapping/>
  </p:clrMapOvr>
  <p:transition>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96987" y="405458"/>
            <a:ext cx="11089232" cy="523220"/>
          </a:xfrm>
          <a:prstGeom prst="rect">
            <a:avLst/>
          </a:prstGeom>
        </p:spPr>
        <p:txBody>
          <a:bodyPr wrap="square">
            <a:spAutoFit/>
          </a:bodyPr>
          <a:lstStyle/>
          <a:p>
            <a:r>
              <a:rPr lang="en-US" altLang="zh-CN" sz="2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mj-cs"/>
              </a:rPr>
              <a:t>Development Trend of Overseas Smart </a:t>
            </a:r>
            <a:r>
              <a:rPr lang="en-US" altLang="zh-CN" sz="2800" b="1" dirty="0" smtClean="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rPr>
              <a:t>Poles</a:t>
            </a:r>
            <a:endParaRPr lang="en-US" sz="2800" b="1" dirty="0">
              <a:solidFill>
                <a:srgbClr val="00B050"/>
              </a:solidFill>
              <a:effectLst>
                <a:outerShdw blurRad="38100" dist="38100" dir="2700000" algn="tl">
                  <a:srgbClr val="000000">
                    <a:alpha val="43137"/>
                  </a:srgbClr>
                </a:outerShdw>
              </a:effectLst>
              <a:latin typeface="微软雅黑" pitchFamily="34" charset="-122"/>
              <a:ea typeface="微软雅黑" pitchFamily="34" charset="-122"/>
              <a:cs typeface="+mj-cs"/>
            </a:endParaRPr>
          </a:p>
        </p:txBody>
      </p:sp>
      <p:grpSp>
        <p:nvGrpSpPr>
          <p:cNvPr id="5" name="Group 2"/>
          <p:cNvGrpSpPr>
            <a:grpSpLocks/>
          </p:cNvGrpSpPr>
          <p:nvPr/>
        </p:nvGrpSpPr>
        <p:grpSpPr bwMode="auto">
          <a:xfrm>
            <a:off x="1975345" y="1338549"/>
            <a:ext cx="9810874" cy="4670727"/>
            <a:chOff x="664" y="1951"/>
            <a:chExt cx="4308" cy="2120"/>
          </a:xfrm>
          <a:solidFill>
            <a:schemeClr val="accent1">
              <a:lumMod val="75000"/>
            </a:schemeClr>
          </a:solidFill>
        </p:grpSpPr>
        <p:sp>
          <p:nvSpPr>
            <p:cNvPr id="6" name="Freeform 3"/>
            <p:cNvSpPr>
              <a:spLocks/>
            </p:cNvSpPr>
            <p:nvPr/>
          </p:nvSpPr>
          <p:spPr bwMode="gray">
            <a:xfrm>
              <a:off x="743" y="2045"/>
              <a:ext cx="1267" cy="1938"/>
            </a:xfrm>
            <a:custGeom>
              <a:avLst/>
              <a:gdLst/>
              <a:ahLst/>
              <a:cxnLst>
                <a:cxn ang="0">
                  <a:pos x="116" y="258"/>
                </a:cxn>
                <a:cxn ang="0">
                  <a:pos x="320" y="210"/>
                </a:cxn>
                <a:cxn ang="0">
                  <a:pos x="434" y="240"/>
                </a:cxn>
                <a:cxn ang="0">
                  <a:pos x="416" y="444"/>
                </a:cxn>
                <a:cxn ang="0">
                  <a:pos x="272" y="582"/>
                </a:cxn>
                <a:cxn ang="0">
                  <a:pos x="218" y="714"/>
                </a:cxn>
                <a:cxn ang="0">
                  <a:pos x="284" y="964"/>
                </a:cxn>
                <a:cxn ang="0">
                  <a:pos x="316" y="960"/>
                </a:cxn>
                <a:cxn ang="0">
                  <a:pos x="328" y="906"/>
                </a:cxn>
                <a:cxn ang="0">
                  <a:pos x="478" y="1154"/>
                </a:cxn>
                <a:cxn ang="0">
                  <a:pos x="650" y="1200"/>
                </a:cxn>
                <a:cxn ang="0">
                  <a:pos x="794" y="1350"/>
                </a:cxn>
                <a:cxn ang="0">
                  <a:pos x="854" y="1422"/>
                </a:cxn>
                <a:cxn ang="0">
                  <a:pos x="770" y="1608"/>
                </a:cxn>
                <a:cxn ang="0">
                  <a:pos x="916" y="1782"/>
                </a:cxn>
                <a:cxn ang="0">
                  <a:pos x="1034" y="2022"/>
                </a:cxn>
                <a:cxn ang="0">
                  <a:pos x="1094" y="2310"/>
                </a:cxn>
                <a:cxn ang="0">
                  <a:pos x="1194" y="2540"/>
                </a:cxn>
                <a:cxn ang="0">
                  <a:pos x="1280" y="2520"/>
                </a:cxn>
                <a:cxn ang="0">
                  <a:pos x="1244" y="2394"/>
                </a:cxn>
                <a:cxn ang="0">
                  <a:pos x="1288" y="2306"/>
                </a:cxn>
                <a:cxn ang="0">
                  <a:pos x="1368" y="2228"/>
                </a:cxn>
                <a:cxn ang="0">
                  <a:pos x="1448" y="2076"/>
                </a:cxn>
                <a:cxn ang="0">
                  <a:pos x="1568" y="1950"/>
                </a:cxn>
                <a:cxn ang="0">
                  <a:pos x="1622" y="1746"/>
                </a:cxn>
                <a:cxn ang="0">
                  <a:pos x="1552" y="1538"/>
                </a:cxn>
                <a:cxn ang="0">
                  <a:pos x="1376" y="1410"/>
                </a:cxn>
                <a:cxn ang="0">
                  <a:pos x="1104" y="1280"/>
                </a:cxn>
                <a:cxn ang="0">
                  <a:pos x="974" y="1260"/>
                </a:cxn>
                <a:cxn ang="0">
                  <a:pos x="904" y="1268"/>
                </a:cxn>
                <a:cxn ang="0">
                  <a:pos x="794" y="1308"/>
                </a:cxn>
                <a:cxn ang="0">
                  <a:pos x="758" y="1174"/>
                </a:cxn>
                <a:cxn ang="0">
                  <a:pos x="736" y="1062"/>
                </a:cxn>
                <a:cxn ang="0">
                  <a:pos x="632" y="1104"/>
                </a:cxn>
                <a:cxn ang="0">
                  <a:pos x="568" y="950"/>
                </a:cxn>
                <a:cxn ang="0">
                  <a:pos x="740" y="912"/>
                </a:cxn>
                <a:cxn ang="0">
                  <a:pos x="842" y="906"/>
                </a:cxn>
                <a:cxn ang="0">
                  <a:pos x="896" y="900"/>
                </a:cxn>
                <a:cxn ang="0">
                  <a:pos x="1058" y="750"/>
                </a:cxn>
                <a:cxn ang="0">
                  <a:pos x="1184" y="678"/>
                </a:cxn>
                <a:cxn ang="0">
                  <a:pos x="1278" y="636"/>
                </a:cxn>
                <a:cxn ang="0">
                  <a:pos x="1340" y="538"/>
                </a:cxn>
                <a:cxn ang="0">
                  <a:pos x="1288" y="512"/>
                </a:cxn>
                <a:cxn ang="0">
                  <a:pos x="1526" y="456"/>
                </a:cxn>
                <a:cxn ang="0">
                  <a:pos x="1406" y="342"/>
                </a:cxn>
                <a:cxn ang="0">
                  <a:pos x="1328" y="264"/>
                </a:cxn>
                <a:cxn ang="0">
                  <a:pos x="1222" y="364"/>
                </a:cxn>
                <a:cxn ang="0">
                  <a:pos x="1110" y="444"/>
                </a:cxn>
                <a:cxn ang="0">
                  <a:pos x="1022" y="304"/>
                </a:cxn>
                <a:cxn ang="0">
                  <a:pos x="1212" y="240"/>
                </a:cxn>
                <a:cxn ang="0">
                  <a:pos x="1266" y="198"/>
                </a:cxn>
                <a:cxn ang="0">
                  <a:pos x="1328" y="172"/>
                </a:cxn>
                <a:cxn ang="0">
                  <a:pos x="1286" y="144"/>
                </a:cxn>
                <a:cxn ang="0">
                  <a:pos x="1262" y="120"/>
                </a:cxn>
                <a:cxn ang="0">
                  <a:pos x="1202" y="102"/>
                </a:cxn>
                <a:cxn ang="0">
                  <a:pos x="1106" y="136"/>
                </a:cxn>
                <a:cxn ang="0">
                  <a:pos x="950" y="120"/>
                </a:cxn>
                <a:cxn ang="0">
                  <a:pos x="550" y="0"/>
                </a:cxn>
                <a:cxn ang="0">
                  <a:pos x="344" y="32"/>
                </a:cxn>
                <a:cxn ang="0">
                  <a:pos x="290" y="102"/>
                </a:cxn>
                <a:cxn ang="0">
                  <a:pos x="128" y="174"/>
                </a:cxn>
                <a:cxn ang="0">
                  <a:pos x="128" y="216"/>
                </a:cxn>
                <a:cxn ang="0">
                  <a:pos x="2" y="252"/>
                </a:cxn>
              </a:cxnLst>
              <a:rect l="0" t="0" r="r" b="b"/>
              <a:pathLst>
                <a:path w="1692" h="2586">
                  <a:moveTo>
                    <a:pt x="2" y="252"/>
                  </a:moveTo>
                  <a:lnTo>
                    <a:pt x="68" y="264"/>
                  </a:lnTo>
                  <a:lnTo>
                    <a:pt x="116" y="258"/>
                  </a:lnTo>
                  <a:lnTo>
                    <a:pt x="188" y="216"/>
                  </a:lnTo>
                  <a:lnTo>
                    <a:pt x="236" y="210"/>
                  </a:lnTo>
                  <a:lnTo>
                    <a:pt x="320" y="210"/>
                  </a:lnTo>
                  <a:lnTo>
                    <a:pt x="368" y="216"/>
                  </a:lnTo>
                  <a:lnTo>
                    <a:pt x="398" y="246"/>
                  </a:lnTo>
                  <a:lnTo>
                    <a:pt x="434" y="240"/>
                  </a:lnTo>
                  <a:lnTo>
                    <a:pt x="422" y="294"/>
                  </a:lnTo>
                  <a:lnTo>
                    <a:pt x="404" y="354"/>
                  </a:lnTo>
                  <a:lnTo>
                    <a:pt x="416" y="444"/>
                  </a:lnTo>
                  <a:lnTo>
                    <a:pt x="408" y="480"/>
                  </a:lnTo>
                  <a:lnTo>
                    <a:pt x="380" y="474"/>
                  </a:lnTo>
                  <a:lnTo>
                    <a:pt x="272" y="582"/>
                  </a:lnTo>
                  <a:lnTo>
                    <a:pt x="236" y="628"/>
                  </a:lnTo>
                  <a:lnTo>
                    <a:pt x="242" y="672"/>
                  </a:lnTo>
                  <a:lnTo>
                    <a:pt x="218" y="714"/>
                  </a:lnTo>
                  <a:lnTo>
                    <a:pt x="268" y="774"/>
                  </a:lnTo>
                  <a:lnTo>
                    <a:pt x="262" y="844"/>
                  </a:lnTo>
                  <a:lnTo>
                    <a:pt x="284" y="964"/>
                  </a:lnTo>
                  <a:lnTo>
                    <a:pt x="320" y="1010"/>
                  </a:lnTo>
                  <a:lnTo>
                    <a:pt x="324" y="970"/>
                  </a:lnTo>
                  <a:lnTo>
                    <a:pt x="316" y="960"/>
                  </a:lnTo>
                  <a:lnTo>
                    <a:pt x="302" y="834"/>
                  </a:lnTo>
                  <a:lnTo>
                    <a:pt x="326" y="830"/>
                  </a:lnTo>
                  <a:lnTo>
                    <a:pt x="328" y="906"/>
                  </a:lnTo>
                  <a:lnTo>
                    <a:pt x="380" y="996"/>
                  </a:lnTo>
                  <a:lnTo>
                    <a:pt x="368" y="1074"/>
                  </a:lnTo>
                  <a:lnTo>
                    <a:pt x="478" y="1154"/>
                  </a:lnTo>
                  <a:lnTo>
                    <a:pt x="564" y="1164"/>
                  </a:lnTo>
                  <a:lnTo>
                    <a:pt x="612" y="1208"/>
                  </a:lnTo>
                  <a:lnTo>
                    <a:pt x="650" y="1200"/>
                  </a:lnTo>
                  <a:lnTo>
                    <a:pt x="680" y="1224"/>
                  </a:lnTo>
                  <a:lnTo>
                    <a:pt x="698" y="1272"/>
                  </a:lnTo>
                  <a:lnTo>
                    <a:pt x="794" y="1350"/>
                  </a:lnTo>
                  <a:lnTo>
                    <a:pt x="842" y="1308"/>
                  </a:lnTo>
                  <a:lnTo>
                    <a:pt x="848" y="1350"/>
                  </a:lnTo>
                  <a:lnTo>
                    <a:pt x="854" y="1422"/>
                  </a:lnTo>
                  <a:lnTo>
                    <a:pt x="786" y="1490"/>
                  </a:lnTo>
                  <a:lnTo>
                    <a:pt x="788" y="1542"/>
                  </a:lnTo>
                  <a:lnTo>
                    <a:pt x="770" y="1608"/>
                  </a:lnTo>
                  <a:lnTo>
                    <a:pt x="802" y="1634"/>
                  </a:lnTo>
                  <a:lnTo>
                    <a:pt x="848" y="1668"/>
                  </a:lnTo>
                  <a:lnTo>
                    <a:pt x="916" y="1782"/>
                  </a:lnTo>
                  <a:lnTo>
                    <a:pt x="956" y="1800"/>
                  </a:lnTo>
                  <a:lnTo>
                    <a:pt x="1010" y="1848"/>
                  </a:lnTo>
                  <a:lnTo>
                    <a:pt x="1034" y="2022"/>
                  </a:lnTo>
                  <a:lnTo>
                    <a:pt x="1058" y="2178"/>
                  </a:lnTo>
                  <a:lnTo>
                    <a:pt x="1046" y="2244"/>
                  </a:lnTo>
                  <a:lnTo>
                    <a:pt x="1094" y="2310"/>
                  </a:lnTo>
                  <a:lnTo>
                    <a:pt x="1118" y="2364"/>
                  </a:lnTo>
                  <a:lnTo>
                    <a:pt x="1138" y="2458"/>
                  </a:lnTo>
                  <a:lnTo>
                    <a:pt x="1194" y="2540"/>
                  </a:lnTo>
                  <a:lnTo>
                    <a:pt x="1286" y="2586"/>
                  </a:lnTo>
                  <a:lnTo>
                    <a:pt x="1382" y="2574"/>
                  </a:lnTo>
                  <a:lnTo>
                    <a:pt x="1280" y="2520"/>
                  </a:lnTo>
                  <a:lnTo>
                    <a:pt x="1266" y="2472"/>
                  </a:lnTo>
                  <a:lnTo>
                    <a:pt x="1288" y="2428"/>
                  </a:lnTo>
                  <a:lnTo>
                    <a:pt x="1244" y="2394"/>
                  </a:lnTo>
                  <a:lnTo>
                    <a:pt x="1284" y="2334"/>
                  </a:lnTo>
                  <a:lnTo>
                    <a:pt x="1244" y="2300"/>
                  </a:lnTo>
                  <a:lnTo>
                    <a:pt x="1288" y="2306"/>
                  </a:lnTo>
                  <a:lnTo>
                    <a:pt x="1286" y="2244"/>
                  </a:lnTo>
                  <a:lnTo>
                    <a:pt x="1330" y="2268"/>
                  </a:lnTo>
                  <a:lnTo>
                    <a:pt x="1368" y="2228"/>
                  </a:lnTo>
                  <a:lnTo>
                    <a:pt x="1334" y="2160"/>
                  </a:lnTo>
                  <a:lnTo>
                    <a:pt x="1382" y="2184"/>
                  </a:lnTo>
                  <a:lnTo>
                    <a:pt x="1448" y="2076"/>
                  </a:lnTo>
                  <a:lnTo>
                    <a:pt x="1468" y="2052"/>
                  </a:lnTo>
                  <a:lnTo>
                    <a:pt x="1476" y="1982"/>
                  </a:lnTo>
                  <a:lnTo>
                    <a:pt x="1568" y="1950"/>
                  </a:lnTo>
                  <a:lnTo>
                    <a:pt x="1612" y="1880"/>
                  </a:lnTo>
                  <a:lnTo>
                    <a:pt x="1628" y="1830"/>
                  </a:lnTo>
                  <a:lnTo>
                    <a:pt x="1622" y="1746"/>
                  </a:lnTo>
                  <a:lnTo>
                    <a:pt x="1692" y="1644"/>
                  </a:lnTo>
                  <a:lnTo>
                    <a:pt x="1652" y="1578"/>
                  </a:lnTo>
                  <a:lnTo>
                    <a:pt x="1552" y="1538"/>
                  </a:lnTo>
                  <a:lnTo>
                    <a:pt x="1448" y="1500"/>
                  </a:lnTo>
                  <a:lnTo>
                    <a:pt x="1376" y="1494"/>
                  </a:lnTo>
                  <a:lnTo>
                    <a:pt x="1376" y="1410"/>
                  </a:lnTo>
                  <a:lnTo>
                    <a:pt x="1262" y="1356"/>
                  </a:lnTo>
                  <a:lnTo>
                    <a:pt x="1166" y="1272"/>
                  </a:lnTo>
                  <a:lnTo>
                    <a:pt x="1104" y="1280"/>
                  </a:lnTo>
                  <a:lnTo>
                    <a:pt x="1048" y="1276"/>
                  </a:lnTo>
                  <a:lnTo>
                    <a:pt x="1020" y="1244"/>
                  </a:lnTo>
                  <a:lnTo>
                    <a:pt x="974" y="1260"/>
                  </a:lnTo>
                  <a:lnTo>
                    <a:pt x="984" y="1238"/>
                  </a:lnTo>
                  <a:lnTo>
                    <a:pt x="934" y="1268"/>
                  </a:lnTo>
                  <a:lnTo>
                    <a:pt x="904" y="1268"/>
                  </a:lnTo>
                  <a:lnTo>
                    <a:pt x="872" y="1314"/>
                  </a:lnTo>
                  <a:lnTo>
                    <a:pt x="836" y="1272"/>
                  </a:lnTo>
                  <a:lnTo>
                    <a:pt x="794" y="1308"/>
                  </a:lnTo>
                  <a:lnTo>
                    <a:pt x="748" y="1278"/>
                  </a:lnTo>
                  <a:lnTo>
                    <a:pt x="758" y="1242"/>
                  </a:lnTo>
                  <a:lnTo>
                    <a:pt x="758" y="1174"/>
                  </a:lnTo>
                  <a:lnTo>
                    <a:pt x="698" y="1176"/>
                  </a:lnTo>
                  <a:lnTo>
                    <a:pt x="668" y="1140"/>
                  </a:lnTo>
                  <a:lnTo>
                    <a:pt x="736" y="1062"/>
                  </a:lnTo>
                  <a:lnTo>
                    <a:pt x="712" y="1050"/>
                  </a:lnTo>
                  <a:lnTo>
                    <a:pt x="658" y="1062"/>
                  </a:lnTo>
                  <a:lnTo>
                    <a:pt x="632" y="1104"/>
                  </a:lnTo>
                  <a:lnTo>
                    <a:pt x="596" y="1110"/>
                  </a:lnTo>
                  <a:lnTo>
                    <a:pt x="538" y="1066"/>
                  </a:lnTo>
                  <a:lnTo>
                    <a:pt x="568" y="950"/>
                  </a:lnTo>
                  <a:lnTo>
                    <a:pt x="632" y="894"/>
                  </a:lnTo>
                  <a:lnTo>
                    <a:pt x="686" y="894"/>
                  </a:lnTo>
                  <a:lnTo>
                    <a:pt x="740" y="912"/>
                  </a:lnTo>
                  <a:lnTo>
                    <a:pt x="736" y="900"/>
                  </a:lnTo>
                  <a:lnTo>
                    <a:pt x="766" y="868"/>
                  </a:lnTo>
                  <a:lnTo>
                    <a:pt x="842" y="906"/>
                  </a:lnTo>
                  <a:lnTo>
                    <a:pt x="848" y="966"/>
                  </a:lnTo>
                  <a:lnTo>
                    <a:pt x="884" y="984"/>
                  </a:lnTo>
                  <a:lnTo>
                    <a:pt x="896" y="900"/>
                  </a:lnTo>
                  <a:lnTo>
                    <a:pt x="878" y="858"/>
                  </a:lnTo>
                  <a:lnTo>
                    <a:pt x="998" y="806"/>
                  </a:lnTo>
                  <a:lnTo>
                    <a:pt x="1058" y="750"/>
                  </a:lnTo>
                  <a:lnTo>
                    <a:pt x="1100" y="696"/>
                  </a:lnTo>
                  <a:lnTo>
                    <a:pt x="1130" y="672"/>
                  </a:lnTo>
                  <a:lnTo>
                    <a:pt x="1184" y="678"/>
                  </a:lnTo>
                  <a:lnTo>
                    <a:pt x="1190" y="636"/>
                  </a:lnTo>
                  <a:lnTo>
                    <a:pt x="1280" y="588"/>
                  </a:lnTo>
                  <a:lnTo>
                    <a:pt x="1278" y="636"/>
                  </a:lnTo>
                  <a:lnTo>
                    <a:pt x="1360" y="602"/>
                  </a:lnTo>
                  <a:lnTo>
                    <a:pt x="1322" y="570"/>
                  </a:lnTo>
                  <a:lnTo>
                    <a:pt x="1340" y="538"/>
                  </a:lnTo>
                  <a:lnTo>
                    <a:pt x="1320" y="522"/>
                  </a:lnTo>
                  <a:lnTo>
                    <a:pt x="1286" y="546"/>
                  </a:lnTo>
                  <a:lnTo>
                    <a:pt x="1288" y="512"/>
                  </a:lnTo>
                  <a:lnTo>
                    <a:pt x="1400" y="504"/>
                  </a:lnTo>
                  <a:lnTo>
                    <a:pt x="1490" y="480"/>
                  </a:lnTo>
                  <a:lnTo>
                    <a:pt x="1526" y="456"/>
                  </a:lnTo>
                  <a:lnTo>
                    <a:pt x="1484" y="394"/>
                  </a:lnTo>
                  <a:cubicBezTo>
                    <a:pt x="1474" y="370"/>
                    <a:pt x="1479" y="319"/>
                    <a:pt x="1466" y="310"/>
                  </a:cubicBezTo>
                  <a:cubicBezTo>
                    <a:pt x="1456" y="300"/>
                    <a:pt x="1423" y="343"/>
                    <a:pt x="1406" y="342"/>
                  </a:cubicBezTo>
                  <a:lnTo>
                    <a:pt x="1376" y="312"/>
                  </a:lnTo>
                  <a:lnTo>
                    <a:pt x="1376" y="270"/>
                  </a:lnTo>
                  <a:lnTo>
                    <a:pt x="1328" y="264"/>
                  </a:lnTo>
                  <a:lnTo>
                    <a:pt x="1312" y="252"/>
                  </a:lnTo>
                  <a:lnTo>
                    <a:pt x="1256" y="314"/>
                  </a:lnTo>
                  <a:lnTo>
                    <a:pt x="1222" y="364"/>
                  </a:lnTo>
                  <a:lnTo>
                    <a:pt x="1172" y="402"/>
                  </a:lnTo>
                  <a:lnTo>
                    <a:pt x="1136" y="474"/>
                  </a:lnTo>
                  <a:lnTo>
                    <a:pt x="1110" y="444"/>
                  </a:lnTo>
                  <a:lnTo>
                    <a:pt x="1128" y="394"/>
                  </a:lnTo>
                  <a:lnTo>
                    <a:pt x="1038" y="334"/>
                  </a:lnTo>
                  <a:lnTo>
                    <a:pt x="1022" y="304"/>
                  </a:lnTo>
                  <a:lnTo>
                    <a:pt x="1122" y="226"/>
                  </a:lnTo>
                  <a:lnTo>
                    <a:pt x="1184" y="222"/>
                  </a:lnTo>
                  <a:lnTo>
                    <a:pt x="1212" y="240"/>
                  </a:lnTo>
                  <a:lnTo>
                    <a:pt x="1248" y="220"/>
                  </a:lnTo>
                  <a:lnTo>
                    <a:pt x="1300" y="220"/>
                  </a:lnTo>
                  <a:lnTo>
                    <a:pt x="1266" y="198"/>
                  </a:lnTo>
                  <a:lnTo>
                    <a:pt x="1208" y="196"/>
                  </a:lnTo>
                  <a:lnTo>
                    <a:pt x="1250" y="174"/>
                  </a:lnTo>
                  <a:lnTo>
                    <a:pt x="1328" y="172"/>
                  </a:lnTo>
                  <a:lnTo>
                    <a:pt x="1364" y="132"/>
                  </a:lnTo>
                  <a:cubicBezTo>
                    <a:pt x="1346" y="124"/>
                    <a:pt x="1343" y="119"/>
                    <a:pt x="1324" y="122"/>
                  </a:cubicBezTo>
                  <a:cubicBezTo>
                    <a:pt x="1310" y="124"/>
                    <a:pt x="1294" y="132"/>
                    <a:pt x="1286" y="144"/>
                  </a:cubicBezTo>
                  <a:cubicBezTo>
                    <a:pt x="1282" y="149"/>
                    <a:pt x="1274" y="148"/>
                    <a:pt x="1268" y="150"/>
                  </a:cubicBezTo>
                  <a:cubicBezTo>
                    <a:pt x="1266" y="144"/>
                    <a:pt x="1259" y="138"/>
                    <a:pt x="1262" y="132"/>
                  </a:cubicBezTo>
                  <a:cubicBezTo>
                    <a:pt x="1269" y="118"/>
                    <a:pt x="1303" y="134"/>
                    <a:pt x="1262" y="120"/>
                  </a:cubicBezTo>
                  <a:cubicBezTo>
                    <a:pt x="1221" y="134"/>
                    <a:pt x="1252" y="105"/>
                    <a:pt x="1262" y="90"/>
                  </a:cubicBezTo>
                  <a:cubicBezTo>
                    <a:pt x="1260" y="84"/>
                    <a:pt x="1262" y="75"/>
                    <a:pt x="1256" y="72"/>
                  </a:cubicBezTo>
                  <a:cubicBezTo>
                    <a:pt x="1238" y="63"/>
                    <a:pt x="1202" y="102"/>
                    <a:pt x="1202" y="102"/>
                  </a:cubicBezTo>
                  <a:cubicBezTo>
                    <a:pt x="1198" y="108"/>
                    <a:pt x="1186" y="140"/>
                    <a:pt x="1180" y="144"/>
                  </a:cubicBezTo>
                  <a:cubicBezTo>
                    <a:pt x="1169" y="151"/>
                    <a:pt x="1148" y="122"/>
                    <a:pt x="1148" y="122"/>
                  </a:cubicBezTo>
                  <a:cubicBezTo>
                    <a:pt x="1138" y="123"/>
                    <a:pt x="1121" y="137"/>
                    <a:pt x="1106" y="136"/>
                  </a:cubicBezTo>
                  <a:cubicBezTo>
                    <a:pt x="1091" y="135"/>
                    <a:pt x="1074" y="117"/>
                    <a:pt x="1056" y="116"/>
                  </a:cubicBezTo>
                  <a:cubicBezTo>
                    <a:pt x="1038" y="115"/>
                    <a:pt x="1016" y="131"/>
                    <a:pt x="998" y="132"/>
                  </a:cubicBezTo>
                  <a:cubicBezTo>
                    <a:pt x="997" y="132"/>
                    <a:pt x="956" y="125"/>
                    <a:pt x="950" y="120"/>
                  </a:cubicBezTo>
                  <a:cubicBezTo>
                    <a:pt x="918" y="94"/>
                    <a:pt x="960" y="108"/>
                    <a:pt x="920" y="90"/>
                  </a:cubicBezTo>
                  <a:cubicBezTo>
                    <a:pt x="852" y="60"/>
                    <a:pt x="806" y="58"/>
                    <a:pt x="730" y="54"/>
                  </a:cubicBezTo>
                  <a:cubicBezTo>
                    <a:pt x="656" y="39"/>
                    <a:pt x="625" y="15"/>
                    <a:pt x="550" y="0"/>
                  </a:cubicBezTo>
                  <a:cubicBezTo>
                    <a:pt x="510" y="2"/>
                    <a:pt x="486" y="5"/>
                    <a:pt x="446" y="8"/>
                  </a:cubicBezTo>
                  <a:cubicBezTo>
                    <a:pt x="424" y="9"/>
                    <a:pt x="423" y="14"/>
                    <a:pt x="406" y="18"/>
                  </a:cubicBezTo>
                  <a:cubicBezTo>
                    <a:pt x="389" y="22"/>
                    <a:pt x="353" y="24"/>
                    <a:pt x="344" y="32"/>
                  </a:cubicBezTo>
                  <a:cubicBezTo>
                    <a:pt x="346" y="38"/>
                    <a:pt x="354" y="60"/>
                    <a:pt x="350" y="64"/>
                  </a:cubicBezTo>
                  <a:cubicBezTo>
                    <a:pt x="274" y="50"/>
                    <a:pt x="250" y="81"/>
                    <a:pt x="236" y="82"/>
                  </a:cubicBezTo>
                  <a:cubicBezTo>
                    <a:pt x="278" y="110"/>
                    <a:pt x="270" y="72"/>
                    <a:pt x="290" y="102"/>
                  </a:cubicBezTo>
                  <a:cubicBezTo>
                    <a:pt x="234" y="121"/>
                    <a:pt x="178" y="104"/>
                    <a:pt x="128" y="138"/>
                  </a:cubicBezTo>
                  <a:cubicBezTo>
                    <a:pt x="126" y="144"/>
                    <a:pt x="122" y="150"/>
                    <a:pt x="122" y="156"/>
                  </a:cubicBezTo>
                  <a:cubicBezTo>
                    <a:pt x="122" y="162"/>
                    <a:pt x="132" y="170"/>
                    <a:pt x="128" y="174"/>
                  </a:cubicBezTo>
                  <a:cubicBezTo>
                    <a:pt x="126" y="182"/>
                    <a:pt x="109" y="197"/>
                    <a:pt x="112" y="202"/>
                  </a:cubicBezTo>
                  <a:cubicBezTo>
                    <a:pt x="124" y="206"/>
                    <a:pt x="137" y="195"/>
                    <a:pt x="146" y="204"/>
                  </a:cubicBezTo>
                  <a:cubicBezTo>
                    <a:pt x="151" y="209"/>
                    <a:pt x="135" y="213"/>
                    <a:pt x="128" y="216"/>
                  </a:cubicBezTo>
                  <a:cubicBezTo>
                    <a:pt x="116" y="221"/>
                    <a:pt x="104" y="226"/>
                    <a:pt x="92" y="228"/>
                  </a:cubicBezTo>
                  <a:cubicBezTo>
                    <a:pt x="48" y="237"/>
                    <a:pt x="72" y="233"/>
                    <a:pt x="20" y="240"/>
                  </a:cubicBezTo>
                  <a:cubicBezTo>
                    <a:pt x="0" y="247"/>
                    <a:pt x="2" y="240"/>
                    <a:pt x="2" y="25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 name="Freeform 4"/>
            <p:cNvSpPr>
              <a:spLocks/>
            </p:cNvSpPr>
            <p:nvPr/>
          </p:nvSpPr>
          <p:spPr bwMode="gray">
            <a:xfrm>
              <a:off x="703" y="2230"/>
              <a:ext cx="34" cy="28"/>
            </a:xfrm>
            <a:custGeom>
              <a:avLst/>
              <a:gdLst/>
              <a:ahLst/>
              <a:cxnLst>
                <a:cxn ang="0">
                  <a:pos x="16" y="4"/>
                </a:cxn>
                <a:cxn ang="0">
                  <a:pos x="0" y="22"/>
                </a:cxn>
                <a:cxn ang="0">
                  <a:pos x="22" y="38"/>
                </a:cxn>
                <a:cxn ang="0">
                  <a:pos x="46" y="26"/>
                </a:cxn>
                <a:cxn ang="0">
                  <a:pos x="30" y="0"/>
                </a:cxn>
                <a:cxn ang="0">
                  <a:pos x="16" y="4"/>
                </a:cxn>
              </a:cxnLst>
              <a:rect l="0" t="0" r="r" b="b"/>
              <a:pathLst>
                <a:path w="46" h="38">
                  <a:moveTo>
                    <a:pt x="16" y="4"/>
                  </a:moveTo>
                  <a:lnTo>
                    <a:pt x="0" y="22"/>
                  </a:lnTo>
                  <a:lnTo>
                    <a:pt x="22" y="38"/>
                  </a:lnTo>
                  <a:lnTo>
                    <a:pt x="46" y="26"/>
                  </a:lnTo>
                  <a:lnTo>
                    <a:pt x="30" y="0"/>
                  </a:lnTo>
                  <a:lnTo>
                    <a:pt x="16" y="4"/>
                  </a:ln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 name="Freeform 5"/>
            <p:cNvSpPr>
              <a:spLocks/>
            </p:cNvSpPr>
            <p:nvPr/>
          </p:nvSpPr>
          <p:spPr bwMode="gray">
            <a:xfrm>
              <a:off x="1010" y="2353"/>
              <a:ext cx="39" cy="32"/>
            </a:xfrm>
            <a:custGeom>
              <a:avLst/>
              <a:gdLst/>
              <a:ahLst/>
              <a:cxnLst>
                <a:cxn ang="0">
                  <a:pos x="12" y="0"/>
                </a:cxn>
                <a:cxn ang="0">
                  <a:pos x="26" y="44"/>
                </a:cxn>
                <a:cxn ang="0">
                  <a:pos x="42" y="42"/>
                </a:cxn>
                <a:cxn ang="0">
                  <a:pos x="38" y="16"/>
                </a:cxn>
                <a:cxn ang="0">
                  <a:pos x="26" y="2"/>
                </a:cxn>
                <a:cxn ang="0">
                  <a:pos x="12" y="0"/>
                </a:cxn>
              </a:cxnLst>
              <a:rect l="0" t="0" r="r" b="b"/>
              <a:pathLst>
                <a:path w="52" h="44">
                  <a:moveTo>
                    <a:pt x="12" y="0"/>
                  </a:moveTo>
                  <a:cubicBezTo>
                    <a:pt x="16" y="14"/>
                    <a:pt x="18" y="32"/>
                    <a:pt x="26" y="44"/>
                  </a:cubicBezTo>
                  <a:cubicBezTo>
                    <a:pt x="31" y="43"/>
                    <a:pt x="37" y="44"/>
                    <a:pt x="42" y="42"/>
                  </a:cubicBezTo>
                  <a:cubicBezTo>
                    <a:pt x="52" y="38"/>
                    <a:pt x="48" y="19"/>
                    <a:pt x="38" y="16"/>
                  </a:cubicBezTo>
                  <a:cubicBezTo>
                    <a:pt x="33" y="9"/>
                    <a:pt x="34" y="5"/>
                    <a:pt x="26" y="2"/>
                  </a:cubicBezTo>
                  <a:cubicBezTo>
                    <a:pt x="4" y="4"/>
                    <a:pt x="0" y="8"/>
                    <a:pt x="12"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 name="Freeform 6"/>
            <p:cNvSpPr>
              <a:spLocks/>
            </p:cNvSpPr>
            <p:nvPr/>
          </p:nvSpPr>
          <p:spPr bwMode="gray">
            <a:xfrm>
              <a:off x="1792" y="2409"/>
              <a:ext cx="98" cy="74"/>
            </a:xfrm>
            <a:custGeom>
              <a:avLst/>
              <a:gdLst/>
              <a:ahLst/>
              <a:cxnLst>
                <a:cxn ang="0">
                  <a:pos x="97" y="0"/>
                </a:cxn>
                <a:cxn ang="0">
                  <a:pos x="79" y="8"/>
                </a:cxn>
                <a:cxn ang="0">
                  <a:pos x="53" y="24"/>
                </a:cxn>
                <a:cxn ang="0">
                  <a:pos x="39" y="40"/>
                </a:cxn>
                <a:cxn ang="0">
                  <a:pos x="21" y="52"/>
                </a:cxn>
                <a:cxn ang="0">
                  <a:pos x="63" y="82"/>
                </a:cxn>
                <a:cxn ang="0">
                  <a:pos x="79" y="94"/>
                </a:cxn>
                <a:cxn ang="0">
                  <a:pos x="85" y="92"/>
                </a:cxn>
                <a:cxn ang="0">
                  <a:pos x="89" y="86"/>
                </a:cxn>
                <a:cxn ang="0">
                  <a:pos x="97" y="98"/>
                </a:cxn>
                <a:cxn ang="0">
                  <a:pos x="123" y="86"/>
                </a:cxn>
                <a:cxn ang="0">
                  <a:pos x="129" y="74"/>
                </a:cxn>
                <a:cxn ang="0">
                  <a:pos x="101" y="40"/>
                </a:cxn>
                <a:cxn ang="0">
                  <a:pos x="115" y="24"/>
                </a:cxn>
                <a:cxn ang="0">
                  <a:pos x="111" y="4"/>
                </a:cxn>
                <a:cxn ang="0">
                  <a:pos x="97" y="0"/>
                </a:cxn>
              </a:cxnLst>
              <a:rect l="0" t="0" r="r" b="b"/>
              <a:pathLst>
                <a:path w="131" h="98">
                  <a:moveTo>
                    <a:pt x="97" y="0"/>
                  </a:moveTo>
                  <a:cubicBezTo>
                    <a:pt x="83" y="5"/>
                    <a:pt x="89" y="2"/>
                    <a:pt x="79" y="8"/>
                  </a:cubicBezTo>
                  <a:cubicBezTo>
                    <a:pt x="76" y="18"/>
                    <a:pt x="62" y="18"/>
                    <a:pt x="53" y="24"/>
                  </a:cubicBezTo>
                  <a:cubicBezTo>
                    <a:pt x="49" y="29"/>
                    <a:pt x="44" y="36"/>
                    <a:pt x="39" y="40"/>
                  </a:cubicBezTo>
                  <a:cubicBezTo>
                    <a:pt x="34" y="45"/>
                    <a:pt x="21" y="52"/>
                    <a:pt x="21" y="52"/>
                  </a:cubicBezTo>
                  <a:cubicBezTo>
                    <a:pt x="0" y="84"/>
                    <a:pt x="41" y="75"/>
                    <a:pt x="63" y="82"/>
                  </a:cubicBezTo>
                  <a:cubicBezTo>
                    <a:pt x="68" y="89"/>
                    <a:pt x="71" y="91"/>
                    <a:pt x="79" y="94"/>
                  </a:cubicBezTo>
                  <a:cubicBezTo>
                    <a:pt x="81" y="93"/>
                    <a:pt x="83" y="93"/>
                    <a:pt x="85" y="92"/>
                  </a:cubicBezTo>
                  <a:cubicBezTo>
                    <a:pt x="87" y="90"/>
                    <a:pt x="87" y="85"/>
                    <a:pt x="89" y="86"/>
                  </a:cubicBezTo>
                  <a:cubicBezTo>
                    <a:pt x="93" y="88"/>
                    <a:pt x="97" y="98"/>
                    <a:pt x="97" y="98"/>
                  </a:cubicBezTo>
                  <a:cubicBezTo>
                    <a:pt x="112" y="95"/>
                    <a:pt x="111" y="90"/>
                    <a:pt x="123" y="86"/>
                  </a:cubicBezTo>
                  <a:cubicBezTo>
                    <a:pt x="124" y="82"/>
                    <a:pt x="128" y="78"/>
                    <a:pt x="129" y="74"/>
                  </a:cubicBezTo>
                  <a:cubicBezTo>
                    <a:pt x="131" y="61"/>
                    <a:pt x="108" y="47"/>
                    <a:pt x="101" y="40"/>
                  </a:cubicBezTo>
                  <a:cubicBezTo>
                    <a:pt x="103" y="33"/>
                    <a:pt x="115" y="24"/>
                    <a:pt x="115" y="24"/>
                  </a:cubicBezTo>
                  <a:cubicBezTo>
                    <a:pt x="121" y="15"/>
                    <a:pt x="124" y="8"/>
                    <a:pt x="111" y="4"/>
                  </a:cubicBezTo>
                  <a:cubicBezTo>
                    <a:pt x="101" y="7"/>
                    <a:pt x="97" y="13"/>
                    <a:pt x="97"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 name="Freeform 7"/>
            <p:cNvSpPr>
              <a:spLocks/>
            </p:cNvSpPr>
            <p:nvPr/>
          </p:nvSpPr>
          <p:spPr bwMode="gray">
            <a:xfrm>
              <a:off x="1318" y="2793"/>
              <a:ext cx="158" cy="84"/>
            </a:xfrm>
            <a:custGeom>
              <a:avLst/>
              <a:gdLst/>
              <a:ahLst/>
              <a:cxnLst>
                <a:cxn ang="0">
                  <a:pos x="47" y="12"/>
                </a:cxn>
                <a:cxn ang="0">
                  <a:pos x="17" y="12"/>
                </a:cxn>
                <a:cxn ang="0">
                  <a:pos x="5" y="16"/>
                </a:cxn>
                <a:cxn ang="0">
                  <a:pos x="25" y="52"/>
                </a:cxn>
                <a:cxn ang="0">
                  <a:pos x="51" y="44"/>
                </a:cxn>
                <a:cxn ang="0">
                  <a:pos x="93" y="54"/>
                </a:cxn>
                <a:cxn ang="0">
                  <a:pos x="111" y="60"/>
                </a:cxn>
                <a:cxn ang="0">
                  <a:pos x="133" y="88"/>
                </a:cxn>
                <a:cxn ang="0">
                  <a:pos x="141" y="112"/>
                </a:cxn>
                <a:cxn ang="0">
                  <a:pos x="157" y="100"/>
                </a:cxn>
                <a:cxn ang="0">
                  <a:pos x="169" y="96"/>
                </a:cxn>
                <a:cxn ang="0">
                  <a:pos x="187" y="102"/>
                </a:cxn>
                <a:cxn ang="0">
                  <a:pos x="195" y="80"/>
                </a:cxn>
                <a:cxn ang="0">
                  <a:pos x="153" y="54"/>
                </a:cxn>
                <a:cxn ang="0">
                  <a:pos x="105" y="20"/>
                </a:cxn>
                <a:cxn ang="0">
                  <a:pos x="53" y="26"/>
                </a:cxn>
                <a:cxn ang="0">
                  <a:pos x="47" y="12"/>
                </a:cxn>
              </a:cxnLst>
              <a:rect l="0" t="0" r="r" b="b"/>
              <a:pathLst>
                <a:path w="212" h="112">
                  <a:moveTo>
                    <a:pt x="47" y="12"/>
                  </a:moveTo>
                  <a:cubicBezTo>
                    <a:pt x="39" y="0"/>
                    <a:pt x="28" y="7"/>
                    <a:pt x="17" y="12"/>
                  </a:cubicBezTo>
                  <a:cubicBezTo>
                    <a:pt x="13" y="14"/>
                    <a:pt x="5" y="16"/>
                    <a:pt x="5" y="16"/>
                  </a:cubicBezTo>
                  <a:cubicBezTo>
                    <a:pt x="0" y="31"/>
                    <a:pt x="10" y="48"/>
                    <a:pt x="25" y="52"/>
                  </a:cubicBezTo>
                  <a:cubicBezTo>
                    <a:pt x="37" y="50"/>
                    <a:pt x="41" y="47"/>
                    <a:pt x="51" y="44"/>
                  </a:cubicBezTo>
                  <a:cubicBezTo>
                    <a:pt x="65" y="53"/>
                    <a:pt x="76" y="53"/>
                    <a:pt x="93" y="54"/>
                  </a:cubicBezTo>
                  <a:cubicBezTo>
                    <a:pt x="99" y="56"/>
                    <a:pt x="111" y="60"/>
                    <a:pt x="111" y="60"/>
                  </a:cubicBezTo>
                  <a:cubicBezTo>
                    <a:pt x="120" y="69"/>
                    <a:pt x="129" y="75"/>
                    <a:pt x="133" y="88"/>
                  </a:cubicBezTo>
                  <a:cubicBezTo>
                    <a:pt x="125" y="100"/>
                    <a:pt x="126" y="107"/>
                    <a:pt x="141" y="112"/>
                  </a:cubicBezTo>
                  <a:cubicBezTo>
                    <a:pt x="145" y="106"/>
                    <a:pt x="150" y="103"/>
                    <a:pt x="157" y="100"/>
                  </a:cubicBezTo>
                  <a:cubicBezTo>
                    <a:pt x="161" y="98"/>
                    <a:pt x="169" y="96"/>
                    <a:pt x="169" y="96"/>
                  </a:cubicBezTo>
                  <a:cubicBezTo>
                    <a:pt x="175" y="98"/>
                    <a:pt x="187" y="102"/>
                    <a:pt x="187" y="102"/>
                  </a:cubicBezTo>
                  <a:cubicBezTo>
                    <a:pt x="203" y="100"/>
                    <a:pt x="212" y="94"/>
                    <a:pt x="195" y="80"/>
                  </a:cubicBezTo>
                  <a:cubicBezTo>
                    <a:pt x="183" y="70"/>
                    <a:pt x="165" y="66"/>
                    <a:pt x="153" y="54"/>
                  </a:cubicBezTo>
                  <a:cubicBezTo>
                    <a:pt x="141" y="42"/>
                    <a:pt x="122" y="26"/>
                    <a:pt x="105" y="20"/>
                  </a:cubicBezTo>
                  <a:cubicBezTo>
                    <a:pt x="85" y="21"/>
                    <a:pt x="71" y="20"/>
                    <a:pt x="53" y="26"/>
                  </a:cubicBezTo>
                  <a:cubicBezTo>
                    <a:pt x="47" y="24"/>
                    <a:pt x="33" y="12"/>
                    <a:pt x="47" y="1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1" name="Freeform 8"/>
            <p:cNvSpPr>
              <a:spLocks/>
            </p:cNvSpPr>
            <p:nvPr/>
          </p:nvSpPr>
          <p:spPr bwMode="gray">
            <a:xfrm>
              <a:off x="1448" y="2857"/>
              <a:ext cx="99" cy="41"/>
            </a:xfrm>
            <a:custGeom>
              <a:avLst/>
              <a:gdLst/>
              <a:ahLst/>
              <a:cxnLst>
                <a:cxn ang="0">
                  <a:pos x="57" y="0"/>
                </a:cxn>
                <a:cxn ang="0">
                  <a:pos x="43" y="6"/>
                </a:cxn>
                <a:cxn ang="0">
                  <a:pos x="31" y="30"/>
                </a:cxn>
                <a:cxn ang="0">
                  <a:pos x="15" y="34"/>
                </a:cxn>
                <a:cxn ang="0">
                  <a:pos x="3" y="42"/>
                </a:cxn>
                <a:cxn ang="0">
                  <a:pos x="13" y="54"/>
                </a:cxn>
                <a:cxn ang="0">
                  <a:pos x="133" y="34"/>
                </a:cxn>
                <a:cxn ang="0">
                  <a:pos x="123" y="16"/>
                </a:cxn>
                <a:cxn ang="0">
                  <a:pos x="105" y="8"/>
                </a:cxn>
                <a:cxn ang="0">
                  <a:pos x="101" y="24"/>
                </a:cxn>
                <a:cxn ang="0">
                  <a:pos x="89" y="18"/>
                </a:cxn>
                <a:cxn ang="0">
                  <a:pos x="67" y="14"/>
                </a:cxn>
                <a:cxn ang="0">
                  <a:pos x="57" y="0"/>
                </a:cxn>
              </a:cxnLst>
              <a:rect l="0" t="0" r="r" b="b"/>
              <a:pathLst>
                <a:path w="133" h="54">
                  <a:moveTo>
                    <a:pt x="57" y="0"/>
                  </a:moveTo>
                  <a:cubicBezTo>
                    <a:pt x="53" y="3"/>
                    <a:pt x="46" y="2"/>
                    <a:pt x="43" y="6"/>
                  </a:cubicBezTo>
                  <a:cubicBezTo>
                    <a:pt x="36" y="14"/>
                    <a:pt x="43" y="26"/>
                    <a:pt x="31" y="30"/>
                  </a:cubicBezTo>
                  <a:cubicBezTo>
                    <a:pt x="26" y="32"/>
                    <a:pt x="20" y="31"/>
                    <a:pt x="15" y="34"/>
                  </a:cubicBezTo>
                  <a:cubicBezTo>
                    <a:pt x="11" y="36"/>
                    <a:pt x="3" y="42"/>
                    <a:pt x="3" y="42"/>
                  </a:cubicBezTo>
                  <a:cubicBezTo>
                    <a:pt x="0" y="51"/>
                    <a:pt x="5" y="51"/>
                    <a:pt x="13" y="54"/>
                  </a:cubicBezTo>
                  <a:cubicBezTo>
                    <a:pt x="51" y="51"/>
                    <a:pt x="97" y="46"/>
                    <a:pt x="133" y="34"/>
                  </a:cubicBezTo>
                  <a:cubicBezTo>
                    <a:pt x="129" y="28"/>
                    <a:pt x="128" y="21"/>
                    <a:pt x="123" y="16"/>
                  </a:cubicBezTo>
                  <a:cubicBezTo>
                    <a:pt x="118" y="11"/>
                    <a:pt x="105" y="8"/>
                    <a:pt x="105" y="8"/>
                  </a:cubicBezTo>
                  <a:cubicBezTo>
                    <a:pt x="84" y="13"/>
                    <a:pt x="106" y="19"/>
                    <a:pt x="101" y="24"/>
                  </a:cubicBezTo>
                  <a:cubicBezTo>
                    <a:pt x="99" y="26"/>
                    <a:pt x="89" y="18"/>
                    <a:pt x="89" y="18"/>
                  </a:cubicBezTo>
                  <a:cubicBezTo>
                    <a:pt x="83" y="15"/>
                    <a:pt x="73" y="15"/>
                    <a:pt x="67" y="14"/>
                  </a:cubicBezTo>
                  <a:cubicBezTo>
                    <a:pt x="58" y="8"/>
                    <a:pt x="62" y="12"/>
                    <a:pt x="57"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2" name="Freeform 9"/>
            <p:cNvSpPr>
              <a:spLocks/>
            </p:cNvSpPr>
            <p:nvPr/>
          </p:nvSpPr>
          <p:spPr bwMode="gray">
            <a:xfrm>
              <a:off x="1553" y="2883"/>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3" name="Freeform 10"/>
            <p:cNvSpPr>
              <a:spLocks/>
            </p:cNvSpPr>
            <p:nvPr/>
          </p:nvSpPr>
          <p:spPr bwMode="gray">
            <a:xfrm>
              <a:off x="1609" y="2886"/>
              <a:ext cx="12" cy="25"/>
            </a:xfrm>
            <a:custGeom>
              <a:avLst/>
              <a:gdLst/>
              <a:ahLst/>
              <a:cxnLst>
                <a:cxn ang="0">
                  <a:pos x="14" y="0"/>
                </a:cxn>
                <a:cxn ang="0">
                  <a:pos x="0" y="14"/>
                </a:cxn>
                <a:cxn ang="0">
                  <a:pos x="16" y="34"/>
                </a:cxn>
                <a:cxn ang="0">
                  <a:pos x="12" y="18"/>
                </a:cxn>
                <a:cxn ang="0">
                  <a:pos x="16" y="6"/>
                </a:cxn>
                <a:cxn ang="0">
                  <a:pos x="14" y="0"/>
                </a:cxn>
              </a:cxnLst>
              <a:rect l="0" t="0" r="r" b="b"/>
              <a:pathLst>
                <a:path w="16" h="34">
                  <a:moveTo>
                    <a:pt x="14" y="0"/>
                  </a:moveTo>
                  <a:cubicBezTo>
                    <a:pt x="5" y="3"/>
                    <a:pt x="2" y="4"/>
                    <a:pt x="0" y="14"/>
                  </a:cubicBezTo>
                  <a:cubicBezTo>
                    <a:pt x="3" y="26"/>
                    <a:pt x="4" y="30"/>
                    <a:pt x="16" y="34"/>
                  </a:cubicBezTo>
                  <a:cubicBezTo>
                    <a:pt x="15" y="29"/>
                    <a:pt x="11" y="23"/>
                    <a:pt x="12" y="18"/>
                  </a:cubicBezTo>
                  <a:cubicBezTo>
                    <a:pt x="12" y="14"/>
                    <a:pt x="16" y="6"/>
                    <a:pt x="16" y="6"/>
                  </a:cubicBezTo>
                  <a:cubicBezTo>
                    <a:pt x="9" y="1"/>
                    <a:pt x="8" y="3"/>
                    <a:pt x="1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4" name="Freeform 11"/>
            <p:cNvSpPr>
              <a:spLocks/>
            </p:cNvSpPr>
            <p:nvPr/>
          </p:nvSpPr>
          <p:spPr bwMode="gray">
            <a:xfrm>
              <a:off x="1426" y="2040"/>
              <a:ext cx="180" cy="88"/>
            </a:xfrm>
            <a:custGeom>
              <a:avLst/>
              <a:gdLst/>
              <a:ahLst/>
              <a:cxnLst>
                <a:cxn ang="0">
                  <a:pos x="64" y="1"/>
                </a:cxn>
                <a:cxn ang="0">
                  <a:pos x="24" y="31"/>
                </a:cxn>
                <a:cxn ang="0">
                  <a:pos x="6" y="37"/>
                </a:cxn>
                <a:cxn ang="0">
                  <a:pos x="0" y="39"/>
                </a:cxn>
                <a:cxn ang="0">
                  <a:pos x="26" y="59"/>
                </a:cxn>
                <a:cxn ang="0">
                  <a:pos x="38" y="63"/>
                </a:cxn>
                <a:cxn ang="0">
                  <a:pos x="68" y="47"/>
                </a:cxn>
                <a:cxn ang="0">
                  <a:pos x="80" y="43"/>
                </a:cxn>
                <a:cxn ang="0">
                  <a:pos x="82" y="55"/>
                </a:cxn>
                <a:cxn ang="0">
                  <a:pos x="64" y="61"/>
                </a:cxn>
                <a:cxn ang="0">
                  <a:pos x="72" y="73"/>
                </a:cxn>
                <a:cxn ang="0">
                  <a:pos x="40" y="87"/>
                </a:cxn>
                <a:cxn ang="0">
                  <a:pos x="70" y="109"/>
                </a:cxn>
                <a:cxn ang="0">
                  <a:pos x="82" y="113"/>
                </a:cxn>
                <a:cxn ang="0">
                  <a:pos x="118" y="103"/>
                </a:cxn>
                <a:cxn ang="0">
                  <a:pos x="150" y="105"/>
                </a:cxn>
                <a:cxn ang="0">
                  <a:pos x="168" y="117"/>
                </a:cxn>
                <a:cxn ang="0">
                  <a:pos x="204" y="109"/>
                </a:cxn>
                <a:cxn ang="0">
                  <a:pos x="224" y="103"/>
                </a:cxn>
                <a:cxn ang="0">
                  <a:pos x="222" y="77"/>
                </a:cxn>
                <a:cxn ang="0">
                  <a:pos x="234" y="69"/>
                </a:cxn>
                <a:cxn ang="0">
                  <a:pos x="238" y="47"/>
                </a:cxn>
                <a:cxn ang="0">
                  <a:pos x="210" y="57"/>
                </a:cxn>
                <a:cxn ang="0">
                  <a:pos x="200" y="43"/>
                </a:cxn>
                <a:cxn ang="0">
                  <a:pos x="172" y="45"/>
                </a:cxn>
                <a:cxn ang="0">
                  <a:pos x="134" y="9"/>
                </a:cxn>
                <a:cxn ang="0">
                  <a:pos x="94" y="11"/>
                </a:cxn>
                <a:cxn ang="0">
                  <a:pos x="82" y="1"/>
                </a:cxn>
                <a:cxn ang="0">
                  <a:pos x="64" y="1"/>
                </a:cxn>
              </a:cxnLst>
              <a:rect l="0" t="0" r="r" b="b"/>
              <a:pathLst>
                <a:path w="240" h="117">
                  <a:moveTo>
                    <a:pt x="64" y="1"/>
                  </a:moveTo>
                  <a:cubicBezTo>
                    <a:pt x="57" y="21"/>
                    <a:pt x="44" y="24"/>
                    <a:pt x="24" y="31"/>
                  </a:cubicBezTo>
                  <a:cubicBezTo>
                    <a:pt x="18" y="33"/>
                    <a:pt x="12" y="35"/>
                    <a:pt x="6" y="37"/>
                  </a:cubicBezTo>
                  <a:cubicBezTo>
                    <a:pt x="4" y="38"/>
                    <a:pt x="0" y="39"/>
                    <a:pt x="0" y="39"/>
                  </a:cubicBezTo>
                  <a:cubicBezTo>
                    <a:pt x="3" y="55"/>
                    <a:pt x="12" y="54"/>
                    <a:pt x="26" y="59"/>
                  </a:cubicBezTo>
                  <a:cubicBezTo>
                    <a:pt x="30" y="60"/>
                    <a:pt x="38" y="63"/>
                    <a:pt x="38" y="63"/>
                  </a:cubicBezTo>
                  <a:cubicBezTo>
                    <a:pt x="50" y="59"/>
                    <a:pt x="57" y="54"/>
                    <a:pt x="68" y="47"/>
                  </a:cubicBezTo>
                  <a:cubicBezTo>
                    <a:pt x="72" y="45"/>
                    <a:pt x="80" y="43"/>
                    <a:pt x="80" y="43"/>
                  </a:cubicBezTo>
                  <a:cubicBezTo>
                    <a:pt x="82" y="46"/>
                    <a:pt x="88" y="51"/>
                    <a:pt x="82" y="55"/>
                  </a:cubicBezTo>
                  <a:cubicBezTo>
                    <a:pt x="77" y="59"/>
                    <a:pt x="64" y="61"/>
                    <a:pt x="64" y="61"/>
                  </a:cubicBezTo>
                  <a:cubicBezTo>
                    <a:pt x="58" y="70"/>
                    <a:pt x="63" y="70"/>
                    <a:pt x="72" y="73"/>
                  </a:cubicBezTo>
                  <a:cubicBezTo>
                    <a:pt x="77" y="88"/>
                    <a:pt x="50" y="86"/>
                    <a:pt x="40" y="87"/>
                  </a:cubicBezTo>
                  <a:cubicBezTo>
                    <a:pt x="47" y="94"/>
                    <a:pt x="60" y="106"/>
                    <a:pt x="70" y="109"/>
                  </a:cubicBezTo>
                  <a:cubicBezTo>
                    <a:pt x="74" y="110"/>
                    <a:pt x="82" y="113"/>
                    <a:pt x="82" y="113"/>
                  </a:cubicBezTo>
                  <a:cubicBezTo>
                    <a:pt x="99" y="111"/>
                    <a:pt x="104" y="108"/>
                    <a:pt x="118" y="103"/>
                  </a:cubicBezTo>
                  <a:cubicBezTo>
                    <a:pt x="129" y="104"/>
                    <a:pt x="140" y="103"/>
                    <a:pt x="150" y="105"/>
                  </a:cubicBezTo>
                  <a:cubicBezTo>
                    <a:pt x="157" y="107"/>
                    <a:pt x="168" y="117"/>
                    <a:pt x="168" y="117"/>
                  </a:cubicBezTo>
                  <a:cubicBezTo>
                    <a:pt x="193" y="115"/>
                    <a:pt x="188" y="116"/>
                    <a:pt x="204" y="109"/>
                  </a:cubicBezTo>
                  <a:cubicBezTo>
                    <a:pt x="210" y="106"/>
                    <a:pt x="224" y="103"/>
                    <a:pt x="224" y="103"/>
                  </a:cubicBezTo>
                  <a:cubicBezTo>
                    <a:pt x="223" y="98"/>
                    <a:pt x="217" y="82"/>
                    <a:pt x="222" y="77"/>
                  </a:cubicBezTo>
                  <a:cubicBezTo>
                    <a:pt x="225" y="73"/>
                    <a:pt x="234" y="69"/>
                    <a:pt x="234" y="69"/>
                  </a:cubicBezTo>
                  <a:cubicBezTo>
                    <a:pt x="237" y="59"/>
                    <a:pt x="240" y="59"/>
                    <a:pt x="238" y="47"/>
                  </a:cubicBezTo>
                  <a:cubicBezTo>
                    <a:pt x="228" y="49"/>
                    <a:pt x="219" y="51"/>
                    <a:pt x="210" y="57"/>
                  </a:cubicBezTo>
                  <a:cubicBezTo>
                    <a:pt x="201" y="71"/>
                    <a:pt x="201" y="50"/>
                    <a:pt x="200" y="43"/>
                  </a:cubicBezTo>
                  <a:cubicBezTo>
                    <a:pt x="189" y="45"/>
                    <a:pt x="182" y="48"/>
                    <a:pt x="172" y="45"/>
                  </a:cubicBezTo>
                  <a:cubicBezTo>
                    <a:pt x="161" y="34"/>
                    <a:pt x="148" y="14"/>
                    <a:pt x="134" y="9"/>
                  </a:cubicBezTo>
                  <a:cubicBezTo>
                    <a:pt x="119" y="11"/>
                    <a:pt x="108" y="13"/>
                    <a:pt x="94" y="11"/>
                  </a:cubicBezTo>
                  <a:cubicBezTo>
                    <a:pt x="92" y="9"/>
                    <a:pt x="85" y="2"/>
                    <a:pt x="82" y="1"/>
                  </a:cubicBezTo>
                  <a:cubicBezTo>
                    <a:pt x="74" y="0"/>
                    <a:pt x="72" y="9"/>
                    <a:pt x="64" y="1"/>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5" name="Freeform 12"/>
            <p:cNvSpPr>
              <a:spLocks/>
            </p:cNvSpPr>
            <p:nvPr/>
          </p:nvSpPr>
          <p:spPr bwMode="gray">
            <a:xfrm>
              <a:off x="1506" y="1999"/>
              <a:ext cx="146" cy="60"/>
            </a:xfrm>
            <a:custGeom>
              <a:avLst/>
              <a:gdLst/>
              <a:ahLst/>
              <a:cxnLst>
                <a:cxn ang="0">
                  <a:pos x="97" y="10"/>
                </a:cxn>
                <a:cxn ang="0">
                  <a:pos x="13" y="24"/>
                </a:cxn>
                <a:cxn ang="0">
                  <a:pos x="9" y="34"/>
                </a:cxn>
                <a:cxn ang="0">
                  <a:pos x="57" y="52"/>
                </a:cxn>
                <a:cxn ang="0">
                  <a:pos x="135" y="74"/>
                </a:cxn>
                <a:cxn ang="0">
                  <a:pos x="175" y="68"/>
                </a:cxn>
                <a:cxn ang="0">
                  <a:pos x="187" y="64"/>
                </a:cxn>
                <a:cxn ang="0">
                  <a:pos x="175" y="44"/>
                </a:cxn>
                <a:cxn ang="0">
                  <a:pos x="163" y="36"/>
                </a:cxn>
                <a:cxn ang="0">
                  <a:pos x="129" y="26"/>
                </a:cxn>
                <a:cxn ang="0">
                  <a:pos x="97" y="10"/>
                </a:cxn>
              </a:cxnLst>
              <a:rect l="0" t="0" r="r" b="b"/>
              <a:pathLst>
                <a:path w="194" h="80">
                  <a:moveTo>
                    <a:pt x="97" y="10"/>
                  </a:moveTo>
                  <a:cubicBezTo>
                    <a:pt x="70" y="19"/>
                    <a:pt x="42" y="22"/>
                    <a:pt x="13" y="24"/>
                  </a:cubicBezTo>
                  <a:cubicBezTo>
                    <a:pt x="9" y="25"/>
                    <a:pt x="0" y="26"/>
                    <a:pt x="9" y="34"/>
                  </a:cubicBezTo>
                  <a:cubicBezTo>
                    <a:pt x="21" y="44"/>
                    <a:pt x="43" y="43"/>
                    <a:pt x="57" y="52"/>
                  </a:cubicBezTo>
                  <a:cubicBezTo>
                    <a:pt x="75" y="80"/>
                    <a:pt x="104" y="73"/>
                    <a:pt x="135" y="74"/>
                  </a:cubicBezTo>
                  <a:cubicBezTo>
                    <a:pt x="153" y="73"/>
                    <a:pt x="159" y="73"/>
                    <a:pt x="175" y="68"/>
                  </a:cubicBezTo>
                  <a:cubicBezTo>
                    <a:pt x="179" y="67"/>
                    <a:pt x="187" y="64"/>
                    <a:pt x="187" y="64"/>
                  </a:cubicBezTo>
                  <a:cubicBezTo>
                    <a:pt x="194" y="53"/>
                    <a:pt x="184" y="49"/>
                    <a:pt x="175" y="44"/>
                  </a:cubicBezTo>
                  <a:cubicBezTo>
                    <a:pt x="171" y="42"/>
                    <a:pt x="163" y="36"/>
                    <a:pt x="163" y="36"/>
                  </a:cubicBezTo>
                  <a:cubicBezTo>
                    <a:pt x="140" y="41"/>
                    <a:pt x="147" y="38"/>
                    <a:pt x="129" y="26"/>
                  </a:cubicBezTo>
                  <a:cubicBezTo>
                    <a:pt x="123" y="17"/>
                    <a:pt x="107" y="0"/>
                    <a:pt x="97" y="1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6" name="Freeform 13"/>
            <p:cNvSpPr>
              <a:spLocks/>
            </p:cNvSpPr>
            <p:nvPr/>
          </p:nvSpPr>
          <p:spPr bwMode="gray">
            <a:xfrm>
              <a:off x="1711" y="2069"/>
              <a:ext cx="233" cy="190"/>
            </a:xfrm>
            <a:custGeom>
              <a:avLst/>
              <a:gdLst/>
              <a:ahLst/>
              <a:cxnLst>
                <a:cxn ang="0">
                  <a:pos x="67" y="9"/>
                </a:cxn>
                <a:cxn ang="0">
                  <a:pos x="51" y="23"/>
                </a:cxn>
                <a:cxn ang="0">
                  <a:pos x="21" y="39"/>
                </a:cxn>
                <a:cxn ang="0">
                  <a:pos x="53" y="77"/>
                </a:cxn>
                <a:cxn ang="0">
                  <a:pos x="79" y="85"/>
                </a:cxn>
                <a:cxn ang="0">
                  <a:pos x="103" y="99"/>
                </a:cxn>
                <a:cxn ang="0">
                  <a:pos x="127" y="85"/>
                </a:cxn>
                <a:cxn ang="0">
                  <a:pos x="143" y="101"/>
                </a:cxn>
                <a:cxn ang="0">
                  <a:pos x="149" y="127"/>
                </a:cxn>
                <a:cxn ang="0">
                  <a:pos x="115" y="151"/>
                </a:cxn>
                <a:cxn ang="0">
                  <a:pos x="89" y="173"/>
                </a:cxn>
                <a:cxn ang="0">
                  <a:pos x="69" y="169"/>
                </a:cxn>
                <a:cxn ang="0">
                  <a:pos x="57" y="165"/>
                </a:cxn>
                <a:cxn ang="0">
                  <a:pos x="43" y="187"/>
                </a:cxn>
                <a:cxn ang="0">
                  <a:pos x="39" y="199"/>
                </a:cxn>
                <a:cxn ang="0">
                  <a:pos x="73" y="205"/>
                </a:cxn>
                <a:cxn ang="0">
                  <a:pos x="95" y="203"/>
                </a:cxn>
                <a:cxn ang="0">
                  <a:pos x="115" y="231"/>
                </a:cxn>
                <a:cxn ang="0">
                  <a:pos x="127" y="235"/>
                </a:cxn>
                <a:cxn ang="0">
                  <a:pos x="139" y="239"/>
                </a:cxn>
                <a:cxn ang="0">
                  <a:pos x="155" y="251"/>
                </a:cxn>
                <a:cxn ang="0">
                  <a:pos x="181" y="237"/>
                </a:cxn>
                <a:cxn ang="0">
                  <a:pos x="203" y="235"/>
                </a:cxn>
                <a:cxn ang="0">
                  <a:pos x="229" y="213"/>
                </a:cxn>
                <a:cxn ang="0">
                  <a:pos x="225" y="185"/>
                </a:cxn>
                <a:cxn ang="0">
                  <a:pos x="217" y="173"/>
                </a:cxn>
                <a:cxn ang="0">
                  <a:pos x="233" y="167"/>
                </a:cxn>
                <a:cxn ang="0">
                  <a:pos x="245" y="183"/>
                </a:cxn>
                <a:cxn ang="0">
                  <a:pos x="247" y="197"/>
                </a:cxn>
                <a:cxn ang="0">
                  <a:pos x="261" y="193"/>
                </a:cxn>
                <a:cxn ang="0">
                  <a:pos x="303" y="169"/>
                </a:cxn>
                <a:cxn ang="0">
                  <a:pos x="293" y="147"/>
                </a:cxn>
                <a:cxn ang="0">
                  <a:pos x="259" y="123"/>
                </a:cxn>
                <a:cxn ang="0">
                  <a:pos x="265" y="107"/>
                </a:cxn>
                <a:cxn ang="0">
                  <a:pos x="277" y="103"/>
                </a:cxn>
                <a:cxn ang="0">
                  <a:pos x="253" y="63"/>
                </a:cxn>
                <a:cxn ang="0">
                  <a:pos x="233" y="59"/>
                </a:cxn>
                <a:cxn ang="0">
                  <a:pos x="221" y="55"/>
                </a:cxn>
                <a:cxn ang="0">
                  <a:pos x="201" y="33"/>
                </a:cxn>
                <a:cxn ang="0">
                  <a:pos x="155" y="45"/>
                </a:cxn>
                <a:cxn ang="0">
                  <a:pos x="167" y="25"/>
                </a:cxn>
                <a:cxn ang="0">
                  <a:pos x="139" y="17"/>
                </a:cxn>
                <a:cxn ang="0">
                  <a:pos x="119" y="19"/>
                </a:cxn>
                <a:cxn ang="0">
                  <a:pos x="67" y="9"/>
                </a:cxn>
              </a:cxnLst>
              <a:rect l="0" t="0" r="r" b="b"/>
              <a:pathLst>
                <a:path w="310" h="254">
                  <a:moveTo>
                    <a:pt x="67" y="9"/>
                  </a:moveTo>
                  <a:cubicBezTo>
                    <a:pt x="63" y="15"/>
                    <a:pt x="51" y="23"/>
                    <a:pt x="51" y="23"/>
                  </a:cubicBezTo>
                  <a:cubicBezTo>
                    <a:pt x="43" y="34"/>
                    <a:pt x="33" y="35"/>
                    <a:pt x="21" y="39"/>
                  </a:cubicBezTo>
                  <a:cubicBezTo>
                    <a:pt x="0" y="71"/>
                    <a:pt x="30" y="74"/>
                    <a:pt x="53" y="77"/>
                  </a:cubicBezTo>
                  <a:cubicBezTo>
                    <a:pt x="61" y="89"/>
                    <a:pt x="63" y="87"/>
                    <a:pt x="79" y="85"/>
                  </a:cubicBezTo>
                  <a:cubicBezTo>
                    <a:pt x="88" y="88"/>
                    <a:pt x="93" y="96"/>
                    <a:pt x="103" y="99"/>
                  </a:cubicBezTo>
                  <a:cubicBezTo>
                    <a:pt x="117" y="96"/>
                    <a:pt x="116" y="89"/>
                    <a:pt x="127" y="85"/>
                  </a:cubicBezTo>
                  <a:cubicBezTo>
                    <a:pt x="134" y="90"/>
                    <a:pt x="138" y="94"/>
                    <a:pt x="143" y="101"/>
                  </a:cubicBezTo>
                  <a:cubicBezTo>
                    <a:pt x="140" y="116"/>
                    <a:pt x="134" y="117"/>
                    <a:pt x="149" y="127"/>
                  </a:cubicBezTo>
                  <a:cubicBezTo>
                    <a:pt x="161" y="144"/>
                    <a:pt x="126" y="147"/>
                    <a:pt x="115" y="151"/>
                  </a:cubicBezTo>
                  <a:cubicBezTo>
                    <a:pt x="109" y="160"/>
                    <a:pt x="100" y="169"/>
                    <a:pt x="89" y="173"/>
                  </a:cubicBezTo>
                  <a:cubicBezTo>
                    <a:pt x="81" y="172"/>
                    <a:pt x="76" y="171"/>
                    <a:pt x="69" y="169"/>
                  </a:cubicBezTo>
                  <a:cubicBezTo>
                    <a:pt x="65" y="168"/>
                    <a:pt x="57" y="165"/>
                    <a:pt x="57" y="165"/>
                  </a:cubicBezTo>
                  <a:cubicBezTo>
                    <a:pt x="46" y="169"/>
                    <a:pt x="46" y="177"/>
                    <a:pt x="43" y="187"/>
                  </a:cubicBezTo>
                  <a:cubicBezTo>
                    <a:pt x="42" y="191"/>
                    <a:pt x="39" y="199"/>
                    <a:pt x="39" y="199"/>
                  </a:cubicBezTo>
                  <a:cubicBezTo>
                    <a:pt x="50" y="203"/>
                    <a:pt x="61" y="204"/>
                    <a:pt x="73" y="205"/>
                  </a:cubicBezTo>
                  <a:cubicBezTo>
                    <a:pt x="82" y="203"/>
                    <a:pt x="86" y="201"/>
                    <a:pt x="95" y="203"/>
                  </a:cubicBezTo>
                  <a:cubicBezTo>
                    <a:pt x="107" y="211"/>
                    <a:pt x="111" y="218"/>
                    <a:pt x="115" y="231"/>
                  </a:cubicBezTo>
                  <a:cubicBezTo>
                    <a:pt x="116" y="235"/>
                    <a:pt x="123" y="234"/>
                    <a:pt x="127" y="235"/>
                  </a:cubicBezTo>
                  <a:cubicBezTo>
                    <a:pt x="131" y="236"/>
                    <a:pt x="139" y="239"/>
                    <a:pt x="139" y="239"/>
                  </a:cubicBezTo>
                  <a:cubicBezTo>
                    <a:pt x="144" y="246"/>
                    <a:pt x="147" y="248"/>
                    <a:pt x="155" y="251"/>
                  </a:cubicBezTo>
                  <a:cubicBezTo>
                    <a:pt x="169" y="250"/>
                    <a:pt x="187" y="254"/>
                    <a:pt x="181" y="237"/>
                  </a:cubicBezTo>
                  <a:cubicBezTo>
                    <a:pt x="184" y="220"/>
                    <a:pt x="192" y="228"/>
                    <a:pt x="203" y="235"/>
                  </a:cubicBezTo>
                  <a:cubicBezTo>
                    <a:pt x="224" y="233"/>
                    <a:pt x="224" y="232"/>
                    <a:pt x="229" y="213"/>
                  </a:cubicBezTo>
                  <a:cubicBezTo>
                    <a:pt x="229" y="211"/>
                    <a:pt x="229" y="192"/>
                    <a:pt x="225" y="185"/>
                  </a:cubicBezTo>
                  <a:cubicBezTo>
                    <a:pt x="223" y="181"/>
                    <a:pt x="217" y="173"/>
                    <a:pt x="217" y="173"/>
                  </a:cubicBezTo>
                  <a:cubicBezTo>
                    <a:pt x="220" y="163"/>
                    <a:pt x="224" y="165"/>
                    <a:pt x="233" y="167"/>
                  </a:cubicBezTo>
                  <a:cubicBezTo>
                    <a:pt x="240" y="172"/>
                    <a:pt x="242" y="175"/>
                    <a:pt x="245" y="183"/>
                  </a:cubicBezTo>
                  <a:cubicBezTo>
                    <a:pt x="246" y="188"/>
                    <a:pt x="244" y="193"/>
                    <a:pt x="247" y="197"/>
                  </a:cubicBezTo>
                  <a:cubicBezTo>
                    <a:pt x="250" y="201"/>
                    <a:pt x="256" y="194"/>
                    <a:pt x="261" y="193"/>
                  </a:cubicBezTo>
                  <a:cubicBezTo>
                    <a:pt x="276" y="188"/>
                    <a:pt x="290" y="178"/>
                    <a:pt x="303" y="169"/>
                  </a:cubicBezTo>
                  <a:cubicBezTo>
                    <a:pt x="310" y="158"/>
                    <a:pt x="302" y="153"/>
                    <a:pt x="293" y="147"/>
                  </a:cubicBezTo>
                  <a:cubicBezTo>
                    <a:pt x="281" y="129"/>
                    <a:pt x="283" y="126"/>
                    <a:pt x="259" y="123"/>
                  </a:cubicBezTo>
                  <a:cubicBezTo>
                    <a:pt x="256" y="115"/>
                    <a:pt x="257" y="111"/>
                    <a:pt x="265" y="107"/>
                  </a:cubicBezTo>
                  <a:cubicBezTo>
                    <a:pt x="269" y="105"/>
                    <a:pt x="277" y="103"/>
                    <a:pt x="277" y="103"/>
                  </a:cubicBezTo>
                  <a:cubicBezTo>
                    <a:pt x="287" y="88"/>
                    <a:pt x="269" y="66"/>
                    <a:pt x="253" y="63"/>
                  </a:cubicBezTo>
                  <a:cubicBezTo>
                    <a:pt x="239" y="60"/>
                    <a:pt x="244" y="62"/>
                    <a:pt x="233" y="59"/>
                  </a:cubicBezTo>
                  <a:cubicBezTo>
                    <a:pt x="229" y="58"/>
                    <a:pt x="221" y="55"/>
                    <a:pt x="221" y="55"/>
                  </a:cubicBezTo>
                  <a:cubicBezTo>
                    <a:pt x="200" y="60"/>
                    <a:pt x="217" y="38"/>
                    <a:pt x="201" y="33"/>
                  </a:cubicBezTo>
                  <a:cubicBezTo>
                    <a:pt x="185" y="35"/>
                    <a:pt x="169" y="36"/>
                    <a:pt x="155" y="45"/>
                  </a:cubicBezTo>
                  <a:cubicBezTo>
                    <a:pt x="145" y="30"/>
                    <a:pt x="152" y="30"/>
                    <a:pt x="167" y="25"/>
                  </a:cubicBezTo>
                  <a:cubicBezTo>
                    <a:pt x="163" y="10"/>
                    <a:pt x="155" y="15"/>
                    <a:pt x="139" y="17"/>
                  </a:cubicBezTo>
                  <a:cubicBezTo>
                    <a:pt x="131" y="20"/>
                    <a:pt x="127" y="22"/>
                    <a:pt x="119" y="19"/>
                  </a:cubicBezTo>
                  <a:cubicBezTo>
                    <a:pt x="106" y="0"/>
                    <a:pt x="74" y="29"/>
                    <a:pt x="67" y="9"/>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7" name="Freeform 14"/>
            <p:cNvSpPr>
              <a:spLocks/>
            </p:cNvSpPr>
            <p:nvPr/>
          </p:nvSpPr>
          <p:spPr bwMode="gray">
            <a:xfrm>
              <a:off x="1709" y="1987"/>
              <a:ext cx="44" cy="37"/>
            </a:xfrm>
            <a:custGeom>
              <a:avLst/>
              <a:gdLst/>
              <a:ahLst/>
              <a:cxnLst>
                <a:cxn ang="0">
                  <a:pos x="26" y="0"/>
                </a:cxn>
                <a:cxn ang="0">
                  <a:pos x="0" y="10"/>
                </a:cxn>
                <a:cxn ang="0">
                  <a:pos x="30" y="40"/>
                </a:cxn>
                <a:cxn ang="0">
                  <a:pos x="48" y="50"/>
                </a:cxn>
                <a:cxn ang="0">
                  <a:pos x="58" y="28"/>
                </a:cxn>
                <a:cxn ang="0">
                  <a:pos x="44" y="8"/>
                </a:cxn>
                <a:cxn ang="0">
                  <a:pos x="26" y="0"/>
                </a:cxn>
              </a:cxnLst>
              <a:rect l="0" t="0" r="r" b="b"/>
              <a:pathLst>
                <a:path w="59" h="50">
                  <a:moveTo>
                    <a:pt x="26" y="0"/>
                  </a:moveTo>
                  <a:cubicBezTo>
                    <a:pt x="13" y="2"/>
                    <a:pt x="7" y="0"/>
                    <a:pt x="0" y="10"/>
                  </a:cubicBezTo>
                  <a:cubicBezTo>
                    <a:pt x="4" y="22"/>
                    <a:pt x="18" y="36"/>
                    <a:pt x="30" y="40"/>
                  </a:cubicBezTo>
                  <a:cubicBezTo>
                    <a:pt x="37" y="42"/>
                    <a:pt x="48" y="50"/>
                    <a:pt x="48" y="50"/>
                  </a:cubicBezTo>
                  <a:cubicBezTo>
                    <a:pt x="57" y="44"/>
                    <a:pt x="55" y="37"/>
                    <a:pt x="58" y="28"/>
                  </a:cubicBezTo>
                  <a:cubicBezTo>
                    <a:pt x="55" y="11"/>
                    <a:pt x="59" y="18"/>
                    <a:pt x="44" y="8"/>
                  </a:cubicBezTo>
                  <a:cubicBezTo>
                    <a:pt x="42" y="6"/>
                    <a:pt x="26" y="5"/>
                    <a:pt x="2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8" name="Freeform 15"/>
            <p:cNvSpPr>
              <a:spLocks/>
            </p:cNvSpPr>
            <p:nvPr/>
          </p:nvSpPr>
          <p:spPr bwMode="gray">
            <a:xfrm>
              <a:off x="1625" y="2057"/>
              <a:ext cx="65" cy="42"/>
            </a:xfrm>
            <a:custGeom>
              <a:avLst/>
              <a:gdLst/>
              <a:ahLst/>
              <a:cxnLst>
                <a:cxn ang="0">
                  <a:pos x="44" y="7"/>
                </a:cxn>
                <a:cxn ang="0">
                  <a:pos x="24" y="25"/>
                </a:cxn>
                <a:cxn ang="0">
                  <a:pos x="4" y="27"/>
                </a:cxn>
                <a:cxn ang="0">
                  <a:pos x="16" y="57"/>
                </a:cxn>
                <a:cxn ang="0">
                  <a:pos x="74" y="35"/>
                </a:cxn>
                <a:cxn ang="0">
                  <a:pos x="86" y="17"/>
                </a:cxn>
                <a:cxn ang="0">
                  <a:pos x="56" y="7"/>
                </a:cxn>
                <a:cxn ang="0">
                  <a:pos x="44" y="7"/>
                </a:cxn>
              </a:cxnLst>
              <a:rect l="0" t="0" r="r" b="b"/>
              <a:pathLst>
                <a:path w="86" h="57">
                  <a:moveTo>
                    <a:pt x="44" y="7"/>
                  </a:moveTo>
                  <a:cubicBezTo>
                    <a:pt x="39" y="14"/>
                    <a:pt x="31" y="20"/>
                    <a:pt x="24" y="25"/>
                  </a:cubicBezTo>
                  <a:cubicBezTo>
                    <a:pt x="16" y="19"/>
                    <a:pt x="12" y="22"/>
                    <a:pt x="4" y="27"/>
                  </a:cubicBezTo>
                  <a:cubicBezTo>
                    <a:pt x="0" y="38"/>
                    <a:pt x="4" y="53"/>
                    <a:pt x="16" y="57"/>
                  </a:cubicBezTo>
                  <a:cubicBezTo>
                    <a:pt x="33" y="51"/>
                    <a:pt x="60" y="45"/>
                    <a:pt x="74" y="35"/>
                  </a:cubicBezTo>
                  <a:cubicBezTo>
                    <a:pt x="78" y="29"/>
                    <a:pt x="86" y="17"/>
                    <a:pt x="86" y="17"/>
                  </a:cubicBezTo>
                  <a:cubicBezTo>
                    <a:pt x="80" y="0"/>
                    <a:pt x="74" y="5"/>
                    <a:pt x="56" y="7"/>
                  </a:cubicBezTo>
                  <a:cubicBezTo>
                    <a:pt x="43" y="11"/>
                    <a:pt x="44" y="15"/>
                    <a:pt x="44" y="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9" name="Freeform 16"/>
            <p:cNvSpPr>
              <a:spLocks/>
            </p:cNvSpPr>
            <p:nvPr/>
          </p:nvSpPr>
          <p:spPr bwMode="gray">
            <a:xfrm>
              <a:off x="1693" y="2065"/>
              <a:ext cx="54" cy="25"/>
            </a:xfrm>
            <a:custGeom>
              <a:avLst/>
              <a:gdLst/>
              <a:ahLst/>
              <a:cxnLst>
                <a:cxn ang="0">
                  <a:pos x="40" y="0"/>
                </a:cxn>
                <a:cxn ang="0">
                  <a:pos x="10" y="16"/>
                </a:cxn>
                <a:cxn ang="0">
                  <a:pos x="24" y="34"/>
                </a:cxn>
                <a:cxn ang="0">
                  <a:pos x="52" y="28"/>
                </a:cxn>
                <a:cxn ang="0">
                  <a:pos x="64" y="20"/>
                </a:cxn>
                <a:cxn ang="0">
                  <a:pos x="40" y="0"/>
                </a:cxn>
              </a:cxnLst>
              <a:rect l="0" t="0" r="r" b="b"/>
              <a:pathLst>
                <a:path w="73" h="34">
                  <a:moveTo>
                    <a:pt x="40" y="0"/>
                  </a:moveTo>
                  <a:cubicBezTo>
                    <a:pt x="30" y="6"/>
                    <a:pt x="20" y="10"/>
                    <a:pt x="10" y="16"/>
                  </a:cubicBezTo>
                  <a:cubicBezTo>
                    <a:pt x="0" y="31"/>
                    <a:pt x="13" y="30"/>
                    <a:pt x="24" y="34"/>
                  </a:cubicBezTo>
                  <a:cubicBezTo>
                    <a:pt x="44" y="31"/>
                    <a:pt x="35" y="34"/>
                    <a:pt x="52" y="28"/>
                  </a:cubicBezTo>
                  <a:cubicBezTo>
                    <a:pt x="57" y="26"/>
                    <a:pt x="64" y="20"/>
                    <a:pt x="64" y="20"/>
                  </a:cubicBezTo>
                  <a:cubicBezTo>
                    <a:pt x="73" y="7"/>
                    <a:pt x="48" y="8"/>
                    <a:pt x="40"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0" name="Freeform 17"/>
            <p:cNvSpPr>
              <a:spLocks/>
            </p:cNvSpPr>
            <p:nvPr/>
          </p:nvSpPr>
          <p:spPr bwMode="gray">
            <a:xfrm>
              <a:off x="1664" y="2029"/>
              <a:ext cx="64" cy="34"/>
            </a:xfrm>
            <a:custGeom>
              <a:avLst/>
              <a:gdLst/>
              <a:ahLst/>
              <a:cxnLst>
                <a:cxn ang="0">
                  <a:pos x="58" y="10"/>
                </a:cxn>
                <a:cxn ang="0">
                  <a:pos x="28" y="4"/>
                </a:cxn>
                <a:cxn ang="0">
                  <a:pos x="0" y="18"/>
                </a:cxn>
                <a:cxn ang="0">
                  <a:pos x="40" y="32"/>
                </a:cxn>
                <a:cxn ang="0">
                  <a:pos x="64" y="40"/>
                </a:cxn>
                <a:cxn ang="0">
                  <a:pos x="84" y="18"/>
                </a:cxn>
                <a:cxn ang="0">
                  <a:pos x="82" y="6"/>
                </a:cxn>
                <a:cxn ang="0">
                  <a:pos x="64" y="0"/>
                </a:cxn>
                <a:cxn ang="0">
                  <a:pos x="58" y="10"/>
                </a:cxn>
              </a:cxnLst>
              <a:rect l="0" t="0" r="r" b="b"/>
              <a:pathLst>
                <a:path w="85" h="45">
                  <a:moveTo>
                    <a:pt x="58" y="10"/>
                  </a:moveTo>
                  <a:cubicBezTo>
                    <a:pt x="39" y="16"/>
                    <a:pt x="45" y="10"/>
                    <a:pt x="28" y="4"/>
                  </a:cubicBezTo>
                  <a:cubicBezTo>
                    <a:pt x="7" y="6"/>
                    <a:pt x="5" y="2"/>
                    <a:pt x="0" y="18"/>
                  </a:cubicBezTo>
                  <a:cubicBezTo>
                    <a:pt x="5" y="34"/>
                    <a:pt x="26" y="31"/>
                    <a:pt x="40" y="32"/>
                  </a:cubicBezTo>
                  <a:cubicBezTo>
                    <a:pt x="50" y="42"/>
                    <a:pt x="49" y="45"/>
                    <a:pt x="64" y="40"/>
                  </a:cubicBezTo>
                  <a:cubicBezTo>
                    <a:pt x="69" y="32"/>
                    <a:pt x="77" y="25"/>
                    <a:pt x="84" y="18"/>
                  </a:cubicBezTo>
                  <a:cubicBezTo>
                    <a:pt x="83" y="14"/>
                    <a:pt x="85" y="9"/>
                    <a:pt x="82" y="6"/>
                  </a:cubicBezTo>
                  <a:cubicBezTo>
                    <a:pt x="78" y="1"/>
                    <a:pt x="64" y="0"/>
                    <a:pt x="64" y="0"/>
                  </a:cubicBezTo>
                  <a:cubicBezTo>
                    <a:pt x="56" y="3"/>
                    <a:pt x="47" y="21"/>
                    <a:pt x="58" y="1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1" name="Freeform 18"/>
            <p:cNvSpPr>
              <a:spLocks/>
            </p:cNvSpPr>
            <p:nvPr/>
          </p:nvSpPr>
          <p:spPr bwMode="gray">
            <a:xfrm>
              <a:off x="1637" y="1997"/>
              <a:ext cx="44" cy="24"/>
            </a:xfrm>
            <a:custGeom>
              <a:avLst/>
              <a:gdLst/>
              <a:ahLst/>
              <a:cxnLst>
                <a:cxn ang="0">
                  <a:pos x="16" y="4"/>
                </a:cxn>
                <a:cxn ang="0">
                  <a:pos x="0" y="18"/>
                </a:cxn>
                <a:cxn ang="0">
                  <a:pos x="20" y="28"/>
                </a:cxn>
                <a:cxn ang="0">
                  <a:pos x="28" y="20"/>
                </a:cxn>
                <a:cxn ang="0">
                  <a:pos x="52" y="12"/>
                </a:cxn>
                <a:cxn ang="0">
                  <a:pos x="44" y="0"/>
                </a:cxn>
                <a:cxn ang="0">
                  <a:pos x="16" y="4"/>
                </a:cxn>
              </a:cxnLst>
              <a:rect l="0" t="0" r="r" b="b"/>
              <a:pathLst>
                <a:path w="58" h="31">
                  <a:moveTo>
                    <a:pt x="16" y="4"/>
                  </a:moveTo>
                  <a:cubicBezTo>
                    <a:pt x="2" y="13"/>
                    <a:pt x="7" y="8"/>
                    <a:pt x="0" y="18"/>
                  </a:cubicBezTo>
                  <a:cubicBezTo>
                    <a:pt x="5" y="26"/>
                    <a:pt x="11" y="25"/>
                    <a:pt x="20" y="28"/>
                  </a:cubicBezTo>
                  <a:cubicBezTo>
                    <a:pt x="36" y="23"/>
                    <a:pt x="17" y="31"/>
                    <a:pt x="28" y="20"/>
                  </a:cubicBezTo>
                  <a:cubicBezTo>
                    <a:pt x="33" y="15"/>
                    <a:pt x="46" y="13"/>
                    <a:pt x="52" y="12"/>
                  </a:cubicBezTo>
                  <a:cubicBezTo>
                    <a:pt x="58" y="3"/>
                    <a:pt x="53" y="3"/>
                    <a:pt x="44" y="0"/>
                  </a:cubicBezTo>
                  <a:cubicBezTo>
                    <a:pt x="38" y="1"/>
                    <a:pt x="20" y="8"/>
                    <a:pt x="16" y="4"/>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2" name="Freeform 19"/>
            <p:cNvSpPr>
              <a:spLocks/>
            </p:cNvSpPr>
            <p:nvPr/>
          </p:nvSpPr>
          <p:spPr bwMode="gray">
            <a:xfrm>
              <a:off x="1751" y="2000"/>
              <a:ext cx="114" cy="77"/>
            </a:xfrm>
            <a:custGeom>
              <a:avLst/>
              <a:gdLst/>
              <a:ahLst/>
              <a:cxnLst>
                <a:cxn ang="0">
                  <a:pos x="38" y="0"/>
                </a:cxn>
                <a:cxn ang="0">
                  <a:pos x="14" y="6"/>
                </a:cxn>
                <a:cxn ang="0">
                  <a:pos x="4" y="38"/>
                </a:cxn>
                <a:cxn ang="0">
                  <a:pos x="12" y="56"/>
                </a:cxn>
                <a:cxn ang="0">
                  <a:pos x="0" y="72"/>
                </a:cxn>
                <a:cxn ang="0">
                  <a:pos x="56" y="86"/>
                </a:cxn>
                <a:cxn ang="0">
                  <a:pos x="82" y="92"/>
                </a:cxn>
                <a:cxn ang="0">
                  <a:pos x="152" y="86"/>
                </a:cxn>
                <a:cxn ang="0">
                  <a:pos x="76" y="70"/>
                </a:cxn>
                <a:cxn ang="0">
                  <a:pos x="54" y="62"/>
                </a:cxn>
                <a:cxn ang="0">
                  <a:pos x="44" y="52"/>
                </a:cxn>
                <a:cxn ang="0">
                  <a:pos x="50" y="34"/>
                </a:cxn>
                <a:cxn ang="0">
                  <a:pos x="38" y="0"/>
                </a:cxn>
              </a:cxnLst>
              <a:rect l="0" t="0" r="r" b="b"/>
              <a:pathLst>
                <a:path w="152" h="102">
                  <a:moveTo>
                    <a:pt x="38" y="0"/>
                  </a:moveTo>
                  <a:cubicBezTo>
                    <a:pt x="22" y="5"/>
                    <a:pt x="30" y="3"/>
                    <a:pt x="14" y="6"/>
                  </a:cubicBezTo>
                  <a:cubicBezTo>
                    <a:pt x="18" y="22"/>
                    <a:pt x="22" y="32"/>
                    <a:pt x="4" y="38"/>
                  </a:cubicBezTo>
                  <a:cubicBezTo>
                    <a:pt x="1" y="47"/>
                    <a:pt x="7" y="49"/>
                    <a:pt x="12" y="56"/>
                  </a:cubicBezTo>
                  <a:cubicBezTo>
                    <a:pt x="10" y="65"/>
                    <a:pt x="9" y="69"/>
                    <a:pt x="0" y="72"/>
                  </a:cubicBezTo>
                  <a:cubicBezTo>
                    <a:pt x="5" y="88"/>
                    <a:pt x="45" y="85"/>
                    <a:pt x="56" y="86"/>
                  </a:cubicBezTo>
                  <a:cubicBezTo>
                    <a:pt x="72" y="97"/>
                    <a:pt x="63" y="95"/>
                    <a:pt x="82" y="92"/>
                  </a:cubicBezTo>
                  <a:cubicBezTo>
                    <a:pt x="86" y="92"/>
                    <a:pt x="147" y="102"/>
                    <a:pt x="152" y="86"/>
                  </a:cubicBezTo>
                  <a:cubicBezTo>
                    <a:pt x="123" y="66"/>
                    <a:pt x="128" y="72"/>
                    <a:pt x="76" y="70"/>
                  </a:cubicBezTo>
                  <a:cubicBezTo>
                    <a:pt x="62" y="56"/>
                    <a:pt x="81" y="73"/>
                    <a:pt x="54" y="62"/>
                  </a:cubicBezTo>
                  <a:cubicBezTo>
                    <a:pt x="50" y="60"/>
                    <a:pt x="48" y="55"/>
                    <a:pt x="44" y="52"/>
                  </a:cubicBezTo>
                  <a:cubicBezTo>
                    <a:pt x="41" y="43"/>
                    <a:pt x="42" y="39"/>
                    <a:pt x="50" y="34"/>
                  </a:cubicBezTo>
                  <a:cubicBezTo>
                    <a:pt x="52" y="27"/>
                    <a:pt x="42" y="9"/>
                    <a:pt x="3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3" name="Freeform 20"/>
            <p:cNvSpPr>
              <a:spLocks/>
            </p:cNvSpPr>
            <p:nvPr/>
          </p:nvSpPr>
          <p:spPr bwMode="gray">
            <a:xfrm>
              <a:off x="664" y="2245"/>
              <a:ext cx="25" cy="15"/>
            </a:xfrm>
            <a:custGeom>
              <a:avLst/>
              <a:gdLst/>
              <a:ahLst/>
              <a:cxnLst>
                <a:cxn ang="0">
                  <a:pos x="34" y="0"/>
                </a:cxn>
                <a:cxn ang="0">
                  <a:pos x="24" y="20"/>
                </a:cxn>
                <a:cxn ang="0">
                  <a:pos x="4" y="18"/>
                </a:cxn>
                <a:cxn ang="0">
                  <a:pos x="4" y="6"/>
                </a:cxn>
                <a:cxn ang="0">
                  <a:pos x="34" y="0"/>
                </a:cxn>
              </a:cxnLst>
              <a:rect l="0" t="0" r="r" b="b"/>
              <a:pathLst>
                <a:path w="34" h="20">
                  <a:moveTo>
                    <a:pt x="34" y="0"/>
                  </a:moveTo>
                  <a:cubicBezTo>
                    <a:pt x="32" y="10"/>
                    <a:pt x="34" y="17"/>
                    <a:pt x="24" y="20"/>
                  </a:cubicBezTo>
                  <a:cubicBezTo>
                    <a:pt x="17" y="19"/>
                    <a:pt x="10" y="20"/>
                    <a:pt x="4" y="18"/>
                  </a:cubicBezTo>
                  <a:cubicBezTo>
                    <a:pt x="0" y="17"/>
                    <a:pt x="2" y="7"/>
                    <a:pt x="4" y="6"/>
                  </a:cubicBezTo>
                  <a:cubicBezTo>
                    <a:pt x="12" y="0"/>
                    <a:pt x="24" y="0"/>
                    <a:pt x="3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4" name="Freeform 21"/>
            <p:cNvSpPr>
              <a:spLocks/>
            </p:cNvSpPr>
            <p:nvPr/>
          </p:nvSpPr>
          <p:spPr bwMode="gray">
            <a:xfrm>
              <a:off x="1421" y="2756"/>
              <a:ext cx="16"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5" name="Freeform 22"/>
            <p:cNvSpPr>
              <a:spLocks/>
            </p:cNvSpPr>
            <p:nvPr/>
          </p:nvSpPr>
          <p:spPr bwMode="gray">
            <a:xfrm>
              <a:off x="1424" y="2781"/>
              <a:ext cx="16"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6" name="Freeform 23"/>
            <p:cNvSpPr>
              <a:spLocks/>
            </p:cNvSpPr>
            <p:nvPr/>
          </p:nvSpPr>
          <p:spPr bwMode="gray">
            <a:xfrm>
              <a:off x="1628" y="2913"/>
              <a:ext cx="15" cy="12"/>
            </a:xfrm>
            <a:custGeom>
              <a:avLst/>
              <a:gdLst/>
              <a:ahLst/>
              <a:cxnLst>
                <a:cxn ang="0">
                  <a:pos x="3" y="0"/>
                </a:cxn>
                <a:cxn ang="0">
                  <a:pos x="13" y="16"/>
                </a:cxn>
                <a:cxn ang="0">
                  <a:pos x="3" y="0"/>
                </a:cxn>
              </a:cxnLst>
              <a:rect l="0" t="0" r="r" b="b"/>
              <a:pathLst>
                <a:path w="21" h="16">
                  <a:moveTo>
                    <a:pt x="3" y="0"/>
                  </a:moveTo>
                  <a:cubicBezTo>
                    <a:pt x="0" y="9"/>
                    <a:pt x="6" y="11"/>
                    <a:pt x="13" y="16"/>
                  </a:cubicBezTo>
                  <a:cubicBezTo>
                    <a:pt x="21" y="4"/>
                    <a:pt x="16" y="2"/>
                    <a:pt x="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7" name="Freeform 24"/>
            <p:cNvSpPr>
              <a:spLocks/>
            </p:cNvSpPr>
            <p:nvPr/>
          </p:nvSpPr>
          <p:spPr bwMode="gray">
            <a:xfrm>
              <a:off x="1752" y="2429"/>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8" name="Freeform 25"/>
            <p:cNvSpPr>
              <a:spLocks/>
            </p:cNvSpPr>
            <p:nvPr/>
          </p:nvSpPr>
          <p:spPr bwMode="gray">
            <a:xfrm>
              <a:off x="1652" y="2224"/>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29" name="Freeform 26"/>
            <p:cNvSpPr>
              <a:spLocks/>
            </p:cNvSpPr>
            <p:nvPr/>
          </p:nvSpPr>
          <p:spPr bwMode="gray">
            <a:xfrm>
              <a:off x="1717" y="2045"/>
              <a:ext cx="39"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0" name="Freeform 27"/>
            <p:cNvSpPr>
              <a:spLocks/>
            </p:cNvSpPr>
            <p:nvPr/>
          </p:nvSpPr>
          <p:spPr bwMode="gray">
            <a:xfrm>
              <a:off x="1780" y="2153"/>
              <a:ext cx="38" cy="18"/>
            </a:xfrm>
            <a:custGeom>
              <a:avLst/>
              <a:gdLst/>
              <a:ahLst/>
              <a:cxnLst>
                <a:cxn ang="0">
                  <a:pos x="13" y="0"/>
                </a:cxn>
                <a:cxn ang="0">
                  <a:pos x="7" y="18"/>
                </a:cxn>
                <a:cxn ang="0">
                  <a:pos x="27" y="24"/>
                </a:cxn>
                <a:cxn ang="0">
                  <a:pos x="33" y="4"/>
                </a:cxn>
                <a:cxn ang="0">
                  <a:pos x="13" y="0"/>
                </a:cxn>
              </a:cxnLst>
              <a:rect l="0" t="0" r="r" b="b"/>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1" name="Freeform 28"/>
            <p:cNvSpPr>
              <a:spLocks/>
            </p:cNvSpPr>
            <p:nvPr/>
          </p:nvSpPr>
          <p:spPr bwMode="gray">
            <a:xfrm>
              <a:off x="1796" y="1951"/>
              <a:ext cx="696" cy="346"/>
            </a:xfrm>
            <a:custGeom>
              <a:avLst/>
              <a:gdLst/>
              <a:ahLst/>
              <a:cxnLst>
                <a:cxn ang="0">
                  <a:pos x="28" y="56"/>
                </a:cxn>
                <a:cxn ang="0">
                  <a:pos x="6" y="92"/>
                </a:cxn>
                <a:cxn ang="0">
                  <a:pos x="36" y="100"/>
                </a:cxn>
                <a:cxn ang="0">
                  <a:pos x="16" y="116"/>
                </a:cxn>
                <a:cxn ang="0">
                  <a:pos x="104" y="136"/>
                </a:cxn>
                <a:cxn ang="0">
                  <a:pos x="142" y="130"/>
                </a:cxn>
                <a:cxn ang="0">
                  <a:pos x="250" y="78"/>
                </a:cxn>
                <a:cxn ang="0">
                  <a:pos x="300" y="66"/>
                </a:cxn>
                <a:cxn ang="0">
                  <a:pos x="324" y="80"/>
                </a:cxn>
                <a:cxn ang="0">
                  <a:pos x="272" y="88"/>
                </a:cxn>
                <a:cxn ang="0">
                  <a:pos x="242" y="112"/>
                </a:cxn>
                <a:cxn ang="0">
                  <a:pos x="254" y="120"/>
                </a:cxn>
                <a:cxn ang="0">
                  <a:pos x="260" y="158"/>
                </a:cxn>
                <a:cxn ang="0">
                  <a:pos x="350" y="192"/>
                </a:cxn>
                <a:cxn ang="0">
                  <a:pos x="336" y="210"/>
                </a:cxn>
                <a:cxn ang="0">
                  <a:pos x="368" y="246"/>
                </a:cxn>
                <a:cxn ang="0">
                  <a:pos x="348" y="266"/>
                </a:cxn>
                <a:cxn ang="0">
                  <a:pos x="324" y="294"/>
                </a:cxn>
                <a:cxn ang="0">
                  <a:pos x="294" y="324"/>
                </a:cxn>
                <a:cxn ang="0">
                  <a:pos x="292" y="420"/>
                </a:cxn>
                <a:cxn ang="0">
                  <a:pos x="332" y="446"/>
                </a:cxn>
                <a:cxn ang="0">
                  <a:pos x="388" y="448"/>
                </a:cxn>
                <a:cxn ang="0">
                  <a:pos x="412" y="422"/>
                </a:cxn>
                <a:cxn ang="0">
                  <a:pos x="506" y="356"/>
                </a:cxn>
                <a:cxn ang="0">
                  <a:pos x="572" y="334"/>
                </a:cxn>
                <a:cxn ang="0">
                  <a:pos x="646" y="308"/>
                </a:cxn>
                <a:cxn ang="0">
                  <a:pos x="720" y="290"/>
                </a:cxn>
                <a:cxn ang="0">
                  <a:pos x="762" y="260"/>
                </a:cxn>
                <a:cxn ang="0">
                  <a:pos x="800" y="200"/>
                </a:cxn>
                <a:cxn ang="0">
                  <a:pos x="802" y="154"/>
                </a:cxn>
                <a:cxn ang="0">
                  <a:pos x="802" y="124"/>
                </a:cxn>
                <a:cxn ang="0">
                  <a:pos x="832" y="90"/>
                </a:cxn>
                <a:cxn ang="0">
                  <a:pos x="876" y="94"/>
                </a:cxn>
                <a:cxn ang="0">
                  <a:pos x="922" y="52"/>
                </a:cxn>
                <a:cxn ang="0">
                  <a:pos x="888" y="56"/>
                </a:cxn>
                <a:cxn ang="0">
                  <a:pos x="848" y="46"/>
                </a:cxn>
                <a:cxn ang="0">
                  <a:pos x="794" y="22"/>
                </a:cxn>
                <a:cxn ang="0">
                  <a:pos x="642" y="26"/>
                </a:cxn>
                <a:cxn ang="0">
                  <a:pos x="584" y="38"/>
                </a:cxn>
                <a:cxn ang="0">
                  <a:pos x="556" y="38"/>
                </a:cxn>
                <a:cxn ang="0">
                  <a:pos x="516" y="54"/>
                </a:cxn>
                <a:cxn ang="0">
                  <a:pos x="478" y="30"/>
                </a:cxn>
                <a:cxn ang="0">
                  <a:pos x="432" y="40"/>
                </a:cxn>
                <a:cxn ang="0">
                  <a:pos x="366" y="52"/>
                </a:cxn>
                <a:cxn ang="0">
                  <a:pos x="410" y="38"/>
                </a:cxn>
                <a:cxn ang="0">
                  <a:pos x="352" y="8"/>
                </a:cxn>
                <a:cxn ang="0">
                  <a:pos x="334" y="2"/>
                </a:cxn>
                <a:cxn ang="0">
                  <a:pos x="314" y="8"/>
                </a:cxn>
                <a:cxn ang="0">
                  <a:pos x="240" y="16"/>
                </a:cxn>
                <a:cxn ang="0">
                  <a:pos x="160" y="28"/>
                </a:cxn>
                <a:cxn ang="0">
                  <a:pos x="108" y="26"/>
                </a:cxn>
                <a:cxn ang="0">
                  <a:pos x="114" y="68"/>
                </a:cxn>
                <a:cxn ang="0">
                  <a:pos x="104" y="52"/>
                </a:cxn>
                <a:cxn ang="0">
                  <a:pos x="60" y="42"/>
                </a:cxn>
              </a:cxnLst>
              <a:rect l="0" t="0" r="r" b="b"/>
              <a:pathLst>
                <a:path w="929" h="462">
                  <a:moveTo>
                    <a:pt x="60" y="42"/>
                  </a:moveTo>
                  <a:cubicBezTo>
                    <a:pt x="40" y="45"/>
                    <a:pt x="42" y="46"/>
                    <a:pt x="28" y="56"/>
                  </a:cubicBezTo>
                  <a:cubicBezTo>
                    <a:pt x="26" y="74"/>
                    <a:pt x="27" y="75"/>
                    <a:pt x="10" y="78"/>
                  </a:cubicBezTo>
                  <a:cubicBezTo>
                    <a:pt x="4" y="82"/>
                    <a:pt x="0" y="82"/>
                    <a:pt x="6" y="92"/>
                  </a:cubicBezTo>
                  <a:cubicBezTo>
                    <a:pt x="10" y="98"/>
                    <a:pt x="21" y="96"/>
                    <a:pt x="28" y="98"/>
                  </a:cubicBezTo>
                  <a:cubicBezTo>
                    <a:pt x="31" y="99"/>
                    <a:pt x="36" y="100"/>
                    <a:pt x="36" y="100"/>
                  </a:cubicBezTo>
                  <a:cubicBezTo>
                    <a:pt x="47" y="99"/>
                    <a:pt x="69" y="97"/>
                    <a:pt x="50" y="110"/>
                  </a:cubicBezTo>
                  <a:cubicBezTo>
                    <a:pt x="37" y="108"/>
                    <a:pt x="24" y="104"/>
                    <a:pt x="16" y="116"/>
                  </a:cubicBezTo>
                  <a:cubicBezTo>
                    <a:pt x="24" y="141"/>
                    <a:pt x="68" y="125"/>
                    <a:pt x="94" y="126"/>
                  </a:cubicBezTo>
                  <a:cubicBezTo>
                    <a:pt x="98" y="129"/>
                    <a:pt x="100" y="134"/>
                    <a:pt x="104" y="136"/>
                  </a:cubicBezTo>
                  <a:cubicBezTo>
                    <a:pt x="108" y="138"/>
                    <a:pt x="116" y="140"/>
                    <a:pt x="116" y="140"/>
                  </a:cubicBezTo>
                  <a:cubicBezTo>
                    <a:pt x="129" y="138"/>
                    <a:pt x="133" y="139"/>
                    <a:pt x="142" y="130"/>
                  </a:cubicBezTo>
                  <a:cubicBezTo>
                    <a:pt x="151" y="104"/>
                    <a:pt x="179" y="110"/>
                    <a:pt x="202" y="102"/>
                  </a:cubicBezTo>
                  <a:cubicBezTo>
                    <a:pt x="219" y="96"/>
                    <a:pt x="233" y="84"/>
                    <a:pt x="250" y="78"/>
                  </a:cubicBezTo>
                  <a:cubicBezTo>
                    <a:pt x="260" y="75"/>
                    <a:pt x="269" y="74"/>
                    <a:pt x="280" y="72"/>
                  </a:cubicBezTo>
                  <a:cubicBezTo>
                    <a:pt x="287" y="71"/>
                    <a:pt x="300" y="66"/>
                    <a:pt x="300" y="66"/>
                  </a:cubicBezTo>
                  <a:cubicBezTo>
                    <a:pt x="311" y="49"/>
                    <a:pt x="336" y="54"/>
                    <a:pt x="354" y="60"/>
                  </a:cubicBezTo>
                  <a:cubicBezTo>
                    <a:pt x="367" y="79"/>
                    <a:pt x="335" y="79"/>
                    <a:pt x="324" y="80"/>
                  </a:cubicBezTo>
                  <a:cubicBezTo>
                    <a:pt x="312" y="83"/>
                    <a:pt x="306" y="93"/>
                    <a:pt x="292" y="96"/>
                  </a:cubicBezTo>
                  <a:cubicBezTo>
                    <a:pt x="284" y="94"/>
                    <a:pt x="279" y="90"/>
                    <a:pt x="272" y="88"/>
                  </a:cubicBezTo>
                  <a:cubicBezTo>
                    <a:pt x="253" y="91"/>
                    <a:pt x="232" y="96"/>
                    <a:pt x="214" y="102"/>
                  </a:cubicBezTo>
                  <a:cubicBezTo>
                    <a:pt x="223" y="108"/>
                    <a:pt x="231" y="109"/>
                    <a:pt x="242" y="112"/>
                  </a:cubicBezTo>
                  <a:cubicBezTo>
                    <a:pt x="245" y="113"/>
                    <a:pt x="250" y="114"/>
                    <a:pt x="250" y="114"/>
                  </a:cubicBezTo>
                  <a:cubicBezTo>
                    <a:pt x="251" y="116"/>
                    <a:pt x="255" y="118"/>
                    <a:pt x="254" y="120"/>
                  </a:cubicBezTo>
                  <a:cubicBezTo>
                    <a:pt x="252" y="124"/>
                    <a:pt x="242" y="128"/>
                    <a:pt x="242" y="128"/>
                  </a:cubicBezTo>
                  <a:cubicBezTo>
                    <a:pt x="233" y="141"/>
                    <a:pt x="247" y="154"/>
                    <a:pt x="260" y="158"/>
                  </a:cubicBezTo>
                  <a:cubicBezTo>
                    <a:pt x="282" y="155"/>
                    <a:pt x="295" y="151"/>
                    <a:pt x="318" y="150"/>
                  </a:cubicBezTo>
                  <a:cubicBezTo>
                    <a:pt x="334" y="155"/>
                    <a:pt x="345" y="176"/>
                    <a:pt x="350" y="192"/>
                  </a:cubicBezTo>
                  <a:cubicBezTo>
                    <a:pt x="349" y="195"/>
                    <a:pt x="350" y="199"/>
                    <a:pt x="348" y="202"/>
                  </a:cubicBezTo>
                  <a:cubicBezTo>
                    <a:pt x="345" y="206"/>
                    <a:pt x="336" y="210"/>
                    <a:pt x="336" y="210"/>
                  </a:cubicBezTo>
                  <a:cubicBezTo>
                    <a:pt x="327" y="224"/>
                    <a:pt x="332" y="235"/>
                    <a:pt x="348" y="240"/>
                  </a:cubicBezTo>
                  <a:cubicBezTo>
                    <a:pt x="358" y="237"/>
                    <a:pt x="362" y="237"/>
                    <a:pt x="368" y="246"/>
                  </a:cubicBezTo>
                  <a:cubicBezTo>
                    <a:pt x="360" y="252"/>
                    <a:pt x="346" y="246"/>
                    <a:pt x="338" y="252"/>
                  </a:cubicBezTo>
                  <a:cubicBezTo>
                    <a:pt x="326" y="260"/>
                    <a:pt x="346" y="265"/>
                    <a:pt x="348" y="266"/>
                  </a:cubicBezTo>
                  <a:cubicBezTo>
                    <a:pt x="352" y="278"/>
                    <a:pt x="347" y="279"/>
                    <a:pt x="336" y="286"/>
                  </a:cubicBezTo>
                  <a:cubicBezTo>
                    <a:pt x="332" y="289"/>
                    <a:pt x="324" y="294"/>
                    <a:pt x="324" y="294"/>
                  </a:cubicBezTo>
                  <a:cubicBezTo>
                    <a:pt x="315" y="308"/>
                    <a:pt x="320" y="303"/>
                    <a:pt x="310" y="310"/>
                  </a:cubicBezTo>
                  <a:cubicBezTo>
                    <a:pt x="306" y="316"/>
                    <a:pt x="294" y="324"/>
                    <a:pt x="294" y="324"/>
                  </a:cubicBezTo>
                  <a:cubicBezTo>
                    <a:pt x="285" y="338"/>
                    <a:pt x="288" y="331"/>
                    <a:pt x="284" y="342"/>
                  </a:cubicBezTo>
                  <a:cubicBezTo>
                    <a:pt x="285" y="374"/>
                    <a:pt x="283" y="393"/>
                    <a:pt x="292" y="420"/>
                  </a:cubicBezTo>
                  <a:cubicBezTo>
                    <a:pt x="295" y="429"/>
                    <a:pt x="307" y="435"/>
                    <a:pt x="314" y="440"/>
                  </a:cubicBezTo>
                  <a:cubicBezTo>
                    <a:pt x="319" y="444"/>
                    <a:pt x="332" y="446"/>
                    <a:pt x="332" y="446"/>
                  </a:cubicBezTo>
                  <a:cubicBezTo>
                    <a:pt x="340" y="457"/>
                    <a:pt x="345" y="459"/>
                    <a:pt x="358" y="462"/>
                  </a:cubicBezTo>
                  <a:cubicBezTo>
                    <a:pt x="376" y="459"/>
                    <a:pt x="375" y="457"/>
                    <a:pt x="388" y="448"/>
                  </a:cubicBezTo>
                  <a:cubicBezTo>
                    <a:pt x="390" y="441"/>
                    <a:pt x="394" y="435"/>
                    <a:pt x="400" y="430"/>
                  </a:cubicBezTo>
                  <a:cubicBezTo>
                    <a:pt x="404" y="427"/>
                    <a:pt x="412" y="422"/>
                    <a:pt x="412" y="422"/>
                  </a:cubicBezTo>
                  <a:cubicBezTo>
                    <a:pt x="417" y="415"/>
                    <a:pt x="451" y="367"/>
                    <a:pt x="458" y="364"/>
                  </a:cubicBezTo>
                  <a:cubicBezTo>
                    <a:pt x="475" y="356"/>
                    <a:pt x="486" y="357"/>
                    <a:pt x="506" y="356"/>
                  </a:cubicBezTo>
                  <a:cubicBezTo>
                    <a:pt x="525" y="350"/>
                    <a:pt x="533" y="342"/>
                    <a:pt x="554" y="340"/>
                  </a:cubicBezTo>
                  <a:cubicBezTo>
                    <a:pt x="560" y="338"/>
                    <a:pt x="566" y="336"/>
                    <a:pt x="572" y="334"/>
                  </a:cubicBezTo>
                  <a:cubicBezTo>
                    <a:pt x="576" y="333"/>
                    <a:pt x="584" y="330"/>
                    <a:pt x="584" y="330"/>
                  </a:cubicBezTo>
                  <a:cubicBezTo>
                    <a:pt x="603" y="311"/>
                    <a:pt x="618" y="310"/>
                    <a:pt x="646" y="308"/>
                  </a:cubicBezTo>
                  <a:cubicBezTo>
                    <a:pt x="665" y="304"/>
                    <a:pt x="684" y="303"/>
                    <a:pt x="704" y="302"/>
                  </a:cubicBezTo>
                  <a:cubicBezTo>
                    <a:pt x="712" y="299"/>
                    <a:pt x="712" y="293"/>
                    <a:pt x="720" y="290"/>
                  </a:cubicBezTo>
                  <a:cubicBezTo>
                    <a:pt x="732" y="285"/>
                    <a:pt x="743" y="285"/>
                    <a:pt x="754" y="278"/>
                  </a:cubicBezTo>
                  <a:cubicBezTo>
                    <a:pt x="756" y="271"/>
                    <a:pt x="760" y="267"/>
                    <a:pt x="762" y="260"/>
                  </a:cubicBezTo>
                  <a:cubicBezTo>
                    <a:pt x="763" y="247"/>
                    <a:pt x="762" y="233"/>
                    <a:pt x="764" y="220"/>
                  </a:cubicBezTo>
                  <a:cubicBezTo>
                    <a:pt x="764" y="219"/>
                    <a:pt x="794" y="204"/>
                    <a:pt x="800" y="200"/>
                  </a:cubicBezTo>
                  <a:cubicBezTo>
                    <a:pt x="807" y="189"/>
                    <a:pt x="808" y="186"/>
                    <a:pt x="820" y="182"/>
                  </a:cubicBezTo>
                  <a:cubicBezTo>
                    <a:pt x="825" y="166"/>
                    <a:pt x="814" y="162"/>
                    <a:pt x="802" y="154"/>
                  </a:cubicBezTo>
                  <a:cubicBezTo>
                    <a:pt x="797" y="151"/>
                    <a:pt x="790" y="142"/>
                    <a:pt x="790" y="142"/>
                  </a:cubicBezTo>
                  <a:cubicBezTo>
                    <a:pt x="786" y="131"/>
                    <a:pt x="792" y="127"/>
                    <a:pt x="802" y="124"/>
                  </a:cubicBezTo>
                  <a:cubicBezTo>
                    <a:pt x="810" y="116"/>
                    <a:pt x="813" y="98"/>
                    <a:pt x="820" y="94"/>
                  </a:cubicBezTo>
                  <a:cubicBezTo>
                    <a:pt x="824" y="92"/>
                    <a:pt x="832" y="90"/>
                    <a:pt x="832" y="90"/>
                  </a:cubicBezTo>
                  <a:cubicBezTo>
                    <a:pt x="844" y="92"/>
                    <a:pt x="848" y="92"/>
                    <a:pt x="856" y="100"/>
                  </a:cubicBezTo>
                  <a:cubicBezTo>
                    <a:pt x="863" y="98"/>
                    <a:pt x="876" y="94"/>
                    <a:pt x="876" y="94"/>
                  </a:cubicBezTo>
                  <a:cubicBezTo>
                    <a:pt x="889" y="81"/>
                    <a:pt x="906" y="77"/>
                    <a:pt x="924" y="74"/>
                  </a:cubicBezTo>
                  <a:cubicBezTo>
                    <a:pt x="929" y="67"/>
                    <a:pt x="929" y="58"/>
                    <a:pt x="922" y="52"/>
                  </a:cubicBezTo>
                  <a:cubicBezTo>
                    <a:pt x="918" y="49"/>
                    <a:pt x="910" y="44"/>
                    <a:pt x="910" y="44"/>
                  </a:cubicBezTo>
                  <a:cubicBezTo>
                    <a:pt x="894" y="47"/>
                    <a:pt x="899" y="49"/>
                    <a:pt x="888" y="56"/>
                  </a:cubicBezTo>
                  <a:cubicBezTo>
                    <a:pt x="884" y="58"/>
                    <a:pt x="876" y="60"/>
                    <a:pt x="876" y="60"/>
                  </a:cubicBezTo>
                  <a:cubicBezTo>
                    <a:pt x="853" y="59"/>
                    <a:pt x="810" y="59"/>
                    <a:pt x="848" y="46"/>
                  </a:cubicBezTo>
                  <a:cubicBezTo>
                    <a:pt x="844" y="33"/>
                    <a:pt x="831" y="37"/>
                    <a:pt x="818" y="36"/>
                  </a:cubicBezTo>
                  <a:cubicBezTo>
                    <a:pt x="809" y="33"/>
                    <a:pt x="802" y="27"/>
                    <a:pt x="794" y="22"/>
                  </a:cubicBezTo>
                  <a:cubicBezTo>
                    <a:pt x="790" y="20"/>
                    <a:pt x="782" y="18"/>
                    <a:pt x="782" y="18"/>
                  </a:cubicBezTo>
                  <a:cubicBezTo>
                    <a:pt x="727" y="19"/>
                    <a:pt x="688" y="11"/>
                    <a:pt x="642" y="26"/>
                  </a:cubicBezTo>
                  <a:cubicBezTo>
                    <a:pt x="635" y="16"/>
                    <a:pt x="632" y="18"/>
                    <a:pt x="620" y="20"/>
                  </a:cubicBezTo>
                  <a:cubicBezTo>
                    <a:pt x="611" y="34"/>
                    <a:pt x="600" y="36"/>
                    <a:pt x="584" y="38"/>
                  </a:cubicBezTo>
                  <a:cubicBezTo>
                    <a:pt x="575" y="44"/>
                    <a:pt x="581" y="46"/>
                    <a:pt x="578" y="56"/>
                  </a:cubicBezTo>
                  <a:cubicBezTo>
                    <a:pt x="572" y="47"/>
                    <a:pt x="566" y="41"/>
                    <a:pt x="556" y="38"/>
                  </a:cubicBezTo>
                  <a:cubicBezTo>
                    <a:pt x="553" y="38"/>
                    <a:pt x="539" y="39"/>
                    <a:pt x="534" y="42"/>
                  </a:cubicBezTo>
                  <a:cubicBezTo>
                    <a:pt x="528" y="46"/>
                    <a:pt x="516" y="54"/>
                    <a:pt x="516" y="54"/>
                  </a:cubicBezTo>
                  <a:cubicBezTo>
                    <a:pt x="507" y="52"/>
                    <a:pt x="503" y="51"/>
                    <a:pt x="500" y="42"/>
                  </a:cubicBezTo>
                  <a:cubicBezTo>
                    <a:pt x="505" y="28"/>
                    <a:pt x="488" y="31"/>
                    <a:pt x="478" y="30"/>
                  </a:cubicBezTo>
                  <a:cubicBezTo>
                    <a:pt x="469" y="33"/>
                    <a:pt x="473" y="37"/>
                    <a:pt x="464" y="40"/>
                  </a:cubicBezTo>
                  <a:cubicBezTo>
                    <a:pt x="447" y="34"/>
                    <a:pt x="451" y="27"/>
                    <a:pt x="432" y="40"/>
                  </a:cubicBezTo>
                  <a:cubicBezTo>
                    <a:pt x="427" y="54"/>
                    <a:pt x="427" y="52"/>
                    <a:pt x="410" y="50"/>
                  </a:cubicBezTo>
                  <a:cubicBezTo>
                    <a:pt x="391" y="52"/>
                    <a:pt x="385" y="54"/>
                    <a:pt x="366" y="52"/>
                  </a:cubicBezTo>
                  <a:cubicBezTo>
                    <a:pt x="357" y="49"/>
                    <a:pt x="356" y="46"/>
                    <a:pt x="364" y="40"/>
                  </a:cubicBezTo>
                  <a:cubicBezTo>
                    <a:pt x="380" y="42"/>
                    <a:pt x="395" y="43"/>
                    <a:pt x="410" y="38"/>
                  </a:cubicBezTo>
                  <a:cubicBezTo>
                    <a:pt x="426" y="15"/>
                    <a:pt x="386" y="21"/>
                    <a:pt x="370" y="20"/>
                  </a:cubicBezTo>
                  <a:cubicBezTo>
                    <a:pt x="364" y="16"/>
                    <a:pt x="358" y="12"/>
                    <a:pt x="352" y="8"/>
                  </a:cubicBezTo>
                  <a:cubicBezTo>
                    <a:pt x="348" y="5"/>
                    <a:pt x="340" y="0"/>
                    <a:pt x="340" y="0"/>
                  </a:cubicBezTo>
                  <a:cubicBezTo>
                    <a:pt x="338" y="1"/>
                    <a:pt x="336" y="1"/>
                    <a:pt x="334" y="2"/>
                  </a:cubicBezTo>
                  <a:cubicBezTo>
                    <a:pt x="331" y="3"/>
                    <a:pt x="329" y="3"/>
                    <a:pt x="326" y="4"/>
                  </a:cubicBezTo>
                  <a:cubicBezTo>
                    <a:pt x="322" y="5"/>
                    <a:pt x="314" y="8"/>
                    <a:pt x="314" y="8"/>
                  </a:cubicBezTo>
                  <a:cubicBezTo>
                    <a:pt x="305" y="22"/>
                    <a:pt x="288" y="6"/>
                    <a:pt x="276" y="2"/>
                  </a:cubicBezTo>
                  <a:cubicBezTo>
                    <a:pt x="270" y="3"/>
                    <a:pt x="241" y="16"/>
                    <a:pt x="240" y="16"/>
                  </a:cubicBezTo>
                  <a:cubicBezTo>
                    <a:pt x="226" y="17"/>
                    <a:pt x="212" y="17"/>
                    <a:pt x="198" y="18"/>
                  </a:cubicBezTo>
                  <a:cubicBezTo>
                    <a:pt x="183" y="19"/>
                    <a:pt x="172" y="20"/>
                    <a:pt x="160" y="28"/>
                  </a:cubicBezTo>
                  <a:cubicBezTo>
                    <a:pt x="146" y="26"/>
                    <a:pt x="141" y="27"/>
                    <a:pt x="130" y="20"/>
                  </a:cubicBezTo>
                  <a:cubicBezTo>
                    <a:pt x="123" y="22"/>
                    <a:pt x="115" y="24"/>
                    <a:pt x="108" y="26"/>
                  </a:cubicBezTo>
                  <a:cubicBezTo>
                    <a:pt x="102" y="35"/>
                    <a:pt x="113" y="41"/>
                    <a:pt x="122" y="44"/>
                  </a:cubicBezTo>
                  <a:cubicBezTo>
                    <a:pt x="125" y="52"/>
                    <a:pt x="114" y="68"/>
                    <a:pt x="114" y="68"/>
                  </a:cubicBezTo>
                  <a:cubicBezTo>
                    <a:pt x="112" y="79"/>
                    <a:pt x="111" y="82"/>
                    <a:pt x="100" y="78"/>
                  </a:cubicBezTo>
                  <a:cubicBezTo>
                    <a:pt x="93" y="67"/>
                    <a:pt x="100" y="63"/>
                    <a:pt x="104" y="52"/>
                  </a:cubicBezTo>
                  <a:cubicBezTo>
                    <a:pt x="96" y="44"/>
                    <a:pt x="91" y="36"/>
                    <a:pt x="80" y="32"/>
                  </a:cubicBezTo>
                  <a:cubicBezTo>
                    <a:pt x="73" y="34"/>
                    <a:pt x="67" y="39"/>
                    <a:pt x="60" y="4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2" name="Freeform 29"/>
            <p:cNvSpPr>
              <a:spLocks/>
            </p:cNvSpPr>
            <p:nvPr/>
          </p:nvSpPr>
          <p:spPr bwMode="gray">
            <a:xfrm>
              <a:off x="2009" y="2135"/>
              <a:ext cx="39" cy="24"/>
            </a:xfrm>
            <a:custGeom>
              <a:avLst/>
              <a:gdLst/>
              <a:ahLst/>
              <a:cxnLst>
                <a:cxn ang="0">
                  <a:pos x="34" y="0"/>
                </a:cxn>
                <a:cxn ang="0">
                  <a:pos x="8" y="20"/>
                </a:cxn>
                <a:cxn ang="0">
                  <a:pos x="24" y="32"/>
                </a:cxn>
                <a:cxn ang="0">
                  <a:pos x="42" y="30"/>
                </a:cxn>
                <a:cxn ang="0">
                  <a:pos x="34" y="0"/>
                </a:cxn>
              </a:cxnLst>
              <a:rect l="0" t="0" r="r" b="b"/>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3" name="Freeform 30"/>
            <p:cNvSpPr>
              <a:spLocks/>
            </p:cNvSpPr>
            <p:nvPr/>
          </p:nvSpPr>
          <p:spPr bwMode="gray">
            <a:xfrm>
              <a:off x="2292" y="2201"/>
              <a:ext cx="128" cy="54"/>
            </a:xfrm>
            <a:custGeom>
              <a:avLst/>
              <a:gdLst/>
              <a:ahLst/>
              <a:cxnLst>
                <a:cxn ang="0">
                  <a:pos x="102" y="8"/>
                </a:cxn>
                <a:cxn ang="0">
                  <a:pos x="66" y="4"/>
                </a:cxn>
                <a:cxn ang="0">
                  <a:pos x="54" y="0"/>
                </a:cxn>
                <a:cxn ang="0">
                  <a:pos x="0" y="28"/>
                </a:cxn>
                <a:cxn ang="0">
                  <a:pos x="28" y="40"/>
                </a:cxn>
                <a:cxn ang="0">
                  <a:pos x="42" y="60"/>
                </a:cxn>
                <a:cxn ang="0">
                  <a:pos x="66" y="68"/>
                </a:cxn>
                <a:cxn ang="0">
                  <a:pos x="78" y="72"/>
                </a:cxn>
                <a:cxn ang="0">
                  <a:pos x="130" y="60"/>
                </a:cxn>
                <a:cxn ang="0">
                  <a:pos x="172" y="44"/>
                </a:cxn>
                <a:cxn ang="0">
                  <a:pos x="148" y="18"/>
                </a:cxn>
                <a:cxn ang="0">
                  <a:pos x="136" y="4"/>
                </a:cxn>
                <a:cxn ang="0">
                  <a:pos x="102" y="8"/>
                </a:cxn>
              </a:cxnLst>
              <a:rect l="0" t="0" r="r" b="b"/>
              <a:pathLst>
                <a:path w="172" h="72">
                  <a:moveTo>
                    <a:pt x="102" y="8"/>
                  </a:moveTo>
                  <a:cubicBezTo>
                    <a:pt x="89" y="12"/>
                    <a:pt x="78" y="8"/>
                    <a:pt x="66" y="4"/>
                  </a:cubicBezTo>
                  <a:cubicBezTo>
                    <a:pt x="62" y="3"/>
                    <a:pt x="54" y="0"/>
                    <a:pt x="54" y="0"/>
                  </a:cubicBezTo>
                  <a:cubicBezTo>
                    <a:pt x="38" y="5"/>
                    <a:pt x="12" y="16"/>
                    <a:pt x="0" y="28"/>
                  </a:cubicBezTo>
                  <a:cubicBezTo>
                    <a:pt x="4" y="39"/>
                    <a:pt x="18" y="39"/>
                    <a:pt x="28" y="40"/>
                  </a:cubicBezTo>
                  <a:cubicBezTo>
                    <a:pt x="39" y="44"/>
                    <a:pt x="41" y="60"/>
                    <a:pt x="42" y="60"/>
                  </a:cubicBezTo>
                  <a:cubicBezTo>
                    <a:pt x="50" y="63"/>
                    <a:pt x="58" y="65"/>
                    <a:pt x="66" y="68"/>
                  </a:cubicBezTo>
                  <a:cubicBezTo>
                    <a:pt x="70" y="69"/>
                    <a:pt x="78" y="72"/>
                    <a:pt x="78" y="72"/>
                  </a:cubicBezTo>
                  <a:cubicBezTo>
                    <a:pt x="92" y="71"/>
                    <a:pt x="117" y="69"/>
                    <a:pt x="130" y="60"/>
                  </a:cubicBezTo>
                  <a:cubicBezTo>
                    <a:pt x="148" y="48"/>
                    <a:pt x="150" y="46"/>
                    <a:pt x="172" y="44"/>
                  </a:cubicBezTo>
                  <a:cubicBezTo>
                    <a:pt x="169" y="29"/>
                    <a:pt x="162" y="23"/>
                    <a:pt x="148" y="18"/>
                  </a:cubicBezTo>
                  <a:cubicBezTo>
                    <a:pt x="145" y="10"/>
                    <a:pt x="144" y="7"/>
                    <a:pt x="136" y="4"/>
                  </a:cubicBezTo>
                  <a:cubicBezTo>
                    <a:pt x="134" y="4"/>
                    <a:pt x="105" y="11"/>
                    <a:pt x="102" y="8"/>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4" name="Freeform 31"/>
            <p:cNvSpPr>
              <a:spLocks/>
            </p:cNvSpPr>
            <p:nvPr/>
          </p:nvSpPr>
          <p:spPr bwMode="gray">
            <a:xfrm>
              <a:off x="2393" y="2038"/>
              <a:ext cx="39" cy="24"/>
            </a:xfrm>
            <a:custGeom>
              <a:avLst/>
              <a:gdLst/>
              <a:ahLst/>
              <a:cxnLst>
                <a:cxn ang="0">
                  <a:pos x="34" y="0"/>
                </a:cxn>
                <a:cxn ang="0">
                  <a:pos x="8" y="20"/>
                </a:cxn>
                <a:cxn ang="0">
                  <a:pos x="24" y="32"/>
                </a:cxn>
                <a:cxn ang="0">
                  <a:pos x="42" y="30"/>
                </a:cxn>
                <a:cxn ang="0">
                  <a:pos x="34" y="0"/>
                </a:cxn>
              </a:cxnLst>
              <a:rect l="0" t="0" r="r" b="b"/>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5" name="Freeform 32"/>
            <p:cNvSpPr>
              <a:spLocks/>
            </p:cNvSpPr>
            <p:nvPr/>
          </p:nvSpPr>
          <p:spPr bwMode="gray">
            <a:xfrm>
              <a:off x="2662" y="2006"/>
              <a:ext cx="155" cy="63"/>
            </a:xfrm>
            <a:custGeom>
              <a:avLst/>
              <a:gdLst/>
              <a:ahLst/>
              <a:cxnLst>
                <a:cxn ang="0">
                  <a:pos x="191" y="7"/>
                </a:cxn>
                <a:cxn ang="0">
                  <a:pos x="103" y="9"/>
                </a:cxn>
                <a:cxn ang="0">
                  <a:pos x="109" y="25"/>
                </a:cxn>
                <a:cxn ang="0">
                  <a:pos x="107" y="33"/>
                </a:cxn>
                <a:cxn ang="0">
                  <a:pos x="89" y="27"/>
                </a:cxn>
                <a:cxn ang="0">
                  <a:pos x="77" y="19"/>
                </a:cxn>
                <a:cxn ang="0">
                  <a:pos x="23" y="27"/>
                </a:cxn>
                <a:cxn ang="0">
                  <a:pos x="31" y="49"/>
                </a:cxn>
                <a:cxn ang="0">
                  <a:pos x="55" y="53"/>
                </a:cxn>
                <a:cxn ang="0">
                  <a:pos x="75" y="73"/>
                </a:cxn>
                <a:cxn ang="0">
                  <a:pos x="89" y="85"/>
                </a:cxn>
                <a:cxn ang="0">
                  <a:pos x="109" y="67"/>
                </a:cxn>
                <a:cxn ang="0">
                  <a:pos x="121" y="59"/>
                </a:cxn>
                <a:cxn ang="0">
                  <a:pos x="127" y="47"/>
                </a:cxn>
                <a:cxn ang="0">
                  <a:pos x="167" y="35"/>
                </a:cxn>
                <a:cxn ang="0">
                  <a:pos x="187" y="31"/>
                </a:cxn>
                <a:cxn ang="0">
                  <a:pos x="199" y="27"/>
                </a:cxn>
                <a:cxn ang="0">
                  <a:pos x="191" y="7"/>
                </a:cxn>
              </a:cxnLst>
              <a:rect l="0" t="0" r="r" b="b"/>
              <a:pathLst>
                <a:path w="206" h="85">
                  <a:moveTo>
                    <a:pt x="191" y="7"/>
                  </a:moveTo>
                  <a:cubicBezTo>
                    <a:pt x="165" y="6"/>
                    <a:pt x="130" y="0"/>
                    <a:pt x="103" y="9"/>
                  </a:cubicBezTo>
                  <a:cubicBezTo>
                    <a:pt x="100" y="18"/>
                    <a:pt x="101" y="20"/>
                    <a:pt x="109" y="25"/>
                  </a:cubicBezTo>
                  <a:cubicBezTo>
                    <a:pt x="111" y="28"/>
                    <a:pt x="118" y="34"/>
                    <a:pt x="107" y="33"/>
                  </a:cubicBezTo>
                  <a:cubicBezTo>
                    <a:pt x="101" y="32"/>
                    <a:pt x="89" y="27"/>
                    <a:pt x="89" y="27"/>
                  </a:cubicBezTo>
                  <a:cubicBezTo>
                    <a:pt x="86" y="24"/>
                    <a:pt x="82" y="18"/>
                    <a:pt x="77" y="19"/>
                  </a:cubicBezTo>
                  <a:cubicBezTo>
                    <a:pt x="52" y="22"/>
                    <a:pt x="57" y="25"/>
                    <a:pt x="23" y="27"/>
                  </a:cubicBezTo>
                  <a:cubicBezTo>
                    <a:pt x="0" y="31"/>
                    <a:pt x="18" y="45"/>
                    <a:pt x="31" y="49"/>
                  </a:cubicBezTo>
                  <a:cubicBezTo>
                    <a:pt x="43" y="53"/>
                    <a:pt x="35" y="51"/>
                    <a:pt x="55" y="53"/>
                  </a:cubicBezTo>
                  <a:cubicBezTo>
                    <a:pt x="63" y="59"/>
                    <a:pt x="66" y="67"/>
                    <a:pt x="75" y="73"/>
                  </a:cubicBezTo>
                  <a:cubicBezTo>
                    <a:pt x="78" y="81"/>
                    <a:pt x="81" y="82"/>
                    <a:pt x="89" y="85"/>
                  </a:cubicBezTo>
                  <a:cubicBezTo>
                    <a:pt x="104" y="81"/>
                    <a:pt x="99" y="75"/>
                    <a:pt x="109" y="67"/>
                  </a:cubicBezTo>
                  <a:cubicBezTo>
                    <a:pt x="113" y="64"/>
                    <a:pt x="121" y="59"/>
                    <a:pt x="121" y="59"/>
                  </a:cubicBezTo>
                  <a:cubicBezTo>
                    <a:pt x="123" y="55"/>
                    <a:pt x="124" y="50"/>
                    <a:pt x="127" y="47"/>
                  </a:cubicBezTo>
                  <a:cubicBezTo>
                    <a:pt x="132" y="41"/>
                    <a:pt x="158" y="37"/>
                    <a:pt x="167" y="35"/>
                  </a:cubicBezTo>
                  <a:cubicBezTo>
                    <a:pt x="174" y="34"/>
                    <a:pt x="181" y="33"/>
                    <a:pt x="187" y="31"/>
                  </a:cubicBezTo>
                  <a:cubicBezTo>
                    <a:pt x="191" y="30"/>
                    <a:pt x="199" y="27"/>
                    <a:pt x="199" y="27"/>
                  </a:cubicBezTo>
                  <a:cubicBezTo>
                    <a:pt x="206" y="16"/>
                    <a:pt x="199" y="15"/>
                    <a:pt x="191" y="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6" name="Freeform 33"/>
            <p:cNvSpPr>
              <a:spLocks/>
            </p:cNvSpPr>
            <p:nvPr/>
          </p:nvSpPr>
          <p:spPr bwMode="gray">
            <a:xfrm>
              <a:off x="2759" y="2039"/>
              <a:ext cx="48" cy="21"/>
            </a:xfrm>
            <a:custGeom>
              <a:avLst/>
              <a:gdLst/>
              <a:ahLst/>
              <a:cxnLst>
                <a:cxn ang="0">
                  <a:pos x="36" y="6"/>
                </a:cxn>
                <a:cxn ang="0">
                  <a:pos x="8" y="4"/>
                </a:cxn>
                <a:cxn ang="0">
                  <a:pos x="24" y="28"/>
                </a:cxn>
                <a:cxn ang="0">
                  <a:pos x="54" y="14"/>
                </a:cxn>
                <a:cxn ang="0">
                  <a:pos x="36" y="6"/>
                </a:cxn>
              </a:cxnLst>
              <a:rect l="0" t="0" r="r" b="b"/>
              <a:pathLst>
                <a:path w="64" h="28">
                  <a:moveTo>
                    <a:pt x="36" y="6"/>
                  </a:moveTo>
                  <a:cubicBezTo>
                    <a:pt x="32" y="18"/>
                    <a:pt x="19" y="0"/>
                    <a:pt x="8" y="4"/>
                  </a:cubicBezTo>
                  <a:cubicBezTo>
                    <a:pt x="0" y="16"/>
                    <a:pt x="14" y="27"/>
                    <a:pt x="24" y="28"/>
                  </a:cubicBezTo>
                  <a:cubicBezTo>
                    <a:pt x="30" y="27"/>
                    <a:pt x="48" y="16"/>
                    <a:pt x="54" y="14"/>
                  </a:cubicBezTo>
                  <a:cubicBezTo>
                    <a:pt x="64" y="10"/>
                    <a:pt x="36" y="9"/>
                    <a:pt x="36" y="6"/>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7" name="Freeform 34"/>
            <p:cNvSpPr>
              <a:spLocks/>
            </p:cNvSpPr>
            <p:nvPr/>
          </p:nvSpPr>
          <p:spPr bwMode="gray">
            <a:xfrm>
              <a:off x="2467" y="2311"/>
              <a:ext cx="109" cy="132"/>
            </a:xfrm>
            <a:custGeom>
              <a:avLst/>
              <a:gdLst/>
              <a:ahLst/>
              <a:cxnLst>
                <a:cxn ang="0">
                  <a:pos x="24" y="19"/>
                </a:cxn>
                <a:cxn ang="0">
                  <a:pos x="0" y="25"/>
                </a:cxn>
                <a:cxn ang="0">
                  <a:pos x="14" y="43"/>
                </a:cxn>
                <a:cxn ang="0">
                  <a:pos x="34" y="87"/>
                </a:cxn>
                <a:cxn ang="0">
                  <a:pos x="52" y="91"/>
                </a:cxn>
                <a:cxn ang="0">
                  <a:pos x="50" y="107"/>
                </a:cxn>
                <a:cxn ang="0">
                  <a:pos x="28" y="113"/>
                </a:cxn>
                <a:cxn ang="0">
                  <a:pos x="16" y="131"/>
                </a:cxn>
                <a:cxn ang="0">
                  <a:pos x="18" y="137"/>
                </a:cxn>
                <a:cxn ang="0">
                  <a:pos x="30" y="141"/>
                </a:cxn>
                <a:cxn ang="0">
                  <a:pos x="18" y="169"/>
                </a:cxn>
                <a:cxn ang="0">
                  <a:pos x="20" y="175"/>
                </a:cxn>
                <a:cxn ang="0">
                  <a:pos x="34" y="171"/>
                </a:cxn>
                <a:cxn ang="0">
                  <a:pos x="58" y="169"/>
                </a:cxn>
                <a:cxn ang="0">
                  <a:pos x="92" y="171"/>
                </a:cxn>
                <a:cxn ang="0">
                  <a:pos x="110" y="169"/>
                </a:cxn>
                <a:cxn ang="0">
                  <a:pos x="122" y="165"/>
                </a:cxn>
                <a:cxn ang="0">
                  <a:pos x="128" y="141"/>
                </a:cxn>
                <a:cxn ang="0">
                  <a:pos x="146" y="133"/>
                </a:cxn>
                <a:cxn ang="0">
                  <a:pos x="110" y="109"/>
                </a:cxn>
                <a:cxn ang="0">
                  <a:pos x="88" y="83"/>
                </a:cxn>
                <a:cxn ang="0">
                  <a:pos x="82" y="69"/>
                </a:cxn>
                <a:cxn ang="0">
                  <a:pos x="64" y="61"/>
                </a:cxn>
                <a:cxn ang="0">
                  <a:pos x="86" y="45"/>
                </a:cxn>
                <a:cxn ang="0">
                  <a:pos x="64" y="31"/>
                </a:cxn>
                <a:cxn ang="0">
                  <a:pos x="70" y="13"/>
                </a:cxn>
                <a:cxn ang="0">
                  <a:pos x="46" y="1"/>
                </a:cxn>
                <a:cxn ang="0">
                  <a:pos x="30" y="9"/>
                </a:cxn>
                <a:cxn ang="0">
                  <a:pos x="24" y="19"/>
                </a:cxn>
              </a:cxnLst>
              <a:rect l="0" t="0" r="r" b="b"/>
              <a:pathLst>
                <a:path w="146" h="176">
                  <a:moveTo>
                    <a:pt x="24" y="19"/>
                  </a:moveTo>
                  <a:cubicBezTo>
                    <a:pt x="13" y="23"/>
                    <a:pt x="7" y="15"/>
                    <a:pt x="0" y="25"/>
                  </a:cubicBezTo>
                  <a:cubicBezTo>
                    <a:pt x="2" y="32"/>
                    <a:pt x="14" y="43"/>
                    <a:pt x="14" y="43"/>
                  </a:cubicBezTo>
                  <a:cubicBezTo>
                    <a:pt x="19" y="58"/>
                    <a:pt x="20" y="78"/>
                    <a:pt x="34" y="87"/>
                  </a:cubicBezTo>
                  <a:cubicBezTo>
                    <a:pt x="42" y="84"/>
                    <a:pt x="45" y="86"/>
                    <a:pt x="52" y="91"/>
                  </a:cubicBezTo>
                  <a:cubicBezTo>
                    <a:pt x="57" y="105"/>
                    <a:pt x="60" y="101"/>
                    <a:pt x="50" y="107"/>
                  </a:cubicBezTo>
                  <a:cubicBezTo>
                    <a:pt x="38" y="105"/>
                    <a:pt x="32" y="101"/>
                    <a:pt x="28" y="113"/>
                  </a:cubicBezTo>
                  <a:cubicBezTo>
                    <a:pt x="32" y="129"/>
                    <a:pt x="33" y="128"/>
                    <a:pt x="16" y="131"/>
                  </a:cubicBezTo>
                  <a:cubicBezTo>
                    <a:pt x="17" y="133"/>
                    <a:pt x="16" y="136"/>
                    <a:pt x="18" y="137"/>
                  </a:cubicBezTo>
                  <a:cubicBezTo>
                    <a:pt x="21" y="139"/>
                    <a:pt x="30" y="141"/>
                    <a:pt x="30" y="141"/>
                  </a:cubicBezTo>
                  <a:cubicBezTo>
                    <a:pt x="28" y="152"/>
                    <a:pt x="21" y="159"/>
                    <a:pt x="18" y="169"/>
                  </a:cubicBezTo>
                  <a:cubicBezTo>
                    <a:pt x="19" y="171"/>
                    <a:pt x="18" y="174"/>
                    <a:pt x="20" y="175"/>
                  </a:cubicBezTo>
                  <a:cubicBezTo>
                    <a:pt x="22" y="176"/>
                    <a:pt x="32" y="171"/>
                    <a:pt x="34" y="171"/>
                  </a:cubicBezTo>
                  <a:cubicBezTo>
                    <a:pt x="42" y="170"/>
                    <a:pt x="50" y="170"/>
                    <a:pt x="58" y="169"/>
                  </a:cubicBezTo>
                  <a:cubicBezTo>
                    <a:pt x="70" y="167"/>
                    <a:pt x="80" y="167"/>
                    <a:pt x="92" y="171"/>
                  </a:cubicBezTo>
                  <a:cubicBezTo>
                    <a:pt x="98" y="170"/>
                    <a:pt x="104" y="170"/>
                    <a:pt x="110" y="169"/>
                  </a:cubicBezTo>
                  <a:cubicBezTo>
                    <a:pt x="114" y="168"/>
                    <a:pt x="122" y="165"/>
                    <a:pt x="122" y="165"/>
                  </a:cubicBezTo>
                  <a:cubicBezTo>
                    <a:pt x="124" y="158"/>
                    <a:pt x="123" y="147"/>
                    <a:pt x="128" y="141"/>
                  </a:cubicBezTo>
                  <a:cubicBezTo>
                    <a:pt x="132" y="136"/>
                    <a:pt x="146" y="133"/>
                    <a:pt x="146" y="133"/>
                  </a:cubicBezTo>
                  <a:cubicBezTo>
                    <a:pt x="142" y="105"/>
                    <a:pt x="143" y="111"/>
                    <a:pt x="110" y="109"/>
                  </a:cubicBezTo>
                  <a:cubicBezTo>
                    <a:pt x="102" y="97"/>
                    <a:pt x="103" y="88"/>
                    <a:pt x="88" y="83"/>
                  </a:cubicBezTo>
                  <a:cubicBezTo>
                    <a:pt x="85" y="79"/>
                    <a:pt x="86" y="72"/>
                    <a:pt x="82" y="69"/>
                  </a:cubicBezTo>
                  <a:cubicBezTo>
                    <a:pt x="77" y="65"/>
                    <a:pt x="69" y="65"/>
                    <a:pt x="64" y="61"/>
                  </a:cubicBezTo>
                  <a:cubicBezTo>
                    <a:pt x="52" y="43"/>
                    <a:pt x="67" y="47"/>
                    <a:pt x="86" y="45"/>
                  </a:cubicBezTo>
                  <a:cubicBezTo>
                    <a:pt x="93" y="25"/>
                    <a:pt x="83" y="29"/>
                    <a:pt x="64" y="31"/>
                  </a:cubicBezTo>
                  <a:cubicBezTo>
                    <a:pt x="62" y="25"/>
                    <a:pt x="70" y="13"/>
                    <a:pt x="70" y="13"/>
                  </a:cubicBezTo>
                  <a:cubicBezTo>
                    <a:pt x="64" y="4"/>
                    <a:pt x="56" y="3"/>
                    <a:pt x="46" y="1"/>
                  </a:cubicBezTo>
                  <a:cubicBezTo>
                    <a:pt x="35" y="3"/>
                    <a:pt x="34" y="0"/>
                    <a:pt x="30" y="9"/>
                  </a:cubicBezTo>
                  <a:cubicBezTo>
                    <a:pt x="25" y="21"/>
                    <a:pt x="29" y="24"/>
                    <a:pt x="24" y="19"/>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8" name="Freeform 35"/>
            <p:cNvSpPr>
              <a:spLocks/>
            </p:cNvSpPr>
            <p:nvPr/>
          </p:nvSpPr>
          <p:spPr bwMode="gray">
            <a:xfrm>
              <a:off x="2413" y="2359"/>
              <a:ext cx="69" cy="68"/>
            </a:xfrm>
            <a:custGeom>
              <a:avLst/>
              <a:gdLst/>
              <a:ahLst/>
              <a:cxnLst>
                <a:cxn ang="0">
                  <a:pos x="58" y="6"/>
                </a:cxn>
                <a:cxn ang="0">
                  <a:pos x="82" y="8"/>
                </a:cxn>
                <a:cxn ang="0">
                  <a:pos x="92" y="26"/>
                </a:cxn>
                <a:cxn ang="0">
                  <a:pos x="78" y="48"/>
                </a:cxn>
                <a:cxn ang="0">
                  <a:pos x="46" y="76"/>
                </a:cxn>
                <a:cxn ang="0">
                  <a:pos x="18" y="92"/>
                </a:cxn>
                <a:cxn ang="0">
                  <a:pos x="8" y="72"/>
                </a:cxn>
                <a:cxn ang="0">
                  <a:pos x="20" y="64"/>
                </a:cxn>
                <a:cxn ang="0">
                  <a:pos x="14" y="46"/>
                </a:cxn>
                <a:cxn ang="0">
                  <a:pos x="40" y="28"/>
                </a:cxn>
                <a:cxn ang="0">
                  <a:pos x="58" y="6"/>
                </a:cxn>
              </a:cxnLst>
              <a:rect l="0" t="0" r="r" b="b"/>
              <a:pathLst>
                <a:path w="92" h="92">
                  <a:moveTo>
                    <a:pt x="58" y="6"/>
                  </a:moveTo>
                  <a:cubicBezTo>
                    <a:pt x="67" y="0"/>
                    <a:pt x="73" y="2"/>
                    <a:pt x="82" y="8"/>
                  </a:cubicBezTo>
                  <a:cubicBezTo>
                    <a:pt x="91" y="22"/>
                    <a:pt x="88" y="15"/>
                    <a:pt x="92" y="26"/>
                  </a:cubicBezTo>
                  <a:cubicBezTo>
                    <a:pt x="89" y="36"/>
                    <a:pt x="82" y="37"/>
                    <a:pt x="78" y="48"/>
                  </a:cubicBezTo>
                  <a:cubicBezTo>
                    <a:pt x="85" y="69"/>
                    <a:pt x="60" y="71"/>
                    <a:pt x="46" y="76"/>
                  </a:cubicBezTo>
                  <a:cubicBezTo>
                    <a:pt x="40" y="86"/>
                    <a:pt x="28" y="86"/>
                    <a:pt x="18" y="92"/>
                  </a:cubicBezTo>
                  <a:cubicBezTo>
                    <a:pt x="9" y="90"/>
                    <a:pt x="0" y="84"/>
                    <a:pt x="8" y="72"/>
                  </a:cubicBezTo>
                  <a:cubicBezTo>
                    <a:pt x="11" y="68"/>
                    <a:pt x="20" y="64"/>
                    <a:pt x="20" y="64"/>
                  </a:cubicBezTo>
                  <a:cubicBezTo>
                    <a:pt x="23" y="55"/>
                    <a:pt x="21" y="53"/>
                    <a:pt x="14" y="46"/>
                  </a:cubicBezTo>
                  <a:cubicBezTo>
                    <a:pt x="18" y="30"/>
                    <a:pt x="28" y="36"/>
                    <a:pt x="40" y="28"/>
                  </a:cubicBezTo>
                  <a:cubicBezTo>
                    <a:pt x="56" y="17"/>
                    <a:pt x="50" y="24"/>
                    <a:pt x="58" y="6"/>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39" name="Freeform 36"/>
            <p:cNvSpPr>
              <a:spLocks/>
            </p:cNvSpPr>
            <p:nvPr/>
          </p:nvSpPr>
          <p:spPr bwMode="gray">
            <a:xfrm>
              <a:off x="4099" y="3502"/>
              <a:ext cx="474" cy="495"/>
            </a:xfrm>
            <a:custGeom>
              <a:avLst/>
              <a:gdLst/>
              <a:ahLst/>
              <a:cxnLst>
                <a:cxn ang="0">
                  <a:pos x="212" y="11"/>
                </a:cxn>
                <a:cxn ang="0">
                  <a:pos x="176" y="19"/>
                </a:cxn>
                <a:cxn ang="0">
                  <a:pos x="144" y="51"/>
                </a:cxn>
                <a:cxn ang="0">
                  <a:pos x="104" y="59"/>
                </a:cxn>
                <a:cxn ang="0">
                  <a:pos x="84" y="75"/>
                </a:cxn>
                <a:cxn ang="0">
                  <a:pos x="68" y="115"/>
                </a:cxn>
                <a:cxn ang="0">
                  <a:pos x="36" y="167"/>
                </a:cxn>
                <a:cxn ang="0">
                  <a:pos x="0" y="179"/>
                </a:cxn>
                <a:cxn ang="0">
                  <a:pos x="72" y="323"/>
                </a:cxn>
                <a:cxn ang="0">
                  <a:pos x="120" y="427"/>
                </a:cxn>
                <a:cxn ang="0">
                  <a:pos x="144" y="443"/>
                </a:cxn>
                <a:cxn ang="0">
                  <a:pos x="168" y="451"/>
                </a:cxn>
                <a:cxn ang="0">
                  <a:pos x="228" y="431"/>
                </a:cxn>
                <a:cxn ang="0">
                  <a:pos x="252" y="423"/>
                </a:cxn>
                <a:cxn ang="0">
                  <a:pos x="300" y="451"/>
                </a:cxn>
                <a:cxn ang="0">
                  <a:pos x="324" y="527"/>
                </a:cxn>
                <a:cxn ang="0">
                  <a:pos x="336" y="523"/>
                </a:cxn>
                <a:cxn ang="0">
                  <a:pos x="344" y="511"/>
                </a:cxn>
                <a:cxn ang="0">
                  <a:pos x="368" y="547"/>
                </a:cxn>
                <a:cxn ang="0">
                  <a:pos x="404" y="571"/>
                </a:cxn>
                <a:cxn ang="0">
                  <a:pos x="436" y="603"/>
                </a:cxn>
                <a:cxn ang="0">
                  <a:pos x="444" y="615"/>
                </a:cxn>
                <a:cxn ang="0">
                  <a:pos x="456" y="623"/>
                </a:cxn>
                <a:cxn ang="0">
                  <a:pos x="484" y="655"/>
                </a:cxn>
                <a:cxn ang="0">
                  <a:pos x="492" y="631"/>
                </a:cxn>
                <a:cxn ang="0">
                  <a:pos x="540" y="659"/>
                </a:cxn>
                <a:cxn ang="0">
                  <a:pos x="588" y="655"/>
                </a:cxn>
                <a:cxn ang="0">
                  <a:pos x="616" y="531"/>
                </a:cxn>
                <a:cxn ang="0">
                  <a:pos x="632" y="463"/>
                </a:cxn>
                <a:cxn ang="0">
                  <a:pos x="620" y="367"/>
                </a:cxn>
                <a:cxn ang="0">
                  <a:pos x="536" y="271"/>
                </a:cxn>
                <a:cxn ang="0">
                  <a:pos x="528" y="235"/>
                </a:cxn>
                <a:cxn ang="0">
                  <a:pos x="460" y="179"/>
                </a:cxn>
                <a:cxn ang="0">
                  <a:pos x="472" y="155"/>
                </a:cxn>
                <a:cxn ang="0">
                  <a:pos x="456" y="131"/>
                </a:cxn>
                <a:cxn ang="0">
                  <a:pos x="416" y="79"/>
                </a:cxn>
                <a:cxn ang="0">
                  <a:pos x="392" y="31"/>
                </a:cxn>
                <a:cxn ang="0">
                  <a:pos x="388" y="19"/>
                </a:cxn>
                <a:cxn ang="0">
                  <a:pos x="364" y="151"/>
                </a:cxn>
                <a:cxn ang="0">
                  <a:pos x="324" y="115"/>
                </a:cxn>
                <a:cxn ang="0">
                  <a:pos x="292" y="111"/>
                </a:cxn>
                <a:cxn ang="0">
                  <a:pos x="272" y="87"/>
                </a:cxn>
                <a:cxn ang="0">
                  <a:pos x="264" y="63"/>
                </a:cxn>
                <a:cxn ang="0">
                  <a:pos x="276" y="55"/>
                </a:cxn>
                <a:cxn ang="0">
                  <a:pos x="240" y="19"/>
                </a:cxn>
                <a:cxn ang="0">
                  <a:pos x="216" y="11"/>
                </a:cxn>
                <a:cxn ang="0">
                  <a:pos x="204" y="7"/>
                </a:cxn>
                <a:cxn ang="0">
                  <a:pos x="212" y="11"/>
                </a:cxn>
              </a:cxnLst>
              <a:rect l="0" t="0" r="r" b="b"/>
              <a:pathLst>
                <a:path w="633" h="660">
                  <a:moveTo>
                    <a:pt x="212" y="11"/>
                  </a:moveTo>
                  <a:cubicBezTo>
                    <a:pt x="195" y="0"/>
                    <a:pt x="187" y="2"/>
                    <a:pt x="176" y="19"/>
                  </a:cubicBezTo>
                  <a:cubicBezTo>
                    <a:pt x="171" y="61"/>
                    <a:pt x="181" y="88"/>
                    <a:pt x="144" y="51"/>
                  </a:cubicBezTo>
                  <a:cubicBezTo>
                    <a:pt x="131" y="53"/>
                    <a:pt x="115" y="51"/>
                    <a:pt x="104" y="59"/>
                  </a:cubicBezTo>
                  <a:cubicBezTo>
                    <a:pt x="78" y="80"/>
                    <a:pt x="114" y="65"/>
                    <a:pt x="84" y="75"/>
                  </a:cubicBezTo>
                  <a:cubicBezTo>
                    <a:pt x="78" y="94"/>
                    <a:pt x="92" y="107"/>
                    <a:pt x="68" y="115"/>
                  </a:cubicBezTo>
                  <a:cubicBezTo>
                    <a:pt x="55" y="135"/>
                    <a:pt x="59" y="159"/>
                    <a:pt x="36" y="167"/>
                  </a:cubicBezTo>
                  <a:cubicBezTo>
                    <a:pt x="16" y="163"/>
                    <a:pt x="7" y="158"/>
                    <a:pt x="0" y="179"/>
                  </a:cubicBezTo>
                  <a:cubicBezTo>
                    <a:pt x="9" y="232"/>
                    <a:pt x="43" y="279"/>
                    <a:pt x="72" y="323"/>
                  </a:cubicBezTo>
                  <a:cubicBezTo>
                    <a:pt x="82" y="371"/>
                    <a:pt x="85" y="392"/>
                    <a:pt x="120" y="427"/>
                  </a:cubicBezTo>
                  <a:cubicBezTo>
                    <a:pt x="127" y="434"/>
                    <a:pt x="136" y="438"/>
                    <a:pt x="144" y="443"/>
                  </a:cubicBezTo>
                  <a:cubicBezTo>
                    <a:pt x="151" y="448"/>
                    <a:pt x="168" y="451"/>
                    <a:pt x="168" y="451"/>
                  </a:cubicBezTo>
                  <a:cubicBezTo>
                    <a:pt x="188" y="444"/>
                    <a:pt x="208" y="438"/>
                    <a:pt x="228" y="431"/>
                  </a:cubicBezTo>
                  <a:cubicBezTo>
                    <a:pt x="236" y="428"/>
                    <a:pt x="252" y="423"/>
                    <a:pt x="252" y="423"/>
                  </a:cubicBezTo>
                  <a:cubicBezTo>
                    <a:pt x="271" y="429"/>
                    <a:pt x="281" y="445"/>
                    <a:pt x="300" y="451"/>
                  </a:cubicBezTo>
                  <a:cubicBezTo>
                    <a:pt x="320" y="471"/>
                    <a:pt x="315" y="500"/>
                    <a:pt x="324" y="527"/>
                  </a:cubicBezTo>
                  <a:cubicBezTo>
                    <a:pt x="328" y="526"/>
                    <a:pt x="333" y="526"/>
                    <a:pt x="336" y="523"/>
                  </a:cubicBezTo>
                  <a:cubicBezTo>
                    <a:pt x="340" y="520"/>
                    <a:pt x="339" y="511"/>
                    <a:pt x="344" y="511"/>
                  </a:cubicBezTo>
                  <a:cubicBezTo>
                    <a:pt x="358" y="511"/>
                    <a:pt x="362" y="541"/>
                    <a:pt x="368" y="547"/>
                  </a:cubicBezTo>
                  <a:cubicBezTo>
                    <a:pt x="378" y="557"/>
                    <a:pt x="392" y="563"/>
                    <a:pt x="404" y="571"/>
                  </a:cubicBezTo>
                  <a:cubicBezTo>
                    <a:pt x="418" y="580"/>
                    <a:pt x="422" y="594"/>
                    <a:pt x="436" y="603"/>
                  </a:cubicBezTo>
                  <a:cubicBezTo>
                    <a:pt x="439" y="607"/>
                    <a:pt x="441" y="612"/>
                    <a:pt x="444" y="615"/>
                  </a:cubicBezTo>
                  <a:cubicBezTo>
                    <a:pt x="447" y="618"/>
                    <a:pt x="453" y="619"/>
                    <a:pt x="456" y="623"/>
                  </a:cubicBezTo>
                  <a:cubicBezTo>
                    <a:pt x="489" y="660"/>
                    <a:pt x="457" y="637"/>
                    <a:pt x="484" y="655"/>
                  </a:cubicBezTo>
                  <a:cubicBezTo>
                    <a:pt x="487" y="647"/>
                    <a:pt x="485" y="626"/>
                    <a:pt x="492" y="631"/>
                  </a:cubicBezTo>
                  <a:cubicBezTo>
                    <a:pt x="509" y="642"/>
                    <a:pt x="522" y="653"/>
                    <a:pt x="540" y="659"/>
                  </a:cubicBezTo>
                  <a:cubicBezTo>
                    <a:pt x="557" y="642"/>
                    <a:pt x="567" y="648"/>
                    <a:pt x="588" y="655"/>
                  </a:cubicBezTo>
                  <a:cubicBezTo>
                    <a:pt x="611" y="621"/>
                    <a:pt x="573" y="560"/>
                    <a:pt x="616" y="531"/>
                  </a:cubicBezTo>
                  <a:cubicBezTo>
                    <a:pt x="632" y="507"/>
                    <a:pt x="629" y="496"/>
                    <a:pt x="632" y="463"/>
                  </a:cubicBezTo>
                  <a:cubicBezTo>
                    <a:pt x="630" y="440"/>
                    <a:pt x="633" y="390"/>
                    <a:pt x="620" y="367"/>
                  </a:cubicBezTo>
                  <a:cubicBezTo>
                    <a:pt x="600" y="332"/>
                    <a:pt x="565" y="300"/>
                    <a:pt x="536" y="271"/>
                  </a:cubicBezTo>
                  <a:cubicBezTo>
                    <a:pt x="532" y="259"/>
                    <a:pt x="532" y="247"/>
                    <a:pt x="528" y="235"/>
                  </a:cubicBezTo>
                  <a:cubicBezTo>
                    <a:pt x="525" y="225"/>
                    <a:pt x="474" y="188"/>
                    <a:pt x="460" y="179"/>
                  </a:cubicBezTo>
                  <a:cubicBezTo>
                    <a:pt x="463" y="171"/>
                    <a:pt x="471" y="164"/>
                    <a:pt x="472" y="155"/>
                  </a:cubicBezTo>
                  <a:cubicBezTo>
                    <a:pt x="474" y="144"/>
                    <a:pt x="461" y="137"/>
                    <a:pt x="456" y="131"/>
                  </a:cubicBezTo>
                  <a:cubicBezTo>
                    <a:pt x="435" y="106"/>
                    <a:pt x="451" y="88"/>
                    <a:pt x="416" y="79"/>
                  </a:cubicBezTo>
                  <a:cubicBezTo>
                    <a:pt x="395" y="48"/>
                    <a:pt x="403" y="64"/>
                    <a:pt x="392" y="31"/>
                  </a:cubicBezTo>
                  <a:cubicBezTo>
                    <a:pt x="391" y="27"/>
                    <a:pt x="388" y="19"/>
                    <a:pt x="388" y="19"/>
                  </a:cubicBezTo>
                  <a:cubicBezTo>
                    <a:pt x="362" y="58"/>
                    <a:pt x="379" y="107"/>
                    <a:pt x="364" y="151"/>
                  </a:cubicBezTo>
                  <a:cubicBezTo>
                    <a:pt x="344" y="144"/>
                    <a:pt x="344" y="120"/>
                    <a:pt x="324" y="115"/>
                  </a:cubicBezTo>
                  <a:cubicBezTo>
                    <a:pt x="314" y="112"/>
                    <a:pt x="303" y="112"/>
                    <a:pt x="292" y="111"/>
                  </a:cubicBezTo>
                  <a:cubicBezTo>
                    <a:pt x="284" y="103"/>
                    <a:pt x="276" y="97"/>
                    <a:pt x="272" y="87"/>
                  </a:cubicBezTo>
                  <a:cubicBezTo>
                    <a:pt x="269" y="79"/>
                    <a:pt x="264" y="63"/>
                    <a:pt x="264" y="63"/>
                  </a:cubicBezTo>
                  <a:cubicBezTo>
                    <a:pt x="268" y="60"/>
                    <a:pt x="273" y="58"/>
                    <a:pt x="276" y="55"/>
                  </a:cubicBezTo>
                  <a:cubicBezTo>
                    <a:pt x="300" y="31"/>
                    <a:pt x="256" y="24"/>
                    <a:pt x="240" y="19"/>
                  </a:cubicBezTo>
                  <a:cubicBezTo>
                    <a:pt x="232" y="16"/>
                    <a:pt x="224" y="14"/>
                    <a:pt x="216" y="11"/>
                  </a:cubicBezTo>
                  <a:cubicBezTo>
                    <a:pt x="212" y="10"/>
                    <a:pt x="200" y="5"/>
                    <a:pt x="204" y="7"/>
                  </a:cubicBezTo>
                  <a:cubicBezTo>
                    <a:pt x="207" y="8"/>
                    <a:pt x="209" y="10"/>
                    <a:pt x="212" y="11"/>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0" name="Freeform 37"/>
            <p:cNvSpPr>
              <a:spLocks/>
            </p:cNvSpPr>
            <p:nvPr/>
          </p:nvSpPr>
          <p:spPr bwMode="gray">
            <a:xfrm>
              <a:off x="4246" y="3241"/>
              <a:ext cx="319" cy="210"/>
            </a:xfrm>
            <a:custGeom>
              <a:avLst/>
              <a:gdLst/>
              <a:ahLst/>
              <a:cxnLst>
                <a:cxn ang="0">
                  <a:pos x="84" y="60"/>
                </a:cxn>
                <a:cxn ang="0">
                  <a:pos x="68" y="36"/>
                </a:cxn>
                <a:cxn ang="0">
                  <a:pos x="64" y="16"/>
                </a:cxn>
                <a:cxn ang="0">
                  <a:pos x="52" y="12"/>
                </a:cxn>
                <a:cxn ang="0">
                  <a:pos x="16" y="16"/>
                </a:cxn>
                <a:cxn ang="0">
                  <a:pos x="44" y="40"/>
                </a:cxn>
                <a:cxn ang="0">
                  <a:pos x="48" y="52"/>
                </a:cxn>
                <a:cxn ang="0">
                  <a:pos x="24" y="68"/>
                </a:cxn>
                <a:cxn ang="0">
                  <a:pos x="88" y="92"/>
                </a:cxn>
                <a:cxn ang="0">
                  <a:pos x="124" y="112"/>
                </a:cxn>
                <a:cxn ang="0">
                  <a:pos x="128" y="124"/>
                </a:cxn>
                <a:cxn ang="0">
                  <a:pos x="140" y="132"/>
                </a:cxn>
                <a:cxn ang="0">
                  <a:pos x="148" y="156"/>
                </a:cxn>
                <a:cxn ang="0">
                  <a:pos x="132" y="196"/>
                </a:cxn>
                <a:cxn ang="0">
                  <a:pos x="180" y="188"/>
                </a:cxn>
                <a:cxn ang="0">
                  <a:pos x="192" y="216"/>
                </a:cxn>
                <a:cxn ang="0">
                  <a:pos x="216" y="224"/>
                </a:cxn>
                <a:cxn ang="0">
                  <a:pos x="228" y="228"/>
                </a:cxn>
                <a:cxn ang="0">
                  <a:pos x="252" y="224"/>
                </a:cxn>
                <a:cxn ang="0">
                  <a:pos x="276" y="196"/>
                </a:cxn>
                <a:cxn ang="0">
                  <a:pos x="336" y="252"/>
                </a:cxn>
                <a:cxn ang="0">
                  <a:pos x="364" y="280"/>
                </a:cxn>
                <a:cxn ang="0">
                  <a:pos x="360" y="224"/>
                </a:cxn>
                <a:cxn ang="0">
                  <a:pos x="336" y="200"/>
                </a:cxn>
                <a:cxn ang="0">
                  <a:pos x="372" y="168"/>
                </a:cxn>
                <a:cxn ang="0">
                  <a:pos x="408" y="156"/>
                </a:cxn>
                <a:cxn ang="0">
                  <a:pos x="420" y="152"/>
                </a:cxn>
                <a:cxn ang="0">
                  <a:pos x="424" y="140"/>
                </a:cxn>
                <a:cxn ang="0">
                  <a:pos x="356" y="148"/>
                </a:cxn>
                <a:cxn ang="0">
                  <a:pos x="304" y="140"/>
                </a:cxn>
                <a:cxn ang="0">
                  <a:pos x="300" y="128"/>
                </a:cxn>
                <a:cxn ang="0">
                  <a:pos x="292" y="116"/>
                </a:cxn>
                <a:cxn ang="0">
                  <a:pos x="220" y="80"/>
                </a:cxn>
                <a:cxn ang="0">
                  <a:pos x="160" y="60"/>
                </a:cxn>
                <a:cxn ang="0">
                  <a:pos x="136" y="52"/>
                </a:cxn>
                <a:cxn ang="0">
                  <a:pos x="80" y="52"/>
                </a:cxn>
                <a:cxn ang="0">
                  <a:pos x="68" y="32"/>
                </a:cxn>
                <a:cxn ang="0">
                  <a:pos x="68" y="0"/>
                </a:cxn>
              </a:cxnLst>
              <a:rect l="0" t="0" r="r" b="b"/>
              <a:pathLst>
                <a:path w="426" h="280">
                  <a:moveTo>
                    <a:pt x="84" y="60"/>
                  </a:moveTo>
                  <a:cubicBezTo>
                    <a:pt x="79" y="52"/>
                    <a:pt x="70" y="45"/>
                    <a:pt x="68" y="36"/>
                  </a:cubicBezTo>
                  <a:cubicBezTo>
                    <a:pt x="67" y="29"/>
                    <a:pt x="68" y="22"/>
                    <a:pt x="64" y="16"/>
                  </a:cubicBezTo>
                  <a:cubicBezTo>
                    <a:pt x="62" y="12"/>
                    <a:pt x="56" y="13"/>
                    <a:pt x="52" y="12"/>
                  </a:cubicBezTo>
                  <a:cubicBezTo>
                    <a:pt x="40" y="13"/>
                    <a:pt x="27" y="11"/>
                    <a:pt x="16" y="16"/>
                  </a:cubicBezTo>
                  <a:cubicBezTo>
                    <a:pt x="0" y="24"/>
                    <a:pt x="43" y="40"/>
                    <a:pt x="44" y="40"/>
                  </a:cubicBezTo>
                  <a:cubicBezTo>
                    <a:pt x="45" y="44"/>
                    <a:pt x="50" y="49"/>
                    <a:pt x="48" y="52"/>
                  </a:cubicBezTo>
                  <a:cubicBezTo>
                    <a:pt x="42" y="60"/>
                    <a:pt x="24" y="68"/>
                    <a:pt x="24" y="68"/>
                  </a:cubicBezTo>
                  <a:cubicBezTo>
                    <a:pt x="38" y="88"/>
                    <a:pt x="65" y="89"/>
                    <a:pt x="88" y="92"/>
                  </a:cubicBezTo>
                  <a:cubicBezTo>
                    <a:pt x="101" y="96"/>
                    <a:pt x="124" y="112"/>
                    <a:pt x="124" y="112"/>
                  </a:cubicBezTo>
                  <a:cubicBezTo>
                    <a:pt x="125" y="116"/>
                    <a:pt x="125" y="121"/>
                    <a:pt x="128" y="124"/>
                  </a:cubicBezTo>
                  <a:cubicBezTo>
                    <a:pt x="131" y="128"/>
                    <a:pt x="137" y="128"/>
                    <a:pt x="140" y="132"/>
                  </a:cubicBezTo>
                  <a:cubicBezTo>
                    <a:pt x="144" y="139"/>
                    <a:pt x="148" y="156"/>
                    <a:pt x="148" y="156"/>
                  </a:cubicBezTo>
                  <a:cubicBezTo>
                    <a:pt x="144" y="171"/>
                    <a:pt x="137" y="181"/>
                    <a:pt x="132" y="196"/>
                  </a:cubicBezTo>
                  <a:cubicBezTo>
                    <a:pt x="151" y="209"/>
                    <a:pt x="167" y="207"/>
                    <a:pt x="180" y="188"/>
                  </a:cubicBezTo>
                  <a:cubicBezTo>
                    <a:pt x="182" y="196"/>
                    <a:pt x="184" y="211"/>
                    <a:pt x="192" y="216"/>
                  </a:cubicBezTo>
                  <a:cubicBezTo>
                    <a:pt x="199" y="220"/>
                    <a:pt x="208" y="221"/>
                    <a:pt x="216" y="224"/>
                  </a:cubicBezTo>
                  <a:cubicBezTo>
                    <a:pt x="220" y="225"/>
                    <a:pt x="228" y="228"/>
                    <a:pt x="228" y="228"/>
                  </a:cubicBezTo>
                  <a:cubicBezTo>
                    <a:pt x="236" y="227"/>
                    <a:pt x="245" y="228"/>
                    <a:pt x="252" y="224"/>
                  </a:cubicBezTo>
                  <a:cubicBezTo>
                    <a:pt x="269" y="216"/>
                    <a:pt x="252" y="204"/>
                    <a:pt x="276" y="196"/>
                  </a:cubicBezTo>
                  <a:cubicBezTo>
                    <a:pt x="296" y="209"/>
                    <a:pt x="322" y="231"/>
                    <a:pt x="336" y="252"/>
                  </a:cubicBezTo>
                  <a:cubicBezTo>
                    <a:pt x="354" y="280"/>
                    <a:pt x="343" y="273"/>
                    <a:pt x="364" y="280"/>
                  </a:cubicBezTo>
                  <a:cubicBezTo>
                    <a:pt x="376" y="262"/>
                    <a:pt x="375" y="241"/>
                    <a:pt x="360" y="224"/>
                  </a:cubicBezTo>
                  <a:cubicBezTo>
                    <a:pt x="352" y="216"/>
                    <a:pt x="336" y="200"/>
                    <a:pt x="336" y="200"/>
                  </a:cubicBezTo>
                  <a:cubicBezTo>
                    <a:pt x="323" y="162"/>
                    <a:pt x="322" y="174"/>
                    <a:pt x="372" y="168"/>
                  </a:cubicBezTo>
                  <a:cubicBezTo>
                    <a:pt x="384" y="164"/>
                    <a:pt x="396" y="160"/>
                    <a:pt x="408" y="156"/>
                  </a:cubicBezTo>
                  <a:cubicBezTo>
                    <a:pt x="412" y="155"/>
                    <a:pt x="420" y="152"/>
                    <a:pt x="420" y="152"/>
                  </a:cubicBezTo>
                  <a:cubicBezTo>
                    <a:pt x="421" y="148"/>
                    <a:pt x="426" y="144"/>
                    <a:pt x="424" y="140"/>
                  </a:cubicBezTo>
                  <a:cubicBezTo>
                    <a:pt x="420" y="131"/>
                    <a:pt x="365" y="146"/>
                    <a:pt x="356" y="148"/>
                  </a:cubicBezTo>
                  <a:cubicBezTo>
                    <a:pt x="339" y="146"/>
                    <a:pt x="316" y="152"/>
                    <a:pt x="304" y="140"/>
                  </a:cubicBezTo>
                  <a:cubicBezTo>
                    <a:pt x="301" y="137"/>
                    <a:pt x="302" y="132"/>
                    <a:pt x="300" y="128"/>
                  </a:cubicBezTo>
                  <a:cubicBezTo>
                    <a:pt x="298" y="124"/>
                    <a:pt x="296" y="119"/>
                    <a:pt x="292" y="116"/>
                  </a:cubicBezTo>
                  <a:cubicBezTo>
                    <a:pt x="272" y="98"/>
                    <a:pt x="244" y="91"/>
                    <a:pt x="220" y="80"/>
                  </a:cubicBezTo>
                  <a:cubicBezTo>
                    <a:pt x="201" y="72"/>
                    <a:pt x="180" y="67"/>
                    <a:pt x="160" y="60"/>
                  </a:cubicBezTo>
                  <a:cubicBezTo>
                    <a:pt x="152" y="57"/>
                    <a:pt x="136" y="52"/>
                    <a:pt x="136" y="52"/>
                  </a:cubicBezTo>
                  <a:cubicBezTo>
                    <a:pt x="113" y="55"/>
                    <a:pt x="98" y="64"/>
                    <a:pt x="80" y="52"/>
                  </a:cubicBezTo>
                  <a:cubicBezTo>
                    <a:pt x="70" y="38"/>
                    <a:pt x="74" y="44"/>
                    <a:pt x="68" y="32"/>
                  </a:cubicBezTo>
                  <a:lnTo>
                    <a:pt x="68" y="0"/>
                  </a:lnTo>
                </a:path>
              </a:pathLst>
            </a:custGeom>
            <a:grpFill/>
            <a:ln w="6350" cap="flat" cmpd="sng">
              <a:solidFill>
                <a:srgbClr val="5F5F5F"/>
              </a:solidFill>
              <a:prstDash val="dash"/>
              <a:round/>
              <a:headEnd type="none" w="med" len="med"/>
              <a:tailEnd type="none" w="med" len="med"/>
            </a:ln>
            <a:effectLst>
              <a:prstShdw prst="shdw17" dist="25400" dir="5400000">
                <a:srgbClr val="333333">
                  <a:alpha val="50000"/>
                </a:srgbClr>
              </a:prstShdw>
            </a:effectLst>
          </p:spPr>
          <p:txBody>
            <a:bodyPr/>
            <a:lstStyle/>
            <a:p>
              <a:pPr>
                <a:defRPr/>
              </a:pPr>
              <a:endParaRPr lang="zh-CN" altLang="en-US"/>
            </a:p>
          </p:txBody>
        </p:sp>
        <p:sp>
          <p:nvSpPr>
            <p:cNvPr id="41" name="Freeform 38"/>
            <p:cNvSpPr>
              <a:spLocks/>
            </p:cNvSpPr>
            <p:nvPr/>
          </p:nvSpPr>
          <p:spPr bwMode="gray">
            <a:xfrm>
              <a:off x="4255" y="3243"/>
              <a:ext cx="311" cy="211"/>
            </a:xfrm>
            <a:custGeom>
              <a:avLst/>
              <a:gdLst/>
              <a:ahLst/>
              <a:cxnLst>
                <a:cxn ang="0">
                  <a:pos x="0" y="1"/>
                </a:cxn>
                <a:cxn ang="0">
                  <a:pos x="20" y="37"/>
                </a:cxn>
                <a:cxn ang="0">
                  <a:pos x="28" y="49"/>
                </a:cxn>
                <a:cxn ang="0">
                  <a:pos x="84" y="89"/>
                </a:cxn>
                <a:cxn ang="0">
                  <a:pos x="120" y="113"/>
                </a:cxn>
                <a:cxn ang="0">
                  <a:pos x="132" y="121"/>
                </a:cxn>
                <a:cxn ang="0">
                  <a:pos x="136" y="169"/>
                </a:cxn>
                <a:cxn ang="0">
                  <a:pos x="116" y="201"/>
                </a:cxn>
                <a:cxn ang="0">
                  <a:pos x="136" y="197"/>
                </a:cxn>
                <a:cxn ang="0">
                  <a:pos x="148" y="189"/>
                </a:cxn>
                <a:cxn ang="0">
                  <a:pos x="160" y="201"/>
                </a:cxn>
                <a:cxn ang="0">
                  <a:pos x="184" y="217"/>
                </a:cxn>
                <a:cxn ang="0">
                  <a:pos x="208" y="233"/>
                </a:cxn>
                <a:cxn ang="0">
                  <a:pos x="240" y="221"/>
                </a:cxn>
                <a:cxn ang="0">
                  <a:pos x="248" y="197"/>
                </a:cxn>
                <a:cxn ang="0">
                  <a:pos x="268" y="201"/>
                </a:cxn>
                <a:cxn ang="0">
                  <a:pos x="292" y="209"/>
                </a:cxn>
                <a:cxn ang="0">
                  <a:pos x="340" y="281"/>
                </a:cxn>
                <a:cxn ang="0">
                  <a:pos x="356" y="277"/>
                </a:cxn>
                <a:cxn ang="0">
                  <a:pos x="352" y="253"/>
                </a:cxn>
                <a:cxn ang="0">
                  <a:pos x="316" y="197"/>
                </a:cxn>
                <a:cxn ang="0">
                  <a:pos x="360" y="173"/>
                </a:cxn>
                <a:cxn ang="0">
                  <a:pos x="408" y="145"/>
                </a:cxn>
                <a:cxn ang="0">
                  <a:pos x="409" y="120"/>
                </a:cxn>
                <a:cxn ang="0">
                  <a:pos x="367" y="138"/>
                </a:cxn>
                <a:cxn ang="0">
                  <a:pos x="308" y="137"/>
                </a:cxn>
                <a:cxn ang="0">
                  <a:pos x="264" y="97"/>
                </a:cxn>
                <a:cxn ang="0">
                  <a:pos x="180" y="61"/>
                </a:cxn>
                <a:cxn ang="0">
                  <a:pos x="132" y="33"/>
                </a:cxn>
                <a:cxn ang="0">
                  <a:pos x="92" y="41"/>
                </a:cxn>
                <a:cxn ang="0">
                  <a:pos x="76" y="57"/>
                </a:cxn>
                <a:cxn ang="0">
                  <a:pos x="56" y="17"/>
                </a:cxn>
                <a:cxn ang="0">
                  <a:pos x="0" y="1"/>
                </a:cxn>
              </a:cxnLst>
              <a:rect l="0" t="0" r="r" b="b"/>
              <a:pathLst>
                <a:path w="416" h="282">
                  <a:moveTo>
                    <a:pt x="0" y="1"/>
                  </a:moveTo>
                  <a:cubicBezTo>
                    <a:pt x="7" y="22"/>
                    <a:pt x="2" y="9"/>
                    <a:pt x="20" y="37"/>
                  </a:cubicBezTo>
                  <a:cubicBezTo>
                    <a:pt x="23" y="41"/>
                    <a:pt x="28" y="49"/>
                    <a:pt x="28" y="49"/>
                  </a:cubicBezTo>
                  <a:cubicBezTo>
                    <a:pt x="5" y="84"/>
                    <a:pt x="65" y="78"/>
                    <a:pt x="84" y="89"/>
                  </a:cubicBezTo>
                  <a:cubicBezTo>
                    <a:pt x="97" y="96"/>
                    <a:pt x="108" y="105"/>
                    <a:pt x="120" y="113"/>
                  </a:cubicBezTo>
                  <a:cubicBezTo>
                    <a:pt x="124" y="116"/>
                    <a:pt x="132" y="121"/>
                    <a:pt x="132" y="121"/>
                  </a:cubicBezTo>
                  <a:cubicBezTo>
                    <a:pt x="138" y="138"/>
                    <a:pt x="132" y="151"/>
                    <a:pt x="136" y="169"/>
                  </a:cubicBezTo>
                  <a:cubicBezTo>
                    <a:pt x="107" y="188"/>
                    <a:pt x="110" y="176"/>
                    <a:pt x="116" y="201"/>
                  </a:cubicBezTo>
                  <a:cubicBezTo>
                    <a:pt x="123" y="200"/>
                    <a:pt x="130" y="199"/>
                    <a:pt x="136" y="197"/>
                  </a:cubicBezTo>
                  <a:cubicBezTo>
                    <a:pt x="141" y="195"/>
                    <a:pt x="143" y="188"/>
                    <a:pt x="148" y="189"/>
                  </a:cubicBezTo>
                  <a:cubicBezTo>
                    <a:pt x="154" y="190"/>
                    <a:pt x="156" y="198"/>
                    <a:pt x="160" y="201"/>
                  </a:cubicBezTo>
                  <a:cubicBezTo>
                    <a:pt x="168" y="207"/>
                    <a:pt x="176" y="212"/>
                    <a:pt x="184" y="217"/>
                  </a:cubicBezTo>
                  <a:cubicBezTo>
                    <a:pt x="192" y="222"/>
                    <a:pt x="208" y="233"/>
                    <a:pt x="208" y="233"/>
                  </a:cubicBezTo>
                  <a:cubicBezTo>
                    <a:pt x="216" y="231"/>
                    <a:pt x="234" y="230"/>
                    <a:pt x="240" y="221"/>
                  </a:cubicBezTo>
                  <a:cubicBezTo>
                    <a:pt x="244" y="214"/>
                    <a:pt x="248" y="197"/>
                    <a:pt x="248" y="197"/>
                  </a:cubicBezTo>
                  <a:cubicBezTo>
                    <a:pt x="255" y="198"/>
                    <a:pt x="261" y="199"/>
                    <a:pt x="268" y="201"/>
                  </a:cubicBezTo>
                  <a:cubicBezTo>
                    <a:pt x="276" y="203"/>
                    <a:pt x="292" y="209"/>
                    <a:pt x="292" y="209"/>
                  </a:cubicBezTo>
                  <a:cubicBezTo>
                    <a:pt x="298" y="242"/>
                    <a:pt x="306" y="270"/>
                    <a:pt x="340" y="281"/>
                  </a:cubicBezTo>
                  <a:cubicBezTo>
                    <a:pt x="345" y="280"/>
                    <a:pt x="354" y="282"/>
                    <a:pt x="356" y="277"/>
                  </a:cubicBezTo>
                  <a:cubicBezTo>
                    <a:pt x="359" y="270"/>
                    <a:pt x="355" y="260"/>
                    <a:pt x="352" y="253"/>
                  </a:cubicBezTo>
                  <a:cubicBezTo>
                    <a:pt x="346" y="238"/>
                    <a:pt x="329" y="206"/>
                    <a:pt x="316" y="197"/>
                  </a:cubicBezTo>
                  <a:cubicBezTo>
                    <a:pt x="307" y="170"/>
                    <a:pt x="339" y="175"/>
                    <a:pt x="360" y="173"/>
                  </a:cubicBezTo>
                  <a:cubicBezTo>
                    <a:pt x="383" y="165"/>
                    <a:pt x="391" y="162"/>
                    <a:pt x="408" y="145"/>
                  </a:cubicBezTo>
                  <a:cubicBezTo>
                    <a:pt x="412" y="140"/>
                    <a:pt x="416" y="121"/>
                    <a:pt x="409" y="120"/>
                  </a:cubicBezTo>
                  <a:cubicBezTo>
                    <a:pt x="402" y="119"/>
                    <a:pt x="384" y="135"/>
                    <a:pt x="367" y="138"/>
                  </a:cubicBezTo>
                  <a:cubicBezTo>
                    <a:pt x="350" y="141"/>
                    <a:pt x="325" y="144"/>
                    <a:pt x="308" y="137"/>
                  </a:cubicBezTo>
                  <a:cubicBezTo>
                    <a:pt x="286" y="130"/>
                    <a:pt x="284" y="111"/>
                    <a:pt x="264" y="97"/>
                  </a:cubicBezTo>
                  <a:cubicBezTo>
                    <a:pt x="238" y="80"/>
                    <a:pt x="203" y="76"/>
                    <a:pt x="180" y="61"/>
                  </a:cubicBezTo>
                  <a:cubicBezTo>
                    <a:pt x="163" y="50"/>
                    <a:pt x="150" y="39"/>
                    <a:pt x="132" y="33"/>
                  </a:cubicBezTo>
                  <a:cubicBezTo>
                    <a:pt x="119" y="35"/>
                    <a:pt x="102" y="31"/>
                    <a:pt x="92" y="41"/>
                  </a:cubicBezTo>
                  <a:cubicBezTo>
                    <a:pt x="71" y="62"/>
                    <a:pt x="108" y="46"/>
                    <a:pt x="76" y="57"/>
                  </a:cubicBezTo>
                  <a:cubicBezTo>
                    <a:pt x="52" y="49"/>
                    <a:pt x="67" y="38"/>
                    <a:pt x="56" y="17"/>
                  </a:cubicBezTo>
                  <a:cubicBezTo>
                    <a:pt x="48" y="0"/>
                    <a:pt x="16" y="1"/>
                    <a:pt x="0" y="1"/>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2" name="Freeform 39"/>
            <p:cNvSpPr>
              <a:spLocks/>
            </p:cNvSpPr>
            <p:nvPr/>
          </p:nvSpPr>
          <p:spPr bwMode="gray">
            <a:xfrm>
              <a:off x="4485" y="4013"/>
              <a:ext cx="45" cy="58"/>
            </a:xfrm>
            <a:custGeom>
              <a:avLst/>
              <a:gdLst/>
              <a:ahLst/>
              <a:cxnLst>
                <a:cxn ang="0">
                  <a:pos x="32" y="18"/>
                </a:cxn>
                <a:cxn ang="0">
                  <a:pos x="0" y="18"/>
                </a:cxn>
                <a:cxn ang="0">
                  <a:pos x="20" y="42"/>
                </a:cxn>
                <a:cxn ang="0">
                  <a:pos x="28" y="66"/>
                </a:cxn>
                <a:cxn ang="0">
                  <a:pos x="32" y="78"/>
                </a:cxn>
                <a:cxn ang="0">
                  <a:pos x="60" y="50"/>
                </a:cxn>
                <a:cxn ang="0">
                  <a:pos x="32" y="18"/>
                </a:cxn>
              </a:cxnLst>
              <a:rect l="0" t="0" r="r" b="b"/>
              <a:pathLst>
                <a:path w="60" h="78">
                  <a:moveTo>
                    <a:pt x="32" y="18"/>
                  </a:moveTo>
                  <a:cubicBezTo>
                    <a:pt x="16" y="7"/>
                    <a:pt x="12" y="0"/>
                    <a:pt x="0" y="18"/>
                  </a:cubicBezTo>
                  <a:cubicBezTo>
                    <a:pt x="6" y="27"/>
                    <a:pt x="15" y="33"/>
                    <a:pt x="20" y="42"/>
                  </a:cubicBezTo>
                  <a:cubicBezTo>
                    <a:pt x="24" y="49"/>
                    <a:pt x="25" y="58"/>
                    <a:pt x="28" y="66"/>
                  </a:cubicBezTo>
                  <a:cubicBezTo>
                    <a:pt x="29" y="70"/>
                    <a:pt x="32" y="78"/>
                    <a:pt x="32" y="78"/>
                  </a:cubicBezTo>
                  <a:cubicBezTo>
                    <a:pt x="52" y="73"/>
                    <a:pt x="54" y="69"/>
                    <a:pt x="60" y="50"/>
                  </a:cubicBezTo>
                  <a:cubicBezTo>
                    <a:pt x="54" y="32"/>
                    <a:pt x="50" y="27"/>
                    <a:pt x="32" y="18"/>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3" name="Freeform 40"/>
            <p:cNvSpPr>
              <a:spLocks/>
            </p:cNvSpPr>
            <p:nvPr/>
          </p:nvSpPr>
          <p:spPr bwMode="gray">
            <a:xfrm>
              <a:off x="4621" y="3923"/>
              <a:ext cx="164" cy="85"/>
            </a:xfrm>
            <a:custGeom>
              <a:avLst/>
              <a:gdLst/>
              <a:ahLst/>
              <a:cxnLst>
                <a:cxn ang="0">
                  <a:pos x="47" y="73"/>
                </a:cxn>
                <a:cxn ang="0">
                  <a:pos x="39" y="61"/>
                </a:cxn>
                <a:cxn ang="0">
                  <a:pos x="15" y="69"/>
                </a:cxn>
                <a:cxn ang="0">
                  <a:pos x="39" y="113"/>
                </a:cxn>
                <a:cxn ang="0">
                  <a:pos x="123" y="89"/>
                </a:cxn>
                <a:cxn ang="0">
                  <a:pos x="147" y="73"/>
                </a:cxn>
                <a:cxn ang="0">
                  <a:pos x="171" y="65"/>
                </a:cxn>
                <a:cxn ang="0">
                  <a:pos x="219" y="19"/>
                </a:cxn>
                <a:cxn ang="0">
                  <a:pos x="210" y="0"/>
                </a:cxn>
                <a:cxn ang="0">
                  <a:pos x="179" y="17"/>
                </a:cxn>
                <a:cxn ang="0">
                  <a:pos x="107" y="41"/>
                </a:cxn>
                <a:cxn ang="0">
                  <a:pos x="83" y="45"/>
                </a:cxn>
                <a:cxn ang="0">
                  <a:pos x="59" y="53"/>
                </a:cxn>
                <a:cxn ang="0">
                  <a:pos x="47" y="73"/>
                </a:cxn>
              </a:cxnLst>
              <a:rect l="0" t="0" r="r" b="b"/>
              <a:pathLst>
                <a:path w="219" h="113">
                  <a:moveTo>
                    <a:pt x="47" y="73"/>
                  </a:moveTo>
                  <a:cubicBezTo>
                    <a:pt x="44" y="69"/>
                    <a:pt x="44" y="62"/>
                    <a:pt x="39" y="61"/>
                  </a:cubicBezTo>
                  <a:cubicBezTo>
                    <a:pt x="31" y="60"/>
                    <a:pt x="15" y="69"/>
                    <a:pt x="15" y="69"/>
                  </a:cubicBezTo>
                  <a:cubicBezTo>
                    <a:pt x="0" y="91"/>
                    <a:pt x="20" y="101"/>
                    <a:pt x="39" y="113"/>
                  </a:cubicBezTo>
                  <a:cubicBezTo>
                    <a:pt x="67" y="107"/>
                    <a:pt x="96" y="98"/>
                    <a:pt x="123" y="89"/>
                  </a:cubicBezTo>
                  <a:cubicBezTo>
                    <a:pt x="132" y="86"/>
                    <a:pt x="139" y="78"/>
                    <a:pt x="147" y="73"/>
                  </a:cubicBezTo>
                  <a:cubicBezTo>
                    <a:pt x="154" y="68"/>
                    <a:pt x="171" y="65"/>
                    <a:pt x="171" y="65"/>
                  </a:cubicBezTo>
                  <a:cubicBezTo>
                    <a:pt x="186" y="50"/>
                    <a:pt x="207" y="36"/>
                    <a:pt x="219" y="19"/>
                  </a:cubicBezTo>
                  <a:cubicBezTo>
                    <a:pt x="215" y="16"/>
                    <a:pt x="215" y="0"/>
                    <a:pt x="210" y="0"/>
                  </a:cubicBezTo>
                  <a:cubicBezTo>
                    <a:pt x="205" y="0"/>
                    <a:pt x="183" y="15"/>
                    <a:pt x="179" y="17"/>
                  </a:cubicBezTo>
                  <a:cubicBezTo>
                    <a:pt x="159" y="26"/>
                    <a:pt x="129" y="37"/>
                    <a:pt x="107" y="41"/>
                  </a:cubicBezTo>
                  <a:cubicBezTo>
                    <a:pt x="99" y="42"/>
                    <a:pt x="91" y="43"/>
                    <a:pt x="83" y="45"/>
                  </a:cubicBezTo>
                  <a:cubicBezTo>
                    <a:pt x="75" y="47"/>
                    <a:pt x="59" y="53"/>
                    <a:pt x="59" y="53"/>
                  </a:cubicBezTo>
                  <a:cubicBezTo>
                    <a:pt x="49" y="67"/>
                    <a:pt x="53" y="61"/>
                    <a:pt x="47" y="73"/>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4" name="Freeform 41"/>
            <p:cNvSpPr>
              <a:spLocks/>
            </p:cNvSpPr>
            <p:nvPr/>
          </p:nvSpPr>
          <p:spPr bwMode="gray">
            <a:xfrm>
              <a:off x="4791" y="3873"/>
              <a:ext cx="104" cy="92"/>
            </a:xfrm>
            <a:custGeom>
              <a:avLst/>
              <a:gdLst/>
              <a:ahLst/>
              <a:cxnLst>
                <a:cxn ang="0">
                  <a:pos x="12" y="60"/>
                </a:cxn>
                <a:cxn ang="0">
                  <a:pos x="8" y="84"/>
                </a:cxn>
                <a:cxn ang="0">
                  <a:pos x="0" y="108"/>
                </a:cxn>
                <a:cxn ang="0">
                  <a:pos x="36" y="116"/>
                </a:cxn>
                <a:cxn ang="0">
                  <a:pos x="52" y="96"/>
                </a:cxn>
                <a:cxn ang="0">
                  <a:pos x="124" y="68"/>
                </a:cxn>
                <a:cxn ang="0">
                  <a:pos x="136" y="44"/>
                </a:cxn>
                <a:cxn ang="0">
                  <a:pos x="112" y="28"/>
                </a:cxn>
                <a:cxn ang="0">
                  <a:pos x="100" y="20"/>
                </a:cxn>
                <a:cxn ang="0">
                  <a:pos x="64" y="12"/>
                </a:cxn>
                <a:cxn ang="0">
                  <a:pos x="52" y="36"/>
                </a:cxn>
                <a:cxn ang="0">
                  <a:pos x="12" y="60"/>
                </a:cxn>
              </a:cxnLst>
              <a:rect l="0" t="0" r="r" b="b"/>
              <a:pathLst>
                <a:path w="139" h="122">
                  <a:moveTo>
                    <a:pt x="12" y="60"/>
                  </a:moveTo>
                  <a:cubicBezTo>
                    <a:pt x="11" y="68"/>
                    <a:pt x="10" y="76"/>
                    <a:pt x="8" y="84"/>
                  </a:cubicBezTo>
                  <a:cubicBezTo>
                    <a:pt x="6" y="92"/>
                    <a:pt x="0" y="108"/>
                    <a:pt x="0" y="108"/>
                  </a:cubicBezTo>
                  <a:cubicBezTo>
                    <a:pt x="14" y="118"/>
                    <a:pt x="19" y="122"/>
                    <a:pt x="36" y="116"/>
                  </a:cubicBezTo>
                  <a:cubicBezTo>
                    <a:pt x="46" y="86"/>
                    <a:pt x="31" y="122"/>
                    <a:pt x="52" y="96"/>
                  </a:cubicBezTo>
                  <a:cubicBezTo>
                    <a:pt x="83" y="57"/>
                    <a:pt x="30" y="74"/>
                    <a:pt x="124" y="68"/>
                  </a:cubicBezTo>
                  <a:cubicBezTo>
                    <a:pt x="125" y="67"/>
                    <a:pt x="139" y="48"/>
                    <a:pt x="136" y="44"/>
                  </a:cubicBezTo>
                  <a:cubicBezTo>
                    <a:pt x="130" y="36"/>
                    <a:pt x="120" y="33"/>
                    <a:pt x="112" y="28"/>
                  </a:cubicBezTo>
                  <a:cubicBezTo>
                    <a:pt x="108" y="25"/>
                    <a:pt x="100" y="20"/>
                    <a:pt x="100" y="20"/>
                  </a:cubicBezTo>
                  <a:cubicBezTo>
                    <a:pt x="89" y="4"/>
                    <a:pt x="92" y="0"/>
                    <a:pt x="64" y="12"/>
                  </a:cubicBezTo>
                  <a:cubicBezTo>
                    <a:pt x="57" y="15"/>
                    <a:pt x="55" y="30"/>
                    <a:pt x="52" y="36"/>
                  </a:cubicBezTo>
                  <a:cubicBezTo>
                    <a:pt x="46" y="49"/>
                    <a:pt x="26" y="60"/>
                    <a:pt x="12" y="6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5" name="Freeform 42"/>
            <p:cNvSpPr>
              <a:spLocks/>
            </p:cNvSpPr>
            <p:nvPr/>
          </p:nvSpPr>
          <p:spPr bwMode="gray">
            <a:xfrm>
              <a:off x="4846" y="3832"/>
              <a:ext cx="37" cy="26"/>
            </a:xfrm>
            <a:custGeom>
              <a:avLst/>
              <a:gdLst/>
              <a:ahLst/>
              <a:cxnLst>
                <a:cxn ang="0">
                  <a:pos x="29" y="0"/>
                </a:cxn>
                <a:cxn ang="0">
                  <a:pos x="8" y="11"/>
                </a:cxn>
                <a:cxn ang="0">
                  <a:pos x="24" y="35"/>
                </a:cxn>
                <a:cxn ang="0">
                  <a:pos x="39" y="26"/>
                </a:cxn>
                <a:cxn ang="0">
                  <a:pos x="29" y="0"/>
                </a:cxn>
              </a:cxnLst>
              <a:rect l="0" t="0" r="r" b="b"/>
              <a:pathLst>
                <a:path w="49" h="35">
                  <a:moveTo>
                    <a:pt x="29" y="0"/>
                  </a:moveTo>
                  <a:cubicBezTo>
                    <a:pt x="25" y="12"/>
                    <a:pt x="19" y="7"/>
                    <a:pt x="8" y="11"/>
                  </a:cubicBezTo>
                  <a:cubicBezTo>
                    <a:pt x="0" y="23"/>
                    <a:pt x="14" y="34"/>
                    <a:pt x="24" y="35"/>
                  </a:cubicBezTo>
                  <a:cubicBezTo>
                    <a:pt x="30" y="34"/>
                    <a:pt x="33" y="28"/>
                    <a:pt x="39" y="26"/>
                  </a:cubicBezTo>
                  <a:cubicBezTo>
                    <a:pt x="49" y="22"/>
                    <a:pt x="29" y="3"/>
                    <a:pt x="2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6" name="Freeform 43"/>
            <p:cNvSpPr>
              <a:spLocks/>
            </p:cNvSpPr>
            <p:nvPr/>
          </p:nvSpPr>
          <p:spPr bwMode="gray">
            <a:xfrm>
              <a:off x="3123" y="3346"/>
              <a:ext cx="123" cy="201"/>
            </a:xfrm>
            <a:custGeom>
              <a:avLst/>
              <a:gdLst/>
              <a:ahLst/>
              <a:cxnLst>
                <a:cxn ang="0">
                  <a:pos x="128" y="0"/>
                </a:cxn>
                <a:cxn ang="0">
                  <a:pos x="104" y="28"/>
                </a:cxn>
                <a:cxn ang="0">
                  <a:pos x="88" y="64"/>
                </a:cxn>
                <a:cxn ang="0">
                  <a:pos x="36" y="84"/>
                </a:cxn>
                <a:cxn ang="0">
                  <a:pos x="28" y="96"/>
                </a:cxn>
                <a:cxn ang="0">
                  <a:pos x="16" y="100"/>
                </a:cxn>
                <a:cxn ang="0">
                  <a:pos x="20" y="132"/>
                </a:cxn>
                <a:cxn ang="0">
                  <a:pos x="28" y="156"/>
                </a:cxn>
                <a:cxn ang="0">
                  <a:pos x="0" y="200"/>
                </a:cxn>
                <a:cxn ang="0">
                  <a:pos x="28" y="260"/>
                </a:cxn>
                <a:cxn ang="0">
                  <a:pos x="52" y="268"/>
                </a:cxn>
                <a:cxn ang="0">
                  <a:pos x="88" y="216"/>
                </a:cxn>
                <a:cxn ang="0">
                  <a:pos x="104" y="192"/>
                </a:cxn>
                <a:cxn ang="0">
                  <a:pos x="128" y="116"/>
                </a:cxn>
                <a:cxn ang="0">
                  <a:pos x="140" y="76"/>
                </a:cxn>
                <a:cxn ang="0">
                  <a:pos x="164" y="72"/>
                </a:cxn>
                <a:cxn ang="0">
                  <a:pos x="128" y="0"/>
                </a:cxn>
              </a:cxnLst>
              <a:rect l="0" t="0" r="r" b="b"/>
              <a:pathLst>
                <a:path w="164" h="268">
                  <a:moveTo>
                    <a:pt x="128" y="0"/>
                  </a:moveTo>
                  <a:cubicBezTo>
                    <a:pt x="123" y="16"/>
                    <a:pt x="120" y="23"/>
                    <a:pt x="104" y="28"/>
                  </a:cubicBezTo>
                  <a:cubicBezTo>
                    <a:pt x="102" y="35"/>
                    <a:pt x="97" y="57"/>
                    <a:pt x="88" y="64"/>
                  </a:cubicBezTo>
                  <a:cubicBezTo>
                    <a:pt x="75" y="75"/>
                    <a:pt x="51" y="74"/>
                    <a:pt x="36" y="84"/>
                  </a:cubicBezTo>
                  <a:cubicBezTo>
                    <a:pt x="33" y="88"/>
                    <a:pt x="32" y="93"/>
                    <a:pt x="28" y="96"/>
                  </a:cubicBezTo>
                  <a:cubicBezTo>
                    <a:pt x="25" y="99"/>
                    <a:pt x="17" y="96"/>
                    <a:pt x="16" y="100"/>
                  </a:cubicBezTo>
                  <a:cubicBezTo>
                    <a:pt x="14" y="110"/>
                    <a:pt x="18" y="121"/>
                    <a:pt x="20" y="132"/>
                  </a:cubicBezTo>
                  <a:cubicBezTo>
                    <a:pt x="22" y="140"/>
                    <a:pt x="28" y="156"/>
                    <a:pt x="28" y="156"/>
                  </a:cubicBezTo>
                  <a:cubicBezTo>
                    <a:pt x="13" y="166"/>
                    <a:pt x="6" y="183"/>
                    <a:pt x="0" y="200"/>
                  </a:cubicBezTo>
                  <a:cubicBezTo>
                    <a:pt x="3" y="210"/>
                    <a:pt x="19" y="254"/>
                    <a:pt x="28" y="260"/>
                  </a:cubicBezTo>
                  <a:cubicBezTo>
                    <a:pt x="35" y="264"/>
                    <a:pt x="52" y="268"/>
                    <a:pt x="52" y="268"/>
                  </a:cubicBezTo>
                  <a:cubicBezTo>
                    <a:pt x="85" y="261"/>
                    <a:pt x="79" y="244"/>
                    <a:pt x="88" y="216"/>
                  </a:cubicBezTo>
                  <a:cubicBezTo>
                    <a:pt x="91" y="207"/>
                    <a:pt x="99" y="200"/>
                    <a:pt x="104" y="192"/>
                  </a:cubicBezTo>
                  <a:cubicBezTo>
                    <a:pt x="116" y="174"/>
                    <a:pt x="121" y="136"/>
                    <a:pt x="128" y="116"/>
                  </a:cubicBezTo>
                  <a:cubicBezTo>
                    <a:pt x="131" y="108"/>
                    <a:pt x="134" y="79"/>
                    <a:pt x="140" y="76"/>
                  </a:cubicBezTo>
                  <a:cubicBezTo>
                    <a:pt x="147" y="72"/>
                    <a:pt x="156" y="73"/>
                    <a:pt x="164" y="72"/>
                  </a:cubicBezTo>
                  <a:cubicBezTo>
                    <a:pt x="158" y="19"/>
                    <a:pt x="161" y="33"/>
                    <a:pt x="12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7" name="Freeform 44"/>
            <p:cNvSpPr>
              <a:spLocks/>
            </p:cNvSpPr>
            <p:nvPr/>
          </p:nvSpPr>
          <p:spPr bwMode="gray">
            <a:xfrm>
              <a:off x="3655" y="3034"/>
              <a:ext cx="49" cy="61"/>
            </a:xfrm>
            <a:custGeom>
              <a:avLst/>
              <a:gdLst/>
              <a:ahLst/>
              <a:cxnLst>
                <a:cxn ang="0">
                  <a:pos x="29" y="0"/>
                </a:cxn>
                <a:cxn ang="0">
                  <a:pos x="25" y="60"/>
                </a:cxn>
                <a:cxn ang="0">
                  <a:pos x="29" y="76"/>
                </a:cxn>
                <a:cxn ang="0">
                  <a:pos x="41" y="80"/>
                </a:cxn>
                <a:cxn ang="0">
                  <a:pos x="57" y="76"/>
                </a:cxn>
                <a:cxn ang="0">
                  <a:pos x="29" y="0"/>
                </a:cxn>
              </a:cxnLst>
              <a:rect l="0" t="0" r="r" b="b"/>
              <a:pathLst>
                <a:path w="66" h="81">
                  <a:moveTo>
                    <a:pt x="29" y="0"/>
                  </a:moveTo>
                  <a:cubicBezTo>
                    <a:pt x="0" y="10"/>
                    <a:pt x="20" y="38"/>
                    <a:pt x="25" y="60"/>
                  </a:cubicBezTo>
                  <a:cubicBezTo>
                    <a:pt x="26" y="65"/>
                    <a:pt x="26" y="72"/>
                    <a:pt x="29" y="76"/>
                  </a:cubicBezTo>
                  <a:cubicBezTo>
                    <a:pt x="32" y="79"/>
                    <a:pt x="37" y="79"/>
                    <a:pt x="41" y="80"/>
                  </a:cubicBezTo>
                  <a:cubicBezTo>
                    <a:pt x="46" y="79"/>
                    <a:pt x="55" y="81"/>
                    <a:pt x="57" y="76"/>
                  </a:cubicBezTo>
                  <a:cubicBezTo>
                    <a:pt x="66" y="53"/>
                    <a:pt x="45" y="16"/>
                    <a:pt x="2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8" name="Freeform 45"/>
            <p:cNvSpPr>
              <a:spLocks/>
            </p:cNvSpPr>
            <p:nvPr/>
          </p:nvSpPr>
          <p:spPr bwMode="gray">
            <a:xfrm>
              <a:off x="3988" y="3100"/>
              <a:ext cx="111" cy="183"/>
            </a:xfrm>
            <a:custGeom>
              <a:avLst/>
              <a:gdLst/>
              <a:ahLst/>
              <a:cxnLst>
                <a:cxn ang="0">
                  <a:pos x="96" y="0"/>
                </a:cxn>
                <a:cxn ang="0">
                  <a:pos x="60" y="84"/>
                </a:cxn>
                <a:cxn ang="0">
                  <a:pos x="36" y="92"/>
                </a:cxn>
                <a:cxn ang="0">
                  <a:pos x="12" y="108"/>
                </a:cxn>
                <a:cxn ang="0">
                  <a:pos x="40" y="188"/>
                </a:cxn>
                <a:cxn ang="0">
                  <a:pos x="52" y="224"/>
                </a:cxn>
                <a:cxn ang="0">
                  <a:pos x="60" y="236"/>
                </a:cxn>
                <a:cxn ang="0">
                  <a:pos x="84" y="244"/>
                </a:cxn>
                <a:cxn ang="0">
                  <a:pos x="96" y="196"/>
                </a:cxn>
                <a:cxn ang="0">
                  <a:pos x="124" y="168"/>
                </a:cxn>
                <a:cxn ang="0">
                  <a:pos x="112" y="68"/>
                </a:cxn>
                <a:cxn ang="0">
                  <a:pos x="140" y="48"/>
                </a:cxn>
                <a:cxn ang="0">
                  <a:pos x="112" y="20"/>
                </a:cxn>
                <a:cxn ang="0">
                  <a:pos x="96" y="0"/>
                </a:cxn>
              </a:cxnLst>
              <a:rect l="0" t="0" r="r" b="b"/>
              <a:pathLst>
                <a:path w="148" h="244">
                  <a:moveTo>
                    <a:pt x="96" y="0"/>
                  </a:moveTo>
                  <a:cubicBezTo>
                    <a:pt x="86" y="29"/>
                    <a:pt x="70" y="55"/>
                    <a:pt x="60" y="84"/>
                  </a:cubicBezTo>
                  <a:cubicBezTo>
                    <a:pt x="57" y="92"/>
                    <a:pt x="43" y="87"/>
                    <a:pt x="36" y="92"/>
                  </a:cubicBezTo>
                  <a:cubicBezTo>
                    <a:pt x="28" y="97"/>
                    <a:pt x="12" y="108"/>
                    <a:pt x="12" y="108"/>
                  </a:cubicBezTo>
                  <a:cubicBezTo>
                    <a:pt x="0" y="144"/>
                    <a:pt x="30" y="158"/>
                    <a:pt x="40" y="188"/>
                  </a:cubicBezTo>
                  <a:cubicBezTo>
                    <a:pt x="44" y="200"/>
                    <a:pt x="45" y="213"/>
                    <a:pt x="52" y="224"/>
                  </a:cubicBezTo>
                  <a:cubicBezTo>
                    <a:pt x="55" y="228"/>
                    <a:pt x="56" y="233"/>
                    <a:pt x="60" y="236"/>
                  </a:cubicBezTo>
                  <a:cubicBezTo>
                    <a:pt x="67" y="240"/>
                    <a:pt x="84" y="244"/>
                    <a:pt x="84" y="244"/>
                  </a:cubicBezTo>
                  <a:cubicBezTo>
                    <a:pt x="111" y="235"/>
                    <a:pt x="103" y="218"/>
                    <a:pt x="96" y="196"/>
                  </a:cubicBezTo>
                  <a:cubicBezTo>
                    <a:pt x="100" y="183"/>
                    <a:pt x="124" y="168"/>
                    <a:pt x="124" y="168"/>
                  </a:cubicBezTo>
                  <a:cubicBezTo>
                    <a:pt x="148" y="132"/>
                    <a:pt x="123" y="101"/>
                    <a:pt x="112" y="68"/>
                  </a:cubicBezTo>
                  <a:cubicBezTo>
                    <a:pt x="140" y="59"/>
                    <a:pt x="133" y="68"/>
                    <a:pt x="140" y="48"/>
                  </a:cubicBezTo>
                  <a:cubicBezTo>
                    <a:pt x="136" y="35"/>
                    <a:pt x="112" y="20"/>
                    <a:pt x="112" y="20"/>
                  </a:cubicBezTo>
                  <a:cubicBezTo>
                    <a:pt x="102" y="5"/>
                    <a:pt x="107" y="11"/>
                    <a:pt x="9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49" name="Freeform 46"/>
            <p:cNvSpPr>
              <a:spLocks/>
            </p:cNvSpPr>
            <p:nvPr/>
          </p:nvSpPr>
          <p:spPr bwMode="gray">
            <a:xfrm>
              <a:off x="3894" y="3043"/>
              <a:ext cx="72" cy="137"/>
            </a:xfrm>
            <a:custGeom>
              <a:avLst/>
              <a:gdLst/>
              <a:ahLst/>
              <a:cxnLst>
                <a:cxn ang="0">
                  <a:pos x="48" y="2"/>
                </a:cxn>
                <a:cxn ang="0">
                  <a:pos x="51" y="35"/>
                </a:cxn>
                <a:cxn ang="0">
                  <a:pos x="60" y="62"/>
                </a:cxn>
                <a:cxn ang="0">
                  <a:pos x="62" y="92"/>
                </a:cxn>
                <a:cxn ang="0">
                  <a:pos x="68" y="105"/>
                </a:cxn>
                <a:cxn ang="0">
                  <a:pos x="71" y="126"/>
                </a:cxn>
                <a:cxn ang="0">
                  <a:pos x="57" y="93"/>
                </a:cxn>
                <a:cxn ang="0">
                  <a:pos x="35" y="78"/>
                </a:cxn>
                <a:cxn ang="0">
                  <a:pos x="5" y="83"/>
                </a:cxn>
                <a:cxn ang="0">
                  <a:pos x="8" y="102"/>
                </a:cxn>
                <a:cxn ang="0">
                  <a:pos x="41" y="114"/>
                </a:cxn>
                <a:cxn ang="0">
                  <a:pos x="57" y="135"/>
                </a:cxn>
                <a:cxn ang="0">
                  <a:pos x="71" y="135"/>
                </a:cxn>
                <a:cxn ang="0">
                  <a:pos x="78" y="150"/>
                </a:cxn>
                <a:cxn ang="0">
                  <a:pos x="96" y="179"/>
                </a:cxn>
                <a:cxn ang="0">
                  <a:pos x="81" y="126"/>
                </a:cxn>
                <a:cxn ang="0">
                  <a:pos x="80" y="93"/>
                </a:cxn>
                <a:cxn ang="0">
                  <a:pos x="71" y="63"/>
                </a:cxn>
                <a:cxn ang="0">
                  <a:pos x="63" y="41"/>
                </a:cxn>
                <a:cxn ang="0">
                  <a:pos x="57" y="20"/>
                </a:cxn>
                <a:cxn ang="0">
                  <a:pos x="48" y="2"/>
                </a:cxn>
              </a:cxnLst>
              <a:rect l="0" t="0" r="r" b="b"/>
              <a:pathLst>
                <a:path w="96" h="183">
                  <a:moveTo>
                    <a:pt x="48" y="2"/>
                  </a:moveTo>
                  <a:cubicBezTo>
                    <a:pt x="47" y="4"/>
                    <a:pt x="49" y="25"/>
                    <a:pt x="51" y="35"/>
                  </a:cubicBezTo>
                  <a:cubicBezTo>
                    <a:pt x="53" y="45"/>
                    <a:pt x="58" y="53"/>
                    <a:pt x="60" y="62"/>
                  </a:cubicBezTo>
                  <a:cubicBezTo>
                    <a:pt x="62" y="71"/>
                    <a:pt x="61" y="85"/>
                    <a:pt x="62" y="92"/>
                  </a:cubicBezTo>
                  <a:cubicBezTo>
                    <a:pt x="63" y="99"/>
                    <a:pt x="67" y="99"/>
                    <a:pt x="68" y="105"/>
                  </a:cubicBezTo>
                  <a:cubicBezTo>
                    <a:pt x="69" y="111"/>
                    <a:pt x="73" y="128"/>
                    <a:pt x="71" y="126"/>
                  </a:cubicBezTo>
                  <a:cubicBezTo>
                    <a:pt x="69" y="124"/>
                    <a:pt x="63" y="101"/>
                    <a:pt x="57" y="93"/>
                  </a:cubicBezTo>
                  <a:cubicBezTo>
                    <a:pt x="51" y="85"/>
                    <a:pt x="44" y="80"/>
                    <a:pt x="35" y="78"/>
                  </a:cubicBezTo>
                  <a:cubicBezTo>
                    <a:pt x="26" y="76"/>
                    <a:pt x="10" y="79"/>
                    <a:pt x="5" y="83"/>
                  </a:cubicBezTo>
                  <a:cubicBezTo>
                    <a:pt x="0" y="87"/>
                    <a:pt x="2" y="97"/>
                    <a:pt x="8" y="102"/>
                  </a:cubicBezTo>
                  <a:cubicBezTo>
                    <a:pt x="14" y="107"/>
                    <a:pt x="33" y="109"/>
                    <a:pt x="41" y="114"/>
                  </a:cubicBezTo>
                  <a:cubicBezTo>
                    <a:pt x="49" y="119"/>
                    <a:pt x="52" y="132"/>
                    <a:pt x="57" y="135"/>
                  </a:cubicBezTo>
                  <a:cubicBezTo>
                    <a:pt x="62" y="138"/>
                    <a:pt x="68" y="133"/>
                    <a:pt x="71" y="135"/>
                  </a:cubicBezTo>
                  <a:cubicBezTo>
                    <a:pt x="74" y="137"/>
                    <a:pt x="74" y="143"/>
                    <a:pt x="78" y="150"/>
                  </a:cubicBezTo>
                  <a:cubicBezTo>
                    <a:pt x="82" y="157"/>
                    <a:pt x="96" y="183"/>
                    <a:pt x="96" y="179"/>
                  </a:cubicBezTo>
                  <a:cubicBezTo>
                    <a:pt x="96" y="175"/>
                    <a:pt x="84" y="140"/>
                    <a:pt x="81" y="126"/>
                  </a:cubicBezTo>
                  <a:cubicBezTo>
                    <a:pt x="78" y="112"/>
                    <a:pt x="82" y="104"/>
                    <a:pt x="80" y="93"/>
                  </a:cubicBezTo>
                  <a:cubicBezTo>
                    <a:pt x="78" y="82"/>
                    <a:pt x="74" y="72"/>
                    <a:pt x="71" y="63"/>
                  </a:cubicBezTo>
                  <a:cubicBezTo>
                    <a:pt x="68" y="54"/>
                    <a:pt x="65" y="48"/>
                    <a:pt x="63" y="41"/>
                  </a:cubicBezTo>
                  <a:cubicBezTo>
                    <a:pt x="61" y="34"/>
                    <a:pt x="59" y="26"/>
                    <a:pt x="57" y="20"/>
                  </a:cubicBezTo>
                  <a:cubicBezTo>
                    <a:pt x="55" y="14"/>
                    <a:pt x="49" y="0"/>
                    <a:pt x="48" y="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0" name="Freeform 47"/>
            <p:cNvSpPr>
              <a:spLocks/>
            </p:cNvSpPr>
            <p:nvPr/>
          </p:nvSpPr>
          <p:spPr bwMode="gray">
            <a:xfrm>
              <a:off x="3943" y="3153"/>
              <a:ext cx="40" cy="131"/>
            </a:xfrm>
            <a:custGeom>
              <a:avLst/>
              <a:gdLst/>
              <a:ahLst/>
              <a:cxnLst>
                <a:cxn ang="0">
                  <a:pos x="6" y="0"/>
                </a:cxn>
                <a:cxn ang="0">
                  <a:pos x="0" y="25"/>
                </a:cxn>
                <a:cxn ang="0">
                  <a:pos x="9" y="54"/>
                </a:cxn>
                <a:cxn ang="0">
                  <a:pos x="18" y="94"/>
                </a:cxn>
                <a:cxn ang="0">
                  <a:pos x="34" y="129"/>
                </a:cxn>
                <a:cxn ang="0">
                  <a:pos x="54" y="175"/>
                </a:cxn>
                <a:cxn ang="0">
                  <a:pos x="40" y="115"/>
                </a:cxn>
                <a:cxn ang="0">
                  <a:pos x="34" y="93"/>
                </a:cxn>
                <a:cxn ang="0">
                  <a:pos x="28" y="61"/>
                </a:cxn>
                <a:cxn ang="0">
                  <a:pos x="25" y="46"/>
                </a:cxn>
                <a:cxn ang="0">
                  <a:pos x="16" y="37"/>
                </a:cxn>
                <a:cxn ang="0">
                  <a:pos x="6" y="0"/>
                </a:cxn>
              </a:cxnLst>
              <a:rect l="0" t="0" r="r" b="b"/>
              <a:pathLst>
                <a:path w="54" h="175">
                  <a:moveTo>
                    <a:pt x="6" y="0"/>
                  </a:moveTo>
                  <a:lnTo>
                    <a:pt x="0" y="25"/>
                  </a:lnTo>
                  <a:cubicBezTo>
                    <a:pt x="3" y="48"/>
                    <a:pt x="3" y="40"/>
                    <a:pt x="9" y="54"/>
                  </a:cubicBezTo>
                  <a:cubicBezTo>
                    <a:pt x="10" y="66"/>
                    <a:pt x="12" y="83"/>
                    <a:pt x="18" y="94"/>
                  </a:cubicBezTo>
                  <a:cubicBezTo>
                    <a:pt x="21" y="109"/>
                    <a:pt x="25" y="117"/>
                    <a:pt x="34" y="129"/>
                  </a:cubicBezTo>
                  <a:cubicBezTo>
                    <a:pt x="35" y="143"/>
                    <a:pt x="35" y="171"/>
                    <a:pt x="54" y="175"/>
                  </a:cubicBezTo>
                  <a:cubicBezTo>
                    <a:pt x="52" y="133"/>
                    <a:pt x="53" y="141"/>
                    <a:pt x="40" y="115"/>
                  </a:cubicBezTo>
                  <a:cubicBezTo>
                    <a:pt x="39" y="108"/>
                    <a:pt x="37" y="100"/>
                    <a:pt x="34" y="93"/>
                  </a:cubicBezTo>
                  <a:cubicBezTo>
                    <a:pt x="33" y="82"/>
                    <a:pt x="30" y="72"/>
                    <a:pt x="28" y="61"/>
                  </a:cubicBezTo>
                  <a:cubicBezTo>
                    <a:pt x="28" y="58"/>
                    <a:pt x="28" y="50"/>
                    <a:pt x="25" y="46"/>
                  </a:cubicBezTo>
                  <a:cubicBezTo>
                    <a:pt x="22" y="43"/>
                    <a:pt x="16" y="37"/>
                    <a:pt x="16" y="37"/>
                  </a:cubicBezTo>
                  <a:cubicBezTo>
                    <a:pt x="14" y="25"/>
                    <a:pt x="13" y="9"/>
                    <a:pt x="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1" name="Freeform 48"/>
            <p:cNvSpPr>
              <a:spLocks/>
            </p:cNvSpPr>
            <p:nvPr/>
          </p:nvSpPr>
          <p:spPr bwMode="gray">
            <a:xfrm>
              <a:off x="3988" y="3290"/>
              <a:ext cx="65" cy="54"/>
            </a:xfrm>
            <a:custGeom>
              <a:avLst/>
              <a:gdLst/>
              <a:ahLst/>
              <a:cxnLst>
                <a:cxn ang="0">
                  <a:pos x="2" y="0"/>
                </a:cxn>
                <a:cxn ang="0">
                  <a:pos x="8" y="34"/>
                </a:cxn>
                <a:cxn ang="0">
                  <a:pos x="23" y="43"/>
                </a:cxn>
                <a:cxn ang="0">
                  <a:pos x="48" y="49"/>
                </a:cxn>
                <a:cxn ang="0">
                  <a:pos x="62" y="57"/>
                </a:cxn>
                <a:cxn ang="0">
                  <a:pos x="74" y="66"/>
                </a:cxn>
                <a:cxn ang="0">
                  <a:pos x="86" y="69"/>
                </a:cxn>
                <a:cxn ang="0">
                  <a:pos x="72" y="39"/>
                </a:cxn>
                <a:cxn ang="0">
                  <a:pos x="63" y="22"/>
                </a:cxn>
                <a:cxn ang="0">
                  <a:pos x="36" y="24"/>
                </a:cxn>
                <a:cxn ang="0">
                  <a:pos x="24" y="19"/>
                </a:cxn>
                <a:cxn ang="0">
                  <a:pos x="6" y="0"/>
                </a:cxn>
                <a:cxn ang="0">
                  <a:pos x="2" y="0"/>
                </a:cxn>
              </a:cxnLst>
              <a:rect l="0" t="0" r="r" b="b"/>
              <a:pathLst>
                <a:path w="86" h="73">
                  <a:moveTo>
                    <a:pt x="2" y="0"/>
                  </a:moveTo>
                  <a:cubicBezTo>
                    <a:pt x="3" y="17"/>
                    <a:pt x="0" y="23"/>
                    <a:pt x="8" y="34"/>
                  </a:cubicBezTo>
                  <a:cubicBezTo>
                    <a:pt x="10" y="43"/>
                    <a:pt x="14" y="42"/>
                    <a:pt x="23" y="43"/>
                  </a:cubicBezTo>
                  <a:cubicBezTo>
                    <a:pt x="30" y="47"/>
                    <a:pt x="40" y="48"/>
                    <a:pt x="48" y="49"/>
                  </a:cubicBezTo>
                  <a:cubicBezTo>
                    <a:pt x="53" y="51"/>
                    <a:pt x="57" y="54"/>
                    <a:pt x="62" y="57"/>
                  </a:cubicBezTo>
                  <a:cubicBezTo>
                    <a:pt x="66" y="62"/>
                    <a:pt x="68" y="64"/>
                    <a:pt x="74" y="66"/>
                  </a:cubicBezTo>
                  <a:cubicBezTo>
                    <a:pt x="78" y="72"/>
                    <a:pt x="79" y="73"/>
                    <a:pt x="86" y="69"/>
                  </a:cubicBezTo>
                  <a:cubicBezTo>
                    <a:pt x="83" y="53"/>
                    <a:pt x="80" y="52"/>
                    <a:pt x="72" y="39"/>
                  </a:cubicBezTo>
                  <a:cubicBezTo>
                    <a:pt x="68" y="34"/>
                    <a:pt x="63" y="22"/>
                    <a:pt x="63" y="22"/>
                  </a:cubicBezTo>
                  <a:cubicBezTo>
                    <a:pt x="52" y="26"/>
                    <a:pt x="48" y="26"/>
                    <a:pt x="36" y="24"/>
                  </a:cubicBezTo>
                  <a:cubicBezTo>
                    <a:pt x="24" y="15"/>
                    <a:pt x="43" y="29"/>
                    <a:pt x="24" y="19"/>
                  </a:cubicBezTo>
                  <a:cubicBezTo>
                    <a:pt x="15" y="15"/>
                    <a:pt x="16" y="2"/>
                    <a:pt x="6" y="0"/>
                  </a:cubicBezTo>
                  <a:cubicBezTo>
                    <a:pt x="1" y="4"/>
                    <a:pt x="2" y="5"/>
                    <a:pt x="2"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2" name="Freeform 49"/>
            <p:cNvSpPr>
              <a:spLocks/>
            </p:cNvSpPr>
            <p:nvPr/>
          </p:nvSpPr>
          <p:spPr bwMode="gray">
            <a:xfrm>
              <a:off x="4092" y="3195"/>
              <a:ext cx="83" cy="117"/>
            </a:xfrm>
            <a:custGeom>
              <a:avLst/>
              <a:gdLst/>
              <a:ahLst/>
              <a:cxnLst>
                <a:cxn ang="0">
                  <a:pos x="98" y="0"/>
                </a:cxn>
                <a:cxn ang="0">
                  <a:pos x="75" y="10"/>
                </a:cxn>
                <a:cxn ang="0">
                  <a:pos x="23" y="15"/>
                </a:cxn>
                <a:cxn ang="0">
                  <a:pos x="14" y="33"/>
                </a:cxn>
                <a:cxn ang="0">
                  <a:pos x="11" y="61"/>
                </a:cxn>
                <a:cxn ang="0">
                  <a:pos x="14" y="75"/>
                </a:cxn>
                <a:cxn ang="0">
                  <a:pos x="3" y="88"/>
                </a:cxn>
                <a:cxn ang="0">
                  <a:pos x="14" y="109"/>
                </a:cxn>
                <a:cxn ang="0">
                  <a:pos x="23" y="124"/>
                </a:cxn>
                <a:cxn ang="0">
                  <a:pos x="15" y="144"/>
                </a:cxn>
                <a:cxn ang="0">
                  <a:pos x="24" y="156"/>
                </a:cxn>
                <a:cxn ang="0">
                  <a:pos x="42" y="144"/>
                </a:cxn>
                <a:cxn ang="0">
                  <a:pos x="50" y="93"/>
                </a:cxn>
                <a:cxn ang="0">
                  <a:pos x="56" y="126"/>
                </a:cxn>
                <a:cxn ang="0">
                  <a:pos x="65" y="145"/>
                </a:cxn>
                <a:cxn ang="0">
                  <a:pos x="62" y="112"/>
                </a:cxn>
                <a:cxn ang="0">
                  <a:pos x="72" y="73"/>
                </a:cxn>
                <a:cxn ang="0">
                  <a:pos x="69" y="51"/>
                </a:cxn>
                <a:cxn ang="0">
                  <a:pos x="54" y="60"/>
                </a:cxn>
                <a:cxn ang="0">
                  <a:pos x="35" y="54"/>
                </a:cxn>
                <a:cxn ang="0">
                  <a:pos x="41" y="36"/>
                </a:cxn>
                <a:cxn ang="0">
                  <a:pos x="62" y="34"/>
                </a:cxn>
                <a:cxn ang="0">
                  <a:pos x="78" y="39"/>
                </a:cxn>
                <a:cxn ang="0">
                  <a:pos x="98" y="30"/>
                </a:cxn>
                <a:cxn ang="0">
                  <a:pos x="111" y="13"/>
                </a:cxn>
                <a:cxn ang="0">
                  <a:pos x="98" y="0"/>
                </a:cxn>
              </a:cxnLst>
              <a:rect l="0" t="0" r="r" b="b"/>
              <a:pathLst>
                <a:path w="111" h="156">
                  <a:moveTo>
                    <a:pt x="98" y="0"/>
                  </a:moveTo>
                  <a:cubicBezTo>
                    <a:pt x="75" y="2"/>
                    <a:pt x="87" y="8"/>
                    <a:pt x="75" y="10"/>
                  </a:cubicBezTo>
                  <a:cubicBezTo>
                    <a:pt x="72" y="10"/>
                    <a:pt x="25" y="3"/>
                    <a:pt x="23" y="15"/>
                  </a:cubicBezTo>
                  <a:cubicBezTo>
                    <a:pt x="25" y="26"/>
                    <a:pt x="23" y="27"/>
                    <a:pt x="14" y="33"/>
                  </a:cubicBezTo>
                  <a:cubicBezTo>
                    <a:pt x="15" y="43"/>
                    <a:pt x="20" y="54"/>
                    <a:pt x="11" y="61"/>
                  </a:cubicBezTo>
                  <a:cubicBezTo>
                    <a:pt x="8" y="68"/>
                    <a:pt x="10" y="69"/>
                    <a:pt x="14" y="75"/>
                  </a:cubicBezTo>
                  <a:cubicBezTo>
                    <a:pt x="16" y="84"/>
                    <a:pt x="12" y="86"/>
                    <a:pt x="3" y="88"/>
                  </a:cubicBezTo>
                  <a:cubicBezTo>
                    <a:pt x="1" y="99"/>
                    <a:pt x="0" y="106"/>
                    <a:pt x="14" y="109"/>
                  </a:cubicBezTo>
                  <a:cubicBezTo>
                    <a:pt x="21" y="112"/>
                    <a:pt x="20" y="118"/>
                    <a:pt x="23" y="124"/>
                  </a:cubicBezTo>
                  <a:cubicBezTo>
                    <a:pt x="25" y="133"/>
                    <a:pt x="23" y="139"/>
                    <a:pt x="15" y="144"/>
                  </a:cubicBezTo>
                  <a:cubicBezTo>
                    <a:pt x="17" y="150"/>
                    <a:pt x="18" y="153"/>
                    <a:pt x="24" y="156"/>
                  </a:cubicBezTo>
                  <a:cubicBezTo>
                    <a:pt x="31" y="154"/>
                    <a:pt x="36" y="148"/>
                    <a:pt x="42" y="144"/>
                  </a:cubicBezTo>
                  <a:cubicBezTo>
                    <a:pt x="41" y="128"/>
                    <a:pt x="33" y="103"/>
                    <a:pt x="50" y="93"/>
                  </a:cubicBezTo>
                  <a:cubicBezTo>
                    <a:pt x="52" y="105"/>
                    <a:pt x="46" y="116"/>
                    <a:pt x="56" y="126"/>
                  </a:cubicBezTo>
                  <a:cubicBezTo>
                    <a:pt x="57" y="134"/>
                    <a:pt x="58" y="141"/>
                    <a:pt x="65" y="145"/>
                  </a:cubicBezTo>
                  <a:cubicBezTo>
                    <a:pt x="70" y="134"/>
                    <a:pt x="64" y="123"/>
                    <a:pt x="62" y="112"/>
                  </a:cubicBezTo>
                  <a:cubicBezTo>
                    <a:pt x="65" y="97"/>
                    <a:pt x="55" y="81"/>
                    <a:pt x="72" y="73"/>
                  </a:cubicBezTo>
                  <a:cubicBezTo>
                    <a:pt x="79" y="64"/>
                    <a:pt x="75" y="59"/>
                    <a:pt x="69" y="51"/>
                  </a:cubicBezTo>
                  <a:cubicBezTo>
                    <a:pt x="61" y="52"/>
                    <a:pt x="61" y="56"/>
                    <a:pt x="54" y="60"/>
                  </a:cubicBezTo>
                  <a:cubicBezTo>
                    <a:pt x="37" y="57"/>
                    <a:pt x="43" y="60"/>
                    <a:pt x="35" y="54"/>
                  </a:cubicBezTo>
                  <a:cubicBezTo>
                    <a:pt x="31" y="45"/>
                    <a:pt x="28" y="39"/>
                    <a:pt x="41" y="36"/>
                  </a:cubicBezTo>
                  <a:cubicBezTo>
                    <a:pt x="49" y="32"/>
                    <a:pt x="53" y="33"/>
                    <a:pt x="62" y="34"/>
                  </a:cubicBezTo>
                  <a:cubicBezTo>
                    <a:pt x="67" y="36"/>
                    <a:pt x="73" y="36"/>
                    <a:pt x="78" y="39"/>
                  </a:cubicBezTo>
                  <a:cubicBezTo>
                    <a:pt x="85" y="36"/>
                    <a:pt x="90" y="31"/>
                    <a:pt x="98" y="30"/>
                  </a:cubicBezTo>
                  <a:cubicBezTo>
                    <a:pt x="104" y="26"/>
                    <a:pt x="107" y="19"/>
                    <a:pt x="111" y="13"/>
                  </a:cubicBezTo>
                  <a:cubicBezTo>
                    <a:pt x="107" y="8"/>
                    <a:pt x="102" y="4"/>
                    <a:pt x="9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3" name="Freeform 50"/>
            <p:cNvSpPr>
              <a:spLocks/>
            </p:cNvSpPr>
            <p:nvPr/>
          </p:nvSpPr>
          <p:spPr bwMode="gray">
            <a:xfrm>
              <a:off x="4064" y="2777"/>
              <a:ext cx="22" cy="71"/>
            </a:xfrm>
            <a:custGeom>
              <a:avLst/>
              <a:gdLst/>
              <a:ahLst/>
              <a:cxnLst>
                <a:cxn ang="0">
                  <a:pos x="12" y="0"/>
                </a:cxn>
                <a:cxn ang="0">
                  <a:pos x="0" y="16"/>
                </a:cxn>
                <a:cxn ang="0">
                  <a:pos x="6" y="37"/>
                </a:cxn>
                <a:cxn ang="0">
                  <a:pos x="1" y="61"/>
                </a:cxn>
                <a:cxn ang="0">
                  <a:pos x="16" y="94"/>
                </a:cxn>
                <a:cxn ang="0">
                  <a:pos x="30" y="82"/>
                </a:cxn>
                <a:cxn ang="0">
                  <a:pos x="22" y="61"/>
                </a:cxn>
                <a:cxn ang="0">
                  <a:pos x="12" y="0"/>
                </a:cxn>
              </a:cxnLst>
              <a:rect l="0" t="0" r="r" b="b"/>
              <a:pathLst>
                <a:path w="30" h="94">
                  <a:moveTo>
                    <a:pt x="12" y="0"/>
                  </a:moveTo>
                  <a:cubicBezTo>
                    <a:pt x="9" y="6"/>
                    <a:pt x="4" y="11"/>
                    <a:pt x="0" y="16"/>
                  </a:cubicBezTo>
                  <a:cubicBezTo>
                    <a:pt x="1" y="23"/>
                    <a:pt x="3" y="30"/>
                    <a:pt x="6" y="37"/>
                  </a:cubicBezTo>
                  <a:cubicBezTo>
                    <a:pt x="3" y="45"/>
                    <a:pt x="4" y="53"/>
                    <a:pt x="1" y="61"/>
                  </a:cubicBezTo>
                  <a:cubicBezTo>
                    <a:pt x="3" y="81"/>
                    <a:pt x="2" y="83"/>
                    <a:pt x="16" y="94"/>
                  </a:cubicBezTo>
                  <a:cubicBezTo>
                    <a:pt x="24" y="92"/>
                    <a:pt x="27" y="90"/>
                    <a:pt x="30" y="82"/>
                  </a:cubicBezTo>
                  <a:cubicBezTo>
                    <a:pt x="28" y="73"/>
                    <a:pt x="26" y="69"/>
                    <a:pt x="22" y="61"/>
                  </a:cubicBezTo>
                  <a:cubicBezTo>
                    <a:pt x="19" y="40"/>
                    <a:pt x="18" y="20"/>
                    <a:pt x="12"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4" name="Freeform 51"/>
            <p:cNvSpPr>
              <a:spLocks/>
            </p:cNvSpPr>
            <p:nvPr/>
          </p:nvSpPr>
          <p:spPr bwMode="gray">
            <a:xfrm>
              <a:off x="4078" y="2896"/>
              <a:ext cx="61" cy="118"/>
            </a:xfrm>
            <a:custGeom>
              <a:avLst/>
              <a:gdLst/>
              <a:ahLst/>
              <a:cxnLst>
                <a:cxn ang="0">
                  <a:pos x="12" y="2"/>
                </a:cxn>
                <a:cxn ang="0">
                  <a:pos x="0" y="20"/>
                </a:cxn>
                <a:cxn ang="0">
                  <a:pos x="8" y="49"/>
                </a:cxn>
                <a:cxn ang="0">
                  <a:pos x="6" y="107"/>
                </a:cxn>
                <a:cxn ang="0">
                  <a:pos x="17" y="103"/>
                </a:cxn>
                <a:cxn ang="0">
                  <a:pos x="20" y="115"/>
                </a:cxn>
                <a:cxn ang="0">
                  <a:pos x="29" y="122"/>
                </a:cxn>
                <a:cxn ang="0">
                  <a:pos x="38" y="140"/>
                </a:cxn>
                <a:cxn ang="0">
                  <a:pos x="48" y="128"/>
                </a:cxn>
                <a:cxn ang="0">
                  <a:pos x="65" y="134"/>
                </a:cxn>
                <a:cxn ang="0">
                  <a:pos x="63" y="109"/>
                </a:cxn>
                <a:cxn ang="0">
                  <a:pos x="48" y="104"/>
                </a:cxn>
                <a:cxn ang="0">
                  <a:pos x="39" y="91"/>
                </a:cxn>
                <a:cxn ang="0">
                  <a:pos x="33" y="73"/>
                </a:cxn>
                <a:cxn ang="0">
                  <a:pos x="41" y="53"/>
                </a:cxn>
                <a:cxn ang="0">
                  <a:pos x="35" y="35"/>
                </a:cxn>
                <a:cxn ang="0">
                  <a:pos x="42" y="20"/>
                </a:cxn>
                <a:cxn ang="0">
                  <a:pos x="29" y="4"/>
                </a:cxn>
                <a:cxn ang="0">
                  <a:pos x="18" y="7"/>
                </a:cxn>
                <a:cxn ang="0">
                  <a:pos x="12" y="2"/>
                </a:cxn>
              </a:cxnLst>
              <a:rect l="0" t="0" r="r" b="b"/>
              <a:pathLst>
                <a:path w="81" h="158">
                  <a:moveTo>
                    <a:pt x="12" y="2"/>
                  </a:moveTo>
                  <a:cubicBezTo>
                    <a:pt x="8" y="8"/>
                    <a:pt x="3" y="13"/>
                    <a:pt x="0" y="20"/>
                  </a:cubicBezTo>
                  <a:cubicBezTo>
                    <a:pt x="5" y="31"/>
                    <a:pt x="6" y="35"/>
                    <a:pt x="8" y="49"/>
                  </a:cubicBezTo>
                  <a:cubicBezTo>
                    <a:pt x="7" y="69"/>
                    <a:pt x="4" y="87"/>
                    <a:pt x="6" y="107"/>
                  </a:cubicBezTo>
                  <a:cubicBezTo>
                    <a:pt x="8" y="106"/>
                    <a:pt x="14" y="101"/>
                    <a:pt x="17" y="103"/>
                  </a:cubicBezTo>
                  <a:cubicBezTo>
                    <a:pt x="20" y="105"/>
                    <a:pt x="17" y="112"/>
                    <a:pt x="20" y="115"/>
                  </a:cubicBezTo>
                  <a:cubicBezTo>
                    <a:pt x="22" y="118"/>
                    <a:pt x="29" y="122"/>
                    <a:pt x="29" y="122"/>
                  </a:cubicBezTo>
                  <a:cubicBezTo>
                    <a:pt x="29" y="133"/>
                    <a:pt x="27" y="158"/>
                    <a:pt x="38" y="140"/>
                  </a:cubicBezTo>
                  <a:cubicBezTo>
                    <a:pt x="39" y="133"/>
                    <a:pt x="41" y="131"/>
                    <a:pt x="48" y="128"/>
                  </a:cubicBezTo>
                  <a:cubicBezTo>
                    <a:pt x="55" y="130"/>
                    <a:pt x="59" y="133"/>
                    <a:pt x="65" y="134"/>
                  </a:cubicBezTo>
                  <a:cubicBezTo>
                    <a:pt x="81" y="131"/>
                    <a:pt x="76" y="112"/>
                    <a:pt x="63" y="109"/>
                  </a:cubicBezTo>
                  <a:cubicBezTo>
                    <a:pt x="58" y="107"/>
                    <a:pt x="53" y="106"/>
                    <a:pt x="48" y="104"/>
                  </a:cubicBezTo>
                  <a:cubicBezTo>
                    <a:pt x="45" y="100"/>
                    <a:pt x="42" y="95"/>
                    <a:pt x="39" y="91"/>
                  </a:cubicBezTo>
                  <a:cubicBezTo>
                    <a:pt x="38" y="85"/>
                    <a:pt x="36" y="79"/>
                    <a:pt x="33" y="73"/>
                  </a:cubicBezTo>
                  <a:cubicBezTo>
                    <a:pt x="31" y="64"/>
                    <a:pt x="33" y="58"/>
                    <a:pt x="41" y="53"/>
                  </a:cubicBezTo>
                  <a:cubicBezTo>
                    <a:pt x="48" y="44"/>
                    <a:pt x="47" y="38"/>
                    <a:pt x="35" y="35"/>
                  </a:cubicBezTo>
                  <a:cubicBezTo>
                    <a:pt x="36" y="28"/>
                    <a:pt x="39" y="26"/>
                    <a:pt x="42" y="20"/>
                  </a:cubicBezTo>
                  <a:cubicBezTo>
                    <a:pt x="41" y="13"/>
                    <a:pt x="35" y="8"/>
                    <a:pt x="29" y="4"/>
                  </a:cubicBezTo>
                  <a:cubicBezTo>
                    <a:pt x="25" y="9"/>
                    <a:pt x="23" y="13"/>
                    <a:pt x="18" y="7"/>
                  </a:cubicBezTo>
                  <a:cubicBezTo>
                    <a:pt x="17" y="0"/>
                    <a:pt x="19" y="2"/>
                    <a:pt x="12" y="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5" name="Freeform 52"/>
            <p:cNvSpPr>
              <a:spLocks/>
            </p:cNvSpPr>
            <p:nvPr/>
          </p:nvSpPr>
          <p:spPr bwMode="gray">
            <a:xfrm>
              <a:off x="4121" y="3052"/>
              <a:ext cx="64" cy="79"/>
            </a:xfrm>
            <a:custGeom>
              <a:avLst/>
              <a:gdLst/>
              <a:ahLst/>
              <a:cxnLst>
                <a:cxn ang="0">
                  <a:pos x="52" y="0"/>
                </a:cxn>
                <a:cxn ang="0">
                  <a:pos x="44" y="18"/>
                </a:cxn>
                <a:cxn ang="0">
                  <a:pos x="32" y="30"/>
                </a:cxn>
                <a:cxn ang="0">
                  <a:pos x="16" y="35"/>
                </a:cxn>
                <a:cxn ang="0">
                  <a:pos x="8" y="48"/>
                </a:cxn>
                <a:cxn ang="0">
                  <a:pos x="4" y="74"/>
                </a:cxn>
                <a:cxn ang="0">
                  <a:pos x="13" y="71"/>
                </a:cxn>
                <a:cxn ang="0">
                  <a:pos x="25" y="62"/>
                </a:cxn>
                <a:cxn ang="0">
                  <a:pos x="34" y="69"/>
                </a:cxn>
                <a:cxn ang="0">
                  <a:pos x="58" y="99"/>
                </a:cxn>
                <a:cxn ang="0">
                  <a:pos x="71" y="72"/>
                </a:cxn>
                <a:cxn ang="0">
                  <a:pos x="85" y="68"/>
                </a:cxn>
                <a:cxn ang="0">
                  <a:pos x="74" y="39"/>
                </a:cxn>
                <a:cxn ang="0">
                  <a:pos x="52" y="0"/>
                </a:cxn>
              </a:cxnLst>
              <a:rect l="0" t="0" r="r" b="b"/>
              <a:pathLst>
                <a:path w="85" h="105">
                  <a:moveTo>
                    <a:pt x="52" y="0"/>
                  </a:moveTo>
                  <a:cubicBezTo>
                    <a:pt x="50" y="6"/>
                    <a:pt x="47" y="12"/>
                    <a:pt x="44" y="18"/>
                  </a:cubicBezTo>
                  <a:cubicBezTo>
                    <a:pt x="43" y="28"/>
                    <a:pt x="42" y="28"/>
                    <a:pt x="32" y="30"/>
                  </a:cubicBezTo>
                  <a:cubicBezTo>
                    <a:pt x="27" y="33"/>
                    <a:pt x="21" y="33"/>
                    <a:pt x="16" y="35"/>
                  </a:cubicBezTo>
                  <a:cubicBezTo>
                    <a:pt x="13" y="39"/>
                    <a:pt x="11" y="44"/>
                    <a:pt x="8" y="48"/>
                  </a:cubicBezTo>
                  <a:cubicBezTo>
                    <a:pt x="4" y="66"/>
                    <a:pt x="0" y="42"/>
                    <a:pt x="4" y="74"/>
                  </a:cubicBezTo>
                  <a:cubicBezTo>
                    <a:pt x="7" y="73"/>
                    <a:pt x="10" y="73"/>
                    <a:pt x="13" y="71"/>
                  </a:cubicBezTo>
                  <a:cubicBezTo>
                    <a:pt x="19" y="67"/>
                    <a:pt x="17" y="64"/>
                    <a:pt x="25" y="62"/>
                  </a:cubicBezTo>
                  <a:cubicBezTo>
                    <a:pt x="32" y="59"/>
                    <a:pt x="31" y="64"/>
                    <a:pt x="34" y="69"/>
                  </a:cubicBezTo>
                  <a:cubicBezTo>
                    <a:pt x="37" y="82"/>
                    <a:pt x="44" y="96"/>
                    <a:pt x="58" y="99"/>
                  </a:cubicBezTo>
                  <a:cubicBezTo>
                    <a:pt x="70" y="105"/>
                    <a:pt x="60" y="78"/>
                    <a:pt x="71" y="72"/>
                  </a:cubicBezTo>
                  <a:cubicBezTo>
                    <a:pt x="78" y="74"/>
                    <a:pt x="80" y="74"/>
                    <a:pt x="85" y="68"/>
                  </a:cubicBezTo>
                  <a:cubicBezTo>
                    <a:pt x="82" y="56"/>
                    <a:pt x="80" y="49"/>
                    <a:pt x="74" y="39"/>
                  </a:cubicBezTo>
                  <a:cubicBezTo>
                    <a:pt x="73" y="6"/>
                    <a:pt x="80" y="6"/>
                    <a:pt x="52"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6" name="Freeform 53"/>
            <p:cNvSpPr>
              <a:spLocks/>
            </p:cNvSpPr>
            <p:nvPr/>
          </p:nvSpPr>
          <p:spPr bwMode="gray">
            <a:xfrm>
              <a:off x="4197" y="3193"/>
              <a:ext cx="29" cy="49"/>
            </a:xfrm>
            <a:custGeom>
              <a:avLst/>
              <a:gdLst/>
              <a:ahLst/>
              <a:cxnLst>
                <a:cxn ang="0">
                  <a:pos x="6" y="27"/>
                </a:cxn>
                <a:cxn ang="0">
                  <a:pos x="26" y="66"/>
                </a:cxn>
                <a:cxn ang="0">
                  <a:pos x="30" y="52"/>
                </a:cxn>
                <a:cxn ang="0">
                  <a:pos x="38" y="40"/>
                </a:cxn>
                <a:cxn ang="0">
                  <a:pos x="30" y="25"/>
                </a:cxn>
                <a:cxn ang="0">
                  <a:pos x="20" y="13"/>
                </a:cxn>
                <a:cxn ang="0">
                  <a:pos x="11" y="1"/>
                </a:cxn>
                <a:cxn ang="0">
                  <a:pos x="2" y="12"/>
                </a:cxn>
                <a:cxn ang="0">
                  <a:pos x="6" y="27"/>
                </a:cxn>
              </a:cxnLst>
              <a:rect l="0" t="0" r="r" b="b"/>
              <a:pathLst>
                <a:path w="38" h="66">
                  <a:moveTo>
                    <a:pt x="6" y="27"/>
                  </a:moveTo>
                  <a:cubicBezTo>
                    <a:pt x="8" y="52"/>
                    <a:pt x="5" y="58"/>
                    <a:pt x="26" y="66"/>
                  </a:cubicBezTo>
                  <a:cubicBezTo>
                    <a:pt x="36" y="63"/>
                    <a:pt x="33" y="61"/>
                    <a:pt x="30" y="52"/>
                  </a:cubicBezTo>
                  <a:cubicBezTo>
                    <a:pt x="28" y="41"/>
                    <a:pt x="34" y="49"/>
                    <a:pt x="38" y="40"/>
                  </a:cubicBezTo>
                  <a:cubicBezTo>
                    <a:pt x="34" y="35"/>
                    <a:pt x="33" y="30"/>
                    <a:pt x="30" y="25"/>
                  </a:cubicBezTo>
                  <a:cubicBezTo>
                    <a:pt x="29" y="14"/>
                    <a:pt x="30" y="0"/>
                    <a:pt x="20" y="13"/>
                  </a:cubicBezTo>
                  <a:cubicBezTo>
                    <a:pt x="14" y="9"/>
                    <a:pt x="12" y="8"/>
                    <a:pt x="11" y="1"/>
                  </a:cubicBezTo>
                  <a:cubicBezTo>
                    <a:pt x="5" y="4"/>
                    <a:pt x="3" y="5"/>
                    <a:pt x="2" y="12"/>
                  </a:cubicBezTo>
                  <a:cubicBezTo>
                    <a:pt x="3" y="25"/>
                    <a:pt x="0" y="21"/>
                    <a:pt x="6" y="2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7" name="Freeform 54"/>
            <p:cNvSpPr>
              <a:spLocks/>
            </p:cNvSpPr>
            <p:nvPr/>
          </p:nvSpPr>
          <p:spPr bwMode="gray">
            <a:xfrm>
              <a:off x="4181" y="3275"/>
              <a:ext cx="18" cy="17"/>
            </a:xfrm>
            <a:custGeom>
              <a:avLst/>
              <a:gdLst/>
              <a:ahLst/>
              <a:cxnLst>
                <a:cxn ang="0">
                  <a:pos x="0" y="0"/>
                </a:cxn>
                <a:cxn ang="0">
                  <a:pos x="6" y="23"/>
                </a:cxn>
                <a:cxn ang="0">
                  <a:pos x="24" y="11"/>
                </a:cxn>
                <a:cxn ang="0">
                  <a:pos x="0" y="0"/>
                </a:cxn>
              </a:cxnLst>
              <a:rect l="0" t="0" r="r" b="b"/>
              <a:pathLst>
                <a:path w="24" h="23">
                  <a:moveTo>
                    <a:pt x="0" y="0"/>
                  </a:moveTo>
                  <a:cubicBezTo>
                    <a:pt x="1" y="8"/>
                    <a:pt x="3" y="16"/>
                    <a:pt x="6" y="23"/>
                  </a:cubicBezTo>
                  <a:cubicBezTo>
                    <a:pt x="19" y="20"/>
                    <a:pt x="19" y="22"/>
                    <a:pt x="24" y="11"/>
                  </a:cubicBezTo>
                  <a:cubicBezTo>
                    <a:pt x="20" y="0"/>
                    <a:pt x="4" y="8"/>
                    <a:pt x="0"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8" name="Freeform 55"/>
            <p:cNvSpPr>
              <a:spLocks/>
            </p:cNvSpPr>
            <p:nvPr/>
          </p:nvSpPr>
          <p:spPr bwMode="gray">
            <a:xfrm>
              <a:off x="4208" y="3265"/>
              <a:ext cx="45" cy="37"/>
            </a:xfrm>
            <a:custGeom>
              <a:avLst/>
              <a:gdLst/>
              <a:ahLst/>
              <a:cxnLst>
                <a:cxn ang="0">
                  <a:pos x="9" y="0"/>
                </a:cxn>
                <a:cxn ang="0">
                  <a:pos x="0" y="18"/>
                </a:cxn>
                <a:cxn ang="0">
                  <a:pos x="28" y="33"/>
                </a:cxn>
                <a:cxn ang="0">
                  <a:pos x="42" y="46"/>
                </a:cxn>
                <a:cxn ang="0">
                  <a:pos x="60" y="42"/>
                </a:cxn>
                <a:cxn ang="0">
                  <a:pos x="49" y="24"/>
                </a:cxn>
                <a:cxn ang="0">
                  <a:pos x="28" y="3"/>
                </a:cxn>
                <a:cxn ang="0">
                  <a:pos x="19" y="16"/>
                </a:cxn>
                <a:cxn ang="0">
                  <a:pos x="9" y="0"/>
                </a:cxn>
              </a:cxnLst>
              <a:rect l="0" t="0" r="r" b="b"/>
              <a:pathLst>
                <a:path w="60" h="49">
                  <a:moveTo>
                    <a:pt x="9" y="0"/>
                  </a:moveTo>
                  <a:cubicBezTo>
                    <a:pt x="8" y="7"/>
                    <a:pt x="0" y="18"/>
                    <a:pt x="0" y="18"/>
                  </a:cubicBezTo>
                  <a:cubicBezTo>
                    <a:pt x="2" y="36"/>
                    <a:pt x="9" y="31"/>
                    <a:pt x="28" y="33"/>
                  </a:cubicBezTo>
                  <a:cubicBezTo>
                    <a:pt x="33" y="40"/>
                    <a:pt x="33" y="44"/>
                    <a:pt x="42" y="46"/>
                  </a:cubicBezTo>
                  <a:cubicBezTo>
                    <a:pt x="49" y="49"/>
                    <a:pt x="56" y="49"/>
                    <a:pt x="60" y="42"/>
                  </a:cubicBezTo>
                  <a:cubicBezTo>
                    <a:pt x="58" y="32"/>
                    <a:pt x="59" y="26"/>
                    <a:pt x="49" y="24"/>
                  </a:cubicBezTo>
                  <a:cubicBezTo>
                    <a:pt x="47" y="12"/>
                    <a:pt x="41" y="5"/>
                    <a:pt x="28" y="3"/>
                  </a:cubicBezTo>
                  <a:cubicBezTo>
                    <a:pt x="23" y="10"/>
                    <a:pt x="30" y="23"/>
                    <a:pt x="19" y="16"/>
                  </a:cubicBezTo>
                  <a:cubicBezTo>
                    <a:pt x="17" y="6"/>
                    <a:pt x="20" y="0"/>
                    <a:pt x="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59" name="Freeform 56"/>
            <p:cNvSpPr>
              <a:spLocks/>
            </p:cNvSpPr>
            <p:nvPr/>
          </p:nvSpPr>
          <p:spPr bwMode="gray">
            <a:xfrm>
              <a:off x="4277" y="3335"/>
              <a:ext cx="24" cy="33"/>
            </a:xfrm>
            <a:custGeom>
              <a:avLst/>
              <a:gdLst/>
              <a:ahLst/>
              <a:cxnLst>
                <a:cxn ang="0">
                  <a:pos x="28" y="0"/>
                </a:cxn>
                <a:cxn ang="0">
                  <a:pos x="10" y="11"/>
                </a:cxn>
                <a:cxn ang="0">
                  <a:pos x="12" y="32"/>
                </a:cxn>
                <a:cxn ang="0">
                  <a:pos x="24" y="36"/>
                </a:cxn>
                <a:cxn ang="0">
                  <a:pos x="28" y="0"/>
                </a:cxn>
              </a:cxnLst>
              <a:rect l="0" t="0" r="r" b="b"/>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0" name="Freeform 57"/>
            <p:cNvSpPr>
              <a:spLocks/>
            </p:cNvSpPr>
            <p:nvPr/>
          </p:nvSpPr>
          <p:spPr bwMode="gray">
            <a:xfrm>
              <a:off x="4544" y="3293"/>
              <a:ext cx="46" cy="47"/>
            </a:xfrm>
            <a:custGeom>
              <a:avLst/>
              <a:gdLst/>
              <a:ahLst/>
              <a:cxnLst>
                <a:cxn ang="0">
                  <a:pos x="7" y="0"/>
                </a:cxn>
                <a:cxn ang="0">
                  <a:pos x="0" y="14"/>
                </a:cxn>
                <a:cxn ang="0">
                  <a:pos x="24" y="35"/>
                </a:cxn>
                <a:cxn ang="0">
                  <a:pos x="36" y="54"/>
                </a:cxn>
                <a:cxn ang="0">
                  <a:pos x="46" y="63"/>
                </a:cxn>
                <a:cxn ang="0">
                  <a:pos x="61" y="56"/>
                </a:cxn>
                <a:cxn ang="0">
                  <a:pos x="33" y="17"/>
                </a:cxn>
                <a:cxn ang="0">
                  <a:pos x="7" y="0"/>
                </a:cxn>
              </a:cxnLst>
              <a:rect l="0" t="0" r="r" b="b"/>
              <a:pathLst>
                <a:path w="61" h="63">
                  <a:moveTo>
                    <a:pt x="7" y="0"/>
                  </a:moveTo>
                  <a:cubicBezTo>
                    <a:pt x="6" y="6"/>
                    <a:pt x="3" y="9"/>
                    <a:pt x="0" y="14"/>
                  </a:cubicBezTo>
                  <a:cubicBezTo>
                    <a:pt x="7" y="23"/>
                    <a:pt x="13" y="31"/>
                    <a:pt x="24" y="35"/>
                  </a:cubicBezTo>
                  <a:cubicBezTo>
                    <a:pt x="27" y="42"/>
                    <a:pt x="31" y="48"/>
                    <a:pt x="36" y="54"/>
                  </a:cubicBezTo>
                  <a:cubicBezTo>
                    <a:pt x="37" y="61"/>
                    <a:pt x="40" y="59"/>
                    <a:pt x="46" y="63"/>
                  </a:cubicBezTo>
                  <a:cubicBezTo>
                    <a:pt x="54" y="62"/>
                    <a:pt x="56" y="62"/>
                    <a:pt x="61" y="56"/>
                  </a:cubicBezTo>
                  <a:cubicBezTo>
                    <a:pt x="59" y="46"/>
                    <a:pt x="42" y="23"/>
                    <a:pt x="33" y="17"/>
                  </a:cubicBezTo>
                  <a:cubicBezTo>
                    <a:pt x="23" y="10"/>
                    <a:pt x="14" y="9"/>
                    <a:pt x="7"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1" name="Freeform 58"/>
            <p:cNvSpPr>
              <a:spLocks/>
            </p:cNvSpPr>
            <p:nvPr/>
          </p:nvSpPr>
          <p:spPr bwMode="gray">
            <a:xfrm>
              <a:off x="4147" y="3352"/>
              <a:ext cx="46" cy="50"/>
            </a:xfrm>
            <a:custGeom>
              <a:avLst/>
              <a:gdLst/>
              <a:ahLst/>
              <a:cxnLst>
                <a:cxn ang="0">
                  <a:pos x="28" y="7"/>
                </a:cxn>
                <a:cxn ang="0">
                  <a:pos x="30" y="34"/>
                </a:cxn>
                <a:cxn ang="0">
                  <a:pos x="16" y="43"/>
                </a:cxn>
                <a:cxn ang="0">
                  <a:pos x="22" y="67"/>
                </a:cxn>
                <a:cxn ang="0">
                  <a:pos x="48" y="58"/>
                </a:cxn>
                <a:cxn ang="0">
                  <a:pos x="60" y="47"/>
                </a:cxn>
                <a:cxn ang="0">
                  <a:pos x="51" y="28"/>
                </a:cxn>
                <a:cxn ang="0">
                  <a:pos x="57" y="14"/>
                </a:cxn>
                <a:cxn ang="0">
                  <a:pos x="55" y="2"/>
                </a:cxn>
                <a:cxn ang="0">
                  <a:pos x="46" y="4"/>
                </a:cxn>
                <a:cxn ang="0">
                  <a:pos x="51" y="5"/>
                </a:cxn>
                <a:cxn ang="0">
                  <a:pos x="49" y="16"/>
                </a:cxn>
                <a:cxn ang="0">
                  <a:pos x="43" y="23"/>
                </a:cxn>
                <a:cxn ang="0">
                  <a:pos x="28" y="7"/>
                </a:cxn>
              </a:cxnLst>
              <a:rect l="0" t="0" r="r" b="b"/>
              <a:pathLst>
                <a:path w="61" h="67">
                  <a:moveTo>
                    <a:pt x="28" y="7"/>
                  </a:moveTo>
                  <a:cubicBezTo>
                    <a:pt x="17" y="15"/>
                    <a:pt x="24" y="25"/>
                    <a:pt x="30" y="34"/>
                  </a:cubicBezTo>
                  <a:cubicBezTo>
                    <a:pt x="27" y="44"/>
                    <a:pt x="26" y="44"/>
                    <a:pt x="16" y="43"/>
                  </a:cubicBezTo>
                  <a:cubicBezTo>
                    <a:pt x="0" y="46"/>
                    <a:pt x="13" y="63"/>
                    <a:pt x="22" y="67"/>
                  </a:cubicBezTo>
                  <a:cubicBezTo>
                    <a:pt x="31" y="65"/>
                    <a:pt x="39" y="60"/>
                    <a:pt x="48" y="58"/>
                  </a:cubicBezTo>
                  <a:cubicBezTo>
                    <a:pt x="51" y="52"/>
                    <a:pt x="54" y="50"/>
                    <a:pt x="60" y="47"/>
                  </a:cubicBezTo>
                  <a:cubicBezTo>
                    <a:pt x="61" y="40"/>
                    <a:pt x="51" y="28"/>
                    <a:pt x="51" y="28"/>
                  </a:cubicBezTo>
                  <a:cubicBezTo>
                    <a:pt x="52" y="22"/>
                    <a:pt x="55" y="19"/>
                    <a:pt x="57" y="14"/>
                  </a:cubicBezTo>
                  <a:cubicBezTo>
                    <a:pt x="56" y="10"/>
                    <a:pt x="58" y="5"/>
                    <a:pt x="55" y="2"/>
                  </a:cubicBezTo>
                  <a:cubicBezTo>
                    <a:pt x="53" y="0"/>
                    <a:pt x="48" y="2"/>
                    <a:pt x="46" y="4"/>
                  </a:cubicBezTo>
                  <a:cubicBezTo>
                    <a:pt x="45" y="5"/>
                    <a:pt x="49" y="5"/>
                    <a:pt x="51" y="5"/>
                  </a:cubicBezTo>
                  <a:cubicBezTo>
                    <a:pt x="57" y="10"/>
                    <a:pt x="52" y="9"/>
                    <a:pt x="49" y="16"/>
                  </a:cubicBezTo>
                  <a:cubicBezTo>
                    <a:pt x="58" y="23"/>
                    <a:pt x="50" y="22"/>
                    <a:pt x="43" y="23"/>
                  </a:cubicBezTo>
                  <a:cubicBezTo>
                    <a:pt x="34" y="22"/>
                    <a:pt x="31" y="16"/>
                    <a:pt x="28" y="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2" name="Freeform 59"/>
            <p:cNvSpPr>
              <a:spLocks/>
            </p:cNvSpPr>
            <p:nvPr/>
          </p:nvSpPr>
          <p:spPr bwMode="gray">
            <a:xfrm>
              <a:off x="4098" y="3371"/>
              <a:ext cx="32" cy="27"/>
            </a:xfrm>
            <a:custGeom>
              <a:avLst/>
              <a:gdLst/>
              <a:ahLst/>
              <a:cxnLst>
                <a:cxn ang="0">
                  <a:pos x="21" y="3"/>
                </a:cxn>
                <a:cxn ang="0">
                  <a:pos x="6" y="6"/>
                </a:cxn>
                <a:cxn ang="0">
                  <a:pos x="33" y="36"/>
                </a:cxn>
                <a:cxn ang="0">
                  <a:pos x="42" y="30"/>
                </a:cxn>
                <a:cxn ang="0">
                  <a:pos x="21" y="3"/>
                </a:cxn>
              </a:cxnLst>
              <a:rect l="0" t="0" r="r" b="b"/>
              <a:pathLst>
                <a:path w="43" h="36">
                  <a:moveTo>
                    <a:pt x="21" y="3"/>
                  </a:moveTo>
                  <a:cubicBezTo>
                    <a:pt x="14" y="0"/>
                    <a:pt x="12" y="2"/>
                    <a:pt x="6" y="6"/>
                  </a:cubicBezTo>
                  <a:cubicBezTo>
                    <a:pt x="0" y="17"/>
                    <a:pt x="23" y="32"/>
                    <a:pt x="33" y="36"/>
                  </a:cubicBezTo>
                  <a:cubicBezTo>
                    <a:pt x="36" y="35"/>
                    <a:pt x="42" y="34"/>
                    <a:pt x="42" y="30"/>
                  </a:cubicBezTo>
                  <a:cubicBezTo>
                    <a:pt x="43" y="24"/>
                    <a:pt x="27" y="3"/>
                    <a:pt x="21" y="3"/>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3" name="Freeform 60"/>
            <p:cNvSpPr>
              <a:spLocks/>
            </p:cNvSpPr>
            <p:nvPr/>
          </p:nvSpPr>
          <p:spPr bwMode="gray">
            <a:xfrm>
              <a:off x="4077" y="3342"/>
              <a:ext cx="24" cy="31"/>
            </a:xfrm>
            <a:custGeom>
              <a:avLst/>
              <a:gdLst/>
              <a:ahLst/>
              <a:cxnLst>
                <a:cxn ang="0">
                  <a:pos x="21" y="0"/>
                </a:cxn>
                <a:cxn ang="0">
                  <a:pos x="0" y="26"/>
                </a:cxn>
                <a:cxn ang="0">
                  <a:pos x="16" y="24"/>
                </a:cxn>
                <a:cxn ang="0">
                  <a:pos x="19" y="29"/>
                </a:cxn>
                <a:cxn ang="0">
                  <a:pos x="16" y="35"/>
                </a:cxn>
                <a:cxn ang="0">
                  <a:pos x="30" y="21"/>
                </a:cxn>
                <a:cxn ang="0">
                  <a:pos x="24" y="9"/>
                </a:cxn>
                <a:cxn ang="0">
                  <a:pos x="21" y="0"/>
                </a:cxn>
              </a:cxnLst>
              <a:rect l="0" t="0" r="r" b="b"/>
              <a:pathLst>
                <a:path w="32" h="41">
                  <a:moveTo>
                    <a:pt x="21" y="0"/>
                  </a:moveTo>
                  <a:cubicBezTo>
                    <a:pt x="15" y="10"/>
                    <a:pt x="6" y="16"/>
                    <a:pt x="0" y="26"/>
                  </a:cubicBezTo>
                  <a:cubicBezTo>
                    <a:pt x="7" y="27"/>
                    <a:pt x="10" y="27"/>
                    <a:pt x="16" y="24"/>
                  </a:cubicBezTo>
                  <a:cubicBezTo>
                    <a:pt x="17" y="26"/>
                    <a:pt x="19" y="27"/>
                    <a:pt x="19" y="29"/>
                  </a:cubicBezTo>
                  <a:cubicBezTo>
                    <a:pt x="19" y="31"/>
                    <a:pt x="15" y="33"/>
                    <a:pt x="16" y="35"/>
                  </a:cubicBezTo>
                  <a:cubicBezTo>
                    <a:pt x="19" y="41"/>
                    <a:pt x="29" y="23"/>
                    <a:pt x="30" y="21"/>
                  </a:cubicBezTo>
                  <a:cubicBezTo>
                    <a:pt x="32" y="9"/>
                    <a:pt x="26" y="19"/>
                    <a:pt x="24" y="9"/>
                  </a:cubicBezTo>
                  <a:cubicBezTo>
                    <a:pt x="25" y="1"/>
                    <a:pt x="27" y="4"/>
                    <a:pt x="21"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4" name="Freeform 61"/>
            <p:cNvSpPr>
              <a:spLocks/>
            </p:cNvSpPr>
            <p:nvPr/>
          </p:nvSpPr>
          <p:spPr bwMode="gray">
            <a:xfrm>
              <a:off x="4111" y="3353"/>
              <a:ext cx="34" cy="24"/>
            </a:xfrm>
            <a:custGeom>
              <a:avLst/>
              <a:gdLst/>
              <a:ahLst/>
              <a:cxnLst>
                <a:cxn ang="0">
                  <a:pos x="21" y="0"/>
                </a:cxn>
                <a:cxn ang="0">
                  <a:pos x="0" y="7"/>
                </a:cxn>
                <a:cxn ang="0">
                  <a:pos x="27" y="31"/>
                </a:cxn>
                <a:cxn ang="0">
                  <a:pos x="45" y="24"/>
                </a:cxn>
                <a:cxn ang="0">
                  <a:pos x="22" y="10"/>
                </a:cxn>
                <a:cxn ang="0">
                  <a:pos x="21" y="0"/>
                </a:cxn>
              </a:cxnLst>
              <a:rect l="0" t="0" r="r" b="b"/>
              <a:pathLst>
                <a:path w="45" h="32">
                  <a:moveTo>
                    <a:pt x="21" y="0"/>
                  </a:moveTo>
                  <a:cubicBezTo>
                    <a:pt x="10" y="1"/>
                    <a:pt x="8" y="1"/>
                    <a:pt x="0" y="7"/>
                  </a:cubicBezTo>
                  <a:cubicBezTo>
                    <a:pt x="3" y="20"/>
                    <a:pt x="15" y="29"/>
                    <a:pt x="27" y="31"/>
                  </a:cubicBezTo>
                  <a:cubicBezTo>
                    <a:pt x="36" y="30"/>
                    <a:pt x="41" y="32"/>
                    <a:pt x="45" y="24"/>
                  </a:cubicBezTo>
                  <a:cubicBezTo>
                    <a:pt x="32" y="16"/>
                    <a:pt x="30" y="23"/>
                    <a:pt x="22" y="10"/>
                  </a:cubicBezTo>
                  <a:cubicBezTo>
                    <a:pt x="21" y="2"/>
                    <a:pt x="21" y="5"/>
                    <a:pt x="21"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5" name="Freeform 62"/>
            <p:cNvSpPr>
              <a:spLocks/>
            </p:cNvSpPr>
            <p:nvPr/>
          </p:nvSpPr>
          <p:spPr bwMode="gray">
            <a:xfrm>
              <a:off x="4062" y="3021"/>
              <a:ext cx="27" cy="55"/>
            </a:xfrm>
            <a:custGeom>
              <a:avLst/>
              <a:gdLst/>
              <a:ahLst/>
              <a:cxnLst>
                <a:cxn ang="0">
                  <a:pos x="30" y="0"/>
                </a:cxn>
                <a:cxn ang="0">
                  <a:pos x="21" y="15"/>
                </a:cxn>
                <a:cxn ang="0">
                  <a:pos x="9" y="36"/>
                </a:cxn>
                <a:cxn ang="0">
                  <a:pos x="0" y="59"/>
                </a:cxn>
                <a:cxn ang="0">
                  <a:pos x="8" y="74"/>
                </a:cxn>
                <a:cxn ang="0">
                  <a:pos x="20" y="59"/>
                </a:cxn>
                <a:cxn ang="0">
                  <a:pos x="35" y="32"/>
                </a:cxn>
                <a:cxn ang="0">
                  <a:pos x="30" y="0"/>
                </a:cxn>
              </a:cxnLst>
              <a:rect l="0" t="0" r="r" b="b"/>
              <a:pathLst>
                <a:path w="35" h="74">
                  <a:moveTo>
                    <a:pt x="30" y="0"/>
                  </a:moveTo>
                  <a:cubicBezTo>
                    <a:pt x="33" y="8"/>
                    <a:pt x="29" y="14"/>
                    <a:pt x="21" y="15"/>
                  </a:cubicBezTo>
                  <a:cubicBezTo>
                    <a:pt x="19" y="27"/>
                    <a:pt x="24" y="33"/>
                    <a:pt x="9" y="36"/>
                  </a:cubicBezTo>
                  <a:cubicBezTo>
                    <a:pt x="13" y="50"/>
                    <a:pt x="12" y="52"/>
                    <a:pt x="0" y="59"/>
                  </a:cubicBezTo>
                  <a:cubicBezTo>
                    <a:pt x="3" y="64"/>
                    <a:pt x="5" y="69"/>
                    <a:pt x="8" y="74"/>
                  </a:cubicBezTo>
                  <a:cubicBezTo>
                    <a:pt x="15" y="71"/>
                    <a:pt x="16" y="65"/>
                    <a:pt x="20" y="59"/>
                  </a:cubicBezTo>
                  <a:cubicBezTo>
                    <a:pt x="22" y="47"/>
                    <a:pt x="28" y="41"/>
                    <a:pt x="35" y="32"/>
                  </a:cubicBezTo>
                  <a:cubicBezTo>
                    <a:pt x="34" y="26"/>
                    <a:pt x="30" y="8"/>
                    <a:pt x="30"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6" name="Freeform 63"/>
            <p:cNvSpPr>
              <a:spLocks/>
            </p:cNvSpPr>
            <p:nvPr/>
          </p:nvSpPr>
          <p:spPr bwMode="gray">
            <a:xfrm>
              <a:off x="4113" y="3012"/>
              <a:ext cx="19" cy="55"/>
            </a:xfrm>
            <a:custGeom>
              <a:avLst/>
              <a:gdLst/>
              <a:ahLst/>
              <a:cxnLst>
                <a:cxn ang="0">
                  <a:pos x="13" y="7"/>
                </a:cxn>
                <a:cxn ang="0">
                  <a:pos x="4" y="8"/>
                </a:cxn>
                <a:cxn ang="0">
                  <a:pos x="0" y="22"/>
                </a:cxn>
                <a:cxn ang="0">
                  <a:pos x="15" y="41"/>
                </a:cxn>
                <a:cxn ang="0">
                  <a:pos x="25" y="56"/>
                </a:cxn>
                <a:cxn ang="0">
                  <a:pos x="16" y="20"/>
                </a:cxn>
                <a:cxn ang="0">
                  <a:pos x="13" y="7"/>
                </a:cxn>
              </a:cxnLst>
              <a:rect l="0" t="0" r="r" b="b"/>
              <a:pathLst>
                <a:path w="25" h="73">
                  <a:moveTo>
                    <a:pt x="13" y="7"/>
                  </a:moveTo>
                  <a:cubicBezTo>
                    <a:pt x="9" y="0"/>
                    <a:pt x="7" y="2"/>
                    <a:pt x="4" y="8"/>
                  </a:cubicBezTo>
                  <a:cubicBezTo>
                    <a:pt x="3" y="13"/>
                    <a:pt x="1" y="17"/>
                    <a:pt x="0" y="22"/>
                  </a:cubicBezTo>
                  <a:cubicBezTo>
                    <a:pt x="1" y="35"/>
                    <a:pt x="6" y="33"/>
                    <a:pt x="15" y="41"/>
                  </a:cubicBezTo>
                  <a:cubicBezTo>
                    <a:pt x="16" y="52"/>
                    <a:pt x="15" y="73"/>
                    <a:pt x="25" y="56"/>
                  </a:cubicBezTo>
                  <a:cubicBezTo>
                    <a:pt x="24" y="33"/>
                    <a:pt x="23" y="36"/>
                    <a:pt x="16" y="20"/>
                  </a:cubicBezTo>
                  <a:cubicBezTo>
                    <a:pt x="15" y="11"/>
                    <a:pt x="16" y="15"/>
                    <a:pt x="13" y="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7" name="Freeform 64"/>
            <p:cNvSpPr>
              <a:spLocks/>
            </p:cNvSpPr>
            <p:nvPr/>
          </p:nvSpPr>
          <p:spPr bwMode="gray">
            <a:xfrm>
              <a:off x="4135" y="2995"/>
              <a:ext cx="10" cy="25"/>
            </a:xfrm>
            <a:custGeom>
              <a:avLst/>
              <a:gdLst/>
              <a:ahLst/>
              <a:cxnLst>
                <a:cxn ang="0">
                  <a:pos x="11" y="0"/>
                </a:cxn>
                <a:cxn ang="0">
                  <a:pos x="1" y="10"/>
                </a:cxn>
                <a:cxn ang="0">
                  <a:pos x="11" y="25"/>
                </a:cxn>
                <a:cxn ang="0">
                  <a:pos x="11" y="0"/>
                </a:cxn>
              </a:cxnLst>
              <a:rect l="0" t="0" r="r" b="b"/>
              <a:pathLst>
                <a:path w="14" h="33">
                  <a:moveTo>
                    <a:pt x="11" y="0"/>
                  </a:moveTo>
                  <a:cubicBezTo>
                    <a:pt x="7" y="3"/>
                    <a:pt x="5" y="7"/>
                    <a:pt x="1" y="10"/>
                  </a:cubicBezTo>
                  <a:cubicBezTo>
                    <a:pt x="2" y="18"/>
                    <a:pt x="0" y="33"/>
                    <a:pt x="11" y="25"/>
                  </a:cubicBezTo>
                  <a:cubicBezTo>
                    <a:pt x="14" y="15"/>
                    <a:pt x="5" y="4"/>
                    <a:pt x="11"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8" name="Freeform 65"/>
            <p:cNvSpPr>
              <a:spLocks/>
            </p:cNvSpPr>
            <p:nvPr/>
          </p:nvSpPr>
          <p:spPr bwMode="gray">
            <a:xfrm>
              <a:off x="4145" y="3007"/>
              <a:ext cx="21" cy="48"/>
            </a:xfrm>
            <a:custGeom>
              <a:avLst/>
              <a:gdLst/>
              <a:ahLst/>
              <a:cxnLst>
                <a:cxn ang="0">
                  <a:pos x="5" y="0"/>
                </a:cxn>
                <a:cxn ang="0">
                  <a:pos x="11" y="14"/>
                </a:cxn>
                <a:cxn ang="0">
                  <a:pos x="20" y="21"/>
                </a:cxn>
                <a:cxn ang="0">
                  <a:pos x="8" y="39"/>
                </a:cxn>
                <a:cxn ang="0">
                  <a:pos x="0" y="56"/>
                </a:cxn>
                <a:cxn ang="0">
                  <a:pos x="11" y="57"/>
                </a:cxn>
                <a:cxn ang="0">
                  <a:pos x="26" y="26"/>
                </a:cxn>
                <a:cxn ang="0">
                  <a:pos x="5" y="0"/>
                </a:cxn>
              </a:cxnLst>
              <a:rect l="0" t="0" r="r" b="b"/>
              <a:pathLst>
                <a:path w="28" h="64">
                  <a:moveTo>
                    <a:pt x="5" y="0"/>
                  </a:moveTo>
                  <a:cubicBezTo>
                    <a:pt x="6" y="5"/>
                    <a:pt x="7" y="10"/>
                    <a:pt x="11" y="14"/>
                  </a:cubicBezTo>
                  <a:cubicBezTo>
                    <a:pt x="14" y="17"/>
                    <a:pt x="20" y="21"/>
                    <a:pt x="20" y="21"/>
                  </a:cubicBezTo>
                  <a:cubicBezTo>
                    <a:pt x="9" y="27"/>
                    <a:pt x="0" y="23"/>
                    <a:pt x="8" y="39"/>
                  </a:cubicBezTo>
                  <a:cubicBezTo>
                    <a:pt x="6" y="47"/>
                    <a:pt x="4" y="50"/>
                    <a:pt x="0" y="56"/>
                  </a:cubicBezTo>
                  <a:cubicBezTo>
                    <a:pt x="4" y="62"/>
                    <a:pt x="7" y="64"/>
                    <a:pt x="11" y="57"/>
                  </a:cubicBezTo>
                  <a:cubicBezTo>
                    <a:pt x="13" y="43"/>
                    <a:pt x="10" y="29"/>
                    <a:pt x="26" y="26"/>
                  </a:cubicBezTo>
                  <a:cubicBezTo>
                    <a:pt x="28" y="15"/>
                    <a:pt x="14" y="4"/>
                    <a:pt x="5"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69" name="Freeform 66"/>
            <p:cNvSpPr>
              <a:spLocks/>
            </p:cNvSpPr>
            <p:nvPr/>
          </p:nvSpPr>
          <p:spPr bwMode="gray">
            <a:xfrm>
              <a:off x="3876" y="3076"/>
              <a:ext cx="12" cy="27"/>
            </a:xfrm>
            <a:custGeom>
              <a:avLst/>
              <a:gdLst/>
              <a:ahLst/>
              <a:cxnLst>
                <a:cxn ang="0">
                  <a:pos x="14" y="3"/>
                </a:cxn>
                <a:cxn ang="0">
                  <a:pos x="0" y="7"/>
                </a:cxn>
                <a:cxn ang="0">
                  <a:pos x="8" y="22"/>
                </a:cxn>
                <a:cxn ang="0">
                  <a:pos x="14" y="3"/>
                </a:cxn>
              </a:cxnLst>
              <a:rect l="0" t="0" r="r" b="b"/>
              <a:pathLst>
                <a:path w="16" h="36">
                  <a:moveTo>
                    <a:pt x="14" y="3"/>
                  </a:moveTo>
                  <a:cubicBezTo>
                    <a:pt x="7" y="0"/>
                    <a:pt x="4" y="1"/>
                    <a:pt x="0" y="7"/>
                  </a:cubicBezTo>
                  <a:cubicBezTo>
                    <a:pt x="3" y="14"/>
                    <a:pt x="2" y="17"/>
                    <a:pt x="8" y="22"/>
                  </a:cubicBezTo>
                  <a:cubicBezTo>
                    <a:pt x="16" y="36"/>
                    <a:pt x="11" y="7"/>
                    <a:pt x="14" y="3"/>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0" name="Freeform 67"/>
            <p:cNvSpPr>
              <a:spLocks/>
            </p:cNvSpPr>
            <p:nvPr/>
          </p:nvSpPr>
          <p:spPr bwMode="gray">
            <a:xfrm>
              <a:off x="3866" y="3053"/>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1" name="Freeform 68"/>
            <p:cNvSpPr>
              <a:spLocks/>
            </p:cNvSpPr>
            <p:nvPr/>
          </p:nvSpPr>
          <p:spPr bwMode="gray">
            <a:xfrm>
              <a:off x="3862" y="3035"/>
              <a:ext cx="12" cy="14"/>
            </a:xfrm>
            <a:custGeom>
              <a:avLst/>
              <a:gdLst/>
              <a:ahLst/>
              <a:cxnLst>
                <a:cxn ang="0">
                  <a:pos x="10" y="5"/>
                </a:cxn>
                <a:cxn ang="0">
                  <a:pos x="0" y="10"/>
                </a:cxn>
                <a:cxn ang="0">
                  <a:pos x="12" y="19"/>
                </a:cxn>
                <a:cxn ang="0">
                  <a:pos x="10" y="5"/>
                </a:cxn>
              </a:cxnLst>
              <a:rect l="0" t="0" r="r" b="b"/>
              <a:pathLst>
                <a:path w="16" h="19">
                  <a:moveTo>
                    <a:pt x="10" y="5"/>
                  </a:moveTo>
                  <a:cubicBezTo>
                    <a:pt x="4" y="0"/>
                    <a:pt x="1" y="3"/>
                    <a:pt x="0" y="10"/>
                  </a:cubicBezTo>
                  <a:cubicBezTo>
                    <a:pt x="4" y="15"/>
                    <a:pt x="7" y="16"/>
                    <a:pt x="12" y="19"/>
                  </a:cubicBezTo>
                  <a:cubicBezTo>
                    <a:pt x="16" y="12"/>
                    <a:pt x="14"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2" name="Freeform 69"/>
            <p:cNvSpPr>
              <a:spLocks/>
            </p:cNvSpPr>
            <p:nvPr/>
          </p:nvSpPr>
          <p:spPr bwMode="gray">
            <a:xfrm>
              <a:off x="3850" y="2995"/>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3" name="Freeform 70"/>
            <p:cNvSpPr>
              <a:spLocks/>
            </p:cNvSpPr>
            <p:nvPr/>
          </p:nvSpPr>
          <p:spPr bwMode="gray">
            <a:xfrm>
              <a:off x="3852" y="3020"/>
              <a:ext cx="16" cy="13"/>
            </a:xfrm>
            <a:custGeom>
              <a:avLst/>
              <a:gdLst/>
              <a:ahLst/>
              <a:cxnLst>
                <a:cxn ang="0">
                  <a:pos x="13" y="0"/>
                </a:cxn>
                <a:cxn ang="0">
                  <a:pos x="19" y="18"/>
                </a:cxn>
                <a:cxn ang="0">
                  <a:pos x="14" y="6"/>
                </a:cxn>
                <a:cxn ang="0">
                  <a:pos x="13" y="0"/>
                </a:cxn>
              </a:cxnLst>
              <a:rect l="0" t="0" r="r" b="b"/>
              <a:pathLst>
                <a:path w="22" h="18">
                  <a:moveTo>
                    <a:pt x="13" y="0"/>
                  </a:moveTo>
                  <a:cubicBezTo>
                    <a:pt x="0" y="8"/>
                    <a:pt x="9" y="12"/>
                    <a:pt x="19" y="18"/>
                  </a:cubicBezTo>
                  <a:cubicBezTo>
                    <a:pt x="20" y="11"/>
                    <a:pt x="22" y="8"/>
                    <a:pt x="14" y="6"/>
                  </a:cubicBezTo>
                  <a:cubicBezTo>
                    <a:pt x="9" y="3"/>
                    <a:pt x="9" y="5"/>
                    <a:pt x="13"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4" name="Freeform 71"/>
            <p:cNvSpPr>
              <a:spLocks/>
            </p:cNvSpPr>
            <p:nvPr/>
          </p:nvSpPr>
          <p:spPr bwMode="gray">
            <a:xfrm>
              <a:off x="4688" y="3643"/>
              <a:ext cx="45" cy="60"/>
            </a:xfrm>
            <a:custGeom>
              <a:avLst/>
              <a:gdLst/>
              <a:ahLst/>
              <a:cxnLst>
                <a:cxn ang="0">
                  <a:pos x="10" y="7"/>
                </a:cxn>
                <a:cxn ang="0">
                  <a:pos x="3" y="18"/>
                </a:cxn>
                <a:cxn ang="0">
                  <a:pos x="15" y="39"/>
                </a:cxn>
                <a:cxn ang="0">
                  <a:pos x="27" y="54"/>
                </a:cxn>
                <a:cxn ang="0">
                  <a:pos x="40" y="63"/>
                </a:cxn>
                <a:cxn ang="0">
                  <a:pos x="51" y="81"/>
                </a:cxn>
                <a:cxn ang="0">
                  <a:pos x="52" y="57"/>
                </a:cxn>
                <a:cxn ang="0">
                  <a:pos x="43" y="37"/>
                </a:cxn>
                <a:cxn ang="0">
                  <a:pos x="25" y="18"/>
                </a:cxn>
                <a:cxn ang="0">
                  <a:pos x="10" y="7"/>
                </a:cxn>
              </a:cxnLst>
              <a:rect l="0" t="0" r="r" b="b"/>
              <a:pathLst>
                <a:path w="60" h="81">
                  <a:moveTo>
                    <a:pt x="10" y="7"/>
                  </a:moveTo>
                  <a:cubicBezTo>
                    <a:pt x="0" y="0"/>
                    <a:pt x="0" y="9"/>
                    <a:pt x="3" y="18"/>
                  </a:cubicBezTo>
                  <a:cubicBezTo>
                    <a:pt x="5" y="25"/>
                    <a:pt x="12" y="32"/>
                    <a:pt x="15" y="39"/>
                  </a:cubicBezTo>
                  <a:cubicBezTo>
                    <a:pt x="16" y="51"/>
                    <a:pt x="17" y="51"/>
                    <a:pt x="27" y="54"/>
                  </a:cubicBezTo>
                  <a:cubicBezTo>
                    <a:pt x="31" y="57"/>
                    <a:pt x="36" y="60"/>
                    <a:pt x="40" y="63"/>
                  </a:cubicBezTo>
                  <a:cubicBezTo>
                    <a:pt x="43" y="70"/>
                    <a:pt x="45" y="77"/>
                    <a:pt x="51" y="81"/>
                  </a:cubicBezTo>
                  <a:cubicBezTo>
                    <a:pt x="60" y="75"/>
                    <a:pt x="56" y="66"/>
                    <a:pt x="52" y="57"/>
                  </a:cubicBezTo>
                  <a:cubicBezTo>
                    <a:pt x="51" y="49"/>
                    <a:pt x="50" y="41"/>
                    <a:pt x="43" y="37"/>
                  </a:cubicBezTo>
                  <a:cubicBezTo>
                    <a:pt x="37" y="30"/>
                    <a:pt x="33" y="23"/>
                    <a:pt x="25" y="18"/>
                  </a:cubicBezTo>
                  <a:cubicBezTo>
                    <a:pt x="20" y="12"/>
                    <a:pt x="17" y="9"/>
                    <a:pt x="10" y="7"/>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5" name="Freeform 72"/>
            <p:cNvSpPr>
              <a:spLocks/>
            </p:cNvSpPr>
            <p:nvPr/>
          </p:nvSpPr>
          <p:spPr bwMode="gray">
            <a:xfrm>
              <a:off x="4919" y="3594"/>
              <a:ext cx="53" cy="46"/>
            </a:xfrm>
            <a:custGeom>
              <a:avLst/>
              <a:gdLst/>
              <a:ahLst/>
              <a:cxnLst>
                <a:cxn ang="0">
                  <a:pos x="28" y="23"/>
                </a:cxn>
                <a:cxn ang="0">
                  <a:pos x="13" y="32"/>
                </a:cxn>
                <a:cxn ang="0">
                  <a:pos x="1" y="44"/>
                </a:cxn>
                <a:cxn ang="0">
                  <a:pos x="13" y="59"/>
                </a:cxn>
                <a:cxn ang="0">
                  <a:pos x="28" y="44"/>
                </a:cxn>
                <a:cxn ang="0">
                  <a:pos x="40" y="23"/>
                </a:cxn>
                <a:cxn ang="0">
                  <a:pos x="55" y="0"/>
                </a:cxn>
                <a:cxn ang="0">
                  <a:pos x="71" y="11"/>
                </a:cxn>
                <a:cxn ang="0">
                  <a:pos x="35" y="23"/>
                </a:cxn>
                <a:cxn ang="0">
                  <a:pos x="28" y="23"/>
                </a:cxn>
              </a:cxnLst>
              <a:rect l="0" t="0" r="r" b="b"/>
              <a:pathLst>
                <a:path w="71" h="61">
                  <a:moveTo>
                    <a:pt x="28" y="23"/>
                  </a:moveTo>
                  <a:cubicBezTo>
                    <a:pt x="25" y="33"/>
                    <a:pt x="25" y="33"/>
                    <a:pt x="13" y="32"/>
                  </a:cubicBezTo>
                  <a:cubicBezTo>
                    <a:pt x="2" y="33"/>
                    <a:pt x="3" y="34"/>
                    <a:pt x="1" y="44"/>
                  </a:cubicBezTo>
                  <a:cubicBezTo>
                    <a:pt x="2" y="60"/>
                    <a:pt x="0" y="61"/>
                    <a:pt x="13" y="59"/>
                  </a:cubicBezTo>
                  <a:cubicBezTo>
                    <a:pt x="19" y="54"/>
                    <a:pt x="21" y="48"/>
                    <a:pt x="28" y="44"/>
                  </a:cubicBezTo>
                  <a:cubicBezTo>
                    <a:pt x="30" y="33"/>
                    <a:pt x="28" y="25"/>
                    <a:pt x="40" y="23"/>
                  </a:cubicBezTo>
                  <a:cubicBezTo>
                    <a:pt x="42" y="12"/>
                    <a:pt x="44" y="4"/>
                    <a:pt x="55" y="0"/>
                  </a:cubicBezTo>
                  <a:cubicBezTo>
                    <a:pt x="65" y="2"/>
                    <a:pt x="69" y="1"/>
                    <a:pt x="71" y="11"/>
                  </a:cubicBezTo>
                  <a:cubicBezTo>
                    <a:pt x="63" y="22"/>
                    <a:pt x="48" y="21"/>
                    <a:pt x="35" y="23"/>
                  </a:cubicBezTo>
                  <a:cubicBezTo>
                    <a:pt x="30" y="27"/>
                    <a:pt x="32" y="27"/>
                    <a:pt x="28" y="23"/>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6" name="Freeform 73"/>
            <p:cNvSpPr>
              <a:spLocks/>
            </p:cNvSpPr>
            <p:nvPr/>
          </p:nvSpPr>
          <p:spPr bwMode="gray">
            <a:xfrm>
              <a:off x="4759" y="3569"/>
              <a:ext cx="17" cy="23"/>
            </a:xfrm>
            <a:custGeom>
              <a:avLst/>
              <a:gdLst/>
              <a:ahLst/>
              <a:cxnLst>
                <a:cxn ang="0">
                  <a:pos x="9" y="0"/>
                </a:cxn>
                <a:cxn ang="0">
                  <a:pos x="0" y="14"/>
                </a:cxn>
                <a:cxn ang="0">
                  <a:pos x="12" y="30"/>
                </a:cxn>
                <a:cxn ang="0">
                  <a:pos x="9" y="0"/>
                </a:cxn>
              </a:cxnLst>
              <a:rect l="0" t="0" r="r" b="b"/>
              <a:pathLst>
                <a:path w="23" h="30">
                  <a:moveTo>
                    <a:pt x="9" y="0"/>
                  </a:moveTo>
                  <a:cubicBezTo>
                    <a:pt x="8" y="7"/>
                    <a:pt x="3" y="8"/>
                    <a:pt x="0" y="14"/>
                  </a:cubicBezTo>
                  <a:cubicBezTo>
                    <a:pt x="3" y="21"/>
                    <a:pt x="8" y="24"/>
                    <a:pt x="12" y="30"/>
                  </a:cubicBezTo>
                  <a:cubicBezTo>
                    <a:pt x="23" y="15"/>
                    <a:pt x="4" y="9"/>
                    <a:pt x="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7" name="Freeform 74"/>
            <p:cNvSpPr>
              <a:spLocks/>
            </p:cNvSpPr>
            <p:nvPr/>
          </p:nvSpPr>
          <p:spPr bwMode="gray">
            <a:xfrm>
              <a:off x="4751" y="3547"/>
              <a:ext cx="20" cy="17"/>
            </a:xfrm>
            <a:custGeom>
              <a:avLst/>
              <a:gdLst/>
              <a:ahLst/>
              <a:cxnLst>
                <a:cxn ang="0">
                  <a:pos x="19" y="0"/>
                </a:cxn>
                <a:cxn ang="0">
                  <a:pos x="0" y="14"/>
                </a:cxn>
                <a:cxn ang="0">
                  <a:pos x="21" y="20"/>
                </a:cxn>
                <a:cxn ang="0">
                  <a:pos x="19" y="0"/>
                </a:cxn>
              </a:cxnLst>
              <a:rect l="0" t="0" r="r" b="b"/>
              <a:pathLst>
                <a:path w="26" h="23">
                  <a:moveTo>
                    <a:pt x="19" y="0"/>
                  </a:moveTo>
                  <a:cubicBezTo>
                    <a:pt x="17" y="12"/>
                    <a:pt x="10" y="11"/>
                    <a:pt x="0" y="14"/>
                  </a:cubicBezTo>
                  <a:cubicBezTo>
                    <a:pt x="5" y="23"/>
                    <a:pt x="11" y="22"/>
                    <a:pt x="21" y="20"/>
                  </a:cubicBezTo>
                  <a:cubicBezTo>
                    <a:pt x="26" y="12"/>
                    <a:pt x="23" y="7"/>
                    <a:pt x="1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8" name="Freeform 75"/>
            <p:cNvSpPr>
              <a:spLocks/>
            </p:cNvSpPr>
            <p:nvPr/>
          </p:nvSpPr>
          <p:spPr bwMode="gray">
            <a:xfrm>
              <a:off x="4598" y="3353"/>
              <a:ext cx="24" cy="33"/>
            </a:xfrm>
            <a:custGeom>
              <a:avLst/>
              <a:gdLst/>
              <a:ahLst/>
              <a:cxnLst>
                <a:cxn ang="0">
                  <a:pos x="28" y="0"/>
                </a:cxn>
                <a:cxn ang="0">
                  <a:pos x="10" y="11"/>
                </a:cxn>
                <a:cxn ang="0">
                  <a:pos x="12" y="32"/>
                </a:cxn>
                <a:cxn ang="0">
                  <a:pos x="24" y="36"/>
                </a:cxn>
                <a:cxn ang="0">
                  <a:pos x="28" y="0"/>
                </a:cxn>
              </a:cxnLst>
              <a:rect l="0" t="0" r="r" b="b"/>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79" name="Freeform 76"/>
            <p:cNvSpPr>
              <a:spLocks/>
            </p:cNvSpPr>
            <p:nvPr/>
          </p:nvSpPr>
          <p:spPr bwMode="gray">
            <a:xfrm>
              <a:off x="4632" y="3396"/>
              <a:ext cx="26" cy="33"/>
            </a:xfrm>
            <a:custGeom>
              <a:avLst/>
              <a:gdLst/>
              <a:ahLst/>
              <a:cxnLst>
                <a:cxn ang="0">
                  <a:pos x="30" y="0"/>
                </a:cxn>
                <a:cxn ang="0">
                  <a:pos x="10" y="9"/>
                </a:cxn>
                <a:cxn ang="0">
                  <a:pos x="14" y="32"/>
                </a:cxn>
                <a:cxn ang="0">
                  <a:pos x="26" y="36"/>
                </a:cxn>
                <a:cxn ang="0">
                  <a:pos x="30" y="0"/>
                </a:cxn>
              </a:cxnLst>
              <a:rect l="0" t="0" r="r" b="b"/>
              <a:pathLst>
                <a:path w="34" h="44">
                  <a:moveTo>
                    <a:pt x="30" y="0"/>
                  </a:moveTo>
                  <a:cubicBezTo>
                    <a:pt x="34" y="10"/>
                    <a:pt x="18" y="7"/>
                    <a:pt x="10" y="9"/>
                  </a:cubicBezTo>
                  <a:cubicBezTo>
                    <a:pt x="0" y="16"/>
                    <a:pt x="9" y="24"/>
                    <a:pt x="14" y="32"/>
                  </a:cubicBezTo>
                  <a:cubicBezTo>
                    <a:pt x="16" y="44"/>
                    <a:pt x="17" y="41"/>
                    <a:pt x="26" y="36"/>
                  </a:cubicBezTo>
                  <a:cubicBezTo>
                    <a:pt x="34" y="25"/>
                    <a:pt x="31" y="14"/>
                    <a:pt x="30"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0" name="Freeform 77"/>
            <p:cNvSpPr>
              <a:spLocks/>
            </p:cNvSpPr>
            <p:nvPr/>
          </p:nvSpPr>
          <p:spPr bwMode="gray">
            <a:xfrm>
              <a:off x="4659" y="3459"/>
              <a:ext cx="28" cy="28"/>
            </a:xfrm>
            <a:custGeom>
              <a:avLst/>
              <a:gdLst/>
              <a:ahLst/>
              <a:cxnLst>
                <a:cxn ang="0">
                  <a:pos x="34" y="2"/>
                </a:cxn>
                <a:cxn ang="0">
                  <a:pos x="10" y="2"/>
                </a:cxn>
                <a:cxn ang="0">
                  <a:pos x="14" y="25"/>
                </a:cxn>
                <a:cxn ang="0">
                  <a:pos x="26" y="29"/>
                </a:cxn>
                <a:cxn ang="0">
                  <a:pos x="34" y="2"/>
                </a:cxn>
              </a:cxnLst>
              <a:rect l="0" t="0" r="r" b="b"/>
              <a:pathLst>
                <a:path w="38" h="37">
                  <a:moveTo>
                    <a:pt x="34" y="2"/>
                  </a:moveTo>
                  <a:cubicBezTo>
                    <a:pt x="38" y="12"/>
                    <a:pt x="18" y="0"/>
                    <a:pt x="10" y="2"/>
                  </a:cubicBezTo>
                  <a:cubicBezTo>
                    <a:pt x="0" y="9"/>
                    <a:pt x="9" y="17"/>
                    <a:pt x="14" y="25"/>
                  </a:cubicBezTo>
                  <a:cubicBezTo>
                    <a:pt x="16" y="37"/>
                    <a:pt x="17" y="34"/>
                    <a:pt x="26" y="29"/>
                  </a:cubicBezTo>
                  <a:cubicBezTo>
                    <a:pt x="34" y="18"/>
                    <a:pt x="35" y="16"/>
                    <a:pt x="34" y="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1" name="Freeform 78"/>
            <p:cNvSpPr>
              <a:spLocks/>
            </p:cNvSpPr>
            <p:nvPr/>
          </p:nvSpPr>
          <p:spPr bwMode="gray">
            <a:xfrm>
              <a:off x="4693" y="3449"/>
              <a:ext cx="28" cy="26"/>
            </a:xfrm>
            <a:custGeom>
              <a:avLst/>
              <a:gdLst/>
              <a:ahLst/>
              <a:cxnLst>
                <a:cxn ang="0">
                  <a:pos x="34" y="2"/>
                </a:cxn>
                <a:cxn ang="0">
                  <a:pos x="10" y="2"/>
                </a:cxn>
                <a:cxn ang="0">
                  <a:pos x="16" y="22"/>
                </a:cxn>
                <a:cxn ang="0">
                  <a:pos x="27" y="22"/>
                </a:cxn>
                <a:cxn ang="0">
                  <a:pos x="34" y="2"/>
                </a:cxn>
              </a:cxnLst>
              <a:rect l="0" t="0" r="r" b="b"/>
              <a:pathLst>
                <a:path w="38" h="34">
                  <a:moveTo>
                    <a:pt x="34" y="2"/>
                  </a:moveTo>
                  <a:cubicBezTo>
                    <a:pt x="38" y="12"/>
                    <a:pt x="18" y="0"/>
                    <a:pt x="10" y="2"/>
                  </a:cubicBezTo>
                  <a:cubicBezTo>
                    <a:pt x="0" y="9"/>
                    <a:pt x="11" y="14"/>
                    <a:pt x="16" y="22"/>
                  </a:cubicBezTo>
                  <a:cubicBezTo>
                    <a:pt x="18" y="34"/>
                    <a:pt x="18" y="27"/>
                    <a:pt x="27" y="22"/>
                  </a:cubicBezTo>
                  <a:cubicBezTo>
                    <a:pt x="35" y="11"/>
                    <a:pt x="35" y="16"/>
                    <a:pt x="34" y="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2" name="Freeform 79"/>
            <p:cNvSpPr>
              <a:spLocks/>
            </p:cNvSpPr>
            <p:nvPr/>
          </p:nvSpPr>
          <p:spPr bwMode="gray">
            <a:xfrm>
              <a:off x="4683" y="3413"/>
              <a:ext cx="26" cy="20"/>
            </a:xfrm>
            <a:custGeom>
              <a:avLst/>
              <a:gdLst/>
              <a:ahLst/>
              <a:cxnLst>
                <a:cxn ang="0">
                  <a:pos x="31" y="1"/>
                </a:cxn>
                <a:cxn ang="0">
                  <a:pos x="10" y="2"/>
                </a:cxn>
                <a:cxn ang="0">
                  <a:pos x="13" y="15"/>
                </a:cxn>
                <a:cxn ang="0">
                  <a:pos x="25" y="19"/>
                </a:cxn>
                <a:cxn ang="0">
                  <a:pos x="31" y="1"/>
                </a:cxn>
              </a:cxnLst>
              <a:rect l="0" t="0" r="r" b="b"/>
              <a:pathLst>
                <a:path w="35" h="27">
                  <a:moveTo>
                    <a:pt x="31" y="1"/>
                  </a:moveTo>
                  <a:cubicBezTo>
                    <a:pt x="35" y="11"/>
                    <a:pt x="18" y="0"/>
                    <a:pt x="10" y="2"/>
                  </a:cubicBezTo>
                  <a:cubicBezTo>
                    <a:pt x="0" y="9"/>
                    <a:pt x="8" y="7"/>
                    <a:pt x="13" y="15"/>
                  </a:cubicBezTo>
                  <a:cubicBezTo>
                    <a:pt x="15" y="27"/>
                    <a:pt x="16" y="24"/>
                    <a:pt x="25" y="19"/>
                  </a:cubicBezTo>
                  <a:cubicBezTo>
                    <a:pt x="33" y="8"/>
                    <a:pt x="32" y="15"/>
                    <a:pt x="31" y="1"/>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3" name="Freeform 80"/>
            <p:cNvSpPr>
              <a:spLocks/>
            </p:cNvSpPr>
            <p:nvPr/>
          </p:nvSpPr>
          <p:spPr bwMode="gray">
            <a:xfrm>
              <a:off x="4657" y="3388"/>
              <a:ext cx="26" cy="35"/>
            </a:xfrm>
            <a:custGeom>
              <a:avLst/>
              <a:gdLst/>
              <a:ahLst/>
              <a:cxnLst>
                <a:cxn ang="0">
                  <a:pos x="28" y="16"/>
                </a:cxn>
                <a:cxn ang="0">
                  <a:pos x="19" y="2"/>
                </a:cxn>
                <a:cxn ang="0">
                  <a:pos x="10" y="25"/>
                </a:cxn>
                <a:cxn ang="0">
                  <a:pos x="19" y="35"/>
                </a:cxn>
                <a:cxn ang="0">
                  <a:pos x="27" y="29"/>
                </a:cxn>
                <a:cxn ang="0">
                  <a:pos x="28" y="16"/>
                </a:cxn>
              </a:cxnLst>
              <a:rect l="0" t="0" r="r" b="b"/>
              <a:pathLst>
                <a:path w="35" h="47">
                  <a:moveTo>
                    <a:pt x="28" y="16"/>
                  </a:moveTo>
                  <a:cubicBezTo>
                    <a:pt x="27" y="13"/>
                    <a:pt x="22" y="0"/>
                    <a:pt x="19" y="2"/>
                  </a:cubicBezTo>
                  <a:cubicBezTo>
                    <a:pt x="16" y="4"/>
                    <a:pt x="10" y="20"/>
                    <a:pt x="10" y="25"/>
                  </a:cubicBezTo>
                  <a:cubicBezTo>
                    <a:pt x="0" y="32"/>
                    <a:pt x="14" y="27"/>
                    <a:pt x="19" y="35"/>
                  </a:cubicBezTo>
                  <a:cubicBezTo>
                    <a:pt x="21" y="47"/>
                    <a:pt x="18" y="34"/>
                    <a:pt x="27" y="29"/>
                  </a:cubicBezTo>
                  <a:cubicBezTo>
                    <a:pt x="35" y="18"/>
                    <a:pt x="29" y="30"/>
                    <a:pt x="28" y="16"/>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4" name="Freeform 81"/>
            <p:cNvSpPr>
              <a:spLocks/>
            </p:cNvSpPr>
            <p:nvPr/>
          </p:nvSpPr>
          <p:spPr bwMode="gray">
            <a:xfrm>
              <a:off x="4625" y="3372"/>
              <a:ext cx="24" cy="26"/>
            </a:xfrm>
            <a:custGeom>
              <a:avLst/>
              <a:gdLst/>
              <a:ahLst/>
              <a:cxnLst>
                <a:cxn ang="0">
                  <a:pos x="22" y="10"/>
                </a:cxn>
                <a:cxn ang="0">
                  <a:pos x="10" y="2"/>
                </a:cxn>
                <a:cxn ang="0">
                  <a:pos x="12" y="23"/>
                </a:cxn>
                <a:cxn ang="0">
                  <a:pos x="24" y="27"/>
                </a:cxn>
                <a:cxn ang="0">
                  <a:pos x="22" y="10"/>
                </a:cxn>
              </a:cxnLst>
              <a:rect l="0" t="0" r="r" b="b"/>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5" name="Freeform 82"/>
            <p:cNvSpPr>
              <a:spLocks/>
            </p:cNvSpPr>
            <p:nvPr/>
          </p:nvSpPr>
          <p:spPr bwMode="gray">
            <a:xfrm>
              <a:off x="4665" y="3425"/>
              <a:ext cx="24" cy="26"/>
            </a:xfrm>
            <a:custGeom>
              <a:avLst/>
              <a:gdLst/>
              <a:ahLst/>
              <a:cxnLst>
                <a:cxn ang="0">
                  <a:pos x="22" y="10"/>
                </a:cxn>
                <a:cxn ang="0">
                  <a:pos x="10" y="2"/>
                </a:cxn>
                <a:cxn ang="0">
                  <a:pos x="12" y="23"/>
                </a:cxn>
                <a:cxn ang="0">
                  <a:pos x="24" y="27"/>
                </a:cxn>
                <a:cxn ang="0">
                  <a:pos x="22" y="10"/>
                </a:cxn>
              </a:cxnLst>
              <a:rect l="0" t="0" r="r" b="b"/>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6" name="Freeform 83"/>
            <p:cNvSpPr>
              <a:spLocks/>
            </p:cNvSpPr>
            <p:nvPr/>
          </p:nvSpPr>
          <p:spPr bwMode="gray">
            <a:xfrm>
              <a:off x="3055" y="2051"/>
              <a:ext cx="141" cy="108"/>
            </a:xfrm>
            <a:custGeom>
              <a:avLst/>
              <a:gdLst/>
              <a:ahLst/>
              <a:cxnLst>
                <a:cxn ang="0">
                  <a:pos x="171" y="4"/>
                </a:cxn>
                <a:cxn ang="0">
                  <a:pos x="185" y="4"/>
                </a:cxn>
                <a:cxn ang="0">
                  <a:pos x="189" y="16"/>
                </a:cxn>
                <a:cxn ang="0">
                  <a:pos x="187" y="24"/>
                </a:cxn>
                <a:cxn ang="0">
                  <a:pos x="131" y="44"/>
                </a:cxn>
                <a:cxn ang="0">
                  <a:pos x="109" y="58"/>
                </a:cxn>
                <a:cxn ang="0">
                  <a:pos x="97" y="62"/>
                </a:cxn>
                <a:cxn ang="0">
                  <a:pos x="71" y="82"/>
                </a:cxn>
                <a:cxn ang="0">
                  <a:pos x="75" y="92"/>
                </a:cxn>
                <a:cxn ang="0">
                  <a:pos x="83" y="116"/>
                </a:cxn>
                <a:cxn ang="0">
                  <a:pos x="107" y="126"/>
                </a:cxn>
                <a:cxn ang="0">
                  <a:pos x="93" y="140"/>
                </a:cxn>
                <a:cxn ang="0">
                  <a:pos x="83" y="130"/>
                </a:cxn>
                <a:cxn ang="0">
                  <a:pos x="71" y="134"/>
                </a:cxn>
                <a:cxn ang="0">
                  <a:pos x="21" y="122"/>
                </a:cxn>
                <a:cxn ang="0">
                  <a:pos x="19" y="106"/>
                </a:cxn>
                <a:cxn ang="0">
                  <a:pos x="47" y="90"/>
                </a:cxn>
                <a:cxn ang="0">
                  <a:pos x="51" y="76"/>
                </a:cxn>
                <a:cxn ang="0">
                  <a:pos x="47" y="64"/>
                </a:cxn>
                <a:cxn ang="0">
                  <a:pos x="73" y="46"/>
                </a:cxn>
                <a:cxn ang="0">
                  <a:pos x="97" y="36"/>
                </a:cxn>
                <a:cxn ang="0">
                  <a:pos x="113" y="24"/>
                </a:cxn>
                <a:cxn ang="0">
                  <a:pos x="171" y="4"/>
                </a:cxn>
              </a:cxnLst>
              <a:rect l="0" t="0" r="r" b="b"/>
              <a:pathLst>
                <a:path w="189" h="144">
                  <a:moveTo>
                    <a:pt x="171" y="4"/>
                  </a:moveTo>
                  <a:cubicBezTo>
                    <a:pt x="174" y="3"/>
                    <a:pt x="182" y="0"/>
                    <a:pt x="185" y="4"/>
                  </a:cubicBezTo>
                  <a:cubicBezTo>
                    <a:pt x="187" y="7"/>
                    <a:pt x="189" y="16"/>
                    <a:pt x="189" y="16"/>
                  </a:cubicBezTo>
                  <a:cubicBezTo>
                    <a:pt x="188" y="19"/>
                    <a:pt x="189" y="22"/>
                    <a:pt x="187" y="24"/>
                  </a:cubicBezTo>
                  <a:cubicBezTo>
                    <a:pt x="175" y="34"/>
                    <a:pt x="146" y="34"/>
                    <a:pt x="131" y="44"/>
                  </a:cubicBezTo>
                  <a:cubicBezTo>
                    <a:pt x="125" y="53"/>
                    <a:pt x="120" y="54"/>
                    <a:pt x="109" y="58"/>
                  </a:cubicBezTo>
                  <a:cubicBezTo>
                    <a:pt x="105" y="59"/>
                    <a:pt x="97" y="62"/>
                    <a:pt x="97" y="62"/>
                  </a:cubicBezTo>
                  <a:cubicBezTo>
                    <a:pt x="88" y="76"/>
                    <a:pt x="83" y="74"/>
                    <a:pt x="71" y="82"/>
                  </a:cubicBezTo>
                  <a:cubicBezTo>
                    <a:pt x="66" y="98"/>
                    <a:pt x="70" y="78"/>
                    <a:pt x="75" y="92"/>
                  </a:cubicBezTo>
                  <a:cubicBezTo>
                    <a:pt x="81" y="108"/>
                    <a:pt x="71" y="108"/>
                    <a:pt x="83" y="116"/>
                  </a:cubicBezTo>
                  <a:cubicBezTo>
                    <a:pt x="90" y="121"/>
                    <a:pt x="107" y="126"/>
                    <a:pt x="107" y="126"/>
                  </a:cubicBezTo>
                  <a:cubicBezTo>
                    <a:pt x="105" y="139"/>
                    <a:pt x="106" y="144"/>
                    <a:pt x="93" y="140"/>
                  </a:cubicBezTo>
                  <a:cubicBezTo>
                    <a:pt x="91" y="137"/>
                    <a:pt x="87" y="130"/>
                    <a:pt x="83" y="130"/>
                  </a:cubicBezTo>
                  <a:cubicBezTo>
                    <a:pt x="79" y="130"/>
                    <a:pt x="71" y="134"/>
                    <a:pt x="71" y="134"/>
                  </a:cubicBezTo>
                  <a:cubicBezTo>
                    <a:pt x="52" y="129"/>
                    <a:pt x="42" y="124"/>
                    <a:pt x="21" y="122"/>
                  </a:cubicBezTo>
                  <a:cubicBezTo>
                    <a:pt x="14" y="115"/>
                    <a:pt x="0" y="102"/>
                    <a:pt x="19" y="106"/>
                  </a:cubicBezTo>
                  <a:cubicBezTo>
                    <a:pt x="29" y="91"/>
                    <a:pt x="26" y="93"/>
                    <a:pt x="47" y="90"/>
                  </a:cubicBezTo>
                  <a:cubicBezTo>
                    <a:pt x="55" y="84"/>
                    <a:pt x="54" y="88"/>
                    <a:pt x="51" y="76"/>
                  </a:cubicBezTo>
                  <a:cubicBezTo>
                    <a:pt x="50" y="72"/>
                    <a:pt x="47" y="64"/>
                    <a:pt x="47" y="64"/>
                  </a:cubicBezTo>
                  <a:cubicBezTo>
                    <a:pt x="50" y="41"/>
                    <a:pt x="50" y="43"/>
                    <a:pt x="73" y="46"/>
                  </a:cubicBezTo>
                  <a:cubicBezTo>
                    <a:pt x="82" y="45"/>
                    <a:pt x="97" y="36"/>
                    <a:pt x="97" y="36"/>
                  </a:cubicBezTo>
                  <a:cubicBezTo>
                    <a:pt x="102" y="29"/>
                    <a:pt x="105" y="27"/>
                    <a:pt x="113" y="24"/>
                  </a:cubicBezTo>
                  <a:cubicBezTo>
                    <a:pt x="134" y="27"/>
                    <a:pt x="161" y="25"/>
                    <a:pt x="171" y="4"/>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7" name="Freeform 84"/>
            <p:cNvSpPr>
              <a:spLocks/>
            </p:cNvSpPr>
            <p:nvPr/>
          </p:nvSpPr>
          <p:spPr bwMode="gray">
            <a:xfrm>
              <a:off x="3139" y="2155"/>
              <a:ext cx="40" cy="12"/>
            </a:xfrm>
            <a:custGeom>
              <a:avLst/>
              <a:gdLst/>
              <a:ahLst/>
              <a:cxnLst>
                <a:cxn ang="0">
                  <a:pos x="24" y="0"/>
                </a:cxn>
                <a:cxn ang="0">
                  <a:pos x="12" y="2"/>
                </a:cxn>
                <a:cxn ang="0">
                  <a:pos x="32" y="16"/>
                </a:cxn>
                <a:cxn ang="0">
                  <a:pos x="44" y="14"/>
                </a:cxn>
                <a:cxn ang="0">
                  <a:pos x="24" y="0"/>
                </a:cxn>
              </a:cxnLst>
              <a:rect l="0" t="0" r="r" b="b"/>
              <a:pathLst>
                <a:path w="53" h="17">
                  <a:moveTo>
                    <a:pt x="24" y="0"/>
                  </a:moveTo>
                  <a:cubicBezTo>
                    <a:pt x="20" y="1"/>
                    <a:pt x="16" y="0"/>
                    <a:pt x="12" y="2"/>
                  </a:cubicBezTo>
                  <a:cubicBezTo>
                    <a:pt x="0" y="9"/>
                    <a:pt x="30" y="15"/>
                    <a:pt x="32" y="16"/>
                  </a:cubicBezTo>
                  <a:cubicBezTo>
                    <a:pt x="36" y="15"/>
                    <a:pt x="41" y="17"/>
                    <a:pt x="44" y="14"/>
                  </a:cubicBezTo>
                  <a:cubicBezTo>
                    <a:pt x="53" y="3"/>
                    <a:pt x="30" y="0"/>
                    <a:pt x="2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8" name="Freeform 85"/>
            <p:cNvSpPr>
              <a:spLocks/>
            </p:cNvSpPr>
            <p:nvPr/>
          </p:nvSpPr>
          <p:spPr bwMode="gray">
            <a:xfrm>
              <a:off x="3344" y="1999"/>
              <a:ext cx="42" cy="28"/>
            </a:xfrm>
            <a:custGeom>
              <a:avLst/>
              <a:gdLst/>
              <a:ahLst/>
              <a:cxnLst>
                <a:cxn ang="0">
                  <a:pos x="57" y="4"/>
                </a:cxn>
                <a:cxn ang="0">
                  <a:pos x="25" y="24"/>
                </a:cxn>
                <a:cxn ang="0">
                  <a:pos x="11" y="34"/>
                </a:cxn>
                <a:cxn ang="0">
                  <a:pos x="9" y="4"/>
                </a:cxn>
                <a:cxn ang="0">
                  <a:pos x="21" y="0"/>
                </a:cxn>
                <a:cxn ang="0">
                  <a:pos x="57" y="4"/>
                </a:cxn>
              </a:cxnLst>
              <a:rect l="0" t="0" r="r" b="b"/>
              <a:pathLst>
                <a:path w="57" h="37">
                  <a:moveTo>
                    <a:pt x="57" y="4"/>
                  </a:moveTo>
                  <a:cubicBezTo>
                    <a:pt x="53" y="16"/>
                    <a:pt x="35" y="17"/>
                    <a:pt x="25" y="24"/>
                  </a:cubicBezTo>
                  <a:cubicBezTo>
                    <a:pt x="22" y="34"/>
                    <a:pt x="22" y="37"/>
                    <a:pt x="11" y="34"/>
                  </a:cubicBezTo>
                  <a:cubicBezTo>
                    <a:pt x="6" y="27"/>
                    <a:pt x="0" y="10"/>
                    <a:pt x="9" y="4"/>
                  </a:cubicBezTo>
                  <a:cubicBezTo>
                    <a:pt x="12" y="2"/>
                    <a:pt x="21" y="0"/>
                    <a:pt x="21" y="0"/>
                  </a:cubicBezTo>
                  <a:cubicBezTo>
                    <a:pt x="33" y="2"/>
                    <a:pt x="45" y="4"/>
                    <a:pt x="57" y="4"/>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89" name="Freeform 86"/>
            <p:cNvSpPr>
              <a:spLocks/>
            </p:cNvSpPr>
            <p:nvPr/>
          </p:nvSpPr>
          <p:spPr bwMode="gray">
            <a:xfrm>
              <a:off x="3374" y="2012"/>
              <a:ext cx="50" cy="20"/>
            </a:xfrm>
            <a:custGeom>
              <a:avLst/>
              <a:gdLst/>
              <a:ahLst/>
              <a:cxnLst>
                <a:cxn ang="0">
                  <a:pos x="29" y="0"/>
                </a:cxn>
                <a:cxn ang="0">
                  <a:pos x="11" y="6"/>
                </a:cxn>
                <a:cxn ang="0">
                  <a:pos x="57" y="26"/>
                </a:cxn>
                <a:cxn ang="0">
                  <a:pos x="63" y="24"/>
                </a:cxn>
                <a:cxn ang="0">
                  <a:pos x="29" y="0"/>
                </a:cxn>
              </a:cxnLst>
              <a:rect l="0" t="0" r="r" b="b"/>
              <a:pathLst>
                <a:path w="68" h="26">
                  <a:moveTo>
                    <a:pt x="29" y="0"/>
                  </a:moveTo>
                  <a:cubicBezTo>
                    <a:pt x="23" y="2"/>
                    <a:pt x="11" y="6"/>
                    <a:pt x="11" y="6"/>
                  </a:cubicBezTo>
                  <a:cubicBezTo>
                    <a:pt x="0" y="23"/>
                    <a:pt x="47" y="24"/>
                    <a:pt x="57" y="26"/>
                  </a:cubicBezTo>
                  <a:cubicBezTo>
                    <a:pt x="59" y="25"/>
                    <a:pt x="62" y="26"/>
                    <a:pt x="63" y="24"/>
                  </a:cubicBezTo>
                  <a:cubicBezTo>
                    <a:pt x="68" y="3"/>
                    <a:pt x="42" y="3"/>
                    <a:pt x="2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0" name="Freeform 87"/>
            <p:cNvSpPr>
              <a:spLocks/>
            </p:cNvSpPr>
            <p:nvPr/>
          </p:nvSpPr>
          <p:spPr bwMode="gray">
            <a:xfrm>
              <a:off x="3428" y="2015"/>
              <a:ext cx="50" cy="32"/>
            </a:xfrm>
            <a:custGeom>
              <a:avLst/>
              <a:gdLst/>
              <a:ahLst/>
              <a:cxnLst>
                <a:cxn ang="0">
                  <a:pos x="50" y="9"/>
                </a:cxn>
                <a:cxn ang="0">
                  <a:pos x="26" y="9"/>
                </a:cxn>
                <a:cxn ang="0">
                  <a:pos x="10" y="9"/>
                </a:cxn>
                <a:cxn ang="0">
                  <a:pos x="8" y="35"/>
                </a:cxn>
                <a:cxn ang="0">
                  <a:pos x="32" y="43"/>
                </a:cxn>
                <a:cxn ang="0">
                  <a:pos x="62" y="27"/>
                </a:cxn>
                <a:cxn ang="0">
                  <a:pos x="50" y="9"/>
                </a:cxn>
              </a:cxnLst>
              <a:rect l="0" t="0" r="r" b="b"/>
              <a:pathLst>
                <a:path w="66" h="43">
                  <a:moveTo>
                    <a:pt x="50" y="9"/>
                  </a:moveTo>
                  <a:cubicBezTo>
                    <a:pt x="40" y="16"/>
                    <a:pt x="36" y="16"/>
                    <a:pt x="26" y="9"/>
                  </a:cubicBezTo>
                  <a:cubicBezTo>
                    <a:pt x="20" y="0"/>
                    <a:pt x="18" y="4"/>
                    <a:pt x="10" y="9"/>
                  </a:cubicBezTo>
                  <a:cubicBezTo>
                    <a:pt x="4" y="17"/>
                    <a:pt x="0" y="21"/>
                    <a:pt x="8" y="35"/>
                  </a:cubicBezTo>
                  <a:cubicBezTo>
                    <a:pt x="12" y="42"/>
                    <a:pt x="32" y="43"/>
                    <a:pt x="32" y="43"/>
                  </a:cubicBezTo>
                  <a:cubicBezTo>
                    <a:pt x="41" y="40"/>
                    <a:pt x="54" y="33"/>
                    <a:pt x="62" y="27"/>
                  </a:cubicBezTo>
                  <a:cubicBezTo>
                    <a:pt x="66" y="15"/>
                    <a:pt x="61" y="15"/>
                    <a:pt x="50" y="9"/>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1" name="Freeform 88"/>
            <p:cNvSpPr>
              <a:spLocks/>
            </p:cNvSpPr>
            <p:nvPr/>
          </p:nvSpPr>
          <p:spPr bwMode="gray">
            <a:xfrm>
              <a:off x="3777" y="2042"/>
              <a:ext cx="88" cy="31"/>
            </a:xfrm>
            <a:custGeom>
              <a:avLst/>
              <a:gdLst/>
              <a:ahLst/>
              <a:cxnLst>
                <a:cxn ang="0">
                  <a:pos x="14" y="0"/>
                </a:cxn>
                <a:cxn ang="0">
                  <a:pos x="8" y="16"/>
                </a:cxn>
                <a:cxn ang="0">
                  <a:pos x="50" y="30"/>
                </a:cxn>
                <a:cxn ang="0">
                  <a:pos x="76" y="36"/>
                </a:cxn>
                <a:cxn ang="0">
                  <a:pos x="112" y="22"/>
                </a:cxn>
                <a:cxn ang="0">
                  <a:pos x="78" y="4"/>
                </a:cxn>
                <a:cxn ang="0">
                  <a:pos x="14" y="0"/>
                </a:cxn>
              </a:cxnLst>
              <a:rect l="0" t="0" r="r" b="b"/>
              <a:pathLst>
                <a:path w="117" h="41">
                  <a:moveTo>
                    <a:pt x="14" y="0"/>
                  </a:moveTo>
                  <a:cubicBezTo>
                    <a:pt x="8" y="4"/>
                    <a:pt x="0" y="9"/>
                    <a:pt x="8" y="16"/>
                  </a:cubicBezTo>
                  <a:cubicBezTo>
                    <a:pt x="21" y="27"/>
                    <a:pt x="34" y="28"/>
                    <a:pt x="50" y="30"/>
                  </a:cubicBezTo>
                  <a:cubicBezTo>
                    <a:pt x="66" y="41"/>
                    <a:pt x="57" y="39"/>
                    <a:pt x="76" y="36"/>
                  </a:cubicBezTo>
                  <a:cubicBezTo>
                    <a:pt x="88" y="32"/>
                    <a:pt x="101" y="29"/>
                    <a:pt x="112" y="22"/>
                  </a:cubicBezTo>
                  <a:cubicBezTo>
                    <a:pt x="117" y="6"/>
                    <a:pt x="87" y="5"/>
                    <a:pt x="78" y="4"/>
                  </a:cubicBezTo>
                  <a:cubicBezTo>
                    <a:pt x="17" y="6"/>
                    <a:pt x="34" y="20"/>
                    <a:pt x="1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2" name="Freeform 89"/>
            <p:cNvSpPr>
              <a:spLocks/>
            </p:cNvSpPr>
            <p:nvPr/>
          </p:nvSpPr>
          <p:spPr bwMode="gray">
            <a:xfrm>
              <a:off x="3867" y="2041"/>
              <a:ext cx="46" cy="24"/>
            </a:xfrm>
            <a:custGeom>
              <a:avLst/>
              <a:gdLst/>
              <a:ahLst/>
              <a:cxnLst>
                <a:cxn ang="0">
                  <a:pos x="32" y="4"/>
                </a:cxn>
                <a:cxn ang="0">
                  <a:pos x="62" y="10"/>
                </a:cxn>
                <a:cxn ang="0">
                  <a:pos x="30" y="32"/>
                </a:cxn>
                <a:cxn ang="0">
                  <a:pos x="6" y="22"/>
                </a:cxn>
                <a:cxn ang="0">
                  <a:pos x="32" y="4"/>
                </a:cxn>
              </a:cxnLst>
              <a:rect l="0" t="0" r="r" b="b"/>
              <a:pathLst>
                <a:path w="62" h="32">
                  <a:moveTo>
                    <a:pt x="32" y="4"/>
                  </a:moveTo>
                  <a:cubicBezTo>
                    <a:pt x="44" y="0"/>
                    <a:pt x="53" y="1"/>
                    <a:pt x="62" y="10"/>
                  </a:cubicBezTo>
                  <a:cubicBezTo>
                    <a:pt x="59" y="23"/>
                    <a:pt x="42" y="28"/>
                    <a:pt x="30" y="32"/>
                  </a:cubicBezTo>
                  <a:cubicBezTo>
                    <a:pt x="15" y="22"/>
                    <a:pt x="23" y="25"/>
                    <a:pt x="6" y="22"/>
                  </a:cubicBezTo>
                  <a:cubicBezTo>
                    <a:pt x="0" y="4"/>
                    <a:pt x="14" y="8"/>
                    <a:pt x="32" y="4"/>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3" name="Freeform 90"/>
            <p:cNvSpPr>
              <a:spLocks/>
            </p:cNvSpPr>
            <p:nvPr/>
          </p:nvSpPr>
          <p:spPr bwMode="gray">
            <a:xfrm>
              <a:off x="3846" y="2070"/>
              <a:ext cx="37" cy="17"/>
            </a:xfrm>
            <a:custGeom>
              <a:avLst/>
              <a:gdLst/>
              <a:ahLst/>
              <a:cxnLst>
                <a:cxn ang="0">
                  <a:pos x="20" y="1"/>
                </a:cxn>
                <a:cxn ang="0">
                  <a:pos x="6" y="5"/>
                </a:cxn>
                <a:cxn ang="0">
                  <a:pos x="38" y="23"/>
                </a:cxn>
                <a:cxn ang="0">
                  <a:pos x="20" y="1"/>
                </a:cxn>
              </a:cxnLst>
              <a:rect l="0" t="0" r="r" b="b"/>
              <a:pathLst>
                <a:path w="49" h="23">
                  <a:moveTo>
                    <a:pt x="20" y="1"/>
                  </a:moveTo>
                  <a:cubicBezTo>
                    <a:pt x="15" y="2"/>
                    <a:pt x="8" y="0"/>
                    <a:pt x="6" y="5"/>
                  </a:cubicBezTo>
                  <a:cubicBezTo>
                    <a:pt x="0" y="19"/>
                    <a:pt x="32" y="21"/>
                    <a:pt x="38" y="23"/>
                  </a:cubicBezTo>
                  <a:cubicBezTo>
                    <a:pt x="49" y="6"/>
                    <a:pt x="35" y="3"/>
                    <a:pt x="20" y="1"/>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4" name="Freeform 91"/>
            <p:cNvSpPr>
              <a:spLocks/>
            </p:cNvSpPr>
            <p:nvPr/>
          </p:nvSpPr>
          <p:spPr bwMode="gray">
            <a:xfrm>
              <a:off x="4098" y="2294"/>
              <a:ext cx="76" cy="114"/>
            </a:xfrm>
            <a:custGeom>
              <a:avLst/>
              <a:gdLst/>
              <a:ahLst/>
              <a:cxnLst>
                <a:cxn ang="0">
                  <a:pos x="6" y="0"/>
                </a:cxn>
                <a:cxn ang="0">
                  <a:pos x="0" y="18"/>
                </a:cxn>
                <a:cxn ang="0">
                  <a:pos x="14" y="42"/>
                </a:cxn>
                <a:cxn ang="0">
                  <a:pos x="32" y="72"/>
                </a:cxn>
                <a:cxn ang="0">
                  <a:pos x="36" y="104"/>
                </a:cxn>
                <a:cxn ang="0">
                  <a:pos x="80" y="152"/>
                </a:cxn>
                <a:cxn ang="0">
                  <a:pos x="86" y="124"/>
                </a:cxn>
                <a:cxn ang="0">
                  <a:pos x="74" y="102"/>
                </a:cxn>
                <a:cxn ang="0">
                  <a:pos x="62" y="92"/>
                </a:cxn>
                <a:cxn ang="0">
                  <a:pos x="52" y="74"/>
                </a:cxn>
                <a:cxn ang="0">
                  <a:pos x="42" y="44"/>
                </a:cxn>
                <a:cxn ang="0">
                  <a:pos x="4" y="12"/>
                </a:cxn>
                <a:cxn ang="0">
                  <a:pos x="6" y="0"/>
                </a:cxn>
              </a:cxnLst>
              <a:rect l="0" t="0" r="r" b="b"/>
              <a:pathLst>
                <a:path w="102" h="152">
                  <a:moveTo>
                    <a:pt x="6" y="0"/>
                  </a:moveTo>
                  <a:cubicBezTo>
                    <a:pt x="4" y="6"/>
                    <a:pt x="0" y="18"/>
                    <a:pt x="0" y="18"/>
                  </a:cubicBezTo>
                  <a:cubicBezTo>
                    <a:pt x="3" y="26"/>
                    <a:pt x="9" y="35"/>
                    <a:pt x="14" y="42"/>
                  </a:cubicBezTo>
                  <a:cubicBezTo>
                    <a:pt x="17" y="58"/>
                    <a:pt x="16" y="69"/>
                    <a:pt x="32" y="72"/>
                  </a:cubicBezTo>
                  <a:cubicBezTo>
                    <a:pt x="44" y="80"/>
                    <a:pt x="40" y="91"/>
                    <a:pt x="36" y="104"/>
                  </a:cubicBezTo>
                  <a:cubicBezTo>
                    <a:pt x="57" y="118"/>
                    <a:pt x="60" y="139"/>
                    <a:pt x="80" y="152"/>
                  </a:cubicBezTo>
                  <a:cubicBezTo>
                    <a:pt x="95" y="148"/>
                    <a:pt x="102" y="135"/>
                    <a:pt x="86" y="124"/>
                  </a:cubicBezTo>
                  <a:cubicBezTo>
                    <a:pt x="72" y="129"/>
                    <a:pt x="78" y="110"/>
                    <a:pt x="74" y="102"/>
                  </a:cubicBezTo>
                  <a:cubicBezTo>
                    <a:pt x="72" y="98"/>
                    <a:pt x="65" y="94"/>
                    <a:pt x="62" y="92"/>
                  </a:cubicBezTo>
                  <a:cubicBezTo>
                    <a:pt x="59" y="82"/>
                    <a:pt x="65" y="65"/>
                    <a:pt x="52" y="74"/>
                  </a:cubicBezTo>
                  <a:cubicBezTo>
                    <a:pt x="46" y="65"/>
                    <a:pt x="47" y="54"/>
                    <a:pt x="42" y="44"/>
                  </a:cubicBezTo>
                  <a:cubicBezTo>
                    <a:pt x="36" y="32"/>
                    <a:pt x="16" y="18"/>
                    <a:pt x="4" y="12"/>
                  </a:cubicBezTo>
                  <a:lnTo>
                    <a:pt x="6" y="0"/>
                  </a:ln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5" name="Freeform 92"/>
            <p:cNvSpPr>
              <a:spLocks/>
            </p:cNvSpPr>
            <p:nvPr/>
          </p:nvSpPr>
          <p:spPr bwMode="gray">
            <a:xfrm>
              <a:off x="4159" y="2412"/>
              <a:ext cx="55" cy="78"/>
            </a:xfrm>
            <a:custGeom>
              <a:avLst/>
              <a:gdLst/>
              <a:ahLst/>
              <a:cxnLst>
                <a:cxn ang="0">
                  <a:pos x="64" y="22"/>
                </a:cxn>
                <a:cxn ang="0">
                  <a:pos x="74" y="40"/>
                </a:cxn>
                <a:cxn ang="0">
                  <a:pos x="30" y="84"/>
                </a:cxn>
                <a:cxn ang="0">
                  <a:pos x="32" y="100"/>
                </a:cxn>
                <a:cxn ang="0">
                  <a:pos x="20" y="94"/>
                </a:cxn>
                <a:cxn ang="0">
                  <a:pos x="6" y="84"/>
                </a:cxn>
                <a:cxn ang="0">
                  <a:pos x="0" y="82"/>
                </a:cxn>
                <a:cxn ang="0">
                  <a:pos x="10" y="58"/>
                </a:cxn>
                <a:cxn ang="0">
                  <a:pos x="12" y="52"/>
                </a:cxn>
                <a:cxn ang="0">
                  <a:pos x="2" y="24"/>
                </a:cxn>
                <a:cxn ang="0">
                  <a:pos x="4" y="14"/>
                </a:cxn>
                <a:cxn ang="0">
                  <a:pos x="26" y="22"/>
                </a:cxn>
                <a:cxn ang="0">
                  <a:pos x="36" y="36"/>
                </a:cxn>
                <a:cxn ang="0">
                  <a:pos x="64" y="22"/>
                </a:cxn>
              </a:cxnLst>
              <a:rect l="0" t="0" r="r" b="b"/>
              <a:pathLst>
                <a:path w="74" h="103">
                  <a:moveTo>
                    <a:pt x="64" y="22"/>
                  </a:moveTo>
                  <a:cubicBezTo>
                    <a:pt x="73" y="36"/>
                    <a:pt x="70" y="29"/>
                    <a:pt x="74" y="40"/>
                  </a:cubicBezTo>
                  <a:cubicBezTo>
                    <a:pt x="70" y="77"/>
                    <a:pt x="68" y="81"/>
                    <a:pt x="30" y="84"/>
                  </a:cubicBezTo>
                  <a:cubicBezTo>
                    <a:pt x="33" y="88"/>
                    <a:pt x="39" y="95"/>
                    <a:pt x="32" y="100"/>
                  </a:cubicBezTo>
                  <a:cubicBezTo>
                    <a:pt x="28" y="103"/>
                    <a:pt x="24" y="95"/>
                    <a:pt x="20" y="94"/>
                  </a:cubicBezTo>
                  <a:cubicBezTo>
                    <a:pt x="17" y="84"/>
                    <a:pt x="20" y="89"/>
                    <a:pt x="6" y="84"/>
                  </a:cubicBezTo>
                  <a:cubicBezTo>
                    <a:pt x="4" y="83"/>
                    <a:pt x="0" y="82"/>
                    <a:pt x="0" y="82"/>
                  </a:cubicBezTo>
                  <a:cubicBezTo>
                    <a:pt x="3" y="73"/>
                    <a:pt x="7" y="67"/>
                    <a:pt x="10" y="58"/>
                  </a:cubicBezTo>
                  <a:cubicBezTo>
                    <a:pt x="11" y="56"/>
                    <a:pt x="12" y="52"/>
                    <a:pt x="12" y="52"/>
                  </a:cubicBezTo>
                  <a:cubicBezTo>
                    <a:pt x="10" y="42"/>
                    <a:pt x="8" y="33"/>
                    <a:pt x="2" y="24"/>
                  </a:cubicBezTo>
                  <a:cubicBezTo>
                    <a:pt x="3" y="21"/>
                    <a:pt x="2" y="17"/>
                    <a:pt x="4" y="14"/>
                  </a:cubicBezTo>
                  <a:cubicBezTo>
                    <a:pt x="11" y="0"/>
                    <a:pt x="18" y="19"/>
                    <a:pt x="26" y="22"/>
                  </a:cubicBezTo>
                  <a:cubicBezTo>
                    <a:pt x="31" y="36"/>
                    <a:pt x="26" y="33"/>
                    <a:pt x="36" y="36"/>
                  </a:cubicBezTo>
                  <a:cubicBezTo>
                    <a:pt x="45" y="30"/>
                    <a:pt x="55" y="28"/>
                    <a:pt x="64" y="22"/>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6" name="Freeform 93"/>
            <p:cNvSpPr>
              <a:spLocks/>
            </p:cNvSpPr>
            <p:nvPr/>
          </p:nvSpPr>
          <p:spPr bwMode="gray">
            <a:xfrm>
              <a:off x="4123" y="2492"/>
              <a:ext cx="109" cy="189"/>
            </a:xfrm>
            <a:custGeom>
              <a:avLst/>
              <a:gdLst/>
              <a:ahLst/>
              <a:cxnLst>
                <a:cxn ang="0">
                  <a:pos x="82" y="100"/>
                </a:cxn>
                <a:cxn ang="0">
                  <a:pos x="66" y="106"/>
                </a:cxn>
                <a:cxn ang="0">
                  <a:pos x="64" y="132"/>
                </a:cxn>
                <a:cxn ang="0">
                  <a:pos x="22" y="146"/>
                </a:cxn>
                <a:cxn ang="0">
                  <a:pos x="8" y="168"/>
                </a:cxn>
                <a:cxn ang="0">
                  <a:pos x="20" y="182"/>
                </a:cxn>
                <a:cxn ang="0">
                  <a:pos x="8" y="198"/>
                </a:cxn>
                <a:cxn ang="0">
                  <a:pos x="24" y="252"/>
                </a:cxn>
                <a:cxn ang="0">
                  <a:pos x="28" y="214"/>
                </a:cxn>
                <a:cxn ang="0">
                  <a:pos x="22" y="192"/>
                </a:cxn>
                <a:cxn ang="0">
                  <a:pos x="42" y="176"/>
                </a:cxn>
                <a:cxn ang="0">
                  <a:pos x="52" y="158"/>
                </a:cxn>
                <a:cxn ang="0">
                  <a:pos x="66" y="174"/>
                </a:cxn>
                <a:cxn ang="0">
                  <a:pos x="44" y="190"/>
                </a:cxn>
                <a:cxn ang="0">
                  <a:pos x="56" y="200"/>
                </a:cxn>
                <a:cxn ang="0">
                  <a:pos x="68" y="178"/>
                </a:cxn>
                <a:cxn ang="0">
                  <a:pos x="84" y="184"/>
                </a:cxn>
                <a:cxn ang="0">
                  <a:pos x="104" y="148"/>
                </a:cxn>
                <a:cxn ang="0">
                  <a:pos x="114" y="156"/>
                </a:cxn>
                <a:cxn ang="0">
                  <a:pos x="136" y="148"/>
                </a:cxn>
                <a:cxn ang="0">
                  <a:pos x="146" y="130"/>
                </a:cxn>
                <a:cxn ang="0">
                  <a:pos x="142" y="110"/>
                </a:cxn>
                <a:cxn ang="0">
                  <a:pos x="134" y="98"/>
                </a:cxn>
                <a:cxn ang="0">
                  <a:pos x="122" y="40"/>
                </a:cxn>
                <a:cxn ang="0">
                  <a:pos x="94" y="0"/>
                </a:cxn>
                <a:cxn ang="0">
                  <a:pos x="78" y="12"/>
                </a:cxn>
                <a:cxn ang="0">
                  <a:pos x="96" y="34"/>
                </a:cxn>
                <a:cxn ang="0">
                  <a:pos x="96" y="64"/>
                </a:cxn>
                <a:cxn ang="0">
                  <a:pos x="82" y="100"/>
                </a:cxn>
              </a:cxnLst>
              <a:rect l="0" t="0" r="r" b="b"/>
              <a:pathLst>
                <a:path w="146" h="252">
                  <a:moveTo>
                    <a:pt x="82" y="100"/>
                  </a:moveTo>
                  <a:cubicBezTo>
                    <a:pt x="70" y="88"/>
                    <a:pt x="69" y="92"/>
                    <a:pt x="66" y="106"/>
                  </a:cubicBezTo>
                  <a:cubicBezTo>
                    <a:pt x="65" y="115"/>
                    <a:pt x="68" y="124"/>
                    <a:pt x="64" y="132"/>
                  </a:cubicBezTo>
                  <a:cubicBezTo>
                    <a:pt x="63" y="133"/>
                    <a:pt x="28" y="142"/>
                    <a:pt x="22" y="146"/>
                  </a:cubicBezTo>
                  <a:cubicBezTo>
                    <a:pt x="18" y="157"/>
                    <a:pt x="18" y="162"/>
                    <a:pt x="8" y="168"/>
                  </a:cubicBezTo>
                  <a:cubicBezTo>
                    <a:pt x="0" y="180"/>
                    <a:pt x="7" y="180"/>
                    <a:pt x="20" y="182"/>
                  </a:cubicBezTo>
                  <a:cubicBezTo>
                    <a:pt x="17" y="190"/>
                    <a:pt x="15" y="193"/>
                    <a:pt x="8" y="198"/>
                  </a:cubicBezTo>
                  <a:cubicBezTo>
                    <a:pt x="10" y="214"/>
                    <a:pt x="9" y="242"/>
                    <a:pt x="24" y="252"/>
                  </a:cubicBezTo>
                  <a:cubicBezTo>
                    <a:pt x="42" y="246"/>
                    <a:pt x="31" y="227"/>
                    <a:pt x="28" y="214"/>
                  </a:cubicBezTo>
                  <a:cubicBezTo>
                    <a:pt x="26" y="207"/>
                    <a:pt x="22" y="192"/>
                    <a:pt x="22" y="192"/>
                  </a:cubicBezTo>
                  <a:cubicBezTo>
                    <a:pt x="25" y="180"/>
                    <a:pt x="33" y="182"/>
                    <a:pt x="42" y="176"/>
                  </a:cubicBezTo>
                  <a:cubicBezTo>
                    <a:pt x="44" y="169"/>
                    <a:pt x="52" y="158"/>
                    <a:pt x="52" y="158"/>
                  </a:cubicBezTo>
                  <a:cubicBezTo>
                    <a:pt x="58" y="164"/>
                    <a:pt x="63" y="166"/>
                    <a:pt x="66" y="174"/>
                  </a:cubicBezTo>
                  <a:cubicBezTo>
                    <a:pt x="59" y="178"/>
                    <a:pt x="51" y="188"/>
                    <a:pt x="44" y="190"/>
                  </a:cubicBezTo>
                  <a:cubicBezTo>
                    <a:pt x="36" y="202"/>
                    <a:pt x="46" y="202"/>
                    <a:pt x="56" y="200"/>
                  </a:cubicBezTo>
                  <a:cubicBezTo>
                    <a:pt x="60" y="189"/>
                    <a:pt x="59" y="184"/>
                    <a:pt x="68" y="178"/>
                  </a:cubicBezTo>
                  <a:cubicBezTo>
                    <a:pt x="77" y="181"/>
                    <a:pt x="75" y="187"/>
                    <a:pt x="84" y="184"/>
                  </a:cubicBezTo>
                  <a:cubicBezTo>
                    <a:pt x="92" y="171"/>
                    <a:pt x="91" y="157"/>
                    <a:pt x="104" y="148"/>
                  </a:cubicBezTo>
                  <a:cubicBezTo>
                    <a:pt x="108" y="149"/>
                    <a:pt x="110" y="155"/>
                    <a:pt x="114" y="156"/>
                  </a:cubicBezTo>
                  <a:cubicBezTo>
                    <a:pt x="120" y="158"/>
                    <a:pt x="131" y="151"/>
                    <a:pt x="136" y="148"/>
                  </a:cubicBezTo>
                  <a:cubicBezTo>
                    <a:pt x="145" y="134"/>
                    <a:pt x="142" y="141"/>
                    <a:pt x="146" y="130"/>
                  </a:cubicBezTo>
                  <a:cubicBezTo>
                    <a:pt x="146" y="127"/>
                    <a:pt x="145" y="115"/>
                    <a:pt x="142" y="110"/>
                  </a:cubicBezTo>
                  <a:cubicBezTo>
                    <a:pt x="140" y="106"/>
                    <a:pt x="134" y="98"/>
                    <a:pt x="134" y="98"/>
                  </a:cubicBezTo>
                  <a:cubicBezTo>
                    <a:pt x="131" y="78"/>
                    <a:pt x="142" y="53"/>
                    <a:pt x="122" y="40"/>
                  </a:cubicBezTo>
                  <a:cubicBezTo>
                    <a:pt x="112" y="26"/>
                    <a:pt x="109" y="10"/>
                    <a:pt x="94" y="0"/>
                  </a:cubicBezTo>
                  <a:cubicBezTo>
                    <a:pt x="87" y="4"/>
                    <a:pt x="86" y="9"/>
                    <a:pt x="78" y="12"/>
                  </a:cubicBezTo>
                  <a:cubicBezTo>
                    <a:pt x="67" y="29"/>
                    <a:pt x="80" y="31"/>
                    <a:pt x="96" y="34"/>
                  </a:cubicBezTo>
                  <a:cubicBezTo>
                    <a:pt x="103" y="44"/>
                    <a:pt x="100" y="53"/>
                    <a:pt x="96" y="64"/>
                  </a:cubicBezTo>
                  <a:cubicBezTo>
                    <a:pt x="96" y="68"/>
                    <a:pt x="95" y="106"/>
                    <a:pt x="82" y="10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7" name="Freeform 94"/>
            <p:cNvSpPr>
              <a:spLocks/>
            </p:cNvSpPr>
            <p:nvPr/>
          </p:nvSpPr>
          <p:spPr bwMode="gray">
            <a:xfrm>
              <a:off x="3062" y="1988"/>
              <a:ext cx="52" cy="30"/>
            </a:xfrm>
            <a:custGeom>
              <a:avLst/>
              <a:gdLst/>
              <a:ahLst/>
              <a:cxnLst>
                <a:cxn ang="0">
                  <a:pos x="59" y="0"/>
                </a:cxn>
                <a:cxn ang="0">
                  <a:pos x="65" y="20"/>
                </a:cxn>
                <a:cxn ang="0">
                  <a:pos x="41" y="24"/>
                </a:cxn>
                <a:cxn ang="0">
                  <a:pos x="31" y="40"/>
                </a:cxn>
                <a:cxn ang="0">
                  <a:pos x="7" y="38"/>
                </a:cxn>
                <a:cxn ang="0">
                  <a:pos x="1" y="36"/>
                </a:cxn>
                <a:cxn ang="0">
                  <a:pos x="33" y="20"/>
                </a:cxn>
                <a:cxn ang="0">
                  <a:pos x="59" y="0"/>
                </a:cxn>
              </a:cxnLst>
              <a:rect l="0" t="0" r="r" b="b"/>
              <a:pathLst>
                <a:path w="70" h="40">
                  <a:moveTo>
                    <a:pt x="59" y="0"/>
                  </a:moveTo>
                  <a:cubicBezTo>
                    <a:pt x="68" y="3"/>
                    <a:pt x="70" y="10"/>
                    <a:pt x="65" y="20"/>
                  </a:cubicBezTo>
                  <a:cubicBezTo>
                    <a:pt x="61" y="27"/>
                    <a:pt x="49" y="23"/>
                    <a:pt x="41" y="24"/>
                  </a:cubicBezTo>
                  <a:cubicBezTo>
                    <a:pt x="36" y="38"/>
                    <a:pt x="41" y="34"/>
                    <a:pt x="31" y="40"/>
                  </a:cubicBezTo>
                  <a:cubicBezTo>
                    <a:pt x="23" y="39"/>
                    <a:pt x="15" y="39"/>
                    <a:pt x="7" y="38"/>
                  </a:cubicBezTo>
                  <a:cubicBezTo>
                    <a:pt x="5" y="38"/>
                    <a:pt x="0" y="38"/>
                    <a:pt x="1" y="36"/>
                  </a:cubicBezTo>
                  <a:cubicBezTo>
                    <a:pt x="7" y="26"/>
                    <a:pt x="23" y="23"/>
                    <a:pt x="33" y="20"/>
                  </a:cubicBezTo>
                  <a:cubicBezTo>
                    <a:pt x="39" y="11"/>
                    <a:pt x="51" y="8"/>
                    <a:pt x="59"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8" name="Freeform 95"/>
            <p:cNvSpPr>
              <a:spLocks/>
            </p:cNvSpPr>
            <p:nvPr/>
          </p:nvSpPr>
          <p:spPr bwMode="gray">
            <a:xfrm>
              <a:off x="2955" y="1997"/>
              <a:ext cx="19" cy="22"/>
            </a:xfrm>
            <a:custGeom>
              <a:avLst/>
              <a:gdLst/>
              <a:ahLst/>
              <a:cxnLst>
                <a:cxn ang="0">
                  <a:pos x="18" y="0"/>
                </a:cxn>
                <a:cxn ang="0">
                  <a:pos x="0" y="18"/>
                </a:cxn>
                <a:cxn ang="0">
                  <a:pos x="18" y="26"/>
                </a:cxn>
                <a:cxn ang="0">
                  <a:pos x="18" y="0"/>
                </a:cxn>
              </a:cxnLst>
              <a:rect l="0" t="0" r="r" b="b"/>
              <a:pathLst>
                <a:path w="26" h="29">
                  <a:moveTo>
                    <a:pt x="18" y="0"/>
                  </a:moveTo>
                  <a:cubicBezTo>
                    <a:pt x="9" y="6"/>
                    <a:pt x="4" y="7"/>
                    <a:pt x="0" y="18"/>
                  </a:cubicBezTo>
                  <a:cubicBezTo>
                    <a:pt x="7" y="25"/>
                    <a:pt x="9" y="29"/>
                    <a:pt x="18" y="26"/>
                  </a:cubicBezTo>
                  <a:cubicBezTo>
                    <a:pt x="22" y="14"/>
                    <a:pt x="26" y="12"/>
                    <a:pt x="18"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99" name="Freeform 96"/>
            <p:cNvSpPr>
              <a:spLocks/>
            </p:cNvSpPr>
            <p:nvPr/>
          </p:nvSpPr>
          <p:spPr bwMode="gray">
            <a:xfrm>
              <a:off x="2979" y="1996"/>
              <a:ext cx="37" cy="27"/>
            </a:xfrm>
            <a:custGeom>
              <a:avLst/>
              <a:gdLst/>
              <a:ahLst/>
              <a:cxnLst>
                <a:cxn ang="0">
                  <a:pos x="14" y="6"/>
                </a:cxn>
                <a:cxn ang="0">
                  <a:pos x="0" y="18"/>
                </a:cxn>
                <a:cxn ang="0">
                  <a:pos x="6" y="32"/>
                </a:cxn>
                <a:cxn ang="0">
                  <a:pos x="18" y="36"/>
                </a:cxn>
                <a:cxn ang="0">
                  <a:pos x="40" y="26"/>
                </a:cxn>
                <a:cxn ang="0">
                  <a:pos x="14" y="6"/>
                </a:cxn>
              </a:cxnLst>
              <a:rect l="0" t="0" r="r" b="b"/>
              <a:pathLst>
                <a:path w="49" h="36">
                  <a:moveTo>
                    <a:pt x="14" y="6"/>
                  </a:moveTo>
                  <a:cubicBezTo>
                    <a:pt x="11" y="14"/>
                    <a:pt x="7" y="13"/>
                    <a:pt x="0" y="18"/>
                  </a:cubicBezTo>
                  <a:cubicBezTo>
                    <a:pt x="1" y="22"/>
                    <a:pt x="2" y="29"/>
                    <a:pt x="6" y="32"/>
                  </a:cubicBezTo>
                  <a:cubicBezTo>
                    <a:pt x="10" y="34"/>
                    <a:pt x="18" y="36"/>
                    <a:pt x="18" y="36"/>
                  </a:cubicBezTo>
                  <a:cubicBezTo>
                    <a:pt x="24" y="27"/>
                    <a:pt x="30" y="28"/>
                    <a:pt x="40" y="26"/>
                  </a:cubicBezTo>
                  <a:cubicBezTo>
                    <a:pt x="49" y="0"/>
                    <a:pt x="26" y="18"/>
                    <a:pt x="14" y="6"/>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0" name="Freeform 97"/>
            <p:cNvSpPr>
              <a:spLocks/>
            </p:cNvSpPr>
            <p:nvPr/>
          </p:nvSpPr>
          <p:spPr bwMode="gray">
            <a:xfrm>
              <a:off x="3040" y="1987"/>
              <a:ext cx="20" cy="16"/>
            </a:xfrm>
            <a:custGeom>
              <a:avLst/>
              <a:gdLst/>
              <a:ahLst/>
              <a:cxnLst>
                <a:cxn ang="0">
                  <a:pos x="11" y="0"/>
                </a:cxn>
                <a:cxn ang="0">
                  <a:pos x="3" y="12"/>
                </a:cxn>
                <a:cxn ang="0">
                  <a:pos x="19" y="22"/>
                </a:cxn>
                <a:cxn ang="0">
                  <a:pos x="11" y="0"/>
                </a:cxn>
              </a:cxnLst>
              <a:rect l="0" t="0" r="r" b="b"/>
              <a:pathLst>
                <a:path w="27" h="22">
                  <a:moveTo>
                    <a:pt x="11" y="0"/>
                  </a:moveTo>
                  <a:cubicBezTo>
                    <a:pt x="8" y="4"/>
                    <a:pt x="0" y="8"/>
                    <a:pt x="3" y="12"/>
                  </a:cubicBezTo>
                  <a:cubicBezTo>
                    <a:pt x="6" y="17"/>
                    <a:pt x="19" y="22"/>
                    <a:pt x="19" y="22"/>
                  </a:cubicBezTo>
                  <a:cubicBezTo>
                    <a:pt x="27" y="10"/>
                    <a:pt x="15" y="11"/>
                    <a:pt x="11"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1" name="Freeform 98"/>
            <p:cNvSpPr>
              <a:spLocks/>
            </p:cNvSpPr>
            <p:nvPr/>
          </p:nvSpPr>
          <p:spPr bwMode="gray">
            <a:xfrm>
              <a:off x="3022" y="2005"/>
              <a:ext cx="15" cy="13"/>
            </a:xfrm>
            <a:custGeom>
              <a:avLst/>
              <a:gdLst/>
              <a:ahLst/>
              <a:cxnLst>
                <a:cxn ang="0">
                  <a:pos x="11" y="0"/>
                </a:cxn>
                <a:cxn ang="0">
                  <a:pos x="9" y="18"/>
                </a:cxn>
                <a:cxn ang="0">
                  <a:pos x="11" y="0"/>
                </a:cxn>
              </a:cxnLst>
              <a:rect l="0" t="0" r="r" b="b"/>
              <a:pathLst>
                <a:path w="20" h="18">
                  <a:moveTo>
                    <a:pt x="11" y="0"/>
                  </a:moveTo>
                  <a:cubicBezTo>
                    <a:pt x="1" y="14"/>
                    <a:pt x="0" y="9"/>
                    <a:pt x="9" y="18"/>
                  </a:cubicBezTo>
                  <a:cubicBezTo>
                    <a:pt x="20" y="14"/>
                    <a:pt x="16" y="18"/>
                    <a:pt x="11"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2" name="Freeform 99"/>
            <p:cNvSpPr>
              <a:spLocks/>
            </p:cNvSpPr>
            <p:nvPr/>
          </p:nvSpPr>
          <p:spPr bwMode="gray">
            <a:xfrm>
              <a:off x="4162" y="2021"/>
              <a:ext cx="18" cy="33"/>
            </a:xfrm>
            <a:custGeom>
              <a:avLst/>
              <a:gdLst/>
              <a:ahLst/>
              <a:cxnLst>
                <a:cxn ang="0">
                  <a:pos x="24" y="0"/>
                </a:cxn>
                <a:cxn ang="0">
                  <a:pos x="8" y="16"/>
                </a:cxn>
                <a:cxn ang="0">
                  <a:pos x="0" y="34"/>
                </a:cxn>
                <a:cxn ang="0">
                  <a:pos x="16" y="40"/>
                </a:cxn>
                <a:cxn ang="0">
                  <a:pos x="24" y="0"/>
                </a:cxn>
              </a:cxnLst>
              <a:rect l="0" t="0" r="r" b="b"/>
              <a:pathLst>
                <a:path w="24" h="44">
                  <a:moveTo>
                    <a:pt x="24" y="0"/>
                  </a:moveTo>
                  <a:cubicBezTo>
                    <a:pt x="19" y="7"/>
                    <a:pt x="15" y="11"/>
                    <a:pt x="8" y="16"/>
                  </a:cubicBezTo>
                  <a:cubicBezTo>
                    <a:pt x="4" y="21"/>
                    <a:pt x="0" y="34"/>
                    <a:pt x="0" y="34"/>
                  </a:cubicBezTo>
                  <a:cubicBezTo>
                    <a:pt x="3" y="44"/>
                    <a:pt x="7" y="42"/>
                    <a:pt x="16" y="40"/>
                  </a:cubicBezTo>
                  <a:cubicBezTo>
                    <a:pt x="20" y="27"/>
                    <a:pt x="24" y="14"/>
                    <a:pt x="24"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3" name="Freeform 100"/>
            <p:cNvSpPr>
              <a:spLocks/>
            </p:cNvSpPr>
            <p:nvPr/>
          </p:nvSpPr>
          <p:spPr bwMode="gray">
            <a:xfrm>
              <a:off x="3278" y="3473"/>
              <a:ext cx="31" cy="18"/>
            </a:xfrm>
            <a:custGeom>
              <a:avLst/>
              <a:gdLst/>
              <a:ahLst/>
              <a:cxnLst>
                <a:cxn ang="0">
                  <a:pos x="30" y="0"/>
                </a:cxn>
                <a:cxn ang="0">
                  <a:pos x="26" y="24"/>
                </a:cxn>
                <a:cxn ang="0">
                  <a:pos x="30" y="0"/>
                </a:cxn>
              </a:cxnLst>
              <a:rect l="0" t="0" r="r" b="b"/>
              <a:pathLst>
                <a:path w="41" h="24">
                  <a:moveTo>
                    <a:pt x="30" y="0"/>
                  </a:moveTo>
                  <a:cubicBezTo>
                    <a:pt x="4" y="4"/>
                    <a:pt x="0" y="17"/>
                    <a:pt x="26" y="24"/>
                  </a:cubicBezTo>
                  <a:cubicBezTo>
                    <a:pt x="41" y="19"/>
                    <a:pt x="38" y="10"/>
                    <a:pt x="30"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4" name="Freeform 101"/>
            <p:cNvSpPr>
              <a:spLocks/>
            </p:cNvSpPr>
            <p:nvPr/>
          </p:nvSpPr>
          <p:spPr bwMode="gray">
            <a:xfrm>
              <a:off x="3318" y="3466"/>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5" name="Freeform 102"/>
            <p:cNvSpPr>
              <a:spLocks/>
            </p:cNvSpPr>
            <p:nvPr/>
          </p:nvSpPr>
          <p:spPr bwMode="gray">
            <a:xfrm>
              <a:off x="3251" y="3312"/>
              <a:ext cx="9"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6" name="Freeform 103"/>
            <p:cNvSpPr>
              <a:spLocks/>
            </p:cNvSpPr>
            <p:nvPr/>
          </p:nvSpPr>
          <p:spPr bwMode="gray">
            <a:xfrm>
              <a:off x="3311" y="3239"/>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7" name="Freeform 104"/>
            <p:cNvSpPr>
              <a:spLocks/>
            </p:cNvSpPr>
            <p:nvPr/>
          </p:nvSpPr>
          <p:spPr bwMode="gray">
            <a:xfrm>
              <a:off x="3287" y="3238"/>
              <a:ext cx="11" cy="19"/>
            </a:xfrm>
            <a:custGeom>
              <a:avLst/>
              <a:gdLst/>
              <a:ahLst/>
              <a:cxnLst>
                <a:cxn ang="0">
                  <a:pos x="6" y="0"/>
                </a:cxn>
                <a:cxn ang="0">
                  <a:pos x="0" y="13"/>
                </a:cxn>
                <a:cxn ang="0">
                  <a:pos x="12" y="24"/>
                </a:cxn>
                <a:cxn ang="0">
                  <a:pos x="6" y="0"/>
                </a:cxn>
              </a:cxnLst>
              <a:rect l="0" t="0" r="r" b="b"/>
              <a:pathLst>
                <a:path w="14" h="25">
                  <a:moveTo>
                    <a:pt x="6" y="0"/>
                  </a:moveTo>
                  <a:cubicBezTo>
                    <a:pt x="4" y="5"/>
                    <a:pt x="3" y="9"/>
                    <a:pt x="0" y="13"/>
                  </a:cubicBezTo>
                  <a:cubicBezTo>
                    <a:pt x="1" y="24"/>
                    <a:pt x="1" y="25"/>
                    <a:pt x="12" y="24"/>
                  </a:cubicBezTo>
                  <a:cubicBezTo>
                    <a:pt x="14" y="12"/>
                    <a:pt x="8" y="10"/>
                    <a:pt x="6" y="0"/>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8" name="Freeform 105"/>
            <p:cNvSpPr>
              <a:spLocks/>
            </p:cNvSpPr>
            <p:nvPr/>
          </p:nvSpPr>
          <p:spPr bwMode="gray">
            <a:xfrm>
              <a:off x="3276" y="3260"/>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09" name="Freeform 106"/>
            <p:cNvSpPr>
              <a:spLocks/>
            </p:cNvSpPr>
            <p:nvPr/>
          </p:nvSpPr>
          <p:spPr bwMode="gray">
            <a:xfrm>
              <a:off x="3251" y="3294"/>
              <a:ext cx="9"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10" name="Freeform 107"/>
            <p:cNvSpPr>
              <a:spLocks/>
            </p:cNvSpPr>
            <p:nvPr/>
          </p:nvSpPr>
          <p:spPr bwMode="gray">
            <a:xfrm>
              <a:off x="3270" y="3281"/>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11" name="Freeform 108"/>
            <p:cNvSpPr>
              <a:spLocks/>
            </p:cNvSpPr>
            <p:nvPr/>
          </p:nvSpPr>
          <p:spPr bwMode="gray">
            <a:xfrm>
              <a:off x="2537" y="2293"/>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12" name="Freeform 109"/>
            <p:cNvSpPr>
              <a:spLocks/>
            </p:cNvSpPr>
            <p:nvPr/>
          </p:nvSpPr>
          <p:spPr bwMode="gray">
            <a:xfrm>
              <a:off x="2476" y="2259"/>
              <a:ext cx="10" cy="15"/>
            </a:xfrm>
            <a:custGeom>
              <a:avLst/>
              <a:gdLst/>
              <a:ahLst/>
              <a:cxnLst>
                <a:cxn ang="0">
                  <a:pos x="10" y="5"/>
                </a:cxn>
                <a:cxn ang="0">
                  <a:pos x="1" y="11"/>
                </a:cxn>
                <a:cxn ang="0">
                  <a:pos x="9" y="20"/>
                </a:cxn>
                <a:cxn ang="0">
                  <a:pos x="10" y="5"/>
                </a:cxn>
              </a:cxnLst>
              <a:rect l="0" t="0" r="r" b="b"/>
              <a:pathLst>
                <a:path w="13" h="20">
                  <a:moveTo>
                    <a:pt x="10" y="5"/>
                  </a:moveTo>
                  <a:cubicBezTo>
                    <a:pt x="3" y="0"/>
                    <a:pt x="5" y="6"/>
                    <a:pt x="1" y="11"/>
                  </a:cubicBezTo>
                  <a:cubicBezTo>
                    <a:pt x="0" y="18"/>
                    <a:pt x="2" y="19"/>
                    <a:pt x="9" y="20"/>
                  </a:cubicBezTo>
                  <a:cubicBezTo>
                    <a:pt x="13" y="14"/>
                    <a:pt x="10" y="12"/>
                    <a:pt x="10" y="5"/>
                  </a:cubicBez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sp>
          <p:nvSpPr>
            <p:cNvPr id="113" name="Freeform 110"/>
            <p:cNvSpPr>
              <a:spLocks/>
            </p:cNvSpPr>
            <p:nvPr/>
          </p:nvSpPr>
          <p:spPr bwMode="gray">
            <a:xfrm>
              <a:off x="2238" y="2042"/>
              <a:ext cx="2060" cy="1644"/>
            </a:xfrm>
            <a:custGeom>
              <a:avLst/>
              <a:gdLst/>
              <a:ahLst/>
              <a:cxnLst>
                <a:cxn ang="0">
                  <a:pos x="452" y="653"/>
                </a:cxn>
                <a:cxn ang="0">
                  <a:pos x="333" y="595"/>
                </a:cxn>
                <a:cxn ang="0">
                  <a:pos x="158" y="645"/>
                </a:cxn>
                <a:cxn ang="0">
                  <a:pos x="46" y="759"/>
                </a:cxn>
                <a:cxn ang="0">
                  <a:pos x="12" y="941"/>
                </a:cxn>
                <a:cxn ang="0">
                  <a:pos x="146" y="1059"/>
                </a:cxn>
                <a:cxn ang="0">
                  <a:pos x="308" y="1041"/>
                </a:cxn>
                <a:cxn ang="0">
                  <a:pos x="396" y="1138"/>
                </a:cxn>
                <a:cxn ang="0">
                  <a:pos x="452" y="1447"/>
                </a:cxn>
                <a:cxn ang="0">
                  <a:pos x="497" y="1628"/>
                </a:cxn>
                <a:cxn ang="0">
                  <a:pos x="704" y="1574"/>
                </a:cxn>
                <a:cxn ang="0">
                  <a:pos x="817" y="1380"/>
                </a:cxn>
                <a:cxn ang="0">
                  <a:pos x="885" y="1153"/>
                </a:cxn>
                <a:cxn ang="0">
                  <a:pos x="998" y="999"/>
                </a:cxn>
                <a:cxn ang="0">
                  <a:pos x="796" y="856"/>
                </a:cxn>
                <a:cxn ang="0">
                  <a:pos x="817" y="819"/>
                </a:cxn>
                <a:cxn ang="0">
                  <a:pos x="1003" y="916"/>
                </a:cxn>
                <a:cxn ang="0">
                  <a:pos x="1098" y="792"/>
                </a:cxn>
                <a:cxn ang="0">
                  <a:pos x="1046" y="763"/>
                </a:cxn>
                <a:cxn ang="0">
                  <a:pos x="929" y="716"/>
                </a:cxn>
                <a:cxn ang="0">
                  <a:pos x="1141" y="761"/>
                </a:cxn>
                <a:cxn ang="0">
                  <a:pos x="1296" y="852"/>
                </a:cxn>
                <a:cxn ang="0">
                  <a:pos x="1373" y="1033"/>
                </a:cxn>
                <a:cxn ang="0">
                  <a:pos x="1608" y="847"/>
                </a:cxn>
                <a:cxn ang="0">
                  <a:pos x="1704" y="1030"/>
                </a:cxn>
                <a:cxn ang="0">
                  <a:pos x="1707" y="874"/>
                </a:cxn>
                <a:cxn ang="0">
                  <a:pos x="1759" y="800"/>
                </a:cxn>
                <a:cxn ang="0">
                  <a:pos x="1783" y="544"/>
                </a:cxn>
                <a:cxn ang="0">
                  <a:pos x="1824" y="528"/>
                </a:cxn>
                <a:cxn ang="0">
                  <a:pos x="1844" y="427"/>
                </a:cxn>
                <a:cxn ang="0">
                  <a:pos x="1805" y="226"/>
                </a:cxn>
                <a:cxn ang="0">
                  <a:pos x="1899" y="108"/>
                </a:cxn>
                <a:cxn ang="0">
                  <a:pos x="1947" y="209"/>
                </a:cxn>
                <a:cxn ang="0">
                  <a:pos x="1943" y="123"/>
                </a:cxn>
                <a:cxn ang="0">
                  <a:pos x="1975" y="51"/>
                </a:cxn>
                <a:cxn ang="0">
                  <a:pos x="2038" y="0"/>
                </a:cxn>
                <a:cxn ang="0">
                  <a:pos x="1820" y="63"/>
                </a:cxn>
                <a:cxn ang="0">
                  <a:pos x="1583" y="83"/>
                </a:cxn>
                <a:cxn ang="0">
                  <a:pos x="1349" y="30"/>
                </a:cxn>
                <a:cxn ang="0">
                  <a:pos x="1132" y="65"/>
                </a:cxn>
                <a:cxn ang="0">
                  <a:pos x="1040" y="170"/>
                </a:cxn>
                <a:cxn ang="0">
                  <a:pos x="926" y="137"/>
                </a:cxn>
                <a:cxn ang="0">
                  <a:pos x="758" y="183"/>
                </a:cxn>
                <a:cxn ang="0">
                  <a:pos x="667" y="140"/>
                </a:cxn>
                <a:cxn ang="0">
                  <a:pos x="364" y="248"/>
                </a:cxn>
                <a:cxn ang="0">
                  <a:pos x="535" y="213"/>
                </a:cxn>
                <a:cxn ang="0">
                  <a:pos x="638" y="276"/>
                </a:cxn>
                <a:cxn ang="0">
                  <a:pos x="443" y="357"/>
                </a:cxn>
                <a:cxn ang="0">
                  <a:pos x="275" y="416"/>
                </a:cxn>
                <a:cxn ang="0">
                  <a:pos x="167" y="537"/>
                </a:cxn>
                <a:cxn ang="0">
                  <a:pos x="283" y="552"/>
                </a:cxn>
                <a:cxn ang="0">
                  <a:pos x="381" y="573"/>
                </a:cxn>
                <a:cxn ang="0">
                  <a:pos x="493" y="590"/>
                </a:cxn>
                <a:cxn ang="0">
                  <a:pos x="487" y="512"/>
                </a:cxn>
                <a:cxn ang="0">
                  <a:pos x="592" y="548"/>
                </a:cxn>
                <a:cxn ang="0">
                  <a:pos x="686" y="470"/>
                </a:cxn>
                <a:cxn ang="0">
                  <a:pos x="772" y="480"/>
                </a:cxn>
                <a:cxn ang="0">
                  <a:pos x="639" y="598"/>
                </a:cxn>
              </a:cxnLst>
              <a:rect l="0" t="0" r="r" b="b"/>
              <a:pathLst>
                <a:path w="2060" h="1644">
                  <a:moveTo>
                    <a:pt x="697" y="677"/>
                  </a:moveTo>
                  <a:cubicBezTo>
                    <a:pt x="659" y="675"/>
                    <a:pt x="652" y="669"/>
                    <a:pt x="618" y="667"/>
                  </a:cubicBezTo>
                  <a:cubicBezTo>
                    <a:pt x="607" y="666"/>
                    <a:pt x="594" y="661"/>
                    <a:pt x="582" y="658"/>
                  </a:cubicBezTo>
                  <a:cubicBezTo>
                    <a:pt x="577" y="655"/>
                    <a:pt x="568" y="650"/>
                    <a:pt x="568" y="650"/>
                  </a:cubicBezTo>
                  <a:cubicBezTo>
                    <a:pt x="551" y="652"/>
                    <a:pt x="557" y="655"/>
                    <a:pt x="546" y="658"/>
                  </a:cubicBezTo>
                  <a:cubicBezTo>
                    <a:pt x="540" y="667"/>
                    <a:pt x="542" y="669"/>
                    <a:pt x="546" y="677"/>
                  </a:cubicBezTo>
                  <a:cubicBezTo>
                    <a:pt x="548" y="680"/>
                    <a:pt x="550" y="686"/>
                    <a:pt x="550" y="686"/>
                  </a:cubicBezTo>
                  <a:cubicBezTo>
                    <a:pt x="526" y="694"/>
                    <a:pt x="506" y="678"/>
                    <a:pt x="488" y="670"/>
                  </a:cubicBezTo>
                  <a:cubicBezTo>
                    <a:pt x="481" y="653"/>
                    <a:pt x="472" y="655"/>
                    <a:pt x="452" y="653"/>
                  </a:cubicBezTo>
                  <a:cubicBezTo>
                    <a:pt x="446" y="648"/>
                    <a:pt x="444" y="648"/>
                    <a:pt x="437" y="650"/>
                  </a:cubicBezTo>
                  <a:cubicBezTo>
                    <a:pt x="427" y="647"/>
                    <a:pt x="433" y="648"/>
                    <a:pt x="423" y="642"/>
                  </a:cubicBezTo>
                  <a:cubicBezTo>
                    <a:pt x="421" y="641"/>
                    <a:pt x="418" y="639"/>
                    <a:pt x="418" y="639"/>
                  </a:cubicBezTo>
                  <a:cubicBezTo>
                    <a:pt x="416" y="638"/>
                    <a:pt x="413" y="633"/>
                    <a:pt x="413" y="630"/>
                  </a:cubicBezTo>
                  <a:cubicBezTo>
                    <a:pt x="415" y="625"/>
                    <a:pt x="418" y="616"/>
                    <a:pt x="418" y="616"/>
                  </a:cubicBezTo>
                  <a:cubicBezTo>
                    <a:pt x="416" y="592"/>
                    <a:pt x="421" y="588"/>
                    <a:pt x="398" y="591"/>
                  </a:cubicBezTo>
                  <a:cubicBezTo>
                    <a:pt x="390" y="598"/>
                    <a:pt x="390" y="595"/>
                    <a:pt x="381" y="592"/>
                  </a:cubicBezTo>
                  <a:cubicBezTo>
                    <a:pt x="370" y="592"/>
                    <a:pt x="361" y="595"/>
                    <a:pt x="348" y="597"/>
                  </a:cubicBezTo>
                  <a:cubicBezTo>
                    <a:pt x="344" y="595"/>
                    <a:pt x="337" y="597"/>
                    <a:pt x="333" y="595"/>
                  </a:cubicBezTo>
                  <a:cubicBezTo>
                    <a:pt x="331" y="594"/>
                    <a:pt x="330" y="592"/>
                    <a:pt x="328" y="592"/>
                  </a:cubicBezTo>
                  <a:cubicBezTo>
                    <a:pt x="314" y="591"/>
                    <a:pt x="296" y="597"/>
                    <a:pt x="283" y="602"/>
                  </a:cubicBezTo>
                  <a:cubicBezTo>
                    <a:pt x="276" y="603"/>
                    <a:pt x="268" y="606"/>
                    <a:pt x="260" y="608"/>
                  </a:cubicBezTo>
                  <a:cubicBezTo>
                    <a:pt x="255" y="609"/>
                    <a:pt x="246" y="613"/>
                    <a:pt x="246" y="613"/>
                  </a:cubicBezTo>
                  <a:cubicBezTo>
                    <a:pt x="228" y="611"/>
                    <a:pt x="209" y="609"/>
                    <a:pt x="189" y="611"/>
                  </a:cubicBezTo>
                  <a:cubicBezTo>
                    <a:pt x="184" y="613"/>
                    <a:pt x="180" y="614"/>
                    <a:pt x="175" y="617"/>
                  </a:cubicBezTo>
                  <a:cubicBezTo>
                    <a:pt x="173" y="619"/>
                    <a:pt x="173" y="620"/>
                    <a:pt x="173" y="622"/>
                  </a:cubicBezTo>
                  <a:cubicBezTo>
                    <a:pt x="172" y="623"/>
                    <a:pt x="169" y="623"/>
                    <a:pt x="169" y="625"/>
                  </a:cubicBezTo>
                  <a:cubicBezTo>
                    <a:pt x="163" y="634"/>
                    <a:pt x="167" y="641"/>
                    <a:pt x="158" y="645"/>
                  </a:cubicBezTo>
                  <a:cubicBezTo>
                    <a:pt x="153" y="648"/>
                    <a:pt x="149" y="652"/>
                    <a:pt x="144" y="655"/>
                  </a:cubicBezTo>
                  <a:cubicBezTo>
                    <a:pt x="141" y="656"/>
                    <a:pt x="135" y="659"/>
                    <a:pt x="135" y="659"/>
                  </a:cubicBezTo>
                  <a:cubicBezTo>
                    <a:pt x="133" y="664"/>
                    <a:pt x="130" y="666"/>
                    <a:pt x="130" y="669"/>
                  </a:cubicBezTo>
                  <a:cubicBezTo>
                    <a:pt x="128" y="677"/>
                    <a:pt x="132" y="691"/>
                    <a:pt x="124" y="698"/>
                  </a:cubicBezTo>
                  <a:cubicBezTo>
                    <a:pt x="118" y="703"/>
                    <a:pt x="108" y="709"/>
                    <a:pt x="101" y="711"/>
                  </a:cubicBezTo>
                  <a:cubicBezTo>
                    <a:pt x="101" y="711"/>
                    <a:pt x="90" y="716"/>
                    <a:pt x="87" y="716"/>
                  </a:cubicBezTo>
                  <a:cubicBezTo>
                    <a:pt x="85" y="717"/>
                    <a:pt x="82" y="717"/>
                    <a:pt x="82" y="717"/>
                  </a:cubicBezTo>
                  <a:cubicBezTo>
                    <a:pt x="76" y="725"/>
                    <a:pt x="68" y="733"/>
                    <a:pt x="60" y="738"/>
                  </a:cubicBezTo>
                  <a:cubicBezTo>
                    <a:pt x="56" y="745"/>
                    <a:pt x="53" y="755"/>
                    <a:pt x="46" y="759"/>
                  </a:cubicBezTo>
                  <a:cubicBezTo>
                    <a:pt x="43" y="764"/>
                    <a:pt x="37" y="767"/>
                    <a:pt x="31" y="773"/>
                  </a:cubicBezTo>
                  <a:cubicBezTo>
                    <a:pt x="26" y="780"/>
                    <a:pt x="25" y="789"/>
                    <a:pt x="23" y="797"/>
                  </a:cubicBezTo>
                  <a:cubicBezTo>
                    <a:pt x="20" y="803"/>
                    <a:pt x="19" y="809"/>
                    <a:pt x="17" y="816"/>
                  </a:cubicBezTo>
                  <a:cubicBezTo>
                    <a:pt x="15" y="817"/>
                    <a:pt x="14" y="824"/>
                    <a:pt x="14" y="824"/>
                  </a:cubicBezTo>
                  <a:cubicBezTo>
                    <a:pt x="15" y="831"/>
                    <a:pt x="26" y="842"/>
                    <a:pt x="26" y="842"/>
                  </a:cubicBezTo>
                  <a:cubicBezTo>
                    <a:pt x="26" y="847"/>
                    <a:pt x="17" y="855"/>
                    <a:pt x="17" y="855"/>
                  </a:cubicBezTo>
                  <a:cubicBezTo>
                    <a:pt x="14" y="863"/>
                    <a:pt x="17" y="867"/>
                    <a:pt x="25" y="870"/>
                  </a:cubicBezTo>
                  <a:cubicBezTo>
                    <a:pt x="28" y="884"/>
                    <a:pt x="17" y="902"/>
                    <a:pt x="6" y="909"/>
                  </a:cubicBezTo>
                  <a:cubicBezTo>
                    <a:pt x="0" y="927"/>
                    <a:pt x="5" y="927"/>
                    <a:pt x="12" y="941"/>
                  </a:cubicBezTo>
                  <a:cubicBezTo>
                    <a:pt x="23" y="963"/>
                    <a:pt x="29" y="969"/>
                    <a:pt x="53" y="977"/>
                  </a:cubicBezTo>
                  <a:cubicBezTo>
                    <a:pt x="60" y="986"/>
                    <a:pt x="56" y="983"/>
                    <a:pt x="63" y="989"/>
                  </a:cubicBezTo>
                  <a:cubicBezTo>
                    <a:pt x="62" y="994"/>
                    <a:pt x="59" y="997"/>
                    <a:pt x="59" y="1002"/>
                  </a:cubicBezTo>
                  <a:cubicBezTo>
                    <a:pt x="57" y="1009"/>
                    <a:pt x="70" y="1020"/>
                    <a:pt x="74" y="1027"/>
                  </a:cubicBezTo>
                  <a:cubicBezTo>
                    <a:pt x="77" y="1031"/>
                    <a:pt x="91" y="1036"/>
                    <a:pt x="91" y="1036"/>
                  </a:cubicBezTo>
                  <a:cubicBezTo>
                    <a:pt x="94" y="1036"/>
                    <a:pt x="96" y="1036"/>
                    <a:pt x="98" y="1034"/>
                  </a:cubicBezTo>
                  <a:cubicBezTo>
                    <a:pt x="99" y="1034"/>
                    <a:pt x="98" y="1031"/>
                    <a:pt x="99" y="1030"/>
                  </a:cubicBezTo>
                  <a:cubicBezTo>
                    <a:pt x="101" y="1030"/>
                    <a:pt x="107" y="1038"/>
                    <a:pt x="108" y="1038"/>
                  </a:cubicBezTo>
                  <a:cubicBezTo>
                    <a:pt x="119" y="1047"/>
                    <a:pt x="133" y="1055"/>
                    <a:pt x="146" y="1059"/>
                  </a:cubicBezTo>
                  <a:cubicBezTo>
                    <a:pt x="149" y="1067"/>
                    <a:pt x="152" y="1066"/>
                    <a:pt x="159" y="1064"/>
                  </a:cubicBezTo>
                  <a:cubicBezTo>
                    <a:pt x="163" y="1061"/>
                    <a:pt x="166" y="1059"/>
                    <a:pt x="169" y="1058"/>
                  </a:cubicBezTo>
                  <a:cubicBezTo>
                    <a:pt x="172" y="1056"/>
                    <a:pt x="178" y="1055"/>
                    <a:pt x="178" y="1055"/>
                  </a:cubicBezTo>
                  <a:cubicBezTo>
                    <a:pt x="192" y="1059"/>
                    <a:pt x="209" y="1061"/>
                    <a:pt x="224" y="1063"/>
                  </a:cubicBezTo>
                  <a:cubicBezTo>
                    <a:pt x="231" y="1067"/>
                    <a:pt x="229" y="1070"/>
                    <a:pt x="238" y="1069"/>
                  </a:cubicBezTo>
                  <a:cubicBezTo>
                    <a:pt x="238" y="1063"/>
                    <a:pt x="238" y="1056"/>
                    <a:pt x="238" y="1050"/>
                  </a:cubicBezTo>
                  <a:cubicBezTo>
                    <a:pt x="241" y="1041"/>
                    <a:pt x="257" y="1059"/>
                    <a:pt x="260" y="1061"/>
                  </a:cubicBezTo>
                  <a:cubicBezTo>
                    <a:pt x="266" y="1050"/>
                    <a:pt x="279" y="1052"/>
                    <a:pt x="291" y="1050"/>
                  </a:cubicBezTo>
                  <a:cubicBezTo>
                    <a:pt x="297" y="1049"/>
                    <a:pt x="302" y="1044"/>
                    <a:pt x="308" y="1041"/>
                  </a:cubicBezTo>
                  <a:cubicBezTo>
                    <a:pt x="319" y="1042"/>
                    <a:pt x="330" y="1045"/>
                    <a:pt x="341" y="1049"/>
                  </a:cubicBezTo>
                  <a:cubicBezTo>
                    <a:pt x="342" y="1050"/>
                    <a:pt x="344" y="1055"/>
                    <a:pt x="344" y="1058"/>
                  </a:cubicBezTo>
                  <a:cubicBezTo>
                    <a:pt x="344" y="1061"/>
                    <a:pt x="342" y="1067"/>
                    <a:pt x="342" y="1067"/>
                  </a:cubicBezTo>
                  <a:cubicBezTo>
                    <a:pt x="347" y="1070"/>
                    <a:pt x="355" y="1072"/>
                    <a:pt x="361" y="1075"/>
                  </a:cubicBezTo>
                  <a:cubicBezTo>
                    <a:pt x="362" y="1075"/>
                    <a:pt x="365" y="1077"/>
                    <a:pt x="365" y="1077"/>
                  </a:cubicBezTo>
                  <a:cubicBezTo>
                    <a:pt x="375" y="1074"/>
                    <a:pt x="384" y="1074"/>
                    <a:pt x="393" y="1080"/>
                  </a:cubicBezTo>
                  <a:cubicBezTo>
                    <a:pt x="396" y="1083"/>
                    <a:pt x="398" y="1088"/>
                    <a:pt x="401" y="1092"/>
                  </a:cubicBezTo>
                  <a:cubicBezTo>
                    <a:pt x="404" y="1095"/>
                    <a:pt x="407" y="1102"/>
                    <a:pt x="407" y="1102"/>
                  </a:cubicBezTo>
                  <a:cubicBezTo>
                    <a:pt x="404" y="1114"/>
                    <a:pt x="399" y="1127"/>
                    <a:pt x="396" y="1138"/>
                  </a:cubicBezTo>
                  <a:cubicBezTo>
                    <a:pt x="393" y="1147"/>
                    <a:pt x="395" y="1141"/>
                    <a:pt x="389" y="1152"/>
                  </a:cubicBezTo>
                  <a:cubicBezTo>
                    <a:pt x="387" y="1153"/>
                    <a:pt x="385" y="1156"/>
                    <a:pt x="385" y="1156"/>
                  </a:cubicBezTo>
                  <a:cubicBezTo>
                    <a:pt x="389" y="1185"/>
                    <a:pt x="396" y="1180"/>
                    <a:pt x="410" y="1197"/>
                  </a:cubicBezTo>
                  <a:cubicBezTo>
                    <a:pt x="427" y="1219"/>
                    <a:pt x="440" y="1239"/>
                    <a:pt x="447" y="1266"/>
                  </a:cubicBezTo>
                  <a:cubicBezTo>
                    <a:pt x="446" y="1280"/>
                    <a:pt x="452" y="1314"/>
                    <a:pt x="435" y="1325"/>
                  </a:cubicBezTo>
                  <a:cubicBezTo>
                    <a:pt x="427" y="1347"/>
                    <a:pt x="433" y="1325"/>
                    <a:pt x="430" y="1367"/>
                  </a:cubicBezTo>
                  <a:cubicBezTo>
                    <a:pt x="429" y="1377"/>
                    <a:pt x="421" y="1381"/>
                    <a:pt x="418" y="1391"/>
                  </a:cubicBezTo>
                  <a:cubicBezTo>
                    <a:pt x="421" y="1413"/>
                    <a:pt x="430" y="1422"/>
                    <a:pt x="446" y="1438"/>
                  </a:cubicBezTo>
                  <a:cubicBezTo>
                    <a:pt x="449" y="1441"/>
                    <a:pt x="450" y="1442"/>
                    <a:pt x="452" y="1447"/>
                  </a:cubicBezTo>
                  <a:cubicBezTo>
                    <a:pt x="454" y="1450"/>
                    <a:pt x="455" y="1456"/>
                    <a:pt x="455" y="1456"/>
                  </a:cubicBezTo>
                  <a:cubicBezTo>
                    <a:pt x="457" y="1475"/>
                    <a:pt x="458" y="1488"/>
                    <a:pt x="460" y="1505"/>
                  </a:cubicBezTo>
                  <a:cubicBezTo>
                    <a:pt x="461" y="1514"/>
                    <a:pt x="461" y="1511"/>
                    <a:pt x="464" y="1522"/>
                  </a:cubicBezTo>
                  <a:cubicBezTo>
                    <a:pt x="466" y="1524"/>
                    <a:pt x="466" y="1527"/>
                    <a:pt x="466" y="1527"/>
                  </a:cubicBezTo>
                  <a:cubicBezTo>
                    <a:pt x="468" y="1542"/>
                    <a:pt x="469" y="1552"/>
                    <a:pt x="481" y="1561"/>
                  </a:cubicBezTo>
                  <a:cubicBezTo>
                    <a:pt x="485" y="1566"/>
                    <a:pt x="488" y="1569"/>
                    <a:pt x="494" y="1572"/>
                  </a:cubicBezTo>
                  <a:cubicBezTo>
                    <a:pt x="497" y="1585"/>
                    <a:pt x="503" y="1597"/>
                    <a:pt x="506" y="1610"/>
                  </a:cubicBezTo>
                  <a:cubicBezTo>
                    <a:pt x="506" y="1614"/>
                    <a:pt x="508" y="1619"/>
                    <a:pt x="505" y="1622"/>
                  </a:cubicBezTo>
                  <a:cubicBezTo>
                    <a:pt x="503" y="1625"/>
                    <a:pt x="497" y="1628"/>
                    <a:pt x="497" y="1628"/>
                  </a:cubicBezTo>
                  <a:cubicBezTo>
                    <a:pt x="488" y="1642"/>
                    <a:pt x="509" y="1644"/>
                    <a:pt x="517" y="1644"/>
                  </a:cubicBezTo>
                  <a:cubicBezTo>
                    <a:pt x="539" y="1639"/>
                    <a:pt x="557" y="1635"/>
                    <a:pt x="579" y="1633"/>
                  </a:cubicBezTo>
                  <a:cubicBezTo>
                    <a:pt x="598" y="1630"/>
                    <a:pt x="613" y="1627"/>
                    <a:pt x="632" y="1624"/>
                  </a:cubicBezTo>
                  <a:cubicBezTo>
                    <a:pt x="635" y="1624"/>
                    <a:pt x="638" y="1622"/>
                    <a:pt x="641" y="1621"/>
                  </a:cubicBezTo>
                  <a:cubicBezTo>
                    <a:pt x="642" y="1621"/>
                    <a:pt x="644" y="1619"/>
                    <a:pt x="646" y="1617"/>
                  </a:cubicBezTo>
                  <a:cubicBezTo>
                    <a:pt x="649" y="1617"/>
                    <a:pt x="655" y="1616"/>
                    <a:pt x="655" y="1616"/>
                  </a:cubicBezTo>
                  <a:cubicBezTo>
                    <a:pt x="659" y="1610"/>
                    <a:pt x="664" y="1603"/>
                    <a:pt x="670" y="1600"/>
                  </a:cubicBezTo>
                  <a:cubicBezTo>
                    <a:pt x="675" y="1594"/>
                    <a:pt x="678" y="1591"/>
                    <a:pt x="683" y="1588"/>
                  </a:cubicBezTo>
                  <a:cubicBezTo>
                    <a:pt x="687" y="1581"/>
                    <a:pt x="697" y="1577"/>
                    <a:pt x="704" y="1574"/>
                  </a:cubicBezTo>
                  <a:cubicBezTo>
                    <a:pt x="715" y="1563"/>
                    <a:pt x="726" y="1550"/>
                    <a:pt x="731" y="1535"/>
                  </a:cubicBezTo>
                  <a:cubicBezTo>
                    <a:pt x="731" y="1531"/>
                    <a:pt x="729" y="1528"/>
                    <a:pt x="729" y="1525"/>
                  </a:cubicBezTo>
                  <a:cubicBezTo>
                    <a:pt x="729" y="1494"/>
                    <a:pt x="737" y="1505"/>
                    <a:pt x="754" y="1494"/>
                  </a:cubicBezTo>
                  <a:cubicBezTo>
                    <a:pt x="759" y="1488"/>
                    <a:pt x="762" y="1483"/>
                    <a:pt x="765" y="1475"/>
                  </a:cubicBezTo>
                  <a:cubicBezTo>
                    <a:pt x="763" y="1458"/>
                    <a:pt x="765" y="1439"/>
                    <a:pt x="755" y="1424"/>
                  </a:cubicBezTo>
                  <a:cubicBezTo>
                    <a:pt x="759" y="1413"/>
                    <a:pt x="771" y="1419"/>
                    <a:pt x="779" y="1422"/>
                  </a:cubicBezTo>
                  <a:cubicBezTo>
                    <a:pt x="782" y="1427"/>
                    <a:pt x="782" y="1435"/>
                    <a:pt x="785" y="1427"/>
                  </a:cubicBezTo>
                  <a:cubicBezTo>
                    <a:pt x="786" y="1416"/>
                    <a:pt x="786" y="1405"/>
                    <a:pt x="786" y="1396"/>
                  </a:cubicBezTo>
                  <a:cubicBezTo>
                    <a:pt x="788" y="1386"/>
                    <a:pt x="810" y="1385"/>
                    <a:pt x="817" y="1380"/>
                  </a:cubicBezTo>
                  <a:cubicBezTo>
                    <a:pt x="820" y="1374"/>
                    <a:pt x="831" y="1367"/>
                    <a:pt x="837" y="1363"/>
                  </a:cubicBezTo>
                  <a:cubicBezTo>
                    <a:pt x="841" y="1361"/>
                    <a:pt x="847" y="1356"/>
                    <a:pt x="847" y="1356"/>
                  </a:cubicBezTo>
                  <a:cubicBezTo>
                    <a:pt x="855" y="1345"/>
                    <a:pt x="845" y="1333"/>
                    <a:pt x="844" y="1320"/>
                  </a:cubicBezTo>
                  <a:cubicBezTo>
                    <a:pt x="845" y="1310"/>
                    <a:pt x="847" y="1308"/>
                    <a:pt x="850" y="1299"/>
                  </a:cubicBezTo>
                  <a:cubicBezTo>
                    <a:pt x="847" y="1288"/>
                    <a:pt x="842" y="1288"/>
                    <a:pt x="834" y="1280"/>
                  </a:cubicBezTo>
                  <a:cubicBezTo>
                    <a:pt x="833" y="1275"/>
                    <a:pt x="830" y="1266"/>
                    <a:pt x="830" y="1266"/>
                  </a:cubicBezTo>
                  <a:cubicBezTo>
                    <a:pt x="831" y="1250"/>
                    <a:pt x="831" y="1236"/>
                    <a:pt x="831" y="1220"/>
                  </a:cubicBezTo>
                  <a:cubicBezTo>
                    <a:pt x="833" y="1192"/>
                    <a:pt x="861" y="1183"/>
                    <a:pt x="876" y="1166"/>
                  </a:cubicBezTo>
                  <a:cubicBezTo>
                    <a:pt x="879" y="1160"/>
                    <a:pt x="884" y="1160"/>
                    <a:pt x="885" y="1153"/>
                  </a:cubicBezTo>
                  <a:cubicBezTo>
                    <a:pt x="890" y="1144"/>
                    <a:pt x="889" y="1142"/>
                    <a:pt x="895" y="1136"/>
                  </a:cubicBezTo>
                  <a:cubicBezTo>
                    <a:pt x="898" y="1127"/>
                    <a:pt x="906" y="1114"/>
                    <a:pt x="915" y="1111"/>
                  </a:cubicBezTo>
                  <a:cubicBezTo>
                    <a:pt x="920" y="1105"/>
                    <a:pt x="924" y="1099"/>
                    <a:pt x="930" y="1094"/>
                  </a:cubicBezTo>
                  <a:cubicBezTo>
                    <a:pt x="935" y="1089"/>
                    <a:pt x="938" y="1089"/>
                    <a:pt x="943" y="1084"/>
                  </a:cubicBezTo>
                  <a:cubicBezTo>
                    <a:pt x="947" y="1080"/>
                    <a:pt x="949" y="1078"/>
                    <a:pt x="955" y="1077"/>
                  </a:cubicBezTo>
                  <a:cubicBezTo>
                    <a:pt x="961" y="1066"/>
                    <a:pt x="958" y="1069"/>
                    <a:pt x="966" y="1064"/>
                  </a:cubicBezTo>
                  <a:cubicBezTo>
                    <a:pt x="972" y="1055"/>
                    <a:pt x="978" y="1045"/>
                    <a:pt x="983" y="1036"/>
                  </a:cubicBezTo>
                  <a:cubicBezTo>
                    <a:pt x="988" y="1030"/>
                    <a:pt x="989" y="1019"/>
                    <a:pt x="991" y="1013"/>
                  </a:cubicBezTo>
                  <a:cubicBezTo>
                    <a:pt x="994" y="1003"/>
                    <a:pt x="992" y="1009"/>
                    <a:pt x="998" y="999"/>
                  </a:cubicBezTo>
                  <a:cubicBezTo>
                    <a:pt x="1003" y="992"/>
                    <a:pt x="1003" y="984"/>
                    <a:pt x="1005" y="977"/>
                  </a:cubicBezTo>
                  <a:cubicBezTo>
                    <a:pt x="1003" y="966"/>
                    <a:pt x="1000" y="970"/>
                    <a:pt x="989" y="974"/>
                  </a:cubicBezTo>
                  <a:cubicBezTo>
                    <a:pt x="971" y="986"/>
                    <a:pt x="941" y="983"/>
                    <a:pt x="921" y="983"/>
                  </a:cubicBezTo>
                  <a:cubicBezTo>
                    <a:pt x="892" y="981"/>
                    <a:pt x="895" y="977"/>
                    <a:pt x="878" y="961"/>
                  </a:cubicBezTo>
                  <a:cubicBezTo>
                    <a:pt x="875" y="949"/>
                    <a:pt x="867" y="944"/>
                    <a:pt x="858" y="936"/>
                  </a:cubicBezTo>
                  <a:cubicBezTo>
                    <a:pt x="853" y="933"/>
                    <a:pt x="844" y="930"/>
                    <a:pt x="844" y="930"/>
                  </a:cubicBezTo>
                  <a:cubicBezTo>
                    <a:pt x="837" y="909"/>
                    <a:pt x="828" y="891"/>
                    <a:pt x="817" y="872"/>
                  </a:cubicBezTo>
                  <a:cubicBezTo>
                    <a:pt x="811" y="866"/>
                    <a:pt x="816" y="869"/>
                    <a:pt x="805" y="863"/>
                  </a:cubicBezTo>
                  <a:cubicBezTo>
                    <a:pt x="802" y="859"/>
                    <a:pt x="796" y="856"/>
                    <a:pt x="796" y="856"/>
                  </a:cubicBezTo>
                  <a:cubicBezTo>
                    <a:pt x="786" y="842"/>
                    <a:pt x="794" y="825"/>
                    <a:pt x="785" y="813"/>
                  </a:cubicBezTo>
                  <a:cubicBezTo>
                    <a:pt x="774" y="794"/>
                    <a:pt x="759" y="772"/>
                    <a:pt x="745" y="758"/>
                  </a:cubicBezTo>
                  <a:cubicBezTo>
                    <a:pt x="742" y="744"/>
                    <a:pt x="737" y="736"/>
                    <a:pt x="729" y="723"/>
                  </a:cubicBezTo>
                  <a:cubicBezTo>
                    <a:pt x="726" y="720"/>
                    <a:pt x="723" y="709"/>
                    <a:pt x="723" y="709"/>
                  </a:cubicBezTo>
                  <a:cubicBezTo>
                    <a:pt x="740" y="705"/>
                    <a:pt x="757" y="733"/>
                    <a:pt x="766" y="744"/>
                  </a:cubicBezTo>
                  <a:cubicBezTo>
                    <a:pt x="771" y="758"/>
                    <a:pt x="771" y="759"/>
                    <a:pt x="786" y="764"/>
                  </a:cubicBezTo>
                  <a:cubicBezTo>
                    <a:pt x="793" y="766"/>
                    <a:pt x="800" y="773"/>
                    <a:pt x="800" y="773"/>
                  </a:cubicBezTo>
                  <a:cubicBezTo>
                    <a:pt x="803" y="780"/>
                    <a:pt x="808" y="784"/>
                    <a:pt x="813" y="791"/>
                  </a:cubicBezTo>
                  <a:cubicBezTo>
                    <a:pt x="813" y="803"/>
                    <a:pt x="814" y="809"/>
                    <a:pt x="817" y="819"/>
                  </a:cubicBezTo>
                  <a:cubicBezTo>
                    <a:pt x="819" y="842"/>
                    <a:pt x="820" y="841"/>
                    <a:pt x="839" y="847"/>
                  </a:cubicBezTo>
                  <a:cubicBezTo>
                    <a:pt x="844" y="852"/>
                    <a:pt x="847" y="856"/>
                    <a:pt x="851" y="861"/>
                  </a:cubicBezTo>
                  <a:cubicBezTo>
                    <a:pt x="851" y="863"/>
                    <a:pt x="853" y="864"/>
                    <a:pt x="853" y="866"/>
                  </a:cubicBezTo>
                  <a:cubicBezTo>
                    <a:pt x="853" y="869"/>
                    <a:pt x="853" y="874"/>
                    <a:pt x="855" y="877"/>
                  </a:cubicBezTo>
                  <a:cubicBezTo>
                    <a:pt x="856" y="884"/>
                    <a:pt x="870" y="889"/>
                    <a:pt x="875" y="894"/>
                  </a:cubicBezTo>
                  <a:cubicBezTo>
                    <a:pt x="887" y="927"/>
                    <a:pt x="870" y="945"/>
                    <a:pt x="910" y="955"/>
                  </a:cubicBezTo>
                  <a:cubicBezTo>
                    <a:pt x="921" y="953"/>
                    <a:pt x="926" y="955"/>
                    <a:pt x="933" y="949"/>
                  </a:cubicBezTo>
                  <a:cubicBezTo>
                    <a:pt x="938" y="942"/>
                    <a:pt x="944" y="941"/>
                    <a:pt x="951" y="936"/>
                  </a:cubicBezTo>
                  <a:cubicBezTo>
                    <a:pt x="972" y="924"/>
                    <a:pt x="978" y="920"/>
                    <a:pt x="1003" y="916"/>
                  </a:cubicBezTo>
                  <a:cubicBezTo>
                    <a:pt x="1009" y="914"/>
                    <a:pt x="1017" y="911"/>
                    <a:pt x="1025" y="909"/>
                  </a:cubicBezTo>
                  <a:cubicBezTo>
                    <a:pt x="1031" y="906"/>
                    <a:pt x="1036" y="899"/>
                    <a:pt x="1042" y="897"/>
                  </a:cubicBezTo>
                  <a:cubicBezTo>
                    <a:pt x="1051" y="894"/>
                    <a:pt x="1060" y="894"/>
                    <a:pt x="1068" y="888"/>
                  </a:cubicBezTo>
                  <a:cubicBezTo>
                    <a:pt x="1073" y="881"/>
                    <a:pt x="1079" y="877"/>
                    <a:pt x="1084" y="869"/>
                  </a:cubicBezTo>
                  <a:cubicBezTo>
                    <a:pt x="1087" y="861"/>
                    <a:pt x="1088" y="850"/>
                    <a:pt x="1098" y="844"/>
                  </a:cubicBezTo>
                  <a:cubicBezTo>
                    <a:pt x="1104" y="836"/>
                    <a:pt x="1105" y="825"/>
                    <a:pt x="1108" y="816"/>
                  </a:cubicBezTo>
                  <a:cubicBezTo>
                    <a:pt x="1110" y="811"/>
                    <a:pt x="1115" y="808"/>
                    <a:pt x="1116" y="803"/>
                  </a:cubicBezTo>
                  <a:cubicBezTo>
                    <a:pt x="1110" y="800"/>
                    <a:pt x="1110" y="805"/>
                    <a:pt x="1102" y="808"/>
                  </a:cubicBezTo>
                  <a:cubicBezTo>
                    <a:pt x="1099" y="802"/>
                    <a:pt x="1104" y="795"/>
                    <a:pt x="1098" y="792"/>
                  </a:cubicBezTo>
                  <a:cubicBezTo>
                    <a:pt x="1094" y="789"/>
                    <a:pt x="1084" y="788"/>
                    <a:pt x="1084" y="788"/>
                  </a:cubicBezTo>
                  <a:cubicBezTo>
                    <a:pt x="1077" y="780"/>
                    <a:pt x="1076" y="783"/>
                    <a:pt x="1067" y="786"/>
                  </a:cubicBezTo>
                  <a:cubicBezTo>
                    <a:pt x="1064" y="788"/>
                    <a:pt x="1057" y="789"/>
                    <a:pt x="1057" y="789"/>
                  </a:cubicBezTo>
                  <a:cubicBezTo>
                    <a:pt x="1054" y="789"/>
                    <a:pt x="1051" y="789"/>
                    <a:pt x="1048" y="788"/>
                  </a:cubicBezTo>
                  <a:cubicBezTo>
                    <a:pt x="1046" y="786"/>
                    <a:pt x="1045" y="778"/>
                    <a:pt x="1045" y="778"/>
                  </a:cubicBezTo>
                  <a:cubicBezTo>
                    <a:pt x="1046" y="778"/>
                    <a:pt x="1048" y="777"/>
                    <a:pt x="1050" y="775"/>
                  </a:cubicBezTo>
                  <a:cubicBezTo>
                    <a:pt x="1060" y="772"/>
                    <a:pt x="1067" y="778"/>
                    <a:pt x="1060" y="763"/>
                  </a:cubicBezTo>
                  <a:cubicBezTo>
                    <a:pt x="1059" y="763"/>
                    <a:pt x="1057" y="761"/>
                    <a:pt x="1056" y="761"/>
                  </a:cubicBezTo>
                  <a:cubicBezTo>
                    <a:pt x="1053" y="761"/>
                    <a:pt x="1048" y="761"/>
                    <a:pt x="1046" y="763"/>
                  </a:cubicBezTo>
                  <a:cubicBezTo>
                    <a:pt x="1046" y="764"/>
                    <a:pt x="1045" y="766"/>
                    <a:pt x="1043" y="767"/>
                  </a:cubicBezTo>
                  <a:cubicBezTo>
                    <a:pt x="1036" y="775"/>
                    <a:pt x="1025" y="777"/>
                    <a:pt x="1016" y="780"/>
                  </a:cubicBezTo>
                  <a:cubicBezTo>
                    <a:pt x="1011" y="780"/>
                    <a:pt x="1006" y="778"/>
                    <a:pt x="1003" y="777"/>
                  </a:cubicBezTo>
                  <a:cubicBezTo>
                    <a:pt x="1002" y="777"/>
                    <a:pt x="997" y="775"/>
                    <a:pt x="997" y="775"/>
                  </a:cubicBezTo>
                  <a:cubicBezTo>
                    <a:pt x="988" y="763"/>
                    <a:pt x="986" y="761"/>
                    <a:pt x="971" y="758"/>
                  </a:cubicBezTo>
                  <a:cubicBezTo>
                    <a:pt x="971" y="753"/>
                    <a:pt x="974" y="747"/>
                    <a:pt x="971" y="742"/>
                  </a:cubicBezTo>
                  <a:cubicBezTo>
                    <a:pt x="969" y="739"/>
                    <a:pt x="960" y="736"/>
                    <a:pt x="957" y="734"/>
                  </a:cubicBezTo>
                  <a:cubicBezTo>
                    <a:pt x="954" y="733"/>
                    <a:pt x="947" y="731"/>
                    <a:pt x="947" y="731"/>
                  </a:cubicBezTo>
                  <a:cubicBezTo>
                    <a:pt x="941" y="725"/>
                    <a:pt x="935" y="722"/>
                    <a:pt x="929" y="716"/>
                  </a:cubicBezTo>
                  <a:cubicBezTo>
                    <a:pt x="930" y="706"/>
                    <a:pt x="932" y="700"/>
                    <a:pt x="941" y="697"/>
                  </a:cubicBezTo>
                  <a:cubicBezTo>
                    <a:pt x="955" y="698"/>
                    <a:pt x="968" y="702"/>
                    <a:pt x="980" y="705"/>
                  </a:cubicBezTo>
                  <a:cubicBezTo>
                    <a:pt x="986" y="711"/>
                    <a:pt x="988" y="716"/>
                    <a:pt x="995" y="720"/>
                  </a:cubicBezTo>
                  <a:cubicBezTo>
                    <a:pt x="1005" y="734"/>
                    <a:pt x="1012" y="736"/>
                    <a:pt x="1025" y="744"/>
                  </a:cubicBezTo>
                  <a:cubicBezTo>
                    <a:pt x="1033" y="742"/>
                    <a:pt x="1045" y="747"/>
                    <a:pt x="1051" y="741"/>
                  </a:cubicBezTo>
                  <a:cubicBezTo>
                    <a:pt x="1060" y="733"/>
                    <a:pt x="1048" y="738"/>
                    <a:pt x="1059" y="734"/>
                  </a:cubicBezTo>
                  <a:cubicBezTo>
                    <a:pt x="1064" y="738"/>
                    <a:pt x="1068" y="739"/>
                    <a:pt x="1073" y="742"/>
                  </a:cubicBezTo>
                  <a:cubicBezTo>
                    <a:pt x="1079" y="752"/>
                    <a:pt x="1093" y="750"/>
                    <a:pt x="1104" y="753"/>
                  </a:cubicBezTo>
                  <a:cubicBezTo>
                    <a:pt x="1121" y="764"/>
                    <a:pt x="1110" y="759"/>
                    <a:pt x="1141" y="761"/>
                  </a:cubicBezTo>
                  <a:cubicBezTo>
                    <a:pt x="1152" y="763"/>
                    <a:pt x="1156" y="766"/>
                    <a:pt x="1163" y="775"/>
                  </a:cubicBezTo>
                  <a:cubicBezTo>
                    <a:pt x="1159" y="788"/>
                    <a:pt x="1167" y="781"/>
                    <a:pt x="1173" y="777"/>
                  </a:cubicBezTo>
                  <a:cubicBezTo>
                    <a:pt x="1175" y="770"/>
                    <a:pt x="1178" y="770"/>
                    <a:pt x="1181" y="764"/>
                  </a:cubicBezTo>
                  <a:cubicBezTo>
                    <a:pt x="1190" y="767"/>
                    <a:pt x="1189" y="772"/>
                    <a:pt x="1187" y="783"/>
                  </a:cubicBezTo>
                  <a:cubicBezTo>
                    <a:pt x="1195" y="789"/>
                    <a:pt x="1206" y="786"/>
                    <a:pt x="1215" y="789"/>
                  </a:cubicBezTo>
                  <a:cubicBezTo>
                    <a:pt x="1221" y="791"/>
                    <a:pt x="1226" y="797"/>
                    <a:pt x="1234" y="800"/>
                  </a:cubicBezTo>
                  <a:cubicBezTo>
                    <a:pt x="1245" y="803"/>
                    <a:pt x="1255" y="808"/>
                    <a:pt x="1265" y="816"/>
                  </a:cubicBezTo>
                  <a:cubicBezTo>
                    <a:pt x="1268" y="827"/>
                    <a:pt x="1272" y="831"/>
                    <a:pt x="1282" y="834"/>
                  </a:cubicBezTo>
                  <a:cubicBezTo>
                    <a:pt x="1286" y="842"/>
                    <a:pt x="1288" y="847"/>
                    <a:pt x="1296" y="852"/>
                  </a:cubicBezTo>
                  <a:cubicBezTo>
                    <a:pt x="1308" y="849"/>
                    <a:pt x="1302" y="850"/>
                    <a:pt x="1314" y="847"/>
                  </a:cubicBezTo>
                  <a:cubicBezTo>
                    <a:pt x="1316" y="845"/>
                    <a:pt x="1319" y="845"/>
                    <a:pt x="1319" y="845"/>
                  </a:cubicBezTo>
                  <a:cubicBezTo>
                    <a:pt x="1328" y="852"/>
                    <a:pt x="1322" y="842"/>
                    <a:pt x="1319" y="839"/>
                  </a:cubicBezTo>
                  <a:cubicBezTo>
                    <a:pt x="1316" y="844"/>
                    <a:pt x="1311" y="847"/>
                    <a:pt x="1310" y="853"/>
                  </a:cubicBezTo>
                  <a:cubicBezTo>
                    <a:pt x="1310" y="856"/>
                    <a:pt x="1307" y="863"/>
                    <a:pt x="1307" y="863"/>
                  </a:cubicBezTo>
                  <a:cubicBezTo>
                    <a:pt x="1308" y="869"/>
                    <a:pt x="1310" y="880"/>
                    <a:pt x="1319" y="880"/>
                  </a:cubicBezTo>
                  <a:lnTo>
                    <a:pt x="1320" y="916"/>
                  </a:lnTo>
                  <a:lnTo>
                    <a:pt x="1348" y="1005"/>
                  </a:lnTo>
                  <a:lnTo>
                    <a:pt x="1373" y="1033"/>
                  </a:lnTo>
                  <a:lnTo>
                    <a:pt x="1416" y="994"/>
                  </a:lnTo>
                  <a:lnTo>
                    <a:pt x="1413" y="967"/>
                  </a:lnTo>
                  <a:lnTo>
                    <a:pt x="1424" y="959"/>
                  </a:lnTo>
                  <a:lnTo>
                    <a:pt x="1423" y="925"/>
                  </a:lnTo>
                  <a:lnTo>
                    <a:pt x="1452" y="916"/>
                  </a:lnTo>
                  <a:lnTo>
                    <a:pt x="1520" y="855"/>
                  </a:lnTo>
                  <a:lnTo>
                    <a:pt x="1533" y="839"/>
                  </a:lnTo>
                  <a:lnTo>
                    <a:pt x="1588" y="824"/>
                  </a:lnTo>
                  <a:lnTo>
                    <a:pt x="1608" y="847"/>
                  </a:lnTo>
                  <a:lnTo>
                    <a:pt x="1602" y="858"/>
                  </a:lnTo>
                  <a:lnTo>
                    <a:pt x="1619" y="875"/>
                  </a:lnTo>
                  <a:lnTo>
                    <a:pt x="1624" y="899"/>
                  </a:lnTo>
                  <a:lnTo>
                    <a:pt x="1641" y="906"/>
                  </a:lnTo>
                  <a:lnTo>
                    <a:pt x="1677" y="892"/>
                  </a:lnTo>
                  <a:lnTo>
                    <a:pt x="1675" y="975"/>
                  </a:lnTo>
                  <a:lnTo>
                    <a:pt x="1684" y="956"/>
                  </a:lnTo>
                  <a:lnTo>
                    <a:pt x="1707" y="1000"/>
                  </a:lnTo>
                  <a:lnTo>
                    <a:pt x="1704" y="1030"/>
                  </a:lnTo>
                  <a:lnTo>
                    <a:pt x="1718" y="1013"/>
                  </a:lnTo>
                  <a:lnTo>
                    <a:pt x="1721" y="997"/>
                  </a:lnTo>
                  <a:lnTo>
                    <a:pt x="1738" y="972"/>
                  </a:lnTo>
                  <a:lnTo>
                    <a:pt x="1728" y="958"/>
                  </a:lnTo>
                  <a:lnTo>
                    <a:pt x="1737" y="942"/>
                  </a:lnTo>
                  <a:lnTo>
                    <a:pt x="1725" y="913"/>
                  </a:lnTo>
                  <a:lnTo>
                    <a:pt x="1732" y="889"/>
                  </a:lnTo>
                  <a:lnTo>
                    <a:pt x="1715" y="895"/>
                  </a:lnTo>
                  <a:lnTo>
                    <a:pt x="1707" y="874"/>
                  </a:lnTo>
                  <a:lnTo>
                    <a:pt x="1701" y="844"/>
                  </a:lnTo>
                  <a:lnTo>
                    <a:pt x="1714" y="816"/>
                  </a:lnTo>
                  <a:lnTo>
                    <a:pt x="1728" y="834"/>
                  </a:lnTo>
                  <a:lnTo>
                    <a:pt x="1721" y="880"/>
                  </a:lnTo>
                  <a:lnTo>
                    <a:pt x="1738" y="849"/>
                  </a:lnTo>
                  <a:lnTo>
                    <a:pt x="1732" y="824"/>
                  </a:lnTo>
                  <a:lnTo>
                    <a:pt x="1752" y="808"/>
                  </a:lnTo>
                  <a:lnTo>
                    <a:pt x="1752" y="797"/>
                  </a:lnTo>
                  <a:lnTo>
                    <a:pt x="1759" y="800"/>
                  </a:lnTo>
                  <a:lnTo>
                    <a:pt x="1796" y="756"/>
                  </a:lnTo>
                  <a:lnTo>
                    <a:pt x="1805" y="684"/>
                  </a:lnTo>
                  <a:lnTo>
                    <a:pt x="1810" y="655"/>
                  </a:lnTo>
                  <a:lnTo>
                    <a:pt x="1794" y="664"/>
                  </a:lnTo>
                  <a:lnTo>
                    <a:pt x="1788" y="655"/>
                  </a:lnTo>
                  <a:lnTo>
                    <a:pt x="1800" y="638"/>
                  </a:lnTo>
                  <a:lnTo>
                    <a:pt x="1776" y="592"/>
                  </a:lnTo>
                  <a:lnTo>
                    <a:pt x="1763" y="580"/>
                  </a:lnTo>
                  <a:lnTo>
                    <a:pt x="1783" y="544"/>
                  </a:lnTo>
                  <a:lnTo>
                    <a:pt x="1762" y="539"/>
                  </a:lnTo>
                  <a:lnTo>
                    <a:pt x="1743" y="531"/>
                  </a:lnTo>
                  <a:lnTo>
                    <a:pt x="1751" y="503"/>
                  </a:lnTo>
                  <a:lnTo>
                    <a:pt x="1763" y="487"/>
                  </a:lnTo>
                  <a:lnTo>
                    <a:pt x="1766" y="519"/>
                  </a:lnTo>
                  <a:lnTo>
                    <a:pt x="1788" y="498"/>
                  </a:lnTo>
                  <a:lnTo>
                    <a:pt x="1805" y="497"/>
                  </a:lnTo>
                  <a:lnTo>
                    <a:pt x="1797" y="519"/>
                  </a:lnTo>
                  <a:lnTo>
                    <a:pt x="1824" y="528"/>
                  </a:lnTo>
                  <a:lnTo>
                    <a:pt x="1816" y="545"/>
                  </a:lnTo>
                  <a:lnTo>
                    <a:pt x="1830" y="559"/>
                  </a:lnTo>
                  <a:lnTo>
                    <a:pt x="1830" y="588"/>
                  </a:lnTo>
                  <a:lnTo>
                    <a:pt x="1861" y="559"/>
                  </a:lnTo>
                  <a:lnTo>
                    <a:pt x="1850" y="531"/>
                  </a:lnTo>
                  <a:lnTo>
                    <a:pt x="1821" y="489"/>
                  </a:lnTo>
                  <a:lnTo>
                    <a:pt x="1830" y="473"/>
                  </a:lnTo>
                  <a:lnTo>
                    <a:pt x="1824" y="448"/>
                  </a:lnTo>
                  <a:lnTo>
                    <a:pt x="1844" y="427"/>
                  </a:lnTo>
                  <a:lnTo>
                    <a:pt x="1868" y="416"/>
                  </a:lnTo>
                  <a:lnTo>
                    <a:pt x="1867" y="367"/>
                  </a:lnTo>
                  <a:lnTo>
                    <a:pt x="1865" y="333"/>
                  </a:lnTo>
                  <a:lnTo>
                    <a:pt x="1858" y="302"/>
                  </a:lnTo>
                  <a:lnTo>
                    <a:pt x="1830" y="248"/>
                  </a:lnTo>
                  <a:lnTo>
                    <a:pt x="1825" y="275"/>
                  </a:lnTo>
                  <a:lnTo>
                    <a:pt x="1807" y="258"/>
                  </a:lnTo>
                  <a:lnTo>
                    <a:pt x="1790" y="266"/>
                  </a:lnTo>
                  <a:lnTo>
                    <a:pt x="1805" y="226"/>
                  </a:lnTo>
                  <a:lnTo>
                    <a:pt x="1821" y="192"/>
                  </a:lnTo>
                  <a:lnTo>
                    <a:pt x="1850" y="176"/>
                  </a:lnTo>
                  <a:lnTo>
                    <a:pt x="1853" y="161"/>
                  </a:lnTo>
                  <a:lnTo>
                    <a:pt x="1873" y="155"/>
                  </a:lnTo>
                  <a:lnTo>
                    <a:pt x="1873" y="170"/>
                  </a:lnTo>
                  <a:lnTo>
                    <a:pt x="1896" y="145"/>
                  </a:lnTo>
                  <a:lnTo>
                    <a:pt x="1882" y="139"/>
                  </a:lnTo>
                  <a:lnTo>
                    <a:pt x="1882" y="120"/>
                  </a:lnTo>
                  <a:lnTo>
                    <a:pt x="1899" y="108"/>
                  </a:lnTo>
                  <a:lnTo>
                    <a:pt x="1906" y="122"/>
                  </a:lnTo>
                  <a:lnTo>
                    <a:pt x="1929" y="100"/>
                  </a:lnTo>
                  <a:lnTo>
                    <a:pt x="1926" y="120"/>
                  </a:lnTo>
                  <a:lnTo>
                    <a:pt x="1927" y="136"/>
                  </a:lnTo>
                  <a:lnTo>
                    <a:pt x="1926" y="158"/>
                  </a:lnTo>
                  <a:lnTo>
                    <a:pt x="1918" y="175"/>
                  </a:lnTo>
                  <a:lnTo>
                    <a:pt x="1932" y="197"/>
                  </a:lnTo>
                  <a:lnTo>
                    <a:pt x="1938" y="212"/>
                  </a:lnTo>
                  <a:lnTo>
                    <a:pt x="1947" y="209"/>
                  </a:lnTo>
                  <a:lnTo>
                    <a:pt x="1992" y="256"/>
                  </a:lnTo>
                  <a:lnTo>
                    <a:pt x="2002" y="233"/>
                  </a:lnTo>
                  <a:lnTo>
                    <a:pt x="2014" y="216"/>
                  </a:lnTo>
                  <a:lnTo>
                    <a:pt x="1994" y="205"/>
                  </a:lnTo>
                  <a:lnTo>
                    <a:pt x="1999" y="184"/>
                  </a:lnTo>
                  <a:lnTo>
                    <a:pt x="1999" y="172"/>
                  </a:lnTo>
                  <a:lnTo>
                    <a:pt x="1978" y="150"/>
                  </a:lnTo>
                  <a:lnTo>
                    <a:pt x="1960" y="147"/>
                  </a:lnTo>
                  <a:lnTo>
                    <a:pt x="1943" y="123"/>
                  </a:lnTo>
                  <a:lnTo>
                    <a:pt x="1966" y="119"/>
                  </a:lnTo>
                  <a:lnTo>
                    <a:pt x="1977" y="100"/>
                  </a:lnTo>
                  <a:lnTo>
                    <a:pt x="1991" y="106"/>
                  </a:lnTo>
                  <a:lnTo>
                    <a:pt x="2005" y="98"/>
                  </a:lnTo>
                  <a:lnTo>
                    <a:pt x="1990" y="80"/>
                  </a:lnTo>
                  <a:lnTo>
                    <a:pt x="2002" y="69"/>
                  </a:lnTo>
                  <a:lnTo>
                    <a:pt x="2021" y="68"/>
                  </a:lnTo>
                  <a:lnTo>
                    <a:pt x="2000" y="53"/>
                  </a:lnTo>
                  <a:lnTo>
                    <a:pt x="1975" y="51"/>
                  </a:lnTo>
                  <a:lnTo>
                    <a:pt x="1990" y="32"/>
                  </a:lnTo>
                  <a:lnTo>
                    <a:pt x="1989" y="11"/>
                  </a:lnTo>
                  <a:lnTo>
                    <a:pt x="2005" y="27"/>
                  </a:lnTo>
                  <a:lnTo>
                    <a:pt x="2015" y="18"/>
                  </a:lnTo>
                  <a:lnTo>
                    <a:pt x="2024" y="21"/>
                  </a:lnTo>
                  <a:lnTo>
                    <a:pt x="2038" y="36"/>
                  </a:lnTo>
                  <a:lnTo>
                    <a:pt x="2060" y="33"/>
                  </a:lnTo>
                  <a:lnTo>
                    <a:pt x="2042" y="15"/>
                  </a:lnTo>
                  <a:lnTo>
                    <a:pt x="2038" y="0"/>
                  </a:lnTo>
                  <a:lnTo>
                    <a:pt x="2006" y="5"/>
                  </a:lnTo>
                  <a:lnTo>
                    <a:pt x="1994" y="0"/>
                  </a:lnTo>
                  <a:lnTo>
                    <a:pt x="1955" y="11"/>
                  </a:lnTo>
                  <a:lnTo>
                    <a:pt x="1913" y="18"/>
                  </a:lnTo>
                  <a:lnTo>
                    <a:pt x="1886" y="30"/>
                  </a:lnTo>
                  <a:lnTo>
                    <a:pt x="1885" y="47"/>
                  </a:lnTo>
                  <a:lnTo>
                    <a:pt x="1864" y="50"/>
                  </a:lnTo>
                  <a:cubicBezTo>
                    <a:pt x="1858" y="55"/>
                    <a:pt x="1854" y="75"/>
                    <a:pt x="1847" y="77"/>
                  </a:cubicBezTo>
                  <a:cubicBezTo>
                    <a:pt x="1839" y="82"/>
                    <a:pt x="1830" y="65"/>
                    <a:pt x="1820" y="63"/>
                  </a:cubicBezTo>
                  <a:lnTo>
                    <a:pt x="1786" y="66"/>
                  </a:lnTo>
                  <a:lnTo>
                    <a:pt x="1732" y="56"/>
                  </a:lnTo>
                  <a:lnTo>
                    <a:pt x="1709" y="62"/>
                  </a:lnTo>
                  <a:lnTo>
                    <a:pt x="1678" y="56"/>
                  </a:lnTo>
                  <a:lnTo>
                    <a:pt x="1666" y="47"/>
                  </a:lnTo>
                  <a:lnTo>
                    <a:pt x="1643" y="50"/>
                  </a:lnTo>
                  <a:cubicBezTo>
                    <a:pt x="1635" y="52"/>
                    <a:pt x="1626" y="57"/>
                    <a:pt x="1618" y="60"/>
                  </a:cubicBezTo>
                  <a:cubicBezTo>
                    <a:pt x="1610" y="63"/>
                    <a:pt x="1603" y="67"/>
                    <a:pt x="1597" y="71"/>
                  </a:cubicBezTo>
                  <a:cubicBezTo>
                    <a:pt x="1591" y="75"/>
                    <a:pt x="1587" y="84"/>
                    <a:pt x="1583" y="83"/>
                  </a:cubicBezTo>
                  <a:cubicBezTo>
                    <a:pt x="1571" y="90"/>
                    <a:pt x="1576" y="67"/>
                    <a:pt x="1571" y="65"/>
                  </a:cubicBezTo>
                  <a:lnTo>
                    <a:pt x="1553" y="69"/>
                  </a:lnTo>
                  <a:cubicBezTo>
                    <a:pt x="1544" y="66"/>
                    <a:pt x="1531" y="50"/>
                    <a:pt x="1517" y="47"/>
                  </a:cubicBezTo>
                  <a:cubicBezTo>
                    <a:pt x="1503" y="46"/>
                    <a:pt x="1479" y="45"/>
                    <a:pt x="1468" y="48"/>
                  </a:cubicBezTo>
                  <a:cubicBezTo>
                    <a:pt x="1457" y="51"/>
                    <a:pt x="1461" y="63"/>
                    <a:pt x="1451" y="63"/>
                  </a:cubicBezTo>
                  <a:cubicBezTo>
                    <a:pt x="1439" y="66"/>
                    <a:pt x="1419" y="48"/>
                    <a:pt x="1408" y="47"/>
                  </a:cubicBezTo>
                  <a:cubicBezTo>
                    <a:pt x="1397" y="46"/>
                    <a:pt x="1390" y="59"/>
                    <a:pt x="1382" y="59"/>
                  </a:cubicBezTo>
                  <a:cubicBezTo>
                    <a:pt x="1374" y="59"/>
                    <a:pt x="1362" y="52"/>
                    <a:pt x="1357" y="47"/>
                  </a:cubicBezTo>
                  <a:cubicBezTo>
                    <a:pt x="1352" y="42"/>
                    <a:pt x="1356" y="36"/>
                    <a:pt x="1349" y="30"/>
                  </a:cubicBezTo>
                  <a:cubicBezTo>
                    <a:pt x="1333" y="26"/>
                    <a:pt x="1330" y="13"/>
                    <a:pt x="1318" y="11"/>
                  </a:cubicBezTo>
                  <a:cubicBezTo>
                    <a:pt x="1306" y="9"/>
                    <a:pt x="1287" y="20"/>
                    <a:pt x="1277" y="20"/>
                  </a:cubicBezTo>
                  <a:cubicBezTo>
                    <a:pt x="1267" y="20"/>
                    <a:pt x="1268" y="10"/>
                    <a:pt x="1259" y="9"/>
                  </a:cubicBezTo>
                  <a:lnTo>
                    <a:pt x="1222" y="14"/>
                  </a:lnTo>
                  <a:lnTo>
                    <a:pt x="1210" y="32"/>
                  </a:lnTo>
                  <a:cubicBezTo>
                    <a:pt x="1203" y="35"/>
                    <a:pt x="1187" y="28"/>
                    <a:pt x="1178" y="29"/>
                  </a:cubicBezTo>
                  <a:cubicBezTo>
                    <a:pt x="1169" y="30"/>
                    <a:pt x="1164" y="36"/>
                    <a:pt x="1154" y="39"/>
                  </a:cubicBezTo>
                  <a:cubicBezTo>
                    <a:pt x="1144" y="42"/>
                    <a:pt x="1124" y="44"/>
                    <a:pt x="1120" y="48"/>
                  </a:cubicBezTo>
                  <a:cubicBezTo>
                    <a:pt x="1109" y="57"/>
                    <a:pt x="1132" y="61"/>
                    <a:pt x="1132" y="65"/>
                  </a:cubicBezTo>
                  <a:cubicBezTo>
                    <a:pt x="1132" y="69"/>
                    <a:pt x="1126" y="70"/>
                    <a:pt x="1118" y="72"/>
                  </a:cubicBezTo>
                  <a:cubicBezTo>
                    <a:pt x="1110" y="74"/>
                    <a:pt x="1084" y="72"/>
                    <a:pt x="1085" y="77"/>
                  </a:cubicBezTo>
                  <a:cubicBezTo>
                    <a:pt x="1085" y="86"/>
                    <a:pt x="1126" y="103"/>
                    <a:pt x="1127" y="105"/>
                  </a:cubicBezTo>
                  <a:lnTo>
                    <a:pt x="1090" y="90"/>
                  </a:lnTo>
                  <a:lnTo>
                    <a:pt x="1072" y="95"/>
                  </a:lnTo>
                  <a:cubicBezTo>
                    <a:pt x="1063" y="93"/>
                    <a:pt x="1039" y="65"/>
                    <a:pt x="1033" y="80"/>
                  </a:cubicBezTo>
                  <a:cubicBezTo>
                    <a:pt x="1027" y="95"/>
                    <a:pt x="1077" y="132"/>
                    <a:pt x="1084" y="147"/>
                  </a:cubicBezTo>
                  <a:lnTo>
                    <a:pt x="1075" y="171"/>
                  </a:lnTo>
                  <a:lnTo>
                    <a:pt x="1040" y="170"/>
                  </a:lnTo>
                  <a:cubicBezTo>
                    <a:pt x="1040" y="170"/>
                    <a:pt x="1061" y="164"/>
                    <a:pt x="1060" y="155"/>
                  </a:cubicBezTo>
                  <a:cubicBezTo>
                    <a:pt x="1059" y="146"/>
                    <a:pt x="1043" y="127"/>
                    <a:pt x="1031" y="113"/>
                  </a:cubicBezTo>
                  <a:cubicBezTo>
                    <a:pt x="1025" y="101"/>
                    <a:pt x="1030" y="84"/>
                    <a:pt x="1024" y="81"/>
                  </a:cubicBezTo>
                  <a:cubicBezTo>
                    <a:pt x="1018" y="78"/>
                    <a:pt x="997" y="65"/>
                    <a:pt x="989" y="71"/>
                  </a:cubicBezTo>
                  <a:cubicBezTo>
                    <a:pt x="968" y="74"/>
                    <a:pt x="970" y="107"/>
                    <a:pt x="974" y="116"/>
                  </a:cubicBezTo>
                  <a:cubicBezTo>
                    <a:pt x="978" y="125"/>
                    <a:pt x="1009" y="122"/>
                    <a:pt x="1012" y="125"/>
                  </a:cubicBezTo>
                  <a:cubicBezTo>
                    <a:pt x="1028" y="153"/>
                    <a:pt x="1005" y="143"/>
                    <a:pt x="989" y="134"/>
                  </a:cubicBezTo>
                  <a:cubicBezTo>
                    <a:pt x="973" y="125"/>
                    <a:pt x="968" y="128"/>
                    <a:pt x="958" y="128"/>
                  </a:cubicBezTo>
                  <a:cubicBezTo>
                    <a:pt x="948" y="128"/>
                    <a:pt x="931" y="133"/>
                    <a:pt x="926" y="137"/>
                  </a:cubicBezTo>
                  <a:cubicBezTo>
                    <a:pt x="921" y="141"/>
                    <a:pt x="939" y="157"/>
                    <a:pt x="926" y="152"/>
                  </a:cubicBezTo>
                  <a:cubicBezTo>
                    <a:pt x="913" y="147"/>
                    <a:pt x="899" y="149"/>
                    <a:pt x="886" y="147"/>
                  </a:cubicBezTo>
                  <a:cubicBezTo>
                    <a:pt x="873" y="145"/>
                    <a:pt x="863" y="136"/>
                    <a:pt x="847" y="140"/>
                  </a:cubicBezTo>
                  <a:cubicBezTo>
                    <a:pt x="825" y="147"/>
                    <a:pt x="794" y="185"/>
                    <a:pt x="787" y="171"/>
                  </a:cubicBezTo>
                  <a:cubicBezTo>
                    <a:pt x="780" y="157"/>
                    <a:pt x="800" y="155"/>
                    <a:pt x="800" y="150"/>
                  </a:cubicBezTo>
                  <a:cubicBezTo>
                    <a:pt x="800" y="145"/>
                    <a:pt x="796" y="138"/>
                    <a:pt x="790" y="138"/>
                  </a:cubicBezTo>
                  <a:cubicBezTo>
                    <a:pt x="784" y="138"/>
                    <a:pt x="764" y="144"/>
                    <a:pt x="763" y="152"/>
                  </a:cubicBezTo>
                  <a:cubicBezTo>
                    <a:pt x="761" y="163"/>
                    <a:pt x="783" y="181"/>
                    <a:pt x="782" y="186"/>
                  </a:cubicBezTo>
                  <a:cubicBezTo>
                    <a:pt x="781" y="191"/>
                    <a:pt x="765" y="180"/>
                    <a:pt x="758" y="183"/>
                  </a:cubicBezTo>
                  <a:cubicBezTo>
                    <a:pt x="751" y="186"/>
                    <a:pt x="746" y="207"/>
                    <a:pt x="742" y="203"/>
                  </a:cubicBezTo>
                  <a:lnTo>
                    <a:pt x="728" y="189"/>
                  </a:lnTo>
                  <a:lnTo>
                    <a:pt x="746" y="170"/>
                  </a:lnTo>
                  <a:lnTo>
                    <a:pt x="733" y="158"/>
                  </a:lnTo>
                  <a:cubicBezTo>
                    <a:pt x="727" y="155"/>
                    <a:pt x="718" y="150"/>
                    <a:pt x="712" y="149"/>
                  </a:cubicBezTo>
                  <a:cubicBezTo>
                    <a:pt x="706" y="148"/>
                    <a:pt x="701" y="154"/>
                    <a:pt x="698" y="152"/>
                  </a:cubicBezTo>
                  <a:cubicBezTo>
                    <a:pt x="695" y="150"/>
                    <a:pt x="698" y="139"/>
                    <a:pt x="695" y="138"/>
                  </a:cubicBezTo>
                  <a:cubicBezTo>
                    <a:pt x="692" y="137"/>
                    <a:pt x="685" y="146"/>
                    <a:pt x="680" y="146"/>
                  </a:cubicBezTo>
                  <a:cubicBezTo>
                    <a:pt x="675" y="146"/>
                    <a:pt x="677" y="142"/>
                    <a:pt x="667" y="140"/>
                  </a:cubicBezTo>
                  <a:cubicBezTo>
                    <a:pt x="657" y="138"/>
                    <a:pt x="632" y="139"/>
                    <a:pt x="622" y="135"/>
                  </a:cubicBezTo>
                  <a:cubicBezTo>
                    <a:pt x="612" y="131"/>
                    <a:pt x="632" y="117"/>
                    <a:pt x="608" y="113"/>
                  </a:cubicBezTo>
                  <a:cubicBezTo>
                    <a:pt x="584" y="109"/>
                    <a:pt x="590" y="119"/>
                    <a:pt x="583" y="119"/>
                  </a:cubicBezTo>
                  <a:lnTo>
                    <a:pt x="568" y="114"/>
                  </a:lnTo>
                  <a:cubicBezTo>
                    <a:pt x="555" y="116"/>
                    <a:pt x="521" y="125"/>
                    <a:pt x="505" y="131"/>
                  </a:cubicBezTo>
                  <a:cubicBezTo>
                    <a:pt x="482" y="140"/>
                    <a:pt x="485" y="140"/>
                    <a:pt x="472" y="152"/>
                  </a:cubicBezTo>
                  <a:cubicBezTo>
                    <a:pt x="459" y="164"/>
                    <a:pt x="443" y="192"/>
                    <a:pt x="428" y="204"/>
                  </a:cubicBezTo>
                  <a:cubicBezTo>
                    <a:pt x="410" y="223"/>
                    <a:pt x="393" y="217"/>
                    <a:pt x="382" y="224"/>
                  </a:cubicBezTo>
                  <a:lnTo>
                    <a:pt x="364" y="248"/>
                  </a:lnTo>
                  <a:lnTo>
                    <a:pt x="368" y="290"/>
                  </a:lnTo>
                  <a:lnTo>
                    <a:pt x="389" y="306"/>
                  </a:lnTo>
                  <a:lnTo>
                    <a:pt x="436" y="290"/>
                  </a:lnTo>
                  <a:cubicBezTo>
                    <a:pt x="447" y="296"/>
                    <a:pt x="448" y="335"/>
                    <a:pt x="457" y="341"/>
                  </a:cubicBezTo>
                  <a:cubicBezTo>
                    <a:pt x="468" y="348"/>
                    <a:pt x="486" y="330"/>
                    <a:pt x="491" y="324"/>
                  </a:cubicBezTo>
                  <a:lnTo>
                    <a:pt x="496" y="300"/>
                  </a:lnTo>
                  <a:lnTo>
                    <a:pt x="514" y="281"/>
                  </a:lnTo>
                  <a:cubicBezTo>
                    <a:pt x="515" y="270"/>
                    <a:pt x="499" y="245"/>
                    <a:pt x="502" y="234"/>
                  </a:cubicBezTo>
                  <a:cubicBezTo>
                    <a:pt x="505" y="225"/>
                    <a:pt x="526" y="220"/>
                    <a:pt x="535" y="213"/>
                  </a:cubicBezTo>
                  <a:cubicBezTo>
                    <a:pt x="544" y="206"/>
                    <a:pt x="546" y="192"/>
                    <a:pt x="554" y="191"/>
                  </a:cubicBezTo>
                  <a:cubicBezTo>
                    <a:pt x="567" y="190"/>
                    <a:pt x="580" y="200"/>
                    <a:pt x="581" y="204"/>
                  </a:cubicBezTo>
                  <a:cubicBezTo>
                    <a:pt x="581" y="208"/>
                    <a:pt x="560" y="200"/>
                    <a:pt x="557" y="215"/>
                  </a:cubicBezTo>
                  <a:cubicBezTo>
                    <a:pt x="554" y="230"/>
                    <a:pt x="535" y="233"/>
                    <a:pt x="533" y="242"/>
                  </a:cubicBezTo>
                  <a:lnTo>
                    <a:pt x="548" y="267"/>
                  </a:lnTo>
                  <a:lnTo>
                    <a:pt x="571" y="276"/>
                  </a:lnTo>
                  <a:lnTo>
                    <a:pt x="598" y="264"/>
                  </a:lnTo>
                  <a:lnTo>
                    <a:pt x="625" y="261"/>
                  </a:lnTo>
                  <a:cubicBezTo>
                    <a:pt x="632" y="263"/>
                    <a:pt x="645" y="271"/>
                    <a:pt x="638" y="276"/>
                  </a:cubicBezTo>
                  <a:cubicBezTo>
                    <a:pt x="631" y="281"/>
                    <a:pt x="593" y="287"/>
                    <a:pt x="584" y="293"/>
                  </a:cubicBezTo>
                  <a:cubicBezTo>
                    <a:pt x="575" y="299"/>
                    <a:pt x="587" y="309"/>
                    <a:pt x="581" y="311"/>
                  </a:cubicBezTo>
                  <a:cubicBezTo>
                    <a:pt x="567" y="319"/>
                    <a:pt x="556" y="301"/>
                    <a:pt x="550" y="303"/>
                  </a:cubicBezTo>
                  <a:lnTo>
                    <a:pt x="547" y="323"/>
                  </a:lnTo>
                  <a:lnTo>
                    <a:pt x="536" y="350"/>
                  </a:lnTo>
                  <a:lnTo>
                    <a:pt x="512" y="351"/>
                  </a:lnTo>
                  <a:lnTo>
                    <a:pt x="476" y="360"/>
                  </a:lnTo>
                  <a:lnTo>
                    <a:pt x="457" y="351"/>
                  </a:lnTo>
                  <a:lnTo>
                    <a:pt x="443" y="357"/>
                  </a:lnTo>
                  <a:lnTo>
                    <a:pt x="419" y="342"/>
                  </a:lnTo>
                  <a:cubicBezTo>
                    <a:pt x="417" y="335"/>
                    <a:pt x="433" y="329"/>
                    <a:pt x="428" y="317"/>
                  </a:cubicBezTo>
                  <a:cubicBezTo>
                    <a:pt x="423" y="305"/>
                    <a:pt x="396" y="313"/>
                    <a:pt x="392" y="321"/>
                  </a:cubicBezTo>
                  <a:lnTo>
                    <a:pt x="397" y="362"/>
                  </a:lnTo>
                  <a:lnTo>
                    <a:pt x="373" y="362"/>
                  </a:lnTo>
                  <a:cubicBezTo>
                    <a:pt x="365" y="366"/>
                    <a:pt x="355" y="380"/>
                    <a:pt x="347" y="386"/>
                  </a:cubicBezTo>
                  <a:cubicBezTo>
                    <a:pt x="339" y="392"/>
                    <a:pt x="332" y="379"/>
                    <a:pt x="322" y="399"/>
                  </a:cubicBezTo>
                  <a:cubicBezTo>
                    <a:pt x="312" y="419"/>
                    <a:pt x="301" y="411"/>
                    <a:pt x="293" y="414"/>
                  </a:cubicBezTo>
                  <a:cubicBezTo>
                    <a:pt x="285" y="417"/>
                    <a:pt x="280" y="414"/>
                    <a:pt x="275" y="416"/>
                  </a:cubicBezTo>
                  <a:cubicBezTo>
                    <a:pt x="270" y="418"/>
                    <a:pt x="267" y="426"/>
                    <a:pt x="260" y="426"/>
                  </a:cubicBezTo>
                  <a:cubicBezTo>
                    <a:pt x="253" y="426"/>
                    <a:pt x="238" y="417"/>
                    <a:pt x="232" y="419"/>
                  </a:cubicBezTo>
                  <a:cubicBezTo>
                    <a:pt x="226" y="421"/>
                    <a:pt x="221" y="432"/>
                    <a:pt x="226" y="437"/>
                  </a:cubicBezTo>
                  <a:lnTo>
                    <a:pt x="263" y="449"/>
                  </a:lnTo>
                  <a:lnTo>
                    <a:pt x="272" y="474"/>
                  </a:lnTo>
                  <a:lnTo>
                    <a:pt x="262" y="503"/>
                  </a:lnTo>
                  <a:cubicBezTo>
                    <a:pt x="251" y="507"/>
                    <a:pt x="223" y="499"/>
                    <a:pt x="206" y="498"/>
                  </a:cubicBezTo>
                  <a:cubicBezTo>
                    <a:pt x="189" y="497"/>
                    <a:pt x="164" y="492"/>
                    <a:pt x="158" y="498"/>
                  </a:cubicBezTo>
                  <a:cubicBezTo>
                    <a:pt x="152" y="504"/>
                    <a:pt x="167" y="527"/>
                    <a:pt x="167" y="537"/>
                  </a:cubicBezTo>
                  <a:cubicBezTo>
                    <a:pt x="167" y="547"/>
                    <a:pt x="159" y="551"/>
                    <a:pt x="157" y="557"/>
                  </a:cubicBezTo>
                  <a:cubicBezTo>
                    <a:pt x="155" y="563"/>
                    <a:pt x="161" y="569"/>
                    <a:pt x="157" y="576"/>
                  </a:cubicBezTo>
                  <a:cubicBezTo>
                    <a:pt x="153" y="583"/>
                    <a:pt x="127" y="594"/>
                    <a:pt x="130" y="597"/>
                  </a:cubicBezTo>
                  <a:cubicBezTo>
                    <a:pt x="139" y="606"/>
                    <a:pt x="160" y="592"/>
                    <a:pt x="176" y="592"/>
                  </a:cubicBezTo>
                  <a:lnTo>
                    <a:pt x="226" y="598"/>
                  </a:lnTo>
                  <a:lnTo>
                    <a:pt x="260" y="588"/>
                  </a:lnTo>
                  <a:lnTo>
                    <a:pt x="274" y="576"/>
                  </a:lnTo>
                  <a:cubicBezTo>
                    <a:pt x="282" y="573"/>
                    <a:pt x="306" y="573"/>
                    <a:pt x="307" y="569"/>
                  </a:cubicBezTo>
                  <a:cubicBezTo>
                    <a:pt x="321" y="557"/>
                    <a:pt x="283" y="559"/>
                    <a:pt x="283" y="552"/>
                  </a:cubicBezTo>
                  <a:cubicBezTo>
                    <a:pt x="283" y="545"/>
                    <a:pt x="300" y="533"/>
                    <a:pt x="307" y="528"/>
                  </a:cubicBezTo>
                  <a:lnTo>
                    <a:pt x="325" y="522"/>
                  </a:lnTo>
                  <a:lnTo>
                    <a:pt x="320" y="503"/>
                  </a:lnTo>
                  <a:cubicBezTo>
                    <a:pt x="323" y="499"/>
                    <a:pt x="336" y="495"/>
                    <a:pt x="342" y="495"/>
                  </a:cubicBezTo>
                  <a:cubicBezTo>
                    <a:pt x="348" y="495"/>
                    <a:pt x="350" y="506"/>
                    <a:pt x="358" y="505"/>
                  </a:cubicBezTo>
                  <a:cubicBezTo>
                    <a:pt x="366" y="504"/>
                    <a:pt x="384" y="490"/>
                    <a:pt x="393" y="491"/>
                  </a:cubicBezTo>
                  <a:lnTo>
                    <a:pt x="415" y="510"/>
                  </a:lnTo>
                  <a:cubicBezTo>
                    <a:pt x="416" y="517"/>
                    <a:pt x="407" y="520"/>
                    <a:pt x="401" y="530"/>
                  </a:cubicBezTo>
                  <a:lnTo>
                    <a:pt x="381" y="573"/>
                  </a:lnTo>
                  <a:lnTo>
                    <a:pt x="406" y="576"/>
                  </a:lnTo>
                  <a:lnTo>
                    <a:pt x="412" y="561"/>
                  </a:lnTo>
                  <a:lnTo>
                    <a:pt x="404" y="543"/>
                  </a:lnTo>
                  <a:cubicBezTo>
                    <a:pt x="406" y="539"/>
                    <a:pt x="417" y="541"/>
                    <a:pt x="423" y="538"/>
                  </a:cubicBezTo>
                  <a:cubicBezTo>
                    <a:pt x="430" y="537"/>
                    <a:pt x="435" y="526"/>
                    <a:pt x="441" y="527"/>
                  </a:cubicBezTo>
                  <a:cubicBezTo>
                    <a:pt x="447" y="528"/>
                    <a:pt x="453" y="542"/>
                    <a:pt x="460" y="547"/>
                  </a:cubicBezTo>
                  <a:lnTo>
                    <a:pt x="483" y="559"/>
                  </a:lnTo>
                  <a:lnTo>
                    <a:pt x="490" y="573"/>
                  </a:lnTo>
                  <a:lnTo>
                    <a:pt x="493" y="590"/>
                  </a:lnTo>
                  <a:lnTo>
                    <a:pt x="508" y="579"/>
                  </a:lnTo>
                  <a:cubicBezTo>
                    <a:pt x="508" y="579"/>
                    <a:pt x="507" y="566"/>
                    <a:pt x="509" y="564"/>
                  </a:cubicBezTo>
                  <a:cubicBezTo>
                    <a:pt x="513" y="561"/>
                    <a:pt x="512" y="581"/>
                    <a:pt x="521" y="569"/>
                  </a:cubicBezTo>
                  <a:cubicBezTo>
                    <a:pt x="530" y="557"/>
                    <a:pt x="525" y="556"/>
                    <a:pt x="515" y="549"/>
                  </a:cubicBezTo>
                  <a:lnTo>
                    <a:pt x="468" y="523"/>
                  </a:lnTo>
                  <a:lnTo>
                    <a:pt x="441" y="508"/>
                  </a:lnTo>
                  <a:lnTo>
                    <a:pt x="455" y="480"/>
                  </a:lnTo>
                  <a:lnTo>
                    <a:pt x="464" y="498"/>
                  </a:lnTo>
                  <a:lnTo>
                    <a:pt x="487" y="512"/>
                  </a:lnTo>
                  <a:lnTo>
                    <a:pt x="517" y="527"/>
                  </a:lnTo>
                  <a:cubicBezTo>
                    <a:pt x="526" y="535"/>
                    <a:pt x="529" y="546"/>
                    <a:pt x="539" y="559"/>
                  </a:cubicBezTo>
                  <a:cubicBezTo>
                    <a:pt x="549" y="572"/>
                    <a:pt x="570" y="602"/>
                    <a:pt x="579" y="608"/>
                  </a:cubicBezTo>
                  <a:cubicBezTo>
                    <a:pt x="588" y="614"/>
                    <a:pt x="588" y="598"/>
                    <a:pt x="592" y="597"/>
                  </a:cubicBezTo>
                  <a:cubicBezTo>
                    <a:pt x="596" y="594"/>
                    <a:pt x="604" y="602"/>
                    <a:pt x="604" y="599"/>
                  </a:cubicBezTo>
                  <a:cubicBezTo>
                    <a:pt x="604" y="596"/>
                    <a:pt x="596" y="583"/>
                    <a:pt x="593" y="578"/>
                  </a:cubicBezTo>
                  <a:cubicBezTo>
                    <a:pt x="589" y="574"/>
                    <a:pt x="590" y="568"/>
                    <a:pt x="587" y="567"/>
                  </a:cubicBezTo>
                  <a:cubicBezTo>
                    <a:pt x="585" y="563"/>
                    <a:pt x="583" y="558"/>
                    <a:pt x="584" y="555"/>
                  </a:cubicBezTo>
                  <a:cubicBezTo>
                    <a:pt x="585" y="552"/>
                    <a:pt x="589" y="550"/>
                    <a:pt x="592" y="548"/>
                  </a:cubicBezTo>
                  <a:lnTo>
                    <a:pt x="601" y="542"/>
                  </a:lnTo>
                  <a:cubicBezTo>
                    <a:pt x="607" y="541"/>
                    <a:pt x="621" y="541"/>
                    <a:pt x="627" y="541"/>
                  </a:cubicBezTo>
                  <a:cubicBezTo>
                    <a:pt x="633" y="541"/>
                    <a:pt x="636" y="541"/>
                    <a:pt x="640" y="539"/>
                  </a:cubicBezTo>
                  <a:cubicBezTo>
                    <a:pt x="644" y="537"/>
                    <a:pt x="648" y="532"/>
                    <a:pt x="650" y="528"/>
                  </a:cubicBezTo>
                  <a:lnTo>
                    <a:pt x="653" y="513"/>
                  </a:lnTo>
                  <a:lnTo>
                    <a:pt x="639" y="505"/>
                  </a:lnTo>
                  <a:cubicBezTo>
                    <a:pt x="639" y="503"/>
                    <a:pt x="650" y="505"/>
                    <a:pt x="655" y="501"/>
                  </a:cubicBezTo>
                  <a:cubicBezTo>
                    <a:pt x="660" y="497"/>
                    <a:pt x="665" y="488"/>
                    <a:pt x="670" y="483"/>
                  </a:cubicBezTo>
                  <a:cubicBezTo>
                    <a:pt x="675" y="478"/>
                    <a:pt x="681" y="471"/>
                    <a:pt x="686" y="470"/>
                  </a:cubicBezTo>
                  <a:lnTo>
                    <a:pt x="703" y="476"/>
                  </a:lnTo>
                  <a:lnTo>
                    <a:pt x="718" y="494"/>
                  </a:lnTo>
                  <a:cubicBezTo>
                    <a:pt x="723" y="498"/>
                    <a:pt x="727" y="503"/>
                    <a:pt x="731" y="501"/>
                  </a:cubicBezTo>
                  <a:cubicBezTo>
                    <a:pt x="735" y="499"/>
                    <a:pt x="742" y="488"/>
                    <a:pt x="742" y="482"/>
                  </a:cubicBezTo>
                  <a:lnTo>
                    <a:pt x="728" y="466"/>
                  </a:lnTo>
                  <a:cubicBezTo>
                    <a:pt x="730" y="462"/>
                    <a:pt x="746" y="463"/>
                    <a:pt x="755" y="459"/>
                  </a:cubicBezTo>
                  <a:cubicBezTo>
                    <a:pt x="764" y="455"/>
                    <a:pt x="777" y="444"/>
                    <a:pt x="782" y="444"/>
                  </a:cubicBezTo>
                  <a:cubicBezTo>
                    <a:pt x="787" y="444"/>
                    <a:pt x="786" y="452"/>
                    <a:pt x="784" y="458"/>
                  </a:cubicBezTo>
                  <a:cubicBezTo>
                    <a:pt x="782" y="464"/>
                    <a:pt x="765" y="469"/>
                    <a:pt x="772" y="480"/>
                  </a:cubicBezTo>
                  <a:cubicBezTo>
                    <a:pt x="779" y="491"/>
                    <a:pt x="820" y="516"/>
                    <a:pt x="824" y="525"/>
                  </a:cubicBezTo>
                  <a:cubicBezTo>
                    <a:pt x="828" y="534"/>
                    <a:pt x="808" y="535"/>
                    <a:pt x="796" y="537"/>
                  </a:cubicBezTo>
                  <a:cubicBezTo>
                    <a:pt x="784" y="539"/>
                    <a:pt x="763" y="541"/>
                    <a:pt x="751" y="539"/>
                  </a:cubicBezTo>
                  <a:cubicBezTo>
                    <a:pt x="739" y="537"/>
                    <a:pt x="739" y="524"/>
                    <a:pt x="722" y="524"/>
                  </a:cubicBezTo>
                  <a:cubicBezTo>
                    <a:pt x="705" y="524"/>
                    <a:pt x="707" y="533"/>
                    <a:pt x="697" y="537"/>
                  </a:cubicBezTo>
                  <a:lnTo>
                    <a:pt x="667" y="538"/>
                  </a:lnTo>
                  <a:lnTo>
                    <a:pt x="623" y="560"/>
                  </a:lnTo>
                  <a:lnTo>
                    <a:pt x="634" y="576"/>
                  </a:lnTo>
                  <a:lnTo>
                    <a:pt x="639" y="598"/>
                  </a:lnTo>
                  <a:lnTo>
                    <a:pt x="669" y="617"/>
                  </a:lnTo>
                  <a:lnTo>
                    <a:pt x="700" y="602"/>
                  </a:lnTo>
                  <a:lnTo>
                    <a:pt x="718" y="611"/>
                  </a:lnTo>
                  <a:lnTo>
                    <a:pt x="752" y="608"/>
                  </a:lnTo>
                  <a:lnTo>
                    <a:pt x="757" y="644"/>
                  </a:lnTo>
                  <a:lnTo>
                    <a:pt x="697" y="677"/>
                  </a:lnTo>
                  <a:close/>
                </a:path>
              </a:pathLst>
            </a:custGeom>
            <a:grpFill/>
            <a:ln w="6350" cap="flat" cmpd="sng">
              <a:solidFill>
                <a:srgbClr val="5F5F5F"/>
              </a:solidFill>
              <a:prstDash val="dash"/>
              <a:round/>
              <a:headEnd type="none" w="med" len="med"/>
              <a:tailEnd type="none" w="med" len="med"/>
            </a:ln>
            <a:effectLst>
              <a:outerShdw dist="40161" dir="4293903" algn="ctr" rotWithShape="0">
                <a:srgbClr val="333333">
                  <a:alpha val="50000"/>
                </a:srgbClr>
              </a:outerShdw>
            </a:effectLst>
          </p:spPr>
          <p:txBody>
            <a:bodyPr/>
            <a:lstStyle/>
            <a:p>
              <a:pPr>
                <a:defRPr/>
              </a:pPr>
              <a:endParaRPr lang="zh-CN" altLang="en-US"/>
            </a:p>
          </p:txBody>
        </p:sp>
      </p:grpSp>
      <p:sp>
        <p:nvSpPr>
          <p:cNvPr id="114" name="Oval 112"/>
          <p:cNvSpPr>
            <a:spLocks noChangeArrowheads="1"/>
          </p:cNvSpPr>
          <p:nvPr/>
        </p:nvSpPr>
        <p:spPr bwMode="gray">
          <a:xfrm>
            <a:off x="2596877" y="2599606"/>
            <a:ext cx="260350" cy="260350"/>
          </a:xfrm>
          <a:prstGeom prst="ellipse">
            <a:avLst/>
          </a:prstGeom>
          <a:gradFill rotWithShape="1">
            <a:gsLst>
              <a:gs pos="0">
                <a:srgbClr val="5E0000"/>
              </a:gs>
              <a:gs pos="100000">
                <a:srgbClr val="CC0000"/>
              </a:gs>
            </a:gsLst>
            <a:path path="shape">
              <a:fillToRect l="50000" t="50000" r="50000" b="50000"/>
            </a:path>
          </a:gradFill>
          <a:ln w="38100" cmpd="dbl" algn="ctr">
            <a:solidFill>
              <a:srgbClr val="EBFFFB"/>
            </a:solidFill>
            <a:round/>
            <a:headEnd/>
            <a:tailEnd/>
          </a:ln>
        </p:spPr>
        <p:txBody>
          <a:bodyPr wrap="none" anchor="ctr"/>
          <a:lstStyle/>
          <a:p>
            <a:endParaRPr lang="zh-CN" altLang="en-US"/>
          </a:p>
        </p:txBody>
      </p:sp>
      <p:sp>
        <p:nvSpPr>
          <p:cNvPr id="115" name="圆角矩形 114"/>
          <p:cNvSpPr/>
          <p:nvPr/>
        </p:nvSpPr>
        <p:spPr>
          <a:xfrm>
            <a:off x="3892635" y="3933850"/>
            <a:ext cx="3168000" cy="1936626"/>
          </a:xfrm>
          <a:prstGeom prst="roundRect">
            <a:avLst>
              <a:gd name="adj" fmla="val 7555"/>
            </a:avLst>
          </a:prstGeom>
          <a:solidFill>
            <a:schemeClr val="accent5">
              <a:lumMod val="50000"/>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矩形 115"/>
          <p:cNvSpPr/>
          <p:nvPr/>
        </p:nvSpPr>
        <p:spPr>
          <a:xfrm>
            <a:off x="3865339" y="3935295"/>
            <a:ext cx="3195296" cy="523220"/>
          </a:xfrm>
          <a:prstGeom prst="rect">
            <a:avLst/>
          </a:prstGeom>
        </p:spPr>
        <p:txBody>
          <a:bodyPr wrap="square">
            <a:spAutoFit/>
          </a:bodyPr>
          <a:lstStyle/>
          <a:p>
            <a:pPr algn="ctr"/>
            <a:r>
              <a:rPr lang="en-US" altLang="zh-CN" sz="1400" b="1" dirty="0" smtClean="0">
                <a:solidFill>
                  <a:srgbClr val="FFC000"/>
                </a:solidFill>
              </a:rPr>
              <a:t>Los Angeles</a:t>
            </a:r>
            <a:r>
              <a:rPr lang="en-US" altLang="zh-CN" sz="1400" b="1" dirty="0" smtClean="0">
                <a:solidFill>
                  <a:schemeClr val="bg1"/>
                </a:solidFill>
              </a:rPr>
              <a:t> has </a:t>
            </a:r>
            <a:r>
              <a:rPr lang="en-US" altLang="zh-CN" sz="1400" b="1" dirty="0" smtClean="0">
                <a:solidFill>
                  <a:srgbClr val="00B050"/>
                </a:solidFill>
              </a:rPr>
              <a:t>200,000+ </a:t>
            </a:r>
            <a:r>
              <a:rPr lang="en-US" altLang="zh-CN" sz="1400" b="1" dirty="0" smtClean="0">
                <a:solidFill>
                  <a:schemeClr val="bg1"/>
                </a:solidFill>
              </a:rPr>
              <a:t/>
            </a:r>
            <a:br>
              <a:rPr lang="en-US" altLang="zh-CN" sz="1400" b="1" dirty="0" smtClean="0">
                <a:solidFill>
                  <a:schemeClr val="bg1"/>
                </a:solidFill>
              </a:rPr>
            </a:br>
            <a:r>
              <a:rPr lang="en-US" altLang="zh-CN" sz="1400" b="1" dirty="0" smtClean="0">
                <a:solidFill>
                  <a:schemeClr val="bg1"/>
                </a:solidFill>
              </a:rPr>
              <a:t>smart connected street lights</a:t>
            </a:r>
            <a:endPar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cxnSp>
        <p:nvCxnSpPr>
          <p:cNvPr id="117" name="直接连接符 116"/>
          <p:cNvCxnSpPr/>
          <p:nvPr/>
        </p:nvCxnSpPr>
        <p:spPr>
          <a:xfrm>
            <a:off x="3949675" y="4450606"/>
            <a:ext cx="302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矩形 117"/>
          <p:cNvSpPr/>
          <p:nvPr/>
        </p:nvSpPr>
        <p:spPr>
          <a:xfrm>
            <a:off x="4821545" y="4463306"/>
            <a:ext cx="2226390" cy="1384995"/>
          </a:xfrm>
          <a:prstGeom prst="rect">
            <a:avLst/>
          </a:prstGeom>
        </p:spPr>
        <p:txBody>
          <a:bodyPr wrap="square">
            <a:spAutoFit/>
          </a:bodyPr>
          <a:lstStyle/>
          <a:p>
            <a:r>
              <a:rPr lang="en-US" altLang="zh-CN" sz="1200" dirty="0" smtClean="0">
                <a:solidFill>
                  <a:schemeClr val="bg1"/>
                </a:solidFill>
              </a:rPr>
              <a:t>Newly introduced acoustic sensors and environmental </a:t>
            </a:r>
            <a:r>
              <a:rPr lang="en-US" altLang="zh-CN" sz="1200" dirty="0" smtClean="0">
                <a:solidFill>
                  <a:srgbClr val="00B050"/>
                </a:solidFill>
              </a:rPr>
              <a:t>noise-</a:t>
            </a:r>
            <a:r>
              <a:rPr lang="en-US" altLang="zh-CN" sz="1200" dirty="0" smtClean="0">
                <a:solidFill>
                  <a:schemeClr val="bg1"/>
                </a:solidFill>
              </a:rPr>
              <a:t>monitoring sensors detect vehicle collision events and provide timely information to the </a:t>
            </a:r>
            <a:r>
              <a:rPr lang="en-US" altLang="zh-CN" sz="1200" dirty="0" smtClean="0">
                <a:solidFill>
                  <a:srgbClr val="00B050"/>
                </a:solidFill>
              </a:rPr>
              <a:t>city’s</a:t>
            </a:r>
            <a:r>
              <a:rPr lang="en-US" altLang="zh-CN" sz="1200" dirty="0" smtClean="0">
                <a:solidFill>
                  <a:schemeClr val="bg1"/>
                </a:solidFill>
              </a:rPr>
              <a:t> emergency </a:t>
            </a:r>
            <a:r>
              <a:rPr lang="en-US" altLang="zh-CN" sz="1200" dirty="0" smtClean="0">
                <a:solidFill>
                  <a:srgbClr val="00B050"/>
                </a:solidFill>
              </a:rPr>
              <a:t>communications</a:t>
            </a:r>
            <a:r>
              <a:rPr lang="en-US" altLang="zh-CN" sz="1200" dirty="0" smtClean="0">
                <a:solidFill>
                  <a:schemeClr val="bg1"/>
                </a:solidFill>
              </a:rPr>
              <a:t> system</a:t>
            </a:r>
            <a:endParaRPr lang="zh-CN" altLang="en-US" sz="1200" dirty="0">
              <a:solidFill>
                <a:schemeClr val="bg1"/>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2" cstate="print"/>
          <a:srcRect/>
          <a:stretch>
            <a:fillRect/>
          </a:stretch>
        </p:blipFill>
        <p:spPr bwMode="auto">
          <a:xfrm>
            <a:off x="3970245" y="4535354"/>
            <a:ext cx="864000" cy="1240386"/>
          </a:xfrm>
          <a:prstGeom prst="rect">
            <a:avLst/>
          </a:prstGeom>
          <a:noFill/>
          <a:ln w="9525">
            <a:noFill/>
            <a:miter lim="800000"/>
            <a:headEnd/>
            <a:tailEnd/>
          </a:ln>
        </p:spPr>
      </p:pic>
      <p:cxnSp>
        <p:nvCxnSpPr>
          <p:cNvPr id="121" name="肘形连接符 120"/>
          <p:cNvCxnSpPr>
            <a:stCxn id="116" idx="0"/>
            <a:endCxn id="114" idx="4"/>
          </p:cNvCxnSpPr>
          <p:nvPr/>
        </p:nvCxnSpPr>
        <p:spPr>
          <a:xfrm rot="16200000" flipV="1">
            <a:off x="3557351" y="2029658"/>
            <a:ext cx="1075339" cy="2735935"/>
          </a:xfrm>
          <a:prstGeom prst="bentConnector3">
            <a:avLst>
              <a:gd name="adj1" fmla="val 50000"/>
            </a:avLst>
          </a:prstGeom>
          <a:ln>
            <a:solidFill>
              <a:srgbClr val="FFC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4" name="Oval 112"/>
          <p:cNvSpPr>
            <a:spLocks noChangeArrowheads="1"/>
          </p:cNvSpPr>
          <p:nvPr/>
        </p:nvSpPr>
        <p:spPr bwMode="gray">
          <a:xfrm>
            <a:off x="6122602" y="2396282"/>
            <a:ext cx="260350" cy="260350"/>
          </a:xfrm>
          <a:prstGeom prst="ellipse">
            <a:avLst/>
          </a:prstGeom>
          <a:gradFill rotWithShape="1">
            <a:gsLst>
              <a:gs pos="0">
                <a:srgbClr val="5E0000"/>
              </a:gs>
              <a:gs pos="100000">
                <a:srgbClr val="CC0000"/>
              </a:gs>
            </a:gsLst>
            <a:path path="shape">
              <a:fillToRect l="50000" t="50000" r="50000" b="50000"/>
            </a:path>
          </a:gradFill>
          <a:ln w="38100" cmpd="dbl" algn="ctr">
            <a:solidFill>
              <a:srgbClr val="EBFFFB"/>
            </a:solidFill>
            <a:round/>
            <a:headEnd/>
            <a:tailEnd/>
          </a:ln>
        </p:spPr>
        <p:txBody>
          <a:bodyPr wrap="none" anchor="ctr"/>
          <a:lstStyle/>
          <a:p>
            <a:endParaRPr lang="zh-CN" altLang="en-US"/>
          </a:p>
        </p:txBody>
      </p:sp>
      <p:sp>
        <p:nvSpPr>
          <p:cNvPr id="125" name="圆角矩形 124"/>
          <p:cNvSpPr/>
          <p:nvPr/>
        </p:nvSpPr>
        <p:spPr>
          <a:xfrm>
            <a:off x="7196110" y="1197546"/>
            <a:ext cx="2808000" cy="1872000"/>
          </a:xfrm>
          <a:prstGeom prst="roundRect">
            <a:avLst>
              <a:gd name="adj" fmla="val 7555"/>
            </a:avLst>
          </a:prstGeom>
          <a:solidFill>
            <a:schemeClr val="accent5">
              <a:lumMod val="50000"/>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矩形 125"/>
          <p:cNvSpPr/>
          <p:nvPr/>
        </p:nvSpPr>
        <p:spPr>
          <a:xfrm>
            <a:off x="7168814" y="1198991"/>
            <a:ext cx="2835296" cy="523220"/>
          </a:xfrm>
          <a:prstGeom prst="rect">
            <a:avLst/>
          </a:prstGeom>
        </p:spPr>
        <p:txBody>
          <a:bodyPr wrap="square">
            <a:spAutoFit/>
          </a:bodyPr>
          <a:lstStyle/>
          <a:p>
            <a:pPr algn="ctr"/>
            <a:r>
              <a:rPr lang="en-US" altLang="zh-CN" sz="1400" b="1" dirty="0" smtClean="0">
                <a:solidFill>
                  <a:srgbClr val="FFC000"/>
                </a:solidFill>
              </a:rPr>
              <a:t>Paris</a:t>
            </a:r>
            <a:r>
              <a:rPr lang="en-US" altLang="zh-CN" sz="1400" b="1" dirty="0" smtClean="0">
                <a:solidFill>
                  <a:schemeClr val="bg1"/>
                </a:solidFill>
              </a:rPr>
              <a:t> street lights provide </a:t>
            </a:r>
            <a:br>
              <a:rPr lang="en-US" altLang="zh-CN" sz="1400" b="1" dirty="0" smtClean="0">
                <a:solidFill>
                  <a:schemeClr val="bg1"/>
                </a:solidFill>
              </a:rPr>
            </a:br>
            <a:r>
              <a:rPr lang="en-US" altLang="zh-CN" sz="1400" b="1" dirty="0" smtClean="0">
                <a:solidFill>
                  <a:srgbClr val="00B050"/>
                </a:solidFill>
              </a:rPr>
              <a:t>Wi-Fi</a:t>
            </a:r>
            <a:r>
              <a:rPr lang="en-US" altLang="zh-CN" sz="1400" b="1" dirty="0" smtClean="0">
                <a:solidFill>
                  <a:schemeClr val="bg1"/>
                </a:solidFill>
              </a:rPr>
              <a:t> and </a:t>
            </a:r>
            <a:r>
              <a:rPr lang="en-US" altLang="zh-CN" sz="1400" b="1" dirty="0" smtClean="0">
                <a:solidFill>
                  <a:srgbClr val="FFC000"/>
                </a:solidFill>
              </a:rPr>
              <a:t>seating</a:t>
            </a:r>
            <a:endParaRPr lang="zh-CN" altLang="en-US" sz="1400" b="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cxnSp>
        <p:nvCxnSpPr>
          <p:cNvPr id="127" name="直接连接符 126"/>
          <p:cNvCxnSpPr/>
          <p:nvPr/>
        </p:nvCxnSpPr>
        <p:spPr>
          <a:xfrm>
            <a:off x="7253150" y="1714302"/>
            <a:ext cx="26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矩形 127"/>
          <p:cNvSpPr/>
          <p:nvPr/>
        </p:nvSpPr>
        <p:spPr>
          <a:xfrm>
            <a:off x="8137720" y="1773402"/>
            <a:ext cx="1852742" cy="1200329"/>
          </a:xfrm>
          <a:prstGeom prst="rect">
            <a:avLst/>
          </a:prstGeom>
        </p:spPr>
        <p:txBody>
          <a:bodyPr wrap="square">
            <a:spAutoFit/>
          </a:bodyPr>
          <a:lstStyle/>
          <a:p>
            <a:pPr>
              <a:lnSpc>
                <a:spcPct val="120000"/>
              </a:lnSpc>
            </a:pPr>
            <a:r>
              <a:rPr lang="en-US" altLang="zh-CN" sz="1200" dirty="0" smtClean="0">
                <a:solidFill>
                  <a:schemeClr val="bg1"/>
                </a:solidFill>
              </a:rPr>
              <a:t>In addition to providing basic lighting, </a:t>
            </a:r>
            <a:r>
              <a:rPr lang="en-US" altLang="zh-CN" sz="1200" dirty="0" smtClean="0">
                <a:solidFill>
                  <a:srgbClr val="00B050"/>
                </a:solidFill>
              </a:rPr>
              <a:t>Paris’s </a:t>
            </a:r>
            <a:r>
              <a:rPr lang="en-US" altLang="zh-CN" sz="1200" dirty="0" smtClean="0">
                <a:solidFill>
                  <a:schemeClr val="bg1"/>
                </a:solidFill>
              </a:rPr>
              <a:t>smart street lights also offer </a:t>
            </a:r>
            <a:r>
              <a:rPr lang="en-US" altLang="zh-CN" sz="1200" dirty="0" smtClean="0">
                <a:solidFill>
                  <a:srgbClr val="00B050"/>
                </a:solidFill>
              </a:rPr>
              <a:t>Wi-Fi</a:t>
            </a:r>
            <a:r>
              <a:rPr lang="en-US" altLang="zh-CN" sz="1200" dirty="0" smtClean="0">
                <a:solidFill>
                  <a:schemeClr val="bg1"/>
                </a:solidFill>
              </a:rPr>
              <a:t> and mobile phone charging</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31" name="肘形连接符 130"/>
          <p:cNvCxnSpPr>
            <a:stCxn id="124" idx="6"/>
            <a:endCxn id="125" idx="1"/>
          </p:cNvCxnSpPr>
          <p:nvPr/>
        </p:nvCxnSpPr>
        <p:spPr>
          <a:xfrm flipV="1">
            <a:off x="6382952" y="2133546"/>
            <a:ext cx="813158" cy="392911"/>
          </a:xfrm>
          <a:prstGeom prst="bentConnector3">
            <a:avLst>
              <a:gd name="adj1" fmla="val 50000"/>
            </a:avLst>
          </a:prstGeom>
          <a:ln>
            <a:solidFill>
              <a:srgbClr val="FFC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p:nvPicPr>
        <p:blipFill>
          <a:blip r:embed="rId3" cstate="print"/>
          <a:srcRect/>
          <a:stretch>
            <a:fillRect/>
          </a:stretch>
        </p:blipFill>
        <p:spPr bwMode="auto">
          <a:xfrm>
            <a:off x="7243708" y="1811502"/>
            <a:ext cx="917916" cy="1153531"/>
          </a:xfrm>
          <a:prstGeom prst="rect">
            <a:avLst/>
          </a:prstGeom>
          <a:noFill/>
          <a:ln w="9525">
            <a:noFill/>
            <a:miter lim="800000"/>
            <a:headEnd/>
            <a:tailEnd/>
          </a:ln>
        </p:spPr>
      </p:pic>
      <p:sp>
        <p:nvSpPr>
          <p:cNvPr id="134" name="Oval 112"/>
          <p:cNvSpPr>
            <a:spLocks noChangeArrowheads="1"/>
          </p:cNvSpPr>
          <p:nvPr/>
        </p:nvSpPr>
        <p:spPr bwMode="gray">
          <a:xfrm>
            <a:off x="2380853" y="2953420"/>
            <a:ext cx="260350" cy="260350"/>
          </a:xfrm>
          <a:prstGeom prst="ellipse">
            <a:avLst/>
          </a:prstGeom>
          <a:gradFill rotWithShape="1">
            <a:gsLst>
              <a:gs pos="0">
                <a:srgbClr val="5E0000"/>
              </a:gs>
              <a:gs pos="100000">
                <a:srgbClr val="CC0000"/>
              </a:gs>
            </a:gsLst>
            <a:path path="shape">
              <a:fillToRect l="50000" t="50000" r="50000" b="50000"/>
            </a:path>
          </a:gradFill>
          <a:ln w="38100" cmpd="dbl" algn="ctr">
            <a:solidFill>
              <a:srgbClr val="EBFFFB"/>
            </a:solidFill>
            <a:round/>
            <a:headEnd/>
            <a:tailEnd/>
          </a:ln>
        </p:spPr>
        <p:txBody>
          <a:bodyPr wrap="none" anchor="ctr"/>
          <a:lstStyle/>
          <a:p>
            <a:endParaRPr lang="zh-CN" altLang="en-US"/>
          </a:p>
        </p:txBody>
      </p:sp>
      <p:sp>
        <p:nvSpPr>
          <p:cNvPr id="135" name="圆角矩形 134"/>
          <p:cNvSpPr/>
          <p:nvPr/>
        </p:nvSpPr>
        <p:spPr>
          <a:xfrm>
            <a:off x="643991" y="4366106"/>
            <a:ext cx="2928329" cy="1772585"/>
          </a:xfrm>
          <a:prstGeom prst="roundRect">
            <a:avLst>
              <a:gd name="adj" fmla="val 7555"/>
            </a:avLst>
          </a:prstGeom>
          <a:solidFill>
            <a:schemeClr val="accent5">
              <a:lumMod val="50000"/>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矩形 135"/>
          <p:cNvSpPr/>
          <p:nvPr/>
        </p:nvSpPr>
        <p:spPr>
          <a:xfrm>
            <a:off x="659907" y="4371784"/>
            <a:ext cx="2913270" cy="523220"/>
          </a:xfrm>
          <a:prstGeom prst="rect">
            <a:avLst/>
          </a:prstGeom>
        </p:spPr>
        <p:txBody>
          <a:bodyPr wrap="square">
            <a:spAutoFit/>
          </a:bodyPr>
          <a:lstStyle/>
          <a:p>
            <a:pPr algn="ctr"/>
            <a:r>
              <a:rPr lang="en-US" altLang="zh-CN" sz="1400" b="1" dirty="0" smtClean="0">
                <a:solidFill>
                  <a:srgbClr val="FFC000"/>
                </a:solidFill>
              </a:rPr>
              <a:t>San Diego </a:t>
            </a:r>
            <a:r>
              <a:rPr lang="en-US" altLang="zh-CN" sz="1400" b="1" dirty="0" smtClean="0">
                <a:solidFill>
                  <a:schemeClr val="bg1"/>
                </a:solidFill>
              </a:rPr>
              <a:t>has more than</a:t>
            </a:r>
            <a:r>
              <a:rPr lang="en-US" altLang="zh-CN" sz="1400" b="1" dirty="0" smtClean="0">
                <a:solidFill>
                  <a:srgbClr val="FFC000"/>
                </a:solidFill>
              </a:rPr>
              <a:t> </a:t>
            </a:r>
            <a:br>
              <a:rPr lang="en-US" altLang="zh-CN" sz="1400" b="1" dirty="0" smtClean="0">
                <a:solidFill>
                  <a:srgbClr val="FFC000"/>
                </a:solidFill>
              </a:rPr>
            </a:br>
            <a:r>
              <a:rPr lang="en-US" altLang="zh-CN" sz="1400" b="1" dirty="0" smtClean="0">
                <a:solidFill>
                  <a:srgbClr val="FFC000"/>
                </a:solidFill>
              </a:rPr>
              <a:t>3,200 </a:t>
            </a:r>
            <a:r>
              <a:rPr lang="en-US" altLang="zh-CN" sz="1400" b="1" dirty="0" smtClean="0">
                <a:solidFill>
                  <a:schemeClr val="bg1"/>
                </a:solidFill>
              </a:rPr>
              <a:t>smart light poles</a:t>
            </a:r>
            <a:endPar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38" name="矩形 137"/>
          <p:cNvSpPr/>
          <p:nvPr/>
        </p:nvSpPr>
        <p:spPr>
          <a:xfrm>
            <a:off x="1676163" y="4884838"/>
            <a:ext cx="1933652" cy="1200329"/>
          </a:xfrm>
          <a:prstGeom prst="rect">
            <a:avLst/>
          </a:prstGeom>
        </p:spPr>
        <p:txBody>
          <a:bodyPr wrap="square">
            <a:spAutoFit/>
          </a:bodyPr>
          <a:lstStyle/>
          <a:p>
            <a:r>
              <a:rPr lang="en-US" altLang="zh-CN" sz="1200" dirty="0" smtClean="0">
                <a:solidFill>
                  <a:schemeClr val="bg1"/>
                </a:solidFill>
              </a:rPr>
              <a:t>This smart light pole can monitor traffic, crowd size, weather </a:t>
            </a:r>
            <a:r>
              <a:rPr lang="en-US" altLang="zh-CN" sz="1200" dirty="0" smtClean="0">
                <a:solidFill>
                  <a:srgbClr val="00B050"/>
                </a:solidFill>
              </a:rPr>
              <a:t>conditions</a:t>
            </a:r>
            <a:r>
              <a:rPr lang="en-US" altLang="zh-CN" sz="1200" dirty="0" smtClean="0">
                <a:solidFill>
                  <a:schemeClr val="bg1"/>
                </a:solidFill>
              </a:rPr>
              <a:t>, and even detect gunshots, and automatically </a:t>
            </a:r>
            <a:r>
              <a:rPr lang="en-US" altLang="zh-CN" sz="1200" dirty="0" smtClean="0">
                <a:solidFill>
                  <a:srgbClr val="00B050"/>
                </a:solidFill>
              </a:rPr>
              <a:t>issue </a:t>
            </a:r>
            <a:r>
              <a:rPr lang="en-US" altLang="zh-CN" sz="1200" dirty="0" smtClean="0">
                <a:solidFill>
                  <a:schemeClr val="bg1"/>
                </a:solidFill>
              </a:rPr>
              <a:t>alarm </a:t>
            </a:r>
            <a:r>
              <a:rPr lang="en-US" altLang="zh-CN" sz="1200" dirty="0" smtClean="0">
                <a:solidFill>
                  <a:srgbClr val="00B050"/>
                </a:solidFill>
              </a:rPr>
              <a:t>warnings</a:t>
            </a:r>
            <a:endParaRPr lang="zh-CN" altLang="en-US" sz="1200" dirty="0">
              <a:solidFill>
                <a:srgbClr val="00B050"/>
              </a:solidFill>
              <a:latin typeface="微软雅黑" panose="020B0503020204020204" pitchFamily="34" charset="-122"/>
              <a:ea typeface="微软雅黑" panose="020B0503020204020204" pitchFamily="34" charset="-122"/>
            </a:endParaRPr>
          </a:p>
        </p:txBody>
      </p:sp>
      <p:cxnSp>
        <p:nvCxnSpPr>
          <p:cNvPr id="141" name="肘形连接符 140"/>
          <p:cNvCxnSpPr>
            <a:stCxn id="134" idx="2"/>
            <a:endCxn id="136" idx="0"/>
          </p:cNvCxnSpPr>
          <p:nvPr/>
        </p:nvCxnSpPr>
        <p:spPr>
          <a:xfrm rot="10800000" flipV="1">
            <a:off x="2116543" y="3083594"/>
            <a:ext cx="264311" cy="1288189"/>
          </a:xfrm>
          <a:prstGeom prst="bentConnector2">
            <a:avLst/>
          </a:prstGeom>
          <a:ln>
            <a:solidFill>
              <a:srgbClr val="FFC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8" name="Picture 4"/>
          <p:cNvPicPr>
            <a:picLocks noChangeAspect="1" noChangeArrowheads="1"/>
          </p:cNvPicPr>
          <p:nvPr/>
        </p:nvPicPr>
        <p:blipFill>
          <a:blip r:embed="rId4" cstate="print"/>
          <a:srcRect/>
          <a:stretch>
            <a:fillRect/>
          </a:stretch>
        </p:blipFill>
        <p:spPr bwMode="auto">
          <a:xfrm>
            <a:off x="709687" y="4953956"/>
            <a:ext cx="972000" cy="1074523"/>
          </a:xfrm>
          <a:prstGeom prst="rect">
            <a:avLst/>
          </a:prstGeom>
          <a:noFill/>
          <a:ln w="9525">
            <a:noFill/>
            <a:miter lim="800000"/>
            <a:headEnd/>
            <a:tailEnd/>
          </a:ln>
        </p:spPr>
      </p:pic>
      <p:sp>
        <p:nvSpPr>
          <p:cNvPr id="144" name="Oval 112"/>
          <p:cNvSpPr>
            <a:spLocks noChangeArrowheads="1"/>
          </p:cNvSpPr>
          <p:nvPr/>
        </p:nvSpPr>
        <p:spPr bwMode="gray">
          <a:xfrm>
            <a:off x="9359155" y="3167162"/>
            <a:ext cx="260350" cy="260350"/>
          </a:xfrm>
          <a:prstGeom prst="ellipse">
            <a:avLst/>
          </a:prstGeom>
          <a:gradFill rotWithShape="1">
            <a:gsLst>
              <a:gs pos="0">
                <a:srgbClr val="5E0000"/>
              </a:gs>
              <a:gs pos="100000">
                <a:srgbClr val="CC0000"/>
              </a:gs>
            </a:gsLst>
            <a:path path="shape">
              <a:fillToRect l="50000" t="50000" r="50000" b="50000"/>
            </a:path>
          </a:gradFill>
          <a:ln w="38100" cmpd="dbl" algn="ctr">
            <a:solidFill>
              <a:srgbClr val="EBFFFB"/>
            </a:solidFill>
            <a:round/>
            <a:headEnd/>
            <a:tailEnd/>
          </a:ln>
        </p:spPr>
        <p:txBody>
          <a:bodyPr wrap="none" anchor="ctr"/>
          <a:lstStyle/>
          <a:p>
            <a:endParaRPr lang="zh-CN" altLang="en-US"/>
          </a:p>
        </p:txBody>
      </p:sp>
      <p:sp>
        <p:nvSpPr>
          <p:cNvPr id="145" name="圆角矩形 144"/>
          <p:cNvSpPr/>
          <p:nvPr/>
        </p:nvSpPr>
        <p:spPr>
          <a:xfrm>
            <a:off x="7460233" y="4294098"/>
            <a:ext cx="3197123" cy="1944008"/>
          </a:xfrm>
          <a:prstGeom prst="roundRect">
            <a:avLst>
              <a:gd name="adj" fmla="val 7555"/>
            </a:avLst>
          </a:prstGeom>
          <a:solidFill>
            <a:schemeClr val="accent5">
              <a:lumMod val="50000"/>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p:cNvSpPr/>
          <p:nvPr/>
        </p:nvSpPr>
        <p:spPr>
          <a:xfrm>
            <a:off x="7432937" y="4295543"/>
            <a:ext cx="3217586" cy="523220"/>
          </a:xfrm>
          <a:prstGeom prst="rect">
            <a:avLst/>
          </a:prstGeom>
        </p:spPr>
        <p:txBody>
          <a:bodyPr wrap="square">
            <a:spAutoFit/>
          </a:bodyPr>
          <a:lstStyle/>
          <a:p>
            <a:pPr algn="ctr"/>
            <a:r>
              <a:rPr lang="en-US" altLang="zh-CN" sz="1400" b="1" dirty="0" smtClean="0">
                <a:solidFill>
                  <a:srgbClr val="FFC000"/>
                </a:solidFill>
              </a:rPr>
              <a:t>Hong Kong </a:t>
            </a:r>
            <a:r>
              <a:rPr lang="en-US" altLang="zh-CN" sz="1400" b="1" dirty="0" smtClean="0">
                <a:solidFill>
                  <a:schemeClr val="bg1"/>
                </a:solidFill>
              </a:rPr>
              <a:t>launches</a:t>
            </a:r>
            <a:r>
              <a:rPr lang="en-US" altLang="zh-CN" sz="1400" b="1" dirty="0" smtClean="0">
                <a:solidFill>
                  <a:srgbClr val="FFC000"/>
                </a:solidFill>
              </a:rPr>
              <a:t> multi-functional smart pole </a:t>
            </a:r>
            <a:r>
              <a:rPr lang="en-US" altLang="zh-CN" sz="1400" b="1" dirty="0" smtClean="0">
                <a:solidFill>
                  <a:schemeClr val="bg1"/>
                </a:solidFill>
              </a:rPr>
              <a:t>test plan</a:t>
            </a:r>
            <a:endPar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cxnSp>
        <p:nvCxnSpPr>
          <p:cNvPr id="147" name="直接连接符 146"/>
          <p:cNvCxnSpPr/>
          <p:nvPr/>
        </p:nvCxnSpPr>
        <p:spPr>
          <a:xfrm>
            <a:off x="7517273" y="4810854"/>
            <a:ext cx="302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8" name="矩形 147"/>
          <p:cNvSpPr/>
          <p:nvPr/>
        </p:nvSpPr>
        <p:spPr>
          <a:xfrm>
            <a:off x="8376903" y="4819154"/>
            <a:ext cx="2248680" cy="1384995"/>
          </a:xfrm>
          <a:prstGeom prst="rect">
            <a:avLst/>
          </a:prstGeom>
        </p:spPr>
        <p:txBody>
          <a:bodyPr wrap="square">
            <a:spAutoFit/>
          </a:bodyPr>
          <a:lstStyle/>
          <a:p>
            <a:r>
              <a:rPr lang="en-US" altLang="zh-CN" sz="1200" dirty="0" smtClean="0">
                <a:solidFill>
                  <a:schemeClr val="bg1"/>
                </a:solidFill>
              </a:rPr>
              <a:t>The program integrates lighting, mobile base stations, video surveillance, information release, PM2.5 intelligent sensing, charging piles, </a:t>
            </a:r>
            <a:r>
              <a:rPr lang="en-US" altLang="zh-CN" sz="1200" dirty="0" smtClean="0">
                <a:solidFill>
                  <a:srgbClr val="00B050"/>
                </a:solidFill>
              </a:rPr>
              <a:t>and more </a:t>
            </a:r>
            <a:r>
              <a:rPr lang="en-US" altLang="zh-CN" sz="1200" dirty="0" smtClean="0">
                <a:solidFill>
                  <a:schemeClr val="bg1"/>
                </a:solidFill>
              </a:rPr>
              <a:t>to achieve better urban management</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51" name="肘形连接符 150"/>
          <p:cNvCxnSpPr>
            <a:stCxn id="144" idx="2"/>
            <a:endCxn id="146" idx="0"/>
          </p:cNvCxnSpPr>
          <p:nvPr/>
        </p:nvCxnSpPr>
        <p:spPr>
          <a:xfrm rot="10800000" flipV="1">
            <a:off x="9041731" y="3297337"/>
            <a:ext cx="317425" cy="998206"/>
          </a:xfrm>
          <a:prstGeom prst="bentConnector2">
            <a:avLst/>
          </a:prstGeom>
          <a:ln>
            <a:solidFill>
              <a:srgbClr val="FFC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9" name="Picture 5"/>
          <p:cNvPicPr>
            <a:picLocks noChangeAspect="1" noChangeArrowheads="1"/>
          </p:cNvPicPr>
          <p:nvPr/>
        </p:nvPicPr>
        <p:blipFill>
          <a:blip r:embed="rId5" cstate="print"/>
          <a:srcRect/>
          <a:stretch>
            <a:fillRect/>
          </a:stretch>
        </p:blipFill>
        <p:spPr bwMode="auto">
          <a:xfrm>
            <a:off x="7555360" y="4912382"/>
            <a:ext cx="830152" cy="1226309"/>
          </a:xfrm>
          <a:prstGeom prst="rect">
            <a:avLst/>
          </a:prstGeom>
          <a:noFill/>
          <a:ln w="9525">
            <a:noFill/>
            <a:miter lim="800000"/>
            <a:headEnd/>
            <a:tailEnd/>
          </a:ln>
        </p:spPr>
      </p:pic>
      <p:sp>
        <p:nvSpPr>
          <p:cNvPr id="142" name="Oval 112"/>
          <p:cNvSpPr>
            <a:spLocks noChangeArrowheads="1"/>
          </p:cNvSpPr>
          <p:nvPr/>
        </p:nvSpPr>
        <p:spPr bwMode="gray">
          <a:xfrm>
            <a:off x="2353171" y="1682676"/>
            <a:ext cx="260350" cy="260350"/>
          </a:xfrm>
          <a:prstGeom prst="ellipse">
            <a:avLst/>
          </a:prstGeom>
          <a:gradFill rotWithShape="1">
            <a:gsLst>
              <a:gs pos="0">
                <a:srgbClr val="5E0000"/>
              </a:gs>
              <a:gs pos="100000">
                <a:srgbClr val="CC0000"/>
              </a:gs>
            </a:gsLst>
            <a:path path="shape">
              <a:fillToRect l="50000" t="50000" r="50000" b="50000"/>
            </a:path>
          </a:gradFill>
          <a:ln w="38100" cmpd="dbl" algn="ctr">
            <a:solidFill>
              <a:srgbClr val="EBFFFB"/>
            </a:solidFill>
            <a:round/>
            <a:headEnd/>
            <a:tailEnd/>
          </a:ln>
        </p:spPr>
        <p:txBody>
          <a:bodyPr wrap="none" anchor="ctr"/>
          <a:lstStyle/>
          <a:p>
            <a:endParaRPr lang="zh-CN" altLang="en-US"/>
          </a:p>
        </p:txBody>
      </p:sp>
      <p:sp>
        <p:nvSpPr>
          <p:cNvPr id="143" name="圆角矩形 142"/>
          <p:cNvSpPr/>
          <p:nvPr/>
        </p:nvSpPr>
        <p:spPr>
          <a:xfrm>
            <a:off x="3145571" y="1197546"/>
            <a:ext cx="2808000" cy="1872000"/>
          </a:xfrm>
          <a:prstGeom prst="roundRect">
            <a:avLst>
              <a:gd name="adj" fmla="val 7555"/>
            </a:avLst>
          </a:prstGeom>
          <a:solidFill>
            <a:schemeClr val="accent5">
              <a:lumMod val="50000"/>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3118275" y="1198991"/>
            <a:ext cx="2835296" cy="523220"/>
          </a:xfrm>
          <a:prstGeom prst="rect">
            <a:avLst/>
          </a:prstGeom>
        </p:spPr>
        <p:txBody>
          <a:bodyPr wrap="square">
            <a:spAutoFit/>
          </a:bodyPr>
          <a:lstStyle/>
          <a:p>
            <a:pPr algn="ctr"/>
            <a:r>
              <a:rPr lang="en-US" altLang="zh-CN" sz="1400" b="1" dirty="0" smtClean="0">
                <a:solidFill>
                  <a:srgbClr val="FFC000"/>
                </a:solidFill>
              </a:rPr>
              <a:t>Solar and kinetic energy </a:t>
            </a:r>
            <a:r>
              <a:rPr lang="en-US" altLang="zh-CN" sz="1400" b="1" dirty="0" smtClean="0">
                <a:solidFill>
                  <a:schemeClr val="bg1"/>
                </a:solidFill>
              </a:rPr>
              <a:t>to charge the poles in</a:t>
            </a:r>
            <a:r>
              <a:rPr lang="en-US" altLang="zh-CN" sz="1400" b="1" dirty="0" smtClean="0">
                <a:solidFill>
                  <a:srgbClr val="FFC000"/>
                </a:solidFill>
              </a:rPr>
              <a:t> Las Vegas</a:t>
            </a:r>
            <a:endParaRPr lang="zh-CN" altLang="en-US" sz="14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cxnSp>
        <p:nvCxnSpPr>
          <p:cNvPr id="150" name="直接连接符 149"/>
          <p:cNvCxnSpPr/>
          <p:nvPr/>
        </p:nvCxnSpPr>
        <p:spPr>
          <a:xfrm>
            <a:off x="3202611" y="1714302"/>
            <a:ext cx="26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2" name="矩形 151"/>
          <p:cNvSpPr/>
          <p:nvPr/>
        </p:nvSpPr>
        <p:spPr>
          <a:xfrm>
            <a:off x="4162283" y="1798802"/>
            <a:ext cx="1764940" cy="1200329"/>
          </a:xfrm>
          <a:prstGeom prst="rect">
            <a:avLst/>
          </a:prstGeom>
        </p:spPr>
        <p:txBody>
          <a:bodyPr wrap="square">
            <a:spAutoFit/>
          </a:bodyPr>
          <a:lstStyle/>
          <a:p>
            <a:r>
              <a:rPr lang="en-US" altLang="zh-CN" sz="1200" dirty="0" smtClean="0">
                <a:solidFill>
                  <a:schemeClr val="bg1"/>
                </a:solidFill>
              </a:rPr>
              <a:t>Having the function of lighting and testing air quality, while relying on solar energy and kinetic energy to power the pole</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58" name="肘形连接符 157"/>
          <p:cNvCxnSpPr>
            <a:stCxn id="142" idx="6"/>
            <a:endCxn id="143" idx="1"/>
          </p:cNvCxnSpPr>
          <p:nvPr/>
        </p:nvCxnSpPr>
        <p:spPr>
          <a:xfrm>
            <a:off x="2613521" y="1812851"/>
            <a:ext cx="532050" cy="320695"/>
          </a:xfrm>
          <a:prstGeom prst="bentConnector3">
            <a:avLst>
              <a:gd name="adj1" fmla="val 50000"/>
            </a:avLst>
          </a:prstGeom>
          <a:ln>
            <a:solidFill>
              <a:srgbClr val="FFC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Picture 2"/>
          <p:cNvPicPr>
            <a:picLocks noChangeAspect="1" noChangeArrowheads="1"/>
          </p:cNvPicPr>
          <p:nvPr/>
        </p:nvPicPr>
        <p:blipFill>
          <a:blip r:embed="rId6" cstate="print"/>
          <a:srcRect/>
          <a:stretch>
            <a:fillRect/>
          </a:stretch>
        </p:blipFill>
        <p:spPr bwMode="auto">
          <a:xfrm>
            <a:off x="3249326" y="1798802"/>
            <a:ext cx="922738" cy="1148064"/>
          </a:xfrm>
          <a:prstGeom prst="rect">
            <a:avLst/>
          </a:prstGeom>
          <a:noFill/>
          <a:ln w="9525">
            <a:noFill/>
            <a:miter lim="800000"/>
            <a:headEnd/>
            <a:tailEnd/>
          </a:ln>
        </p:spPr>
      </p:pic>
      <p:cxnSp>
        <p:nvCxnSpPr>
          <p:cNvPr id="154" name="直接连接符 116"/>
          <p:cNvCxnSpPr/>
          <p:nvPr/>
        </p:nvCxnSpPr>
        <p:spPr>
          <a:xfrm>
            <a:off x="718578" y="4876142"/>
            <a:ext cx="274616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1" y="0"/>
            <a:ext cx="12195175" cy="6859588"/>
          </a:xfrm>
          <a:prstGeom prst="rect">
            <a:avLst/>
          </a:prstGeom>
          <a:noFill/>
          <a:ln w="9525">
            <a:noFill/>
            <a:miter lim="800000"/>
            <a:headEnd/>
            <a:tailEnd/>
          </a:ln>
        </p:spPr>
      </p:pic>
      <p:sp>
        <p:nvSpPr>
          <p:cNvPr id="6" name="Freeform 5"/>
          <p:cNvSpPr>
            <a:spLocks/>
          </p:cNvSpPr>
          <p:nvPr/>
        </p:nvSpPr>
        <p:spPr bwMode="auto">
          <a:xfrm>
            <a:off x="7730851" y="117426"/>
            <a:ext cx="622300" cy="1411288"/>
          </a:xfrm>
          <a:custGeom>
            <a:avLst/>
            <a:gdLst>
              <a:gd name="T0" fmla="*/ 36 w 36"/>
              <a:gd name="T1" fmla="*/ 82 h 82"/>
              <a:gd name="T2" fmla="*/ 20 w 36"/>
              <a:gd name="T3" fmla="*/ 82 h 82"/>
              <a:gd name="T4" fmla="*/ 20 w 36"/>
              <a:gd name="T5" fmla="*/ 23 h 82"/>
              <a:gd name="T6" fmla="*/ 0 w 36"/>
              <a:gd name="T7" fmla="*/ 35 h 82"/>
              <a:gd name="T8" fmla="*/ 0 w 36"/>
              <a:gd name="T9" fmla="*/ 21 h 82"/>
              <a:gd name="T10" fmla="*/ 13 w 36"/>
              <a:gd name="T11" fmla="*/ 13 h 82"/>
              <a:gd name="T12" fmla="*/ 23 w 36"/>
              <a:gd name="T13" fmla="*/ 0 h 82"/>
              <a:gd name="T14" fmla="*/ 36 w 36"/>
              <a:gd name="T15" fmla="*/ 0 h 82"/>
              <a:gd name="T16" fmla="*/ 36 w 36"/>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82">
                <a:moveTo>
                  <a:pt x="36" y="82"/>
                </a:moveTo>
                <a:cubicBezTo>
                  <a:pt x="20" y="82"/>
                  <a:pt x="20" y="82"/>
                  <a:pt x="20" y="82"/>
                </a:cubicBezTo>
                <a:cubicBezTo>
                  <a:pt x="20" y="23"/>
                  <a:pt x="20" y="23"/>
                  <a:pt x="20" y="23"/>
                </a:cubicBezTo>
                <a:cubicBezTo>
                  <a:pt x="15" y="29"/>
                  <a:pt x="8" y="33"/>
                  <a:pt x="0" y="35"/>
                </a:cubicBezTo>
                <a:cubicBezTo>
                  <a:pt x="0" y="21"/>
                  <a:pt x="0" y="21"/>
                  <a:pt x="0" y="21"/>
                </a:cubicBezTo>
                <a:cubicBezTo>
                  <a:pt x="4" y="20"/>
                  <a:pt x="9" y="17"/>
                  <a:pt x="13" y="13"/>
                </a:cubicBezTo>
                <a:cubicBezTo>
                  <a:pt x="18" y="10"/>
                  <a:pt x="22" y="5"/>
                  <a:pt x="23" y="0"/>
                </a:cubicBezTo>
                <a:cubicBezTo>
                  <a:pt x="36" y="0"/>
                  <a:pt x="36" y="0"/>
                  <a:pt x="36" y="0"/>
                </a:cubicBezTo>
                <a:lnTo>
                  <a:pt x="36" y="82"/>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a:latin typeface="微软雅黑" pitchFamily="34" charset="-122"/>
              <a:ea typeface="微软雅黑" pitchFamily="34" charset="-122"/>
            </a:endParaRPr>
          </a:p>
        </p:txBody>
      </p:sp>
      <p:sp>
        <p:nvSpPr>
          <p:cNvPr id="7" name="Rectangle 8"/>
          <p:cNvSpPr>
            <a:spLocks noChangeArrowheads="1"/>
          </p:cNvSpPr>
          <p:nvPr/>
        </p:nvSpPr>
        <p:spPr bwMode="auto">
          <a:xfrm>
            <a:off x="8249963" y="117426"/>
            <a:ext cx="3824288" cy="1411288"/>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zh-CN" altLang="en-US">
              <a:latin typeface="微软雅黑" pitchFamily="34" charset="-122"/>
              <a:ea typeface="微软雅黑" pitchFamily="34" charset="-122"/>
            </a:endParaRPr>
          </a:p>
        </p:txBody>
      </p:sp>
      <p:sp>
        <p:nvSpPr>
          <p:cNvPr id="8" name="Rectangle 3"/>
          <p:cNvSpPr txBox="1">
            <a:spLocks noChangeArrowheads="1"/>
          </p:cNvSpPr>
          <p:nvPr/>
        </p:nvSpPr>
        <p:spPr>
          <a:xfrm>
            <a:off x="8166560" y="258966"/>
            <a:ext cx="2459718" cy="1107996"/>
          </a:xfrm>
          <a:prstGeom prst="rect">
            <a:avLst/>
          </a:prstGeom>
        </p:spPr>
        <p:txBody>
          <a:bodyPr wrap="square">
            <a:spAutoFit/>
          </a:bodyPr>
          <a:lstStyle/>
          <a:p>
            <a:pPr lvl="0">
              <a:buClr>
                <a:srgbClr val="777777"/>
              </a:buClr>
              <a:buSzPct val="60000"/>
              <a:defRPr/>
            </a:pPr>
            <a:r>
              <a:rPr lang="en-US" altLang="zh-CN" sz="6600" b="1" kern="0" dirty="0" smtClean="0">
                <a:solidFill>
                  <a:schemeClr val="bg1"/>
                </a:solidFill>
                <a:latin typeface="微软雅黑" pitchFamily="34" charset="-122"/>
                <a:ea typeface="微软雅黑" pitchFamily="34" charset="-122"/>
              </a:rPr>
              <a:t>What</a:t>
            </a:r>
            <a:endParaRPr kumimoji="0" lang="en-US" altLang="zh-CN" sz="1400" b="1" i="0" u="none" strike="noStrike" kern="0" cap="none" spc="0" normalizeH="0" baseline="0" noProof="0" dirty="0">
              <a:ln>
                <a:noFill/>
              </a:ln>
              <a:solidFill>
                <a:schemeClr val="bg1"/>
              </a:solidFill>
              <a:effectLst/>
              <a:uLnTx/>
              <a:uFillTx/>
              <a:latin typeface="微软雅黑" pitchFamily="34" charset="-122"/>
              <a:ea typeface="微软雅黑" pitchFamily="34" charset="-122"/>
            </a:endParaRPr>
          </a:p>
        </p:txBody>
      </p:sp>
      <p:sp>
        <p:nvSpPr>
          <p:cNvPr id="10" name="TextBox 9"/>
          <p:cNvSpPr txBox="1"/>
          <p:nvPr/>
        </p:nvSpPr>
        <p:spPr>
          <a:xfrm>
            <a:off x="10599603" y="325899"/>
            <a:ext cx="1512168" cy="1323439"/>
          </a:xfrm>
          <a:prstGeom prst="rect">
            <a:avLst/>
          </a:prstGeom>
          <a:noFill/>
        </p:spPr>
        <p:txBody>
          <a:bodyPr wrap="square" rtlCol="0">
            <a:spAutoFit/>
          </a:bodyPr>
          <a:lstStyle/>
          <a:p>
            <a:r>
              <a:rPr lang="en-US" altLang="zh-CN" sz="2000" b="1" dirty="0" smtClean="0">
                <a:solidFill>
                  <a:schemeClr val="bg1"/>
                </a:solidFill>
                <a:effectLst>
                  <a:outerShdw blurRad="38100" dist="38100" dir="2700000" algn="tl">
                    <a:srgbClr val="000000">
                      <a:alpha val="43137"/>
                    </a:srgbClr>
                  </a:outerShdw>
                </a:effectLst>
              </a:rPr>
              <a:t>C</a:t>
            </a:r>
            <a:r>
              <a:rPr lang="zh-CN" altLang="en-US" sz="2000" b="1" dirty="0" smtClean="0">
                <a:solidFill>
                  <a:schemeClr val="bg1"/>
                </a:solidFill>
                <a:effectLst>
                  <a:outerShdw blurRad="38100" dist="38100" dir="2700000" algn="tl">
                    <a:srgbClr val="000000">
                      <a:alpha val="43137"/>
                    </a:srgbClr>
                  </a:outerShdw>
                </a:effectLst>
              </a:rPr>
              <a:t>an </a:t>
            </a:r>
            <a:r>
              <a:rPr lang="en-US" altLang="zh-CN" sz="2000" b="1" dirty="0" smtClean="0">
                <a:solidFill>
                  <a:srgbClr val="00B050"/>
                </a:solidFill>
                <a:effectLst>
                  <a:outerShdw blurRad="38100" dist="38100" dir="2700000" algn="tl">
                    <a:srgbClr val="000000">
                      <a:alpha val="43137"/>
                    </a:srgbClr>
                  </a:outerShdw>
                </a:effectLst>
              </a:rPr>
              <a:t>a</a:t>
            </a:r>
            <a:r>
              <a:rPr lang="en-US" altLang="zh-CN" sz="2000" b="1" dirty="0" smtClean="0">
                <a:solidFill>
                  <a:schemeClr val="bg1"/>
                </a:solidFill>
                <a:effectLst>
                  <a:outerShdw blurRad="38100" dist="38100" dir="2700000" algn="tl">
                    <a:srgbClr val="000000">
                      <a:alpha val="43137"/>
                    </a:srgbClr>
                  </a:outerShdw>
                </a:effectLst>
              </a:rPr>
              <a:t> </a:t>
            </a:r>
            <a:r>
              <a:rPr lang="zh-CN" altLang="en-US" sz="2000" b="1" dirty="0" smtClean="0">
                <a:solidFill>
                  <a:schemeClr val="bg1"/>
                </a:solidFill>
                <a:effectLst>
                  <a:outerShdw blurRad="38100" dist="38100" dir="2700000" algn="tl">
                    <a:srgbClr val="000000">
                      <a:alpha val="43137"/>
                    </a:srgbClr>
                  </a:outerShdw>
                </a:effectLst>
              </a:rPr>
              <a:t>smart pole bring to the city?</a:t>
            </a:r>
            <a:endParaRPr lang="zh-CN" altLang="en-US" sz="2000" b="1" dirty="0">
              <a:solidFill>
                <a:schemeClr val="bg1"/>
              </a:solidFill>
              <a:effectLst>
                <a:outerShdw blurRad="38100" dist="38100" dir="2700000" algn="tl">
                  <a:srgbClr val="000000">
                    <a:alpha val="43137"/>
                  </a:srgbClr>
                </a:outerShdw>
              </a:effectLst>
            </a:endParaRPr>
          </a:p>
        </p:txBody>
      </p:sp>
    </p:spTree>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0" y="26590"/>
            <a:ext cx="5089475" cy="6859588"/>
          </a:xfrm>
          <a:prstGeom prst="rect">
            <a:avLst/>
          </a:prstGeom>
          <a:noFill/>
          <a:ln w="9525">
            <a:noFill/>
            <a:miter lim="800000"/>
            <a:headEnd/>
            <a:tailEnd/>
          </a:ln>
          <a:effectLst>
            <a:softEdge rad="317500"/>
          </a:effectLst>
        </p:spPr>
      </p:pic>
      <p:sp>
        <p:nvSpPr>
          <p:cNvPr id="7" name="矩形 6"/>
          <p:cNvSpPr/>
          <p:nvPr/>
        </p:nvSpPr>
        <p:spPr>
          <a:xfrm>
            <a:off x="5089475" y="1459299"/>
            <a:ext cx="6840760" cy="4062651"/>
          </a:xfrm>
          <a:prstGeom prst="rect">
            <a:avLst/>
          </a:prstGeom>
        </p:spPr>
        <p:txBody>
          <a:bodyPr wrap="square">
            <a:spAutoFit/>
          </a:bodyPr>
          <a:lstStyle/>
          <a:p>
            <a:pPr algn="ctr">
              <a:lnSpc>
                <a:spcPct val="150000"/>
              </a:lnSpc>
            </a:pP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A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Smart Pole is </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like</a:t>
            </a:r>
            <a: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a </a:t>
            </a:r>
            <a:r>
              <a:rPr lang="zh-CN" altLang="en-US" sz="2800" b="1" dirty="0" smtClean="0">
                <a:solidFill>
                  <a:srgbClr val="FFC000"/>
                </a:solidFill>
                <a:effectLst>
                  <a:outerShdw blurRad="38100" dist="38100" dir="2700000" algn="tl">
                    <a:srgbClr val="000000">
                      <a:alpha val="43137"/>
                    </a:srgbClr>
                  </a:outerShdw>
                </a:effectLst>
                <a:latin typeface="+mj-lt"/>
                <a:ea typeface="微软雅黑" pitchFamily="34" charset="-122"/>
                <a:cs typeface="+mj-cs"/>
              </a:rPr>
              <a:t>business card</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 of the </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city</a:t>
            </a:r>
            <a: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 </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A Smart Pole</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highlights the attitude and determination of the city to </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innovat</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e</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cs typeface="+mj-cs"/>
              </a:rPr>
              <a:t> </a:t>
            </a:r>
            <a: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
            </a:r>
            <a:b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b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cs typeface="+mj-cs"/>
              </a:rPr>
              <a:t>in science and technology.</a:t>
            </a:r>
            <a:endPar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cs typeface="+mj-cs"/>
            </a:endParaRPr>
          </a:p>
          <a:p>
            <a:pPr algn="ctr">
              <a:lnSpc>
                <a:spcPct val="150000"/>
              </a:lnSpc>
            </a:pPr>
            <a:r>
              <a:rPr lang="en-US" altLang="zh-CN" b="1" dirty="0" smtClean="0">
                <a:solidFill>
                  <a:srgbClr val="00B050"/>
                </a:solidFill>
                <a:effectLst>
                  <a:outerShdw blurRad="38100" dist="38100" dir="2700000" algn="tl">
                    <a:srgbClr val="000000">
                      <a:alpha val="43137"/>
                    </a:srgbClr>
                  </a:outerShdw>
                </a:effectLst>
                <a:ea typeface="微软雅黑" pitchFamily="34" charset="-122"/>
              </a:rPr>
              <a:t>With Smart Poles</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rPr>
              <a:t>, the city </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rPr>
              <a:t>can</a:t>
            </a:r>
            <a: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rPr>
              <a:t>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rPr>
              <a:t>attract more </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rPr>
              <a:t>scientists</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rPr>
              <a:t>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rPr>
              <a:t>and technological talent</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rPr>
              <a:t>,</a:t>
            </a:r>
            <a:r>
              <a:rPr lang="zh-CN" altLang="en-US" b="1" dirty="0" smtClean="0">
                <a:solidFill>
                  <a:srgbClr val="00B050"/>
                </a:solidFill>
                <a:effectLst>
                  <a:outerShdw blurRad="38100" dist="38100" dir="2700000" algn="tl">
                    <a:srgbClr val="000000">
                      <a:alpha val="43137"/>
                    </a:srgbClr>
                  </a:outerShdw>
                </a:effectLst>
                <a:latin typeface="+mj-lt"/>
                <a:ea typeface="微软雅黑" pitchFamily="34" charset="-122"/>
              </a:rPr>
              <a:t> and </a:t>
            </a:r>
            <a:r>
              <a:rPr lang="en-US" altLang="zh-CN" b="1" dirty="0" smtClean="0">
                <a:solidFill>
                  <a:srgbClr val="00B050"/>
                </a:solidFill>
                <a:effectLst>
                  <a:outerShdw blurRad="38100" dist="38100" dir="2700000" algn="tl">
                    <a:srgbClr val="000000">
                      <a:alpha val="43137"/>
                    </a:srgbClr>
                  </a:outerShdw>
                </a:effectLst>
                <a:latin typeface="+mj-lt"/>
                <a:ea typeface="微软雅黑" pitchFamily="34" charset="-122"/>
              </a:rPr>
              <a:t>bring</a:t>
            </a:r>
            <a:r>
              <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rPr>
              <a:t> </a:t>
            </a:r>
            <a:r>
              <a:rPr lang="zh-CN" altLang="en-US" b="1" dirty="0" smtClean="0">
                <a:solidFill>
                  <a:schemeClr val="bg1"/>
                </a:solidFill>
                <a:effectLst>
                  <a:outerShdw blurRad="38100" dist="38100" dir="2700000" algn="tl">
                    <a:srgbClr val="000000">
                      <a:alpha val="43137"/>
                    </a:srgbClr>
                  </a:outerShdw>
                </a:effectLst>
                <a:latin typeface="+mj-lt"/>
                <a:ea typeface="微软雅黑" pitchFamily="34" charset="-122"/>
              </a:rPr>
              <a:t>more investment in science and technology.</a:t>
            </a:r>
            <a:endParaRPr lang="en-US" altLang="zh-CN" b="1" dirty="0" smtClean="0">
              <a:solidFill>
                <a:schemeClr val="bg1"/>
              </a:solidFill>
              <a:effectLst>
                <a:outerShdw blurRad="38100" dist="38100" dir="2700000" algn="tl">
                  <a:srgbClr val="000000">
                    <a:alpha val="43137"/>
                  </a:srgbClr>
                </a:outerShdw>
              </a:effectLst>
              <a:latin typeface="+mj-lt"/>
              <a:ea typeface="微软雅黑" pitchFamily="34" charset="-122"/>
            </a:endParaRPr>
          </a:p>
        </p:txBody>
      </p:sp>
    </p:spTree>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cstate="print"/>
          <a:srcRect/>
          <a:stretch>
            <a:fillRect/>
          </a:stretch>
        </p:blipFill>
        <p:spPr bwMode="auto">
          <a:xfrm>
            <a:off x="2994769" y="0"/>
            <a:ext cx="9200406" cy="6859588"/>
          </a:xfrm>
          <a:prstGeom prst="rect">
            <a:avLst/>
          </a:prstGeom>
          <a:noFill/>
          <a:ln w="9525">
            <a:noFill/>
            <a:miter lim="800000"/>
            <a:headEnd/>
            <a:tailEnd/>
          </a:ln>
          <a:effectLst>
            <a:softEdge rad="317500"/>
          </a:effectLst>
        </p:spPr>
      </p:pic>
      <p:grpSp>
        <p:nvGrpSpPr>
          <p:cNvPr id="2" name="组合 54"/>
          <p:cNvGrpSpPr>
            <a:grpSpLocks/>
          </p:cNvGrpSpPr>
          <p:nvPr/>
        </p:nvGrpSpPr>
        <p:grpSpPr bwMode="auto">
          <a:xfrm>
            <a:off x="2810619" y="4224908"/>
            <a:ext cx="2212975" cy="1581150"/>
            <a:chOff x="15645604" y="3350466"/>
            <a:chExt cx="3430505" cy="505746"/>
          </a:xfrm>
        </p:grpSpPr>
        <p:sp>
          <p:nvSpPr>
            <p:cNvPr id="69" name="矩形 68"/>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70" name="TextBox 69"/>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grpSp>
        <p:nvGrpSpPr>
          <p:cNvPr id="3" name="组合 54"/>
          <p:cNvGrpSpPr>
            <a:grpSpLocks/>
          </p:cNvGrpSpPr>
          <p:nvPr/>
        </p:nvGrpSpPr>
        <p:grpSpPr bwMode="auto">
          <a:xfrm>
            <a:off x="5108748" y="4224908"/>
            <a:ext cx="2212975" cy="1581150"/>
            <a:chOff x="15645604" y="3350466"/>
            <a:chExt cx="3430505" cy="505746"/>
          </a:xfrm>
        </p:grpSpPr>
        <p:sp>
          <p:nvSpPr>
            <p:cNvPr id="72" name="矩形 71"/>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73" name="TextBox 72"/>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grpSp>
        <p:nvGrpSpPr>
          <p:cNvPr id="4" name="组合 54"/>
          <p:cNvGrpSpPr>
            <a:grpSpLocks/>
          </p:cNvGrpSpPr>
          <p:nvPr/>
        </p:nvGrpSpPr>
        <p:grpSpPr bwMode="auto">
          <a:xfrm>
            <a:off x="408955" y="4224908"/>
            <a:ext cx="2212975" cy="1581150"/>
            <a:chOff x="15645604" y="3350466"/>
            <a:chExt cx="3430505" cy="505746"/>
          </a:xfrm>
        </p:grpSpPr>
        <p:sp>
          <p:nvSpPr>
            <p:cNvPr id="66" name="矩形 65"/>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67" name="TextBox 66"/>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58" name="矩形 57"/>
          <p:cNvSpPr/>
          <p:nvPr/>
        </p:nvSpPr>
        <p:spPr>
          <a:xfrm>
            <a:off x="322163" y="909514"/>
            <a:ext cx="7431608" cy="2492990"/>
          </a:xfrm>
          <a:prstGeom prst="rect">
            <a:avLst/>
          </a:prstGeom>
        </p:spPr>
        <p:txBody>
          <a:bodyPr wrap="square">
            <a:spAutoFit/>
          </a:bodyPr>
          <a:lstStyle/>
          <a:p>
            <a:pPr algn="ctr">
              <a:lnSpc>
                <a:spcPct val="150000"/>
              </a:lnSpc>
            </a:pPr>
            <a:r>
              <a:rPr lang="zh-CN" altLang="en-US" sz="3200" b="1" dirty="0" smtClean="0">
                <a:solidFill>
                  <a:schemeClr val="bg1"/>
                </a:solidFill>
                <a:effectLst>
                  <a:outerShdw blurRad="38100" dist="38100" dir="2700000" algn="tl">
                    <a:srgbClr val="000000">
                      <a:alpha val="43137"/>
                    </a:srgbClr>
                  </a:outerShdw>
                </a:effectLst>
              </a:rPr>
              <a:t>On-</a:t>
            </a:r>
            <a:r>
              <a:rPr lang="en-US" altLang="zh-CN" sz="3200" b="1" dirty="0" smtClean="0">
                <a:solidFill>
                  <a:srgbClr val="00B050"/>
                </a:solidFill>
                <a:effectLst>
                  <a:outerShdw blurRad="38100" dist="38100" dir="2700000" algn="tl">
                    <a:srgbClr val="000000">
                      <a:alpha val="43137"/>
                    </a:srgbClr>
                  </a:outerShdw>
                </a:effectLst>
              </a:rPr>
              <a:t>D</a:t>
            </a:r>
            <a:r>
              <a:rPr lang="zh-CN" altLang="en-US" sz="3200" b="1" dirty="0" smtClean="0">
                <a:solidFill>
                  <a:srgbClr val="00B050"/>
                </a:solidFill>
                <a:effectLst>
                  <a:outerShdw blurRad="38100" dist="38100" dir="2700000" algn="tl">
                    <a:srgbClr val="000000">
                      <a:alpha val="43137"/>
                    </a:srgbClr>
                  </a:outerShdw>
                </a:effectLst>
              </a:rPr>
              <a:t>emand </a:t>
            </a:r>
            <a:r>
              <a:rPr lang="zh-CN" altLang="en-US" sz="3200" b="1" dirty="0" smtClean="0">
                <a:solidFill>
                  <a:schemeClr val="bg1"/>
                </a:solidFill>
                <a:effectLst>
                  <a:outerShdw blurRad="38100" dist="38100" dir="2700000" algn="tl">
                    <a:srgbClr val="000000">
                      <a:alpha val="43137"/>
                    </a:srgbClr>
                  </a:outerShdw>
                </a:effectLst>
              </a:rPr>
              <a:t>Lighting </a:t>
            </a:r>
            <a:r>
              <a:rPr lang="zh-CN" altLang="en-US" sz="3200" b="1" dirty="0" smtClean="0">
                <a:solidFill>
                  <a:srgbClr val="00B050"/>
                </a:solidFill>
                <a:effectLst>
                  <a:outerShdw blurRad="38100" dist="38100" dir="2700000" algn="tl">
                    <a:srgbClr val="000000">
                      <a:alpha val="43137"/>
                    </a:srgbClr>
                  </a:outerShdw>
                </a:effectLst>
              </a:rPr>
              <a:t>Reduc</a:t>
            </a:r>
            <a:r>
              <a:rPr lang="en-US" altLang="zh-CN" sz="3200" b="1" dirty="0" err="1" smtClean="0">
                <a:solidFill>
                  <a:srgbClr val="00B050"/>
                </a:solidFill>
                <a:effectLst>
                  <a:outerShdw blurRad="38100" dist="38100" dir="2700000" algn="tl">
                    <a:srgbClr val="000000">
                      <a:alpha val="43137"/>
                    </a:srgbClr>
                  </a:outerShdw>
                </a:effectLst>
              </a:rPr>
              <a:t>es</a:t>
            </a:r>
            <a:r>
              <a:rPr lang="zh-CN" altLang="en-US" sz="3200" b="1" dirty="0" smtClean="0">
                <a:solidFill>
                  <a:srgbClr val="00B050"/>
                </a:solidFill>
                <a:effectLst>
                  <a:outerShdw blurRad="38100" dist="38100" dir="2700000" algn="tl">
                    <a:srgbClr val="000000">
                      <a:alpha val="43137"/>
                    </a:srgbClr>
                  </a:outerShdw>
                </a:effectLst>
              </a:rPr>
              <a:t> </a:t>
            </a:r>
            <a:r>
              <a:rPr lang="zh-CN" altLang="en-US" sz="3200" b="1" dirty="0" smtClean="0">
                <a:solidFill>
                  <a:schemeClr val="bg1"/>
                </a:solidFill>
                <a:effectLst>
                  <a:outerShdw blurRad="38100" dist="38100" dir="2700000" algn="tl">
                    <a:srgbClr val="000000">
                      <a:alpha val="43137"/>
                    </a:srgbClr>
                  </a:outerShdw>
                </a:effectLst>
              </a:rPr>
              <a:t>Public Lighting Power Consumption by </a:t>
            </a:r>
            <a:r>
              <a:rPr lang="en-US" altLang="zh-CN" sz="4000" b="1" dirty="0" smtClean="0">
                <a:solidFill>
                  <a:srgbClr val="FFC000"/>
                </a:solidFill>
                <a:effectLst>
                  <a:outerShdw blurRad="38100" dist="38100" dir="2700000" algn="tl">
                    <a:srgbClr val="000000">
                      <a:alpha val="43137"/>
                    </a:srgbClr>
                  </a:outerShdw>
                </a:effectLst>
              </a:rPr>
              <a:t>50%+</a:t>
            </a:r>
            <a:endParaRPr lang="en-US" altLang="zh-CN" sz="3200" b="1" dirty="0">
              <a:solidFill>
                <a:srgbClr val="FFC000"/>
              </a:solidFill>
              <a:effectLst>
                <a:outerShdw blurRad="38100" dist="38100" dir="2700000" algn="tl">
                  <a:srgbClr val="000000">
                    <a:alpha val="43137"/>
                  </a:srgbClr>
                </a:outerShdw>
              </a:effectLst>
            </a:endParaRPr>
          </a:p>
        </p:txBody>
      </p:sp>
      <p:sp>
        <p:nvSpPr>
          <p:cNvPr id="62" name="矩形 61"/>
          <p:cNvSpPr/>
          <p:nvPr/>
        </p:nvSpPr>
        <p:spPr>
          <a:xfrm>
            <a:off x="487090" y="4615021"/>
            <a:ext cx="2088232" cy="830997"/>
          </a:xfrm>
          <a:prstGeom prst="rect">
            <a:avLst/>
          </a:prstGeom>
        </p:spPr>
        <p:txBody>
          <a:bodyPr wrap="square">
            <a:spAutoFit/>
          </a:bodyPr>
          <a:lstStyle/>
          <a:p>
            <a:pPr algn="ctr"/>
            <a:r>
              <a:rPr lang="en-US" altLang="zh-CN" sz="16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ED bulbs </a:t>
            </a: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are more energy efficient</a:t>
            </a:r>
            <a:endParaRPr lang="zh-CN" altLang="en-US" sz="1600" dirty="0"/>
          </a:p>
        </p:txBody>
      </p:sp>
      <p:sp>
        <p:nvSpPr>
          <p:cNvPr id="63" name="矩形 62"/>
          <p:cNvSpPr/>
          <p:nvPr/>
        </p:nvSpPr>
        <p:spPr>
          <a:xfrm>
            <a:off x="2849706" y="4365899"/>
            <a:ext cx="2088232" cy="1323439"/>
          </a:xfrm>
          <a:prstGeom prst="rect">
            <a:avLst/>
          </a:prstGeom>
        </p:spPr>
        <p:txBody>
          <a:bodyPr wrap="square">
            <a:spAutoFit/>
          </a:bodyPr>
          <a:lstStyle/>
          <a:p>
            <a:pPr algn="ct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ighting calendar based on </a:t>
            </a:r>
            <a:r>
              <a:rPr lang="zh-CN" altLang="en-US" sz="16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ongitude and latitude</a:t>
            </a:r>
            <a:r>
              <a:rPr lang="en-US" altLang="zh-CN"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t>
            </a:r>
            <a:r>
              <a:rPr lang="zh-CN" altLang="en-US"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season</a:t>
            </a:r>
            <a:r>
              <a:rPr lang="en-US" altLang="zh-CN"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nd</a:t>
            </a:r>
            <a:r>
              <a:rPr lang="en-US" altLang="zh-CN" sz="16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t>
            </a:r>
            <a:r>
              <a:rPr lang="zh-CN" altLang="en-US" sz="16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month</a:t>
            </a:r>
            <a:endParaRPr lang="zh-CN" altLang="en-US" sz="1600" dirty="0"/>
          </a:p>
        </p:txBody>
      </p:sp>
      <p:sp>
        <p:nvSpPr>
          <p:cNvPr id="64" name="矩形 63"/>
          <p:cNvSpPr/>
          <p:nvPr/>
        </p:nvSpPr>
        <p:spPr>
          <a:xfrm>
            <a:off x="5134187" y="4636514"/>
            <a:ext cx="2088232" cy="830997"/>
          </a:xfrm>
          <a:prstGeom prst="rect">
            <a:avLst/>
          </a:prstGeom>
        </p:spPr>
        <p:txBody>
          <a:bodyPr wrap="square">
            <a:spAutoFit/>
          </a:bodyPr>
          <a:lstStyle/>
          <a:p>
            <a:pPr algn="ctr" defTabSz="1023830" eaLnBrk="0" hangingPunct="0">
              <a:buClr>
                <a:srgbClr val="CC9900"/>
              </a:buClr>
              <a:buSzPct val="100000"/>
            </a:pP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ighting policy based on </a:t>
            </a:r>
            <a:r>
              <a:rPr lang="zh-CN" altLang="en-US" sz="1600" b="1" dirty="0" smtClean="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time period</a:t>
            </a:r>
            <a:endParaRPr lang="zh-CN" altLang="en-US" sz="16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2" cstate="print"/>
          <a:srcRect/>
          <a:stretch>
            <a:fillRect/>
          </a:stretch>
        </p:blipFill>
        <p:spPr bwMode="auto">
          <a:xfrm>
            <a:off x="0" y="662671"/>
            <a:ext cx="7716918" cy="5534245"/>
          </a:xfrm>
          <a:prstGeom prst="rect">
            <a:avLst/>
          </a:prstGeom>
          <a:noFill/>
          <a:ln w="9525">
            <a:noFill/>
            <a:miter lim="800000"/>
            <a:headEnd/>
            <a:tailEnd/>
          </a:ln>
          <a:effectLst>
            <a:softEdge rad="635000"/>
          </a:effectLst>
        </p:spPr>
      </p:pic>
      <p:sp>
        <p:nvSpPr>
          <p:cNvPr id="60" name="矩形 59"/>
          <p:cNvSpPr/>
          <p:nvPr/>
        </p:nvSpPr>
        <p:spPr>
          <a:xfrm>
            <a:off x="5071202" y="819462"/>
            <a:ext cx="6780096" cy="2734082"/>
          </a:xfrm>
          <a:prstGeom prst="rect">
            <a:avLst/>
          </a:prstGeom>
        </p:spPr>
        <p:txBody>
          <a:bodyPr wrap="square">
            <a:spAutoFit/>
          </a:bodyPr>
          <a:lstStyle/>
          <a:p>
            <a:pPr algn="ctr">
              <a:lnSpc>
                <a:spcPct val="150000"/>
              </a:lnSpc>
            </a:pPr>
            <a:r>
              <a:rPr lang="zh-CN" altLang="en-US" sz="2800" b="1" dirty="0" smtClean="0">
                <a:solidFill>
                  <a:schemeClr val="bg1"/>
                </a:solidFill>
                <a:effectLst>
                  <a:outerShdw blurRad="38100" dist="38100" dir="2700000" algn="tl">
                    <a:srgbClr val="000000">
                      <a:alpha val="43137"/>
                    </a:srgbClr>
                  </a:outerShdw>
                </a:effectLst>
              </a:rPr>
              <a:t>Build </a:t>
            </a:r>
            <a:r>
              <a:rPr lang="en-US" altLang="zh-CN" sz="2800" b="1" dirty="0" smtClean="0">
                <a:solidFill>
                  <a:schemeClr val="bg1"/>
                </a:solidFill>
                <a:effectLst>
                  <a:outerShdw blurRad="38100" dist="38100" dir="2700000" algn="tl">
                    <a:srgbClr val="000000">
                      <a:alpha val="43137"/>
                    </a:srgbClr>
                  </a:outerShdw>
                </a:effectLst>
              </a:rPr>
              <a:t>a</a:t>
            </a:r>
            <a:r>
              <a:rPr lang="zh-CN" altLang="en-US" sz="2800" b="1" dirty="0" smtClean="0">
                <a:solidFill>
                  <a:schemeClr val="bg1"/>
                </a:solidFill>
                <a:effectLst>
                  <a:outerShdw blurRad="38100" dist="38100" dir="2700000" algn="tl">
                    <a:srgbClr val="000000">
                      <a:alpha val="43137"/>
                    </a:srgbClr>
                  </a:outerShdw>
                </a:effectLst>
              </a:rPr>
              <a:t> </a:t>
            </a:r>
            <a:r>
              <a:rPr lang="zh-CN" altLang="en-US" sz="3200" b="1" dirty="0" smtClean="0">
                <a:solidFill>
                  <a:srgbClr val="FFC000"/>
                </a:solidFill>
                <a:effectLst>
                  <a:outerShdw blurRad="38100" dist="38100" dir="2700000" algn="tl">
                    <a:srgbClr val="000000">
                      <a:alpha val="43137"/>
                    </a:srgbClr>
                  </a:outerShdw>
                </a:effectLst>
              </a:rPr>
              <a:t>Secure</a:t>
            </a:r>
            <a:r>
              <a:rPr lang="zh-CN" altLang="en-US" sz="2800" b="1" dirty="0" smtClean="0">
                <a:solidFill>
                  <a:srgbClr val="FFC000"/>
                </a:solidFill>
                <a:effectLst>
                  <a:outerShdw blurRad="38100" dist="38100" dir="2700000" algn="tl">
                    <a:srgbClr val="000000">
                      <a:alpha val="43137"/>
                    </a:srgbClr>
                  </a:outerShdw>
                </a:effectLst>
              </a:rPr>
              <a:t>,</a:t>
            </a:r>
            <a:r>
              <a:rPr lang="zh-CN" altLang="en-US" sz="2800" b="1" dirty="0" smtClean="0">
                <a:solidFill>
                  <a:schemeClr val="bg1"/>
                </a:solidFill>
                <a:effectLst>
                  <a:outerShdw blurRad="38100" dist="38100" dir="2700000" algn="tl">
                    <a:srgbClr val="000000">
                      <a:alpha val="43137"/>
                    </a:srgbClr>
                  </a:outerShdw>
                </a:effectLst>
              </a:rPr>
              <a:t> </a:t>
            </a:r>
            <a:r>
              <a:rPr lang="zh-CN" altLang="en-US" sz="3200" b="1" dirty="0" smtClean="0">
                <a:solidFill>
                  <a:srgbClr val="FFC000"/>
                </a:solidFill>
                <a:effectLst>
                  <a:outerShdw blurRad="38100" dist="38100" dir="2700000" algn="tl">
                    <a:srgbClr val="000000">
                      <a:alpha val="43137"/>
                    </a:srgbClr>
                  </a:outerShdw>
                </a:effectLst>
              </a:rPr>
              <a:t>Harmonious </a:t>
            </a:r>
            <a:r>
              <a:rPr lang="zh-CN" altLang="en-US" sz="2800" b="1" dirty="0" smtClean="0">
                <a:solidFill>
                  <a:schemeClr val="bg1"/>
                </a:solidFill>
                <a:effectLst>
                  <a:outerShdw blurRad="38100" dist="38100" dir="2700000" algn="tl">
                    <a:srgbClr val="000000">
                      <a:alpha val="43137"/>
                    </a:srgbClr>
                  </a:outerShdw>
                </a:effectLst>
              </a:rPr>
              <a:t>Life </a:t>
            </a:r>
            <a:r>
              <a:rPr lang="en-US" altLang="zh-CN" sz="2800" b="1" dirty="0" smtClean="0">
                <a:solidFill>
                  <a:schemeClr val="bg1"/>
                </a:solidFill>
                <a:effectLst>
                  <a:outerShdw blurRad="38100" dist="38100" dir="2700000" algn="tl">
                    <a:srgbClr val="000000">
                      <a:alpha val="43137"/>
                    </a:srgbClr>
                  </a:outerShdw>
                </a:effectLst>
              </a:rPr>
              <a:t>a</a:t>
            </a:r>
            <a:r>
              <a:rPr lang="zh-CN" altLang="en-US" sz="2800" b="1" dirty="0" smtClean="0">
                <a:solidFill>
                  <a:schemeClr val="bg1"/>
                </a:solidFill>
                <a:effectLst>
                  <a:outerShdw blurRad="38100" dist="38100" dir="2700000" algn="tl">
                    <a:srgbClr val="000000">
                      <a:alpha val="43137"/>
                    </a:srgbClr>
                  </a:outerShdw>
                </a:effectLst>
              </a:rPr>
              <a:t>nd </a:t>
            </a:r>
            <a:r>
              <a:rPr lang="en-US" altLang="zh-CN" sz="2800" b="1" dirty="0" smtClean="0">
                <a:solidFill>
                  <a:srgbClr val="00B050"/>
                </a:solidFill>
                <a:effectLst>
                  <a:outerShdw blurRad="38100" dist="38100" dir="2700000" algn="tl">
                    <a:srgbClr val="000000">
                      <a:alpha val="43137"/>
                    </a:srgbClr>
                  </a:outerShdw>
                </a:effectLst>
              </a:rPr>
              <a:t>an</a:t>
            </a:r>
            <a:r>
              <a:rPr lang="en-US" altLang="zh-CN" sz="2800" b="1" dirty="0" smtClean="0">
                <a:solidFill>
                  <a:schemeClr val="bg1"/>
                </a:solidFill>
                <a:effectLst>
                  <a:outerShdw blurRad="38100" dist="38100" dir="2700000" algn="tl">
                    <a:srgbClr val="000000">
                      <a:alpha val="43137"/>
                    </a:srgbClr>
                  </a:outerShdw>
                </a:effectLst>
              </a:rPr>
              <a:t> </a:t>
            </a:r>
            <a:r>
              <a:rPr lang="zh-CN" altLang="en-US" sz="2800" b="1" dirty="0" smtClean="0">
                <a:solidFill>
                  <a:schemeClr val="bg1"/>
                </a:solidFill>
                <a:effectLst>
                  <a:outerShdw blurRad="38100" dist="38100" dir="2700000" algn="tl">
                    <a:srgbClr val="000000">
                      <a:alpha val="43137"/>
                    </a:srgbClr>
                  </a:outerShdw>
                </a:effectLst>
              </a:rPr>
              <a:t>Investment Environment </a:t>
            </a:r>
            <a:r>
              <a:rPr lang="en-US" altLang="zh-CN" sz="2800" b="1" dirty="0" smtClean="0">
                <a:solidFill>
                  <a:schemeClr val="bg1"/>
                </a:solidFill>
                <a:effectLst>
                  <a:outerShdw blurRad="38100" dist="38100" dir="2700000" algn="tl">
                    <a:srgbClr val="000000">
                      <a:alpha val="43137"/>
                    </a:srgbClr>
                  </a:outerShdw>
                </a:effectLst>
              </a:rPr>
              <a:t>f</a:t>
            </a:r>
            <a:r>
              <a:rPr lang="zh-CN" altLang="en-US" sz="2800" b="1" dirty="0" smtClean="0">
                <a:solidFill>
                  <a:schemeClr val="bg1"/>
                </a:solidFill>
                <a:effectLst>
                  <a:outerShdw blurRad="38100" dist="38100" dir="2700000" algn="tl">
                    <a:srgbClr val="000000">
                      <a:alpha val="43137"/>
                    </a:srgbClr>
                  </a:outerShdw>
                </a:effectLst>
              </a:rPr>
              <a:t>or Cities Through Information Security Devices</a:t>
            </a:r>
            <a:endParaRPr lang="en-US" altLang="zh-CN" sz="2800" b="1" dirty="0">
              <a:solidFill>
                <a:schemeClr val="bg1"/>
              </a:solidFill>
              <a:effectLst>
                <a:outerShdw blurRad="38100" dist="38100" dir="2700000" algn="tl">
                  <a:srgbClr val="000000">
                    <a:alpha val="43137"/>
                  </a:srgbClr>
                </a:outerShdw>
              </a:effectLst>
            </a:endParaRPr>
          </a:p>
        </p:txBody>
      </p:sp>
      <p:grpSp>
        <p:nvGrpSpPr>
          <p:cNvPr id="2" name="组合 54"/>
          <p:cNvGrpSpPr>
            <a:grpSpLocks/>
          </p:cNvGrpSpPr>
          <p:nvPr/>
        </p:nvGrpSpPr>
        <p:grpSpPr bwMode="auto">
          <a:xfrm>
            <a:off x="5900836" y="3501802"/>
            <a:ext cx="2212975" cy="1357782"/>
            <a:chOff x="15645604" y="3350466"/>
            <a:chExt cx="3430505" cy="505746"/>
          </a:xfrm>
        </p:grpSpPr>
        <p:sp>
          <p:nvSpPr>
            <p:cNvPr id="103" name="矩形 102"/>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04" name="TextBox 103"/>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05" name="矩形 104"/>
          <p:cNvSpPr/>
          <p:nvPr/>
        </p:nvSpPr>
        <p:spPr>
          <a:xfrm>
            <a:off x="5963207" y="3992512"/>
            <a:ext cx="2088232" cy="338554"/>
          </a:xfrm>
          <a:prstGeom prst="rect">
            <a:avLst/>
          </a:prstGeom>
        </p:spPr>
        <p:txBody>
          <a:bodyPr wrap="square">
            <a:spAutoFit/>
          </a:bodyPr>
          <a:lstStyle/>
          <a:p>
            <a:pPr algn="ctr"/>
            <a:r>
              <a:rPr lang="zh-CN" altLang="en-US" sz="1600" b="1" dirty="0" smtClean="0">
                <a:solidFill>
                  <a:schemeClr val="bg1"/>
                </a:solidFill>
                <a:effectLst>
                  <a:outerShdw blurRad="38100" dist="38100" dir="2700000" algn="tl">
                    <a:srgbClr val="000000">
                      <a:alpha val="43137"/>
                    </a:srgbClr>
                  </a:outerShdw>
                </a:effectLst>
              </a:rPr>
              <a:t>Video Surveillance</a:t>
            </a:r>
            <a:endParaRPr lang="zh-CN" altLang="en-US" sz="1600" b="1" dirty="0">
              <a:solidFill>
                <a:schemeClr val="bg1"/>
              </a:solidFill>
              <a:effectLst>
                <a:outerShdw blurRad="38100" dist="38100" dir="2700000" algn="tl">
                  <a:srgbClr val="000000">
                    <a:alpha val="43137"/>
                  </a:srgbClr>
                </a:outerShdw>
              </a:effectLst>
            </a:endParaRPr>
          </a:p>
        </p:txBody>
      </p:sp>
      <p:grpSp>
        <p:nvGrpSpPr>
          <p:cNvPr id="3" name="组合 54"/>
          <p:cNvGrpSpPr>
            <a:grpSpLocks/>
          </p:cNvGrpSpPr>
          <p:nvPr/>
        </p:nvGrpSpPr>
        <p:grpSpPr bwMode="auto">
          <a:xfrm>
            <a:off x="8277100" y="3501802"/>
            <a:ext cx="2212975" cy="1357782"/>
            <a:chOff x="15645604" y="3350466"/>
            <a:chExt cx="3430505" cy="505746"/>
          </a:xfrm>
        </p:grpSpPr>
        <p:sp>
          <p:nvSpPr>
            <p:cNvPr id="107" name="矩形 106"/>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08" name="TextBox 107"/>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09" name="矩形 108"/>
          <p:cNvSpPr/>
          <p:nvPr/>
        </p:nvSpPr>
        <p:spPr>
          <a:xfrm>
            <a:off x="8280076" y="3897843"/>
            <a:ext cx="2088232" cy="584775"/>
          </a:xfrm>
          <a:prstGeom prst="rect">
            <a:avLst/>
          </a:prstGeom>
        </p:spPr>
        <p:txBody>
          <a:bodyPr wrap="square">
            <a:spAutoFit/>
          </a:bodyPr>
          <a:lstStyle/>
          <a:p>
            <a:pPr algn="ct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Pedestrian </a:t>
            </a:r>
            <a:r>
              <a:rPr lang="en-US" altLang="zh-CN"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F</a:t>
            </a:r>
            <a:r>
              <a:rPr lang="zh-CN" altLang="en-US"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low </a:t>
            </a:r>
            <a:r>
              <a:rPr lang="en-US" altLang="zh-CN" sz="1600" b="1" dirty="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A</a:t>
            </a:r>
            <a:r>
              <a:rPr lang="zh-CN" altLang="en-US"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nalysis</a:t>
            </a:r>
          </a:p>
        </p:txBody>
      </p:sp>
      <p:grpSp>
        <p:nvGrpSpPr>
          <p:cNvPr id="4" name="组合 54"/>
          <p:cNvGrpSpPr>
            <a:grpSpLocks/>
          </p:cNvGrpSpPr>
          <p:nvPr/>
        </p:nvGrpSpPr>
        <p:grpSpPr bwMode="auto">
          <a:xfrm>
            <a:off x="5900836" y="4941962"/>
            <a:ext cx="2212975" cy="1357782"/>
            <a:chOff x="15645604" y="3350466"/>
            <a:chExt cx="3430505" cy="505746"/>
          </a:xfrm>
        </p:grpSpPr>
        <p:sp>
          <p:nvSpPr>
            <p:cNvPr id="111" name="矩形 110"/>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12" name="TextBox 111"/>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13" name="矩形 112"/>
          <p:cNvSpPr/>
          <p:nvPr/>
        </p:nvSpPr>
        <p:spPr>
          <a:xfrm>
            <a:off x="6134437" y="5057816"/>
            <a:ext cx="1944536" cy="1077218"/>
          </a:xfrm>
          <a:prstGeom prst="rect">
            <a:avLst/>
          </a:prstGeom>
        </p:spPr>
        <p:txBody>
          <a:bodyPr wrap="square">
            <a:spAutoFit/>
          </a:bodyPr>
          <a:lstStyle/>
          <a:p>
            <a:pPr algn="ctr"/>
            <a:r>
              <a:rPr lang="zh-CN" altLang="en-US" sz="1600" b="1" dirty="0" smtClean="0">
                <a:solidFill>
                  <a:schemeClr val="bg1"/>
                </a:solidFill>
                <a:effectLst>
                  <a:outerShdw blurRad="38100" dist="38100" dir="2700000" algn="tl">
                    <a:srgbClr val="000000">
                      <a:alpha val="43137"/>
                    </a:srgbClr>
                  </a:outerShdw>
                </a:effectLst>
              </a:rPr>
              <a:t>Visualized Alarm Reporting and Broadcast Notification</a:t>
            </a:r>
            <a:endParaRPr lang="zh-CN" altLang="en-US" sz="1600" b="1" dirty="0">
              <a:solidFill>
                <a:schemeClr val="bg1"/>
              </a:solidFill>
              <a:effectLst>
                <a:outerShdw blurRad="38100" dist="38100" dir="2700000" algn="tl">
                  <a:srgbClr val="000000">
                    <a:alpha val="43137"/>
                  </a:srgbClr>
                </a:outerShdw>
              </a:effectLst>
            </a:endParaRPr>
          </a:p>
        </p:txBody>
      </p:sp>
      <p:grpSp>
        <p:nvGrpSpPr>
          <p:cNvPr id="5" name="组合 54"/>
          <p:cNvGrpSpPr>
            <a:grpSpLocks/>
          </p:cNvGrpSpPr>
          <p:nvPr/>
        </p:nvGrpSpPr>
        <p:grpSpPr bwMode="auto">
          <a:xfrm>
            <a:off x="8277100" y="4941962"/>
            <a:ext cx="2212975" cy="1357782"/>
            <a:chOff x="15645604" y="3350466"/>
            <a:chExt cx="3430505" cy="505746"/>
          </a:xfrm>
        </p:grpSpPr>
        <p:sp>
          <p:nvSpPr>
            <p:cNvPr id="115" name="矩形 114"/>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116" name="TextBox 115"/>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117" name="矩形 116"/>
          <p:cNvSpPr/>
          <p:nvPr/>
        </p:nvSpPr>
        <p:spPr>
          <a:xfrm>
            <a:off x="8369617" y="5306939"/>
            <a:ext cx="1907058" cy="584775"/>
          </a:xfrm>
          <a:prstGeom prst="rect">
            <a:avLst/>
          </a:prstGeom>
        </p:spPr>
        <p:txBody>
          <a:bodyPr wrap="square">
            <a:spAutoFit/>
          </a:bodyPr>
          <a:lstStyle/>
          <a:p>
            <a:pPr algn="ct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Panic Button </a:t>
            </a:r>
            <a:r>
              <a:rPr lang="en-US" altLang="zh-CN"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and</a:t>
            </a:r>
            <a:r>
              <a:rPr lang="zh-CN" altLang="en-US" sz="1600" b="1" dirty="0" smtClean="0">
                <a:solidFill>
                  <a:srgbClr val="00B05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t>
            </a: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Video Linkage</a:t>
            </a:r>
            <a:endParaRPr lang="zh-CN" altLang="en-US" sz="1600" dirty="0"/>
          </a:p>
        </p:txBody>
      </p:sp>
    </p:spTree>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cstate="print"/>
          <a:srcRect/>
          <a:stretch>
            <a:fillRect/>
          </a:stretch>
        </p:blipFill>
        <p:spPr bwMode="auto">
          <a:xfrm>
            <a:off x="2536825" y="361950"/>
            <a:ext cx="9658350" cy="6134100"/>
          </a:xfrm>
          <a:prstGeom prst="rect">
            <a:avLst/>
          </a:prstGeom>
          <a:noFill/>
          <a:ln w="9525">
            <a:noFill/>
            <a:miter lim="800000"/>
            <a:headEnd/>
            <a:tailEnd/>
          </a:ln>
          <a:effectLst>
            <a:softEdge rad="635000"/>
          </a:effectLst>
        </p:spPr>
      </p:pic>
      <p:sp>
        <p:nvSpPr>
          <p:cNvPr id="53" name="矩形 52"/>
          <p:cNvSpPr/>
          <p:nvPr/>
        </p:nvSpPr>
        <p:spPr>
          <a:xfrm>
            <a:off x="696986" y="3933850"/>
            <a:ext cx="5472609" cy="1938992"/>
          </a:xfrm>
          <a:prstGeom prst="rect">
            <a:avLst/>
          </a:prstGeom>
        </p:spPr>
        <p:txBody>
          <a:bodyPr wrap="square">
            <a:spAutoFit/>
          </a:bodyPr>
          <a:lstStyle/>
          <a:p>
            <a:pPr algn="ctr">
              <a:lnSpc>
                <a:spcPct val="150000"/>
              </a:lnSpc>
            </a:pPr>
            <a:r>
              <a:rPr lang="zh-CN" altLang="en-US" b="1" dirty="0" smtClean="0">
                <a:solidFill>
                  <a:schemeClr val="bg1"/>
                </a:solidFill>
                <a:effectLst>
                  <a:outerShdw blurRad="38100" dist="38100" dir="2700000" algn="tl">
                    <a:srgbClr val="000000">
                      <a:alpha val="43137"/>
                    </a:srgbClr>
                  </a:outerShdw>
                </a:effectLst>
              </a:rPr>
              <a:t>Business Services are </a:t>
            </a:r>
            <a:r>
              <a:rPr lang="zh-CN" altLang="en-US" sz="2800" b="1" dirty="0" smtClean="0">
                <a:solidFill>
                  <a:srgbClr val="FFC000"/>
                </a:solidFill>
                <a:effectLst>
                  <a:outerShdw blurRad="38100" dist="38100" dir="2700000" algn="tl">
                    <a:srgbClr val="000000">
                      <a:alpha val="43137"/>
                    </a:srgbClr>
                  </a:outerShdw>
                </a:effectLst>
              </a:rPr>
              <a:t>Convenient </a:t>
            </a:r>
            <a:r>
              <a:rPr lang="zh-CN" altLang="en-US" b="1" dirty="0">
                <a:solidFill>
                  <a:schemeClr val="bg1"/>
                </a:solidFill>
                <a:effectLst>
                  <a:outerShdw blurRad="38100" dist="38100" dir="2700000" algn="tl">
                    <a:srgbClr val="000000">
                      <a:alpha val="43137"/>
                    </a:srgbClr>
                  </a:outerShdw>
                </a:effectLst>
              </a:rPr>
              <a:t>and</a:t>
            </a:r>
            <a:r>
              <a:rPr lang="zh-CN" altLang="en-US" sz="2800" b="1" dirty="0" smtClean="0">
                <a:solidFill>
                  <a:srgbClr val="FFC000"/>
                </a:solidFill>
                <a:effectLst>
                  <a:outerShdw blurRad="38100" dist="38100" dir="2700000" algn="tl">
                    <a:srgbClr val="000000">
                      <a:alpha val="43137"/>
                    </a:srgbClr>
                  </a:outerShdw>
                </a:effectLst>
              </a:rPr>
              <a:t> Beneficial to the Public</a:t>
            </a:r>
            <a:r>
              <a:rPr lang="zh-CN" altLang="en-US" b="1" dirty="0" smtClean="0">
                <a:solidFill>
                  <a:srgbClr val="FFC000"/>
                </a:solidFill>
                <a:effectLst>
                  <a:outerShdw blurRad="38100" dist="38100" dir="2700000" algn="tl">
                    <a:srgbClr val="000000">
                      <a:alpha val="43137"/>
                    </a:srgbClr>
                  </a:outerShdw>
                </a:effectLst>
              </a:rPr>
              <a:t>,</a:t>
            </a:r>
            <a:r>
              <a:rPr lang="zh-CN" altLang="en-US" b="1" dirty="0" smtClean="0">
                <a:solidFill>
                  <a:schemeClr val="bg1"/>
                </a:solidFill>
                <a:effectLst>
                  <a:outerShdw blurRad="38100" dist="38100" dir="2700000" algn="tl">
                    <a:srgbClr val="000000">
                      <a:alpha val="43137"/>
                    </a:srgbClr>
                  </a:outerShdw>
                </a:effectLst>
              </a:rPr>
              <a:t> </a:t>
            </a:r>
            <a:r>
              <a:rPr lang="en-US" altLang="zh-CN" b="1" dirty="0" smtClean="0">
                <a:solidFill>
                  <a:schemeClr val="bg1"/>
                </a:solidFill>
                <a:effectLst>
                  <a:outerShdw blurRad="38100" dist="38100" dir="2700000" algn="tl">
                    <a:srgbClr val="000000">
                      <a:alpha val="43137"/>
                    </a:srgbClr>
                  </a:outerShdw>
                </a:effectLst>
              </a:rPr>
              <a:t/>
            </a:r>
            <a:br>
              <a:rPr lang="en-US" altLang="zh-CN" b="1" dirty="0" smtClean="0">
                <a:solidFill>
                  <a:schemeClr val="bg1"/>
                </a:solidFill>
                <a:effectLst>
                  <a:outerShdw blurRad="38100" dist="38100" dir="2700000" algn="tl">
                    <a:srgbClr val="000000">
                      <a:alpha val="43137"/>
                    </a:srgbClr>
                  </a:outerShdw>
                </a:effectLst>
              </a:rPr>
            </a:br>
            <a:r>
              <a:rPr lang="en-US" altLang="zh-CN" b="1" dirty="0" smtClean="0">
                <a:solidFill>
                  <a:srgbClr val="00B050"/>
                </a:solidFill>
                <a:effectLst>
                  <a:outerShdw blurRad="38100" dist="38100" dir="2700000" algn="tl">
                    <a:srgbClr val="000000">
                      <a:alpha val="43137"/>
                    </a:srgbClr>
                  </a:outerShdw>
                </a:effectLst>
              </a:rPr>
              <a:t>and</a:t>
            </a:r>
            <a:r>
              <a:rPr lang="en-US" altLang="zh-CN" b="1" dirty="0" smtClean="0">
                <a:solidFill>
                  <a:schemeClr val="bg1"/>
                </a:solidFill>
                <a:effectLst>
                  <a:outerShdw blurRad="38100" dist="38100" dir="2700000" algn="tl">
                    <a:srgbClr val="000000">
                      <a:alpha val="43137"/>
                    </a:srgbClr>
                  </a:outerShdw>
                </a:effectLst>
              </a:rPr>
              <a:t> </a:t>
            </a:r>
            <a:r>
              <a:rPr lang="zh-CN" altLang="en-US" b="1" dirty="0" smtClean="0">
                <a:solidFill>
                  <a:schemeClr val="bg1"/>
                </a:solidFill>
                <a:effectLst>
                  <a:outerShdw blurRad="38100" dist="38100" dir="2700000" algn="tl">
                    <a:srgbClr val="000000">
                      <a:alpha val="43137"/>
                    </a:srgbClr>
                  </a:outerShdw>
                </a:effectLst>
              </a:rPr>
              <a:t>Enhanc</a:t>
            </a:r>
            <a:r>
              <a:rPr lang="en-US" altLang="zh-CN" b="1" dirty="0" smtClean="0">
                <a:solidFill>
                  <a:schemeClr val="bg1"/>
                </a:solidFill>
                <a:effectLst>
                  <a:outerShdw blurRad="38100" dist="38100" dir="2700000" algn="tl">
                    <a:srgbClr val="000000">
                      <a:alpha val="43137"/>
                    </a:srgbClr>
                  </a:outerShdw>
                </a:effectLst>
              </a:rPr>
              <a:t>e</a:t>
            </a:r>
            <a:r>
              <a:rPr lang="zh-CN" altLang="en-US" b="1" dirty="0" smtClean="0">
                <a:solidFill>
                  <a:schemeClr val="bg1"/>
                </a:solidFill>
                <a:effectLst>
                  <a:outerShdw blurRad="38100" dist="38100" dir="2700000" algn="tl">
                    <a:srgbClr val="000000">
                      <a:alpha val="43137"/>
                    </a:srgbClr>
                  </a:outerShdw>
                </a:effectLst>
              </a:rPr>
              <a:t> the City Value</a:t>
            </a:r>
            <a:endParaRPr lang="en-US" altLang="zh-CN" b="1" dirty="0">
              <a:solidFill>
                <a:schemeClr val="bg1"/>
              </a:solidFill>
              <a:effectLst>
                <a:outerShdw blurRad="38100" dist="38100" dir="2700000" algn="tl">
                  <a:srgbClr val="000000">
                    <a:alpha val="43137"/>
                  </a:srgbClr>
                </a:outerShdw>
              </a:effectLst>
            </a:endParaRPr>
          </a:p>
        </p:txBody>
      </p:sp>
      <p:grpSp>
        <p:nvGrpSpPr>
          <p:cNvPr id="54" name="组合 54"/>
          <p:cNvGrpSpPr>
            <a:grpSpLocks/>
          </p:cNvGrpSpPr>
          <p:nvPr/>
        </p:nvGrpSpPr>
        <p:grpSpPr bwMode="auto">
          <a:xfrm>
            <a:off x="1148308" y="775868"/>
            <a:ext cx="2212975" cy="1357782"/>
            <a:chOff x="15645604" y="3350466"/>
            <a:chExt cx="3430505" cy="505746"/>
          </a:xfrm>
        </p:grpSpPr>
        <p:sp>
          <p:nvSpPr>
            <p:cNvPr id="55" name="矩形 54"/>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56" name="TextBox 55"/>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57" name="矩形 56"/>
          <p:cNvSpPr/>
          <p:nvPr/>
        </p:nvSpPr>
        <p:spPr>
          <a:xfrm>
            <a:off x="1210679" y="1211851"/>
            <a:ext cx="2088232" cy="417743"/>
          </a:xfrm>
          <a:prstGeom prst="rect">
            <a:avLst/>
          </a:prstGeom>
        </p:spPr>
        <p:txBody>
          <a:bodyPr wrap="square">
            <a:spAutoFit/>
          </a:bodyPr>
          <a:lstStyle/>
          <a:p>
            <a:pPr algn="ctr">
              <a:lnSpc>
                <a:spcPct val="150000"/>
              </a:lnSpc>
            </a:pP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Wireless Surfing</a:t>
            </a:r>
            <a:endParaRPr lang="zh-CN" altLang="en-US" sz="1600" dirty="0"/>
          </a:p>
        </p:txBody>
      </p:sp>
      <p:grpSp>
        <p:nvGrpSpPr>
          <p:cNvPr id="58" name="组合 54"/>
          <p:cNvGrpSpPr>
            <a:grpSpLocks/>
          </p:cNvGrpSpPr>
          <p:nvPr/>
        </p:nvGrpSpPr>
        <p:grpSpPr bwMode="auto">
          <a:xfrm>
            <a:off x="3524572" y="772842"/>
            <a:ext cx="2212975" cy="1357782"/>
            <a:chOff x="15645604" y="3350466"/>
            <a:chExt cx="3430505" cy="505746"/>
          </a:xfrm>
        </p:grpSpPr>
        <p:sp>
          <p:nvSpPr>
            <p:cNvPr id="59" name="矩形 58"/>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61" name="TextBox 60"/>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62" name="矩形 61"/>
          <p:cNvSpPr/>
          <p:nvPr/>
        </p:nvSpPr>
        <p:spPr>
          <a:xfrm>
            <a:off x="3586943" y="1060275"/>
            <a:ext cx="2088232" cy="785343"/>
          </a:xfrm>
          <a:prstGeom prst="rect">
            <a:avLst/>
          </a:prstGeom>
        </p:spPr>
        <p:txBody>
          <a:bodyPr wrap="square">
            <a:spAutoFit/>
          </a:bodyPr>
          <a:lstStyle/>
          <a:p>
            <a:pPr algn="ctr">
              <a:lnSpc>
                <a:spcPct val="150000"/>
              </a:lnSpc>
            </a:pPr>
            <a:r>
              <a:rPr lang="zh-CN" altLang="en-US" sz="1600" b="1" dirty="0" smtClean="0">
                <a:solidFill>
                  <a:schemeClr val="bg1"/>
                </a:solidFill>
                <a:effectLst>
                  <a:outerShdw blurRad="38100" dist="38100" dir="2700000" algn="tl">
                    <a:srgbClr val="000000">
                      <a:alpha val="43137"/>
                    </a:srgbClr>
                  </a:outerShdw>
                </a:effectLst>
              </a:rPr>
              <a:t>Commodity Information Push</a:t>
            </a:r>
            <a:endParaRPr lang="zh-CN" altLang="en-US" sz="1600" b="1" dirty="0">
              <a:solidFill>
                <a:schemeClr val="bg1"/>
              </a:solidFill>
              <a:effectLst>
                <a:outerShdw blurRad="38100" dist="38100" dir="2700000" algn="tl">
                  <a:srgbClr val="000000">
                    <a:alpha val="43137"/>
                  </a:srgbClr>
                </a:outerShdw>
              </a:effectLst>
            </a:endParaRPr>
          </a:p>
        </p:txBody>
      </p:sp>
      <p:grpSp>
        <p:nvGrpSpPr>
          <p:cNvPr id="63" name="组合 54"/>
          <p:cNvGrpSpPr>
            <a:grpSpLocks/>
          </p:cNvGrpSpPr>
          <p:nvPr/>
        </p:nvGrpSpPr>
        <p:grpSpPr bwMode="auto">
          <a:xfrm>
            <a:off x="1148308" y="2216028"/>
            <a:ext cx="2212975" cy="1357782"/>
            <a:chOff x="15645604" y="3350466"/>
            <a:chExt cx="3430505" cy="505746"/>
          </a:xfrm>
        </p:grpSpPr>
        <p:sp>
          <p:nvSpPr>
            <p:cNvPr id="64" name="矩形 63"/>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65" name="TextBox 64"/>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66" name="矩形 65"/>
          <p:cNvSpPr/>
          <p:nvPr/>
        </p:nvSpPr>
        <p:spPr>
          <a:xfrm>
            <a:off x="1210679" y="2287035"/>
            <a:ext cx="2088232" cy="1156407"/>
          </a:xfrm>
          <a:prstGeom prst="rect">
            <a:avLst/>
          </a:prstGeom>
        </p:spPr>
        <p:txBody>
          <a:bodyPr wrap="square">
            <a:spAutoFit/>
          </a:bodyPr>
          <a:lstStyle/>
          <a:p>
            <a:pPr algn="ctr">
              <a:lnSpc>
                <a:spcPct val="150000"/>
              </a:lnSpc>
            </a:pP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Municipal Information Release</a:t>
            </a:r>
            <a:endParaRPr lang="zh-CN" altLang="en-US" sz="1600" dirty="0"/>
          </a:p>
        </p:txBody>
      </p:sp>
      <p:grpSp>
        <p:nvGrpSpPr>
          <p:cNvPr id="67" name="组合 54"/>
          <p:cNvGrpSpPr>
            <a:grpSpLocks/>
          </p:cNvGrpSpPr>
          <p:nvPr/>
        </p:nvGrpSpPr>
        <p:grpSpPr bwMode="auto">
          <a:xfrm>
            <a:off x="3524572" y="2213002"/>
            <a:ext cx="2212975" cy="1357782"/>
            <a:chOff x="15645604" y="3350466"/>
            <a:chExt cx="3430505" cy="505746"/>
          </a:xfrm>
        </p:grpSpPr>
        <p:sp>
          <p:nvSpPr>
            <p:cNvPr id="68" name="矩形 67"/>
            <p:cNvSpPr/>
            <p:nvPr/>
          </p:nvSpPr>
          <p:spPr>
            <a:xfrm>
              <a:off x="15645604" y="3350466"/>
              <a:ext cx="3430505" cy="505746"/>
            </a:xfrm>
            <a:prstGeom prst="rect">
              <a:avLst/>
            </a:prstGeom>
            <a:gradFill flip="none" rotWithShape="1">
              <a:gsLst>
                <a:gs pos="0">
                  <a:srgbClr val="03D4A8">
                    <a:alpha val="0"/>
                  </a:srgbClr>
                </a:gs>
                <a:gs pos="50000">
                  <a:srgbClr val="000000"/>
                </a:gs>
                <a:gs pos="100000">
                  <a:srgbClr val="03D4A8">
                    <a:alpha val="0"/>
                  </a:srgbClr>
                </a:gs>
              </a:gsLst>
              <a:lin ang="0" scaled="1"/>
              <a:tileRect/>
            </a:gradFill>
            <a:ln w="25400" cap="flat" cmpd="sng" algn="ctr">
              <a:noFill/>
              <a:prstDash val="solid"/>
            </a:ln>
            <a:effectLst/>
          </p:spPr>
          <p:txBody>
            <a:bodyPr anchor="ctr"/>
            <a:lstStyle/>
            <a:p>
              <a:pPr algn="ctr" defTabSz="914339" eaLnBrk="1" hangingPunct="1">
                <a:defRPr/>
              </a:pPr>
              <a:endParaRPr lang="zh-CN" altLang="en-US" sz="1200" kern="0">
                <a:solidFill>
                  <a:srgbClr val="FFFFFF"/>
                </a:solidFill>
                <a:latin typeface="Helvetica Neue"/>
              </a:endParaRPr>
            </a:p>
          </p:txBody>
        </p:sp>
        <p:sp>
          <p:nvSpPr>
            <p:cNvPr id="69" name="TextBox 68"/>
            <p:cNvSpPr txBox="1"/>
            <p:nvPr/>
          </p:nvSpPr>
          <p:spPr bwMode="auto">
            <a:xfrm>
              <a:off x="15931069" y="3504322"/>
              <a:ext cx="420814" cy="198033"/>
            </a:xfrm>
            <a:prstGeom prst="rect">
              <a:avLst/>
            </a:prstGeom>
            <a:noFill/>
          </p:spPr>
          <p:txBody>
            <a:bodyPr wrap="none" anchor="ctr">
              <a:spAutoFit/>
            </a:bodyPr>
            <a:lstStyle/>
            <a:p>
              <a:pPr defTabSz="914339" eaLnBrk="1" hangingPunct="1">
                <a:defRPr/>
              </a:pPr>
              <a:endParaRPr lang="en-US" altLang="zh-CN" sz="1600" b="1" kern="0" dirty="0">
                <a:solidFill>
                  <a:srgbClr val="FFFFFF"/>
                </a:solidFill>
                <a:latin typeface="Arial"/>
                <a:ea typeface="微软雅黑" pitchFamily="34" charset="-122"/>
              </a:endParaRPr>
            </a:p>
          </p:txBody>
        </p:sp>
      </p:grpSp>
      <p:sp>
        <p:nvSpPr>
          <p:cNvPr id="70" name="矩形 69"/>
          <p:cNvSpPr/>
          <p:nvPr/>
        </p:nvSpPr>
        <p:spPr>
          <a:xfrm>
            <a:off x="3621763" y="2317433"/>
            <a:ext cx="2006588" cy="1200329"/>
          </a:xfrm>
          <a:prstGeom prst="rect">
            <a:avLst/>
          </a:prstGeom>
        </p:spPr>
        <p:txBody>
          <a:bodyPr wrap="square">
            <a:spAutoFit/>
          </a:bodyPr>
          <a:lstStyle/>
          <a:p>
            <a:pPr algn="ctr">
              <a:lnSpc>
                <a:spcPct val="150000"/>
              </a:lnSpc>
            </a:pP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3G/4G/5G</a:t>
            </a: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t>
            </a:r>
            <a: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
            </a:r>
            <a:br>
              <a:rPr lang="en-US" altLang="zh-CN"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br>
            <a:r>
              <a:rPr lang="zh-CN" altLang="en-US" sz="1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itchFamily="34" charset="0"/>
              </a:rPr>
              <a:t>Micro Base Station</a:t>
            </a:r>
            <a:endParaRPr lang="zh-CN" altLang="en-US" sz="1600" dirty="0"/>
          </a:p>
        </p:txBody>
      </p:sp>
    </p:spTree>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heme/theme1.xml><?xml version="1.0" encoding="utf-8"?>
<a:theme xmlns:a="http://schemas.openxmlformats.org/drawingml/2006/main" name="Blank">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6">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ctr">
          <a:defRPr sz="1400" dirty="0">
            <a:solidFill>
              <a:schemeClr val="bg1"/>
            </a:solidFill>
          </a:defRPr>
        </a:defPPr>
      </a:lstStyle>
    </a:txDef>
  </a:objectDefaults>
  <a:extraClrSchemeLst/>
</a:theme>
</file>

<file path=ppt/theme/theme4.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09</TotalTime>
  <Words>1648</Words>
  <Application>Microsoft Office PowerPoint</Application>
  <PresentationFormat>自定义</PresentationFormat>
  <Paragraphs>248</Paragraphs>
  <Slides>23</Slides>
  <Notes>4</Notes>
  <HiddenSlides>0</HiddenSlides>
  <MMClips>0</MMClips>
  <ScaleCrop>false</ScaleCrop>
  <HeadingPairs>
    <vt:vector size="6" baseType="variant">
      <vt:variant>
        <vt:lpstr>已用的字体</vt:lpstr>
      </vt:variant>
      <vt:variant>
        <vt:i4>15</vt:i4>
      </vt:variant>
      <vt:variant>
        <vt:lpstr>主题</vt:lpstr>
      </vt:variant>
      <vt:variant>
        <vt:i4>4</vt:i4>
      </vt:variant>
      <vt:variant>
        <vt:lpstr>幻灯片标题</vt:lpstr>
      </vt:variant>
      <vt:variant>
        <vt:i4>23</vt:i4>
      </vt:variant>
    </vt:vector>
  </HeadingPairs>
  <TitlesOfParts>
    <vt:vector size="42" baseType="lpstr">
      <vt:lpstr>Arial Unicode MS</vt:lpstr>
      <vt:lpstr>FrutigerNext LT Light</vt:lpstr>
      <vt:lpstr>FrutigerNext LT Medium</vt:lpstr>
      <vt:lpstr>Gill Sans</vt:lpstr>
      <vt:lpstr>Helvetica Neue</vt:lpstr>
      <vt:lpstr>MS PGothic</vt:lpstr>
      <vt:lpstr>方正兰亭粗黑简体</vt:lpstr>
      <vt:lpstr>方正兰亭准黑_GBK</vt:lpstr>
      <vt:lpstr>黑体</vt:lpstr>
      <vt:lpstr>华文细黑</vt:lpstr>
      <vt:lpstr>宋体</vt:lpstr>
      <vt:lpstr>微软雅黑</vt:lpstr>
      <vt:lpstr>Arial</vt:lpstr>
      <vt:lpstr>Calibri</vt:lpstr>
      <vt:lpstr>Wingdings</vt:lpstr>
      <vt:lpstr>Blank</vt:lpstr>
      <vt:lpstr>内容Copytext </vt:lpstr>
      <vt:lpstr>1_内容Copytext </vt:lpstr>
      <vt:lpstr>Thank you</vt:lpstr>
      <vt:lpstr>Build Smart City Neural Networks by Using a Smart Pole as a Node — Huawei Smart Pole Solutio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chuan (Luc)</dc:creator>
  <cp:lastModifiedBy>Xiaying</cp:lastModifiedBy>
  <cp:revision>3028</cp:revision>
  <dcterms:created xsi:type="dcterms:W3CDTF">2014-09-24T01:01:53Z</dcterms:created>
  <dcterms:modified xsi:type="dcterms:W3CDTF">2019-03-21T00:5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3)LnZC7oz8To7Y22xH3O/e8/X6gkcAfRUeHpPKe9auJUq9yzXFzrGV+j1DVZzgI0EDzC0+5uAn
JRM3s2IrrRCN1xLLc5QCYMfFYASWKQEv6iy1EnUE8rYaLKTG6HQjCqbkdbEQ9AilA4wlcUGp
M+k9aV/YBB7bikGlSXRZgKrcuKUoPTRW/pwdIjDDNwoeATG48Nbp4PibsYPQdwtvyHcMCRzq
oFE7OBQURzIUP5l6z3</vt:lpwstr>
  </property>
  <property fmtid="{D5CDD505-2E9C-101B-9397-08002B2CF9AE}" pid="3" name="_new_ms_pID_725431">
    <vt:lpwstr>HT427Rj6lAztVHZEJkxSciTysHWHm3pp5pN5bdc8jI+R61LnM43/Id
OJR/5SFPGpxMNY+Ik687ggiaLVMQscvYPOkYpYvR1VHcjWO8LpQ8Jk53dz+OU+dlYUxEyVKl
nYzFJYTuHXU49As1XFzB/2i2wAX+Yjn1QhbYw+qyfxCE4z7K7zPku/WWV3NPVhG2wti/wSUD
AM0CoU+WY5x1lW5yWyWZ3mYynTqhsmvMoz2Q</vt:lpwstr>
  </property>
  <property fmtid="{D5CDD505-2E9C-101B-9397-08002B2CF9AE}" pid="4" name="_new_ms_pID_725432">
    <vt:lpwstr>of/ts7Wz4tkV5CWwOAx2QBtKm6tC/Xu4PptY
e8yjtgJI/F4gvLnqMJLIFc4L3zL3adNOX5ClTsL7BprpsyLPcNPaVLnaJJkx23gviqr0Df3e
</vt:lpwstr>
  </property>
  <property fmtid="{D5CDD505-2E9C-101B-9397-08002B2CF9AE}" pid="5" name="_2015_ms_pID_725343">
    <vt:lpwstr>(3)kH7r1l5KS+dcf0ZU7Pu94qBIqHHaj4AxuE9Ih8Lv/3acydX5FrdzHpEpr8fXQVMTJMBKRRj7
3swaPHlIeVjqm0laAGE3kxgxQzCen/grT09idaLrHjL+Q7TrEcr/FnncO5+rK0oa2iRD/+rW
6q4cNXXZi1r1nXQ3KvtFoZKeLIfuZSiR1Gh8d0LLHA80aZlSihY9pve7eNw4wPlhyul6ikto
n02OIv3nMX6I+zJbpJ</vt:lpwstr>
  </property>
  <property fmtid="{D5CDD505-2E9C-101B-9397-08002B2CF9AE}" pid="6" name="_2015_ms_pID_7253431">
    <vt:lpwstr>lAX3+RMAN8SBeR9IljzQ6pAr02A6w6PNAqae+uYNM+6KXsE6dqxxBh
NL+jDbBb+C893YWwm5BG217/onzmY9rNRM18hcgAaJh9O2UHnNmkxuE+g7HHfgZe++KMLNyq
YVbojqNdyWD7xfe9E+ZxD7ZiRJhuUHr7gk4RDyw8ja+VtsQ8Hwc7UyfaUP0rIEQejHyeFiLq
rVAeyaRLrqeXpe8ik45L/8gf8zLubW0eI+jE</vt:lpwstr>
  </property>
  <property fmtid="{D5CDD505-2E9C-101B-9397-08002B2CF9AE}" pid="7" name="_2015_ms_pID_7253432">
    <vt:lpwstr>VJgjpHhdo/NY+YHl16umhz0gzqqC6l3r2cUH
QGwPaRD6sZoRRkUyLJZlbMRpc6XLTw==</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552493991</vt:lpwstr>
  </property>
</Properties>
</file>